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heme/theme3.xml" ContentType="application/vnd.openxmlformats-officedocument.theme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theme/theme4.xml" ContentType="application/vnd.openxmlformats-officedocument.theme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theme/theme5.xml" ContentType="application/vnd.openxmlformats-officedocument.theme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theme/theme6.xml" ContentType="application/vnd.openxmlformats-officedocument.theme+xml"/>
  <Override PartName="/ppt/theme/theme7.xml" ContentType="application/vnd.openxmlformats-officedocument.theme+xml"/>
  <Override PartName="/ppt/theme/theme8.xml" ContentType="application/vnd.openxmlformats-officedocument.theme+xml"/>
  <Override PartName="/ppt/notesSlides/notesSlide1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892" r:id="rId6"/>
    <p:sldMasterId id="2147484033" r:id="rId7"/>
    <p:sldMasterId id="2147484105" r:id="rId8"/>
    <p:sldMasterId id="2147484153" r:id="rId9"/>
    <p:sldMasterId id="2147484205" r:id="rId10"/>
    <p:sldMasterId id="2147484240" r:id="rId11"/>
  </p:sldMasterIdLst>
  <p:notesMasterIdLst>
    <p:notesMasterId r:id="rId13"/>
  </p:notesMasterIdLst>
  <p:handoutMasterIdLst>
    <p:handoutMasterId r:id="rId14"/>
  </p:handoutMasterIdLst>
  <p:sldIdLst>
    <p:sldId id="2076137414" r:id="rId12"/>
  </p:sldIdLst>
  <p:sldSz cx="12198350" cy="6858000"/>
  <p:notesSz cx="6950075" cy="9236075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768" userDrawn="1">
          <p15:clr>
            <a:srgbClr val="A4A3A4"/>
          </p15:clr>
        </p15:guide>
        <p15:guide id="2" pos="384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09">
          <p15:clr>
            <a:srgbClr val="A4A3A4"/>
          </p15:clr>
        </p15:guide>
        <p15:guide id="2" pos="2189">
          <p15:clr>
            <a:srgbClr val="A4A3A4"/>
          </p15:clr>
        </p15:guide>
      </p15:notes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E8EE3212-8740-3453-19D6-7F019550136A}" name="Dimitri Cusnir" initials="DC" userId="S::Dimitri.Cusnir@es.ey.com::65ce49f7-14bf-4fab-af04-0a232eec7434" providerId="AD"/>
  <p188:author id="{DCD77441-A258-0346-4BCD-AA1372C90E54}" name="Mateusz Dzielicki" initials="MD" userId="S::Mateusz.Dzielicki@gds.ey.com::83f6df8a-910b-4c10-bb9c-8dbb763d5084" providerId="AD"/>
  <p188:author id="{079F1857-25BA-80D6-5135-94C8D240DD00}" name="Anna Kapskaia" initials="AK" userId="S::Anna.Kapskaia@gds.ey.com::3c8bdb6b-7f65-493f-ae62-cbb40329198d" providerId="AD"/>
  <p188:author id="{39CEBE7C-501C-8974-6E4D-921C24D6F83C}" name="Camilla Lennstrand" initials="CL" userId="S::cle@muuto.com::94b13b79-8ef1-42d5-bf63-1d9cf16623d6" providerId="AD"/>
  <p188:author id="{F75D9CC6-F84B-FB87-5AF6-E6617F4608D4}" name="Lola Hoya Esclapez" initials="LE" userId="S::dolores.hoya.esclapez@es.ey.com::4679d1af-c7ec-445a-a0d2-26ede076700e" providerId="AD"/>
  <p188:author id="{832FCACA-5D34-17B5-3066-771B39C901F0}" name="Tina Korshøj" initials="TK" userId="Tina Korshøj" providerId="None"/>
  <p188:author id="{8FFD26DB-2C2F-ECEB-436D-D073CCAE428B}" name="Lola Hoya Esclapez" initials="LH" userId="S::Dolores.Hoya.Esclapez@es.ey.com::4679d1af-c7ec-445a-a0d2-26ede076700e" providerId="AD"/>
  <p188:author id="{7C3030F5-8DD4-74F8-B815-EB7AE77A93AB}" name="Tina Korshøj" initials="" userId="S::tk@muuto.com::fc9c1787-86ff-4527-a6cb-a23af2ce0cfe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7" name="Grace Paul" initials="GP" lastIdx="41" clrIdx="6">
    <p:extLst>
      <p:ext uri="{19B8F6BF-5375-455C-9EA6-DF929625EA0E}">
        <p15:presenceInfo xmlns:p15="http://schemas.microsoft.com/office/powerpoint/2012/main" userId="S::Grace.Paul@ey.com::f5a7f307-671c-4c5c-abaf-44860b4962fd" providerId="AD"/>
      </p:ext>
    </p:extLst>
  </p:cmAuthor>
  <p:cmAuthor id="8" name="Erika L McClimans" initials="ELM" lastIdx="66" clrIdx="7">
    <p:extLst>
      <p:ext uri="{19B8F6BF-5375-455C-9EA6-DF929625EA0E}">
        <p15:presenceInfo xmlns:p15="http://schemas.microsoft.com/office/powerpoint/2012/main" userId="S::Erika.McClimans@ey.com::193e7cd6-13d5-4a6c-9819-b19369357e0b" providerId="AD"/>
      </p:ext>
    </p:extLst>
  </p:cmAuthor>
  <p:cmAuthor id="2" name="Author" initials="A" lastIdx="474" clrIdx="1"/>
  <p:cmAuthor id="9" name="Tracy L Bonaccorso" initials="TLB" lastIdx="29" clrIdx="8">
    <p:extLst>
      <p:ext uri="{19B8F6BF-5375-455C-9EA6-DF929625EA0E}">
        <p15:presenceInfo xmlns:p15="http://schemas.microsoft.com/office/powerpoint/2012/main" userId="S::Tracy.L.Bonaccorso@ey.com::c158eb98-b32e-4974-8bed-84449e86cab7" providerId="AD"/>
      </p:ext>
    </p:extLst>
  </p:cmAuthor>
  <p:cmAuthor id="3" name="Lola Hoya Esclapez" initials="LE" lastIdx="11" clrIdx="2">
    <p:extLst>
      <p:ext uri="{19B8F6BF-5375-455C-9EA6-DF929625EA0E}">
        <p15:presenceInfo xmlns:p15="http://schemas.microsoft.com/office/powerpoint/2012/main" userId="S::dolores.hoya.esclapez@es.ey.com::4679d1af-c7ec-445a-a0d2-26ede076700e" providerId="AD"/>
      </p:ext>
    </p:extLst>
  </p:cmAuthor>
  <p:cmAuthor id="10" name="Ron Sklaver" initials="RS" lastIdx="85" clrIdx="9">
    <p:extLst>
      <p:ext uri="{19B8F6BF-5375-455C-9EA6-DF929625EA0E}">
        <p15:presenceInfo xmlns:p15="http://schemas.microsoft.com/office/powerpoint/2012/main" userId="S::Ron.Sklaver@ey.com::479b551f-9247-403b-b6dc-3829825b463b" providerId="AD"/>
      </p:ext>
    </p:extLst>
  </p:cmAuthor>
  <p:cmAuthor id="4" name="Marta Montilla Muñoz" initials="MMM" lastIdx="112" clrIdx="3">
    <p:extLst>
      <p:ext uri="{19B8F6BF-5375-455C-9EA6-DF929625EA0E}">
        <p15:presenceInfo xmlns:p15="http://schemas.microsoft.com/office/powerpoint/2012/main" userId="S::Marta.Montilla.Munoz@es.ey.com::d823162a-d09a-4a74-b6f8-4bafa5a9dfbf" providerId="AD"/>
      </p:ext>
    </p:extLst>
  </p:cmAuthor>
  <p:cmAuthor id="11" name="Vivian A Chen" initials="VC" lastIdx="10" clrIdx="10">
    <p:extLst>
      <p:ext uri="{19B8F6BF-5375-455C-9EA6-DF929625EA0E}">
        <p15:presenceInfo xmlns:p15="http://schemas.microsoft.com/office/powerpoint/2012/main" userId="S::vivian.chen@ey.com::4f59d42d-fcb3-4079-9854-805953c9c3ed" providerId="AD"/>
      </p:ext>
    </p:extLst>
  </p:cmAuthor>
  <p:cmAuthor id="5" name="Michael J Wallace" initials="MW" lastIdx="2" clrIdx="4">
    <p:extLst>
      <p:ext uri="{19B8F6BF-5375-455C-9EA6-DF929625EA0E}">
        <p15:presenceInfo xmlns:p15="http://schemas.microsoft.com/office/powerpoint/2012/main" userId="S::michael.wallace@ey.com::5a345df2-9db6-4d75-aca1-3867ed19435d" providerId="AD"/>
      </p:ext>
    </p:extLst>
  </p:cmAuthor>
  <p:cmAuthor id="6" name="Craig M Brandofino" initials="CMB" lastIdx="3" clrIdx="5">
    <p:extLst>
      <p:ext uri="{19B8F6BF-5375-455C-9EA6-DF929625EA0E}">
        <p15:presenceInfo xmlns:p15="http://schemas.microsoft.com/office/powerpoint/2012/main" userId="S::Craig.Brandofino@ey.com::bafbf714-d2b7-473b-b7e8-d70abfcbfdb0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FFFACD"/>
    <a:srgbClr val="FFE600"/>
    <a:srgbClr val="C1AF11"/>
    <a:srgbClr val="2E2E38"/>
    <a:srgbClr val="98C890"/>
    <a:srgbClr val="151519"/>
    <a:srgbClr val="747480"/>
    <a:srgbClr val="747481"/>
    <a:srgbClr val="D2D2D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inimized">
    <p:restoredLeft sz="7407" autoAdjust="0"/>
    <p:restoredTop sz="90493" autoAdjust="0"/>
  </p:normalViewPr>
  <p:slideViewPr>
    <p:cSldViewPr snapToGrid="0">
      <p:cViewPr>
        <p:scale>
          <a:sx n="98" d="100"/>
          <a:sy n="98" d="100"/>
        </p:scale>
        <p:origin x="760" y="296"/>
      </p:cViewPr>
      <p:guideLst>
        <p:guide orient="horz" pos="768"/>
        <p:guide pos="3842"/>
      </p:guideLst>
    </p:cSldViewPr>
  </p:slideViewPr>
  <p:notesTextViewPr>
    <p:cViewPr>
      <p:scale>
        <a:sx n="125" d="100"/>
        <a:sy n="125" d="100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>
        <p:guide orient="horz" pos="2909"/>
        <p:guide pos="2189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3.xml"/><Relationship Id="rId13" Type="http://schemas.openxmlformats.org/officeDocument/2006/relationships/notesMaster" Target="notesMasters/notesMaster1.xml"/><Relationship Id="rId18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Master" Target="slideMasters/slideMaster2.xml"/><Relationship Id="rId12" Type="http://schemas.openxmlformats.org/officeDocument/2006/relationships/slide" Target="slides/slide1.xml"/><Relationship Id="rId17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presProps" Target="presProps.xml"/><Relationship Id="rId20" Type="http://schemas.microsoft.com/office/2018/10/relationships/authors" Target="author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1.xml"/><Relationship Id="rId11" Type="http://schemas.openxmlformats.org/officeDocument/2006/relationships/slideMaster" Target="slideMasters/slideMaster6.xml"/><Relationship Id="rId5" Type="http://schemas.openxmlformats.org/officeDocument/2006/relationships/customXml" Target="../customXml/item5.xml"/><Relationship Id="rId15" Type="http://schemas.openxmlformats.org/officeDocument/2006/relationships/commentAuthors" Target="commentAuthors.xml"/><Relationship Id="rId10" Type="http://schemas.openxmlformats.org/officeDocument/2006/relationships/slideMaster" Target="slideMasters/slideMaster5.xml"/><Relationship Id="rId19" Type="http://schemas.openxmlformats.org/officeDocument/2006/relationships/tableStyles" Target="tableStyles.xml"/><Relationship Id="rId4" Type="http://schemas.openxmlformats.org/officeDocument/2006/relationships/customXml" Target="../customXml/item4.xml"/><Relationship Id="rId9" Type="http://schemas.openxmlformats.org/officeDocument/2006/relationships/slideMaster" Target="slideMasters/slideMaster4.xml"/><Relationship Id="rId14" Type="http://schemas.openxmlformats.org/officeDocument/2006/relationships/handoutMaster" Target="handoutMasters/handout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11699" cy="461804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l">
              <a:defRPr sz="1200"/>
            </a:lvl1pPr>
          </a:lstStyle>
          <a:p>
            <a:endParaRPr lang="en-GB">
              <a:latin typeface="Arial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36768" y="0"/>
            <a:ext cx="3011699" cy="461804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r">
              <a:defRPr sz="1200"/>
            </a:lvl1pPr>
          </a:lstStyle>
          <a:p>
            <a:fld id="{75A85089-C692-4DEA-AC49-04CF34D4FE14}" type="datetimeFigureOut">
              <a:rPr lang="en-GB" smtClean="0">
                <a:latin typeface="Arial" pitchFamily="34" charset="0"/>
              </a:rPr>
              <a:pPr/>
              <a:t>14/03/2025</a:t>
            </a:fld>
            <a:endParaRPr lang="en-GB">
              <a:latin typeface="Arial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772668"/>
            <a:ext cx="3011699" cy="461804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l">
              <a:defRPr sz="1200"/>
            </a:lvl1pPr>
          </a:lstStyle>
          <a:p>
            <a:r>
              <a:rPr lang="en-GB">
                <a:latin typeface="Arial" pitchFamily="34" charset="0"/>
              </a:rPr>
              <a:t>Small Projects Guide 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36768" y="8772668"/>
            <a:ext cx="3011699" cy="461804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r">
              <a:defRPr sz="1200"/>
            </a:lvl1pPr>
          </a:lstStyle>
          <a:p>
            <a:fld id="{D3A5C721-4BB5-4DB6-AD65-4BA2A62B05B6}" type="slidenum">
              <a:rPr lang="en-GB" smtClean="0">
                <a:latin typeface="Arial" pitchFamily="34" charset="0"/>
              </a:rPr>
              <a:pPr/>
              <a:t>‹#›</a:t>
            </a:fld>
            <a:endParaRPr lang="en-GB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91632396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11699" cy="461804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l">
              <a:defRPr sz="1200">
                <a:latin typeface="Arial" pitchFamily="34" charset="0"/>
              </a:defRPr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36768" y="0"/>
            <a:ext cx="3011699" cy="461804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r">
              <a:defRPr sz="1200">
                <a:latin typeface="Arial" pitchFamily="34" charset="0"/>
              </a:defRPr>
            </a:lvl1pPr>
          </a:lstStyle>
          <a:p>
            <a:fld id="{8045EBA9-A28D-4849-BFEA-AA04F6A21B63}" type="datetimeFigureOut">
              <a:rPr lang="en-GB" smtClean="0"/>
              <a:pPr/>
              <a:t>14/03/2025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93700" y="692150"/>
            <a:ext cx="6162675" cy="34639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492" tIns="46246" rIns="92492" bIns="46246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95008" y="4387136"/>
            <a:ext cx="5560060" cy="4156234"/>
          </a:xfrm>
          <a:prstGeom prst="rect">
            <a:avLst/>
          </a:prstGeom>
        </p:spPr>
        <p:txBody>
          <a:bodyPr vert="horz" lIns="92492" tIns="46246" rIns="92492" bIns="46246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772668"/>
            <a:ext cx="3011699" cy="461804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l">
              <a:defRPr sz="1200">
                <a:latin typeface="Arial" pitchFamily="34" charset="0"/>
              </a:defRPr>
            </a:lvl1pPr>
          </a:lstStyle>
          <a:p>
            <a:r>
              <a:rPr lang="en-GB"/>
              <a:t>Small Projects Guide 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36768" y="8772668"/>
            <a:ext cx="3011699" cy="461804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r">
              <a:defRPr sz="1200">
                <a:latin typeface="Arial" pitchFamily="34" charset="0"/>
              </a:defRPr>
            </a:lvl1pPr>
          </a:lstStyle>
          <a:p>
            <a:fld id="{5B43D19E-BFDB-4C92-8EDD-32EDDA8F41D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06270344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0D1188E-9FEB-6917-B308-82CFE765398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0BC4FC8A-588D-73F2-C1E5-FA1A201BC40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673E5FBD-45B8-5537-9378-434AE85EF63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A8FE514C-A93A-7A1E-14B8-88AC61C8A9B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B43D19E-BFDB-4C92-8EDD-32EDDA8F41DF}" type="slidenum">
              <a:rPr lang="en-GB" smtClean="0"/>
              <a:pPr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9426983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3" Type="http://schemas.openxmlformats.org/officeDocument/2006/relationships/hyperlink" Target="http://www.muuto.com/color-list" TargetMode="External"/><Relationship Id="rId7" Type="http://schemas.openxmlformats.org/officeDocument/2006/relationships/image" Target="../media/image24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23.png"/><Relationship Id="rId11" Type="http://schemas.openxmlformats.org/officeDocument/2006/relationships/image" Target="../media/image20.png"/><Relationship Id="rId5" Type="http://schemas.openxmlformats.org/officeDocument/2006/relationships/image" Target="../media/image22.png"/><Relationship Id="rId10" Type="http://schemas.openxmlformats.org/officeDocument/2006/relationships/image" Target="../media/image27.png"/><Relationship Id="rId4" Type="http://schemas.openxmlformats.org/officeDocument/2006/relationships/image" Target="../media/image21.png"/><Relationship Id="rId9" Type="http://schemas.openxmlformats.org/officeDocument/2006/relationships/image" Target="../media/image26.png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5" Type="http://schemas.openxmlformats.org/officeDocument/2006/relationships/image" Target="../media/image2.jpeg"/><Relationship Id="rId4" Type="http://schemas.openxmlformats.org/officeDocument/2006/relationships/image" Target="../media/image1.emf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5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5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5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5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5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5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5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5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5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5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lay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Isosceles Triangle 4">
            <a:extLst>
              <a:ext uri="{FF2B5EF4-FFF2-40B4-BE49-F238E27FC236}">
                <a16:creationId xmlns:a16="http://schemas.microsoft.com/office/drawing/2014/main" id="{40565083-7E2B-49DC-98C8-A71D1BF37A33}"/>
              </a:ext>
            </a:extLst>
          </p:cNvPr>
          <p:cNvSpPr/>
          <p:nvPr userDrawn="1"/>
        </p:nvSpPr>
        <p:spPr>
          <a:xfrm>
            <a:off x="11057670" y="206756"/>
            <a:ext cx="867299" cy="325887"/>
          </a:xfrm>
          <a:custGeom>
            <a:avLst/>
            <a:gdLst>
              <a:gd name="connsiteX0" fmla="*/ 0 w 1784195"/>
              <a:gd name="connsiteY0" fmla="*/ 1081668 h 1081668"/>
              <a:gd name="connsiteX1" fmla="*/ 892098 w 1784195"/>
              <a:gd name="connsiteY1" fmla="*/ 0 h 1081668"/>
              <a:gd name="connsiteX2" fmla="*/ 1784195 w 1784195"/>
              <a:gd name="connsiteY2" fmla="*/ 1081668 h 1081668"/>
              <a:gd name="connsiteX3" fmla="*/ 0 w 1784195"/>
              <a:gd name="connsiteY3" fmla="*/ 1081668 h 1081668"/>
              <a:gd name="connsiteX0" fmla="*/ 0 w 1784196"/>
              <a:gd name="connsiteY0" fmla="*/ 323385 h 323385"/>
              <a:gd name="connsiteX1" fmla="*/ 1784196 w 1784196"/>
              <a:gd name="connsiteY1" fmla="*/ 0 h 323385"/>
              <a:gd name="connsiteX2" fmla="*/ 1784195 w 1784196"/>
              <a:gd name="connsiteY2" fmla="*/ 323385 h 323385"/>
              <a:gd name="connsiteX3" fmla="*/ 0 w 1784196"/>
              <a:gd name="connsiteY3" fmla="*/ 323385 h 323385"/>
              <a:gd name="connsiteX0" fmla="*/ 0 w 1784196"/>
              <a:gd name="connsiteY0" fmla="*/ 338475 h 338475"/>
              <a:gd name="connsiteX1" fmla="*/ 1784196 w 1784196"/>
              <a:gd name="connsiteY1" fmla="*/ 0 h 338475"/>
              <a:gd name="connsiteX2" fmla="*/ 1784195 w 1784196"/>
              <a:gd name="connsiteY2" fmla="*/ 338475 h 338475"/>
              <a:gd name="connsiteX3" fmla="*/ 0 w 1784196"/>
              <a:gd name="connsiteY3" fmla="*/ 338475 h 338475"/>
              <a:gd name="connsiteX0" fmla="*/ 0 w 1784195"/>
              <a:gd name="connsiteY0" fmla="*/ 344510 h 344510"/>
              <a:gd name="connsiteX1" fmla="*/ 1781178 w 1784195"/>
              <a:gd name="connsiteY1" fmla="*/ 0 h 344510"/>
              <a:gd name="connsiteX2" fmla="*/ 1784195 w 1784195"/>
              <a:gd name="connsiteY2" fmla="*/ 344510 h 344510"/>
              <a:gd name="connsiteX3" fmla="*/ 0 w 1784195"/>
              <a:gd name="connsiteY3" fmla="*/ 344510 h 344510"/>
              <a:gd name="connsiteX0" fmla="*/ 0 w 1784196"/>
              <a:gd name="connsiteY0" fmla="*/ 344510 h 344510"/>
              <a:gd name="connsiteX1" fmla="*/ 1784196 w 1784196"/>
              <a:gd name="connsiteY1" fmla="*/ 0 h 344510"/>
              <a:gd name="connsiteX2" fmla="*/ 1784195 w 1784196"/>
              <a:gd name="connsiteY2" fmla="*/ 344510 h 344510"/>
              <a:gd name="connsiteX3" fmla="*/ 0 w 1784196"/>
              <a:gd name="connsiteY3" fmla="*/ 344510 h 344510"/>
              <a:gd name="connsiteX0" fmla="*/ 0 w 1784196"/>
              <a:gd name="connsiteY0" fmla="*/ 344510 h 344510"/>
              <a:gd name="connsiteX1" fmla="*/ 1784196 w 1784196"/>
              <a:gd name="connsiteY1" fmla="*/ 0 h 344510"/>
              <a:gd name="connsiteX2" fmla="*/ 1784195 w 1784196"/>
              <a:gd name="connsiteY2" fmla="*/ 344510 h 344510"/>
              <a:gd name="connsiteX3" fmla="*/ 0 w 1784196"/>
              <a:gd name="connsiteY3" fmla="*/ 344510 h 344510"/>
              <a:gd name="connsiteX0" fmla="*/ 0 w 1017669"/>
              <a:gd name="connsiteY0" fmla="*/ 347527 h 347527"/>
              <a:gd name="connsiteX1" fmla="*/ 1017669 w 1017669"/>
              <a:gd name="connsiteY1" fmla="*/ 0 h 347527"/>
              <a:gd name="connsiteX2" fmla="*/ 1017668 w 1017669"/>
              <a:gd name="connsiteY2" fmla="*/ 344510 h 347527"/>
              <a:gd name="connsiteX3" fmla="*/ 0 w 1017669"/>
              <a:gd name="connsiteY3" fmla="*/ 347527 h 347527"/>
              <a:gd name="connsiteX0" fmla="*/ 0 w 1023704"/>
              <a:gd name="connsiteY0" fmla="*/ 347527 h 347528"/>
              <a:gd name="connsiteX1" fmla="*/ 1017669 w 1023704"/>
              <a:gd name="connsiteY1" fmla="*/ 0 h 347528"/>
              <a:gd name="connsiteX2" fmla="*/ 1023704 w 1023704"/>
              <a:gd name="connsiteY2" fmla="*/ 347528 h 347528"/>
              <a:gd name="connsiteX3" fmla="*/ 0 w 1023704"/>
              <a:gd name="connsiteY3" fmla="*/ 347527 h 347528"/>
              <a:gd name="connsiteX0" fmla="*/ 0 w 1017669"/>
              <a:gd name="connsiteY0" fmla="*/ 347527 h 347527"/>
              <a:gd name="connsiteX1" fmla="*/ 1017669 w 1017669"/>
              <a:gd name="connsiteY1" fmla="*/ 0 h 347527"/>
              <a:gd name="connsiteX2" fmla="*/ 1017668 w 1017669"/>
              <a:gd name="connsiteY2" fmla="*/ 344510 h 347527"/>
              <a:gd name="connsiteX3" fmla="*/ 0 w 1017669"/>
              <a:gd name="connsiteY3" fmla="*/ 347527 h 3475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17669" h="347527">
                <a:moveTo>
                  <a:pt x="0" y="347527"/>
                </a:moveTo>
                <a:lnTo>
                  <a:pt x="1017669" y="0"/>
                </a:lnTo>
                <a:cubicBezTo>
                  <a:pt x="1017669" y="107795"/>
                  <a:pt x="1017668" y="236715"/>
                  <a:pt x="1017668" y="344510"/>
                </a:cubicBezTo>
                <a:lnTo>
                  <a:pt x="0" y="347527"/>
                </a:lnTo>
                <a:close/>
              </a:path>
            </a:pathLst>
          </a:custGeom>
          <a:solidFill>
            <a:srgbClr val="FFE6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200">
              <a:solidFill>
                <a:schemeClr val="tx1"/>
              </a:solidFill>
            </a:endParaRPr>
          </a:p>
        </p:txBody>
      </p:sp>
      <p:sp>
        <p:nvSpPr>
          <p:cNvPr id="11" name="Slide Number Placeholder 3">
            <a:extLst>
              <a:ext uri="{FF2B5EF4-FFF2-40B4-BE49-F238E27FC236}">
                <a16:creationId xmlns:a16="http://schemas.microsoft.com/office/drawing/2014/main" id="{D4FE018A-77A4-4E11-91E8-4B933B3B62B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373902" y="372973"/>
            <a:ext cx="510493" cy="264025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700" b="1">
                <a:solidFill>
                  <a:schemeClr val="bg1"/>
                </a:solidFill>
              </a:defRPr>
            </a:lvl1pPr>
          </a:lstStyle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6C15790-C9A9-4817-AE1B-F1AB6F5BFAAF}"/>
              </a:ext>
            </a:extLst>
          </p:cNvPr>
          <p:cNvSpPr/>
          <p:nvPr userDrawn="1"/>
        </p:nvSpPr>
        <p:spPr>
          <a:xfrm>
            <a:off x="273381" y="529626"/>
            <a:ext cx="11651592" cy="94268"/>
          </a:xfrm>
          <a:prstGeom prst="rect">
            <a:avLst/>
          </a:prstGeom>
          <a:solidFill>
            <a:srgbClr val="74748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683D5D29-FFB5-4354-9D93-960392D2BE48}"/>
              </a:ext>
            </a:extLst>
          </p:cNvPr>
          <p:cNvSpPr/>
          <p:nvPr userDrawn="1"/>
        </p:nvSpPr>
        <p:spPr>
          <a:xfrm>
            <a:off x="266701" y="532642"/>
            <a:ext cx="5044888" cy="91252"/>
          </a:xfrm>
          <a:prstGeom prst="rect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ED8E2ECE-0984-FFAB-0B06-B51271E4301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N" b="1">
                <a:solidFill>
                  <a:schemeClr val="tx2"/>
                </a:solidFill>
                <a:latin typeface="EYInterstate" panose="02000503020000020004" pitchFamily="2" charset="0"/>
              </a:rPr>
              <a:t>| </a:t>
            </a:r>
            <a:r>
              <a:rPr lang="en-US"/>
              <a:t>EY@Work Small Projects Guide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7659697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0">
          <p15:clr>
            <a:srgbClr val="FBAE40"/>
          </p15:clr>
        </p15:guide>
        <p15:guide id="2" pos="168" userDrawn="1">
          <p15:clr>
            <a:srgbClr val="FBAE40"/>
          </p15:clr>
        </p15:guide>
        <p15:guide id="3" pos="7518" userDrawn="1">
          <p15:clr>
            <a:srgbClr val="FBAE40"/>
          </p15:clr>
        </p15:guide>
        <p15:guide id="5" orient="horz" pos="661" userDrawn="1">
          <p15:clr>
            <a:srgbClr val="FBAE40"/>
          </p15:clr>
        </p15:guide>
        <p15:guide id="6" orient="horz" pos="3888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80593A0-4211-460E-B6CF-FE2D9CE6D9C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199121" y="1"/>
            <a:ext cx="3999231" cy="6156104"/>
          </a:xfrm>
        </p:spPr>
        <p:txBody>
          <a:bodyPr/>
          <a:lstStyle/>
          <a:p>
            <a:endParaRPr lang="en-IN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9" y="294200"/>
            <a:ext cx="7444422" cy="590400"/>
          </a:xfrm>
        </p:spPr>
        <p:txBody>
          <a:bodyPr/>
          <a:lstStyle>
            <a:lvl1pPr>
              <a:defRPr sz="2399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09918" y="1137921"/>
            <a:ext cx="7299642" cy="873760"/>
          </a:xfrm>
        </p:spPr>
        <p:txBody>
          <a:bodyPr/>
          <a:lstStyle>
            <a:lvl1pPr marL="0" indent="0">
              <a:buNone/>
              <a:defRPr sz="1799">
                <a:solidFill>
                  <a:schemeClr val="bg1"/>
                </a:solidFill>
              </a:defRPr>
            </a:lvl1pPr>
            <a:lvl2pPr marL="356438" indent="0">
              <a:buNone/>
              <a:defRPr sz="1799">
                <a:solidFill>
                  <a:schemeClr val="bg1"/>
                </a:solidFill>
              </a:defRPr>
            </a:lvl2pPr>
            <a:lvl3pPr marL="712875" indent="0">
              <a:buNone/>
              <a:defRPr sz="1599">
                <a:solidFill>
                  <a:schemeClr val="bg1"/>
                </a:solidFill>
              </a:defRPr>
            </a:lvl3pPr>
            <a:lvl4pPr marL="1069313" indent="0">
              <a:buNone/>
              <a:defRPr sz="1399">
                <a:solidFill>
                  <a:schemeClr val="bg1"/>
                </a:solidFill>
              </a:defRPr>
            </a:lvl4pPr>
            <a:lvl5pPr marL="1425751" indent="0">
              <a:buNone/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78D3272-120F-430D-AFB5-E93227EEEAAF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609919" y="2311401"/>
            <a:ext cx="3580117" cy="3844704"/>
          </a:xfrm>
        </p:spPr>
        <p:txBody>
          <a:bodyPr numCol="1"/>
          <a:lstStyle>
            <a:lvl1pPr marL="0" indent="0">
              <a:buNone/>
              <a:defRPr sz="1399">
                <a:solidFill>
                  <a:schemeClr val="bg1"/>
                </a:solidFill>
              </a:defRPr>
            </a:lvl1pPr>
            <a:lvl2pPr marL="356438" indent="0">
              <a:buNone/>
              <a:defRPr sz="1799">
                <a:solidFill>
                  <a:schemeClr val="bg1"/>
                </a:solidFill>
              </a:defRPr>
            </a:lvl2pPr>
            <a:lvl3pPr marL="712875" indent="0">
              <a:buNone/>
              <a:defRPr sz="1599">
                <a:solidFill>
                  <a:schemeClr val="bg1"/>
                </a:solidFill>
              </a:defRPr>
            </a:lvl3pPr>
            <a:lvl4pPr marL="1069313" indent="0">
              <a:buNone/>
              <a:defRPr sz="1399">
                <a:solidFill>
                  <a:schemeClr val="bg1"/>
                </a:solidFill>
              </a:defRPr>
            </a:lvl4pPr>
            <a:lvl5pPr marL="1425751" indent="0">
              <a:buNone/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0C7BD71A-882B-40FB-A05F-48ECC69FF73D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4329444" y="2311403"/>
            <a:ext cx="3580117" cy="1254759"/>
          </a:xfrm>
        </p:spPr>
        <p:txBody>
          <a:bodyPr numCol="1"/>
          <a:lstStyle>
            <a:lvl1pPr marL="0" indent="0">
              <a:buNone/>
              <a:defRPr sz="1399">
                <a:solidFill>
                  <a:schemeClr val="bg1"/>
                </a:solidFill>
              </a:defRPr>
            </a:lvl1pPr>
            <a:lvl2pPr marL="356438" indent="0">
              <a:buNone/>
              <a:defRPr sz="1799">
                <a:solidFill>
                  <a:schemeClr val="bg1"/>
                </a:solidFill>
              </a:defRPr>
            </a:lvl2pPr>
            <a:lvl3pPr marL="712875" indent="0">
              <a:buNone/>
              <a:defRPr sz="1599">
                <a:solidFill>
                  <a:schemeClr val="bg1"/>
                </a:solidFill>
              </a:defRPr>
            </a:lvl3pPr>
            <a:lvl4pPr marL="1069313" indent="0">
              <a:buNone/>
              <a:defRPr sz="1399">
                <a:solidFill>
                  <a:schemeClr val="bg1"/>
                </a:solidFill>
              </a:defRPr>
            </a:lvl4pPr>
            <a:lvl5pPr marL="1425751" indent="0">
              <a:buNone/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D87D58C8-1517-42AA-8B2A-E449A3F6F028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329444" y="4236721"/>
            <a:ext cx="3580117" cy="1944160"/>
          </a:xfrm>
        </p:spPr>
        <p:txBody>
          <a:bodyPr numCol="1"/>
          <a:lstStyle>
            <a:lvl1pPr marL="0" indent="0">
              <a:buNone/>
              <a:defRPr sz="1799">
                <a:solidFill>
                  <a:schemeClr val="bg1"/>
                </a:solidFill>
                <a:latin typeface="Georgia" panose="02040502050405020303" pitchFamily="18" charset="0"/>
              </a:defRPr>
            </a:lvl1pPr>
            <a:lvl2pPr marL="356438" indent="0">
              <a:buNone/>
              <a:defRPr sz="1799">
                <a:solidFill>
                  <a:schemeClr val="bg1"/>
                </a:solidFill>
              </a:defRPr>
            </a:lvl2pPr>
            <a:lvl3pPr marL="712875" indent="0">
              <a:buNone/>
              <a:defRPr sz="1599">
                <a:solidFill>
                  <a:schemeClr val="bg1"/>
                </a:solidFill>
              </a:defRPr>
            </a:lvl3pPr>
            <a:lvl4pPr marL="1069313" indent="0">
              <a:buNone/>
              <a:defRPr sz="1399">
                <a:solidFill>
                  <a:schemeClr val="bg1"/>
                </a:solidFill>
              </a:defRPr>
            </a:lvl4pPr>
            <a:lvl5pPr marL="1425751" indent="0">
              <a:buNone/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Quote</a:t>
            </a:r>
          </a:p>
        </p:txBody>
      </p:sp>
      <p:sp>
        <p:nvSpPr>
          <p:cNvPr id="23" name="Line 10">
            <a:extLst>
              <a:ext uri="{FF2B5EF4-FFF2-40B4-BE49-F238E27FC236}">
                <a16:creationId xmlns:a16="http://schemas.microsoft.com/office/drawing/2014/main" id="{E820DC59-E206-4DC0-9012-584F8EBAF730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9" y="907750"/>
            <a:ext cx="7723854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9C73E4D-1EBD-404A-B8F4-9B8AD7336F3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Presentation titl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159C267-49E7-46A8-B353-C5EB81154AB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890272928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A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F4E2A016-F3A3-4D66-8AA2-F5605903F916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14"/>
          </p:nvPr>
        </p:nvSpPr>
        <p:spPr/>
        <p:txBody>
          <a:bodyPr/>
          <a:lstStyle/>
          <a:p>
            <a:fld id="{45527A44-AA1D-4BA1-AA93-32475F9E9A8F}" type="datetime4">
              <a:rPr lang="en-GB" smtClean="0"/>
              <a:pPr/>
              <a:t>14 March 2025</a:t>
            </a:fld>
            <a:endParaRPr lang="en-GB" dirty="0"/>
          </a:p>
        </p:txBody>
      </p:sp>
      <p:sp>
        <p:nvSpPr>
          <p:cNvPr id="9" name="Text Placeholder background">
            <a:extLst>
              <a:ext uri="{FF2B5EF4-FFF2-40B4-BE49-F238E27FC236}">
                <a16:creationId xmlns:a16="http://schemas.microsoft.com/office/drawing/2014/main" id="{DD25EEE2-5B12-DEF0-A3DD-E1243B0B020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white">
          <a:xfrm>
            <a:off x="0" y="0"/>
            <a:ext cx="12198350" cy="6858000"/>
          </a:xfrm>
          <a:solidFill>
            <a:srgbClr val="ECE8DD"/>
          </a:solidFill>
          <a:ln>
            <a:noFill/>
          </a:ln>
        </p:spPr>
        <p:txBody>
          <a:bodyPr/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Click to add title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851F33AF-5497-8237-ED41-6324D73A9327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358962" y="742223"/>
            <a:ext cx="11475574" cy="701344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1400" cap="all" baseline="0"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60188" y="1764000"/>
            <a:ext cx="7530620" cy="4068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GB" noProof="0" dirty="0"/>
              <a:t>Click to add text                                                                                                                                   Press ENTER then TAB to view next text style                                                                                Press SHIFT+TAB to view previous text style</a:t>
            </a:r>
            <a:endParaRPr lang="en-GB" dirty="0"/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9237709" y="1764000"/>
            <a:ext cx="2596952" cy="4068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GB" noProof="0" dirty="0"/>
              <a:t>Click to add text                    Press ENTER then TAB to view next text style               Press SHIFT+TAB to view previous text style</a:t>
            </a:r>
            <a:endParaRPr lang="en-GB" dirty="0"/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7893C31-DFE7-452F-8997-24A43FFEEEA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GB" dirty="0"/>
              <a:t>Muuto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904277A-8C12-44D3-A642-240D6F5A53B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90687576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B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background">
            <a:extLst>
              <a:ext uri="{FF2B5EF4-FFF2-40B4-BE49-F238E27FC236}">
                <a16:creationId xmlns:a16="http://schemas.microsoft.com/office/drawing/2014/main" id="{C8E9100A-A311-D9C9-5D2D-99F9C52870A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white">
          <a:xfrm>
            <a:off x="0" y="0"/>
            <a:ext cx="12198350" cy="6858000"/>
          </a:xfrm>
          <a:solidFill>
            <a:srgbClr val="ECE8DD"/>
          </a:solidFill>
          <a:ln>
            <a:noFill/>
          </a:ln>
        </p:spPr>
        <p:txBody>
          <a:bodyPr/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21E4A38D-F1CE-43CF-8916-A97751FEBE23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14"/>
          </p:nvPr>
        </p:nvSpPr>
        <p:spPr/>
        <p:txBody>
          <a:bodyPr/>
          <a:lstStyle/>
          <a:p>
            <a:fld id="{45527A44-AA1D-4BA1-AA93-32475F9E9A8F}" type="datetime4">
              <a:rPr lang="en-GB" smtClean="0"/>
              <a:pPr/>
              <a:t>14 March 2025</a:t>
            </a:fld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Click to add title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5B684E5D-9D36-8C7F-AC03-EFC46C5EEE88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358962" y="742223"/>
            <a:ext cx="11475574" cy="701344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1400" cap="all" baseline="0"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60187" y="1764000"/>
            <a:ext cx="5557919" cy="4068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GB" noProof="0" dirty="0"/>
              <a:t>Click to add text                                                                                      Press ENTER then TAB to view next text style                                   Press SHIFT+TAB to view previous text style</a:t>
            </a:r>
            <a:endParaRPr lang="en-GB" dirty="0"/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7265007" y="1764000"/>
            <a:ext cx="4572793" cy="4068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GB" noProof="0" dirty="0"/>
              <a:t>Click to add text                                                                Press ENTER then TAB to view next text style             Press SHIFT+TAB to view previous text style</a:t>
            </a:r>
            <a:endParaRPr lang="en-GB" dirty="0"/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5EBDAF5-BC66-4E2A-99E6-1C2F10116ED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GB" dirty="0"/>
              <a:t>Muuto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5BDFF65-9BAF-46BE-A04D-731956E4134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03080202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DBE31E2B-E5A0-42C4-A9A2-72357DF42C7C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18"/>
          </p:nvPr>
        </p:nvSpPr>
        <p:spPr/>
        <p:txBody>
          <a:bodyPr/>
          <a:lstStyle/>
          <a:p>
            <a:fld id="{45527A44-AA1D-4BA1-AA93-32475F9E9A8F}" type="datetime4">
              <a:rPr lang="en-GB" smtClean="0"/>
              <a:pPr/>
              <a:t>14 March 2025</a:t>
            </a:fld>
            <a:endParaRPr lang="en-GB" dirty="0"/>
          </a:p>
        </p:txBody>
      </p:sp>
      <p:sp>
        <p:nvSpPr>
          <p:cNvPr id="10" name="Text Placeholder background">
            <a:extLst>
              <a:ext uri="{FF2B5EF4-FFF2-40B4-BE49-F238E27FC236}">
                <a16:creationId xmlns:a16="http://schemas.microsoft.com/office/drawing/2014/main" id="{D1A27470-75BC-6568-1903-6076794500E5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white">
          <a:xfrm>
            <a:off x="0" y="0"/>
            <a:ext cx="12198350" cy="6858000"/>
          </a:xfrm>
          <a:solidFill>
            <a:srgbClr val="ECE8DD"/>
          </a:solidFill>
          <a:ln>
            <a:noFill/>
          </a:ln>
        </p:spPr>
        <p:txBody>
          <a:bodyPr/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EDD1E5A-C089-4CDD-A907-2F4F7A0A747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2278FFAB-07DB-E376-B8D2-907435330777}"/>
              </a:ext>
            </a:extLst>
          </p:cNvPr>
          <p:cNvSpPr>
            <a:spLocks noGrp="1"/>
          </p:cNvSpPr>
          <p:nvPr>
            <p:ph type="subTitle" idx="21" hasCustomPrompt="1"/>
          </p:nvPr>
        </p:nvSpPr>
        <p:spPr>
          <a:xfrm>
            <a:off x="358962" y="742223"/>
            <a:ext cx="11475574" cy="701344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1400" cap="all" baseline="0"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60187" y="1764000"/>
            <a:ext cx="4571568" cy="4068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GB" noProof="0" dirty="0"/>
              <a:t>Click to add text                                                                  Press ENTER then TAB to view next text style             Press SHIFT+TAB to view previous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 level</a:t>
            </a:r>
          </a:p>
          <a:p>
            <a:pPr lvl="6"/>
            <a:r>
              <a:rPr lang="en-GB" noProof="0" dirty="0"/>
              <a:t>7 level</a:t>
            </a:r>
          </a:p>
          <a:p>
            <a:pPr lvl="7"/>
            <a:r>
              <a:rPr lang="en-GB" noProof="0" dirty="0"/>
              <a:t>8 level</a:t>
            </a:r>
          </a:p>
          <a:p>
            <a:pPr lvl="8"/>
            <a:r>
              <a:rPr lang="en-GB" noProof="0" dirty="0"/>
              <a:t>9 level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278656" y="1764000"/>
            <a:ext cx="2598503" cy="4068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GB" noProof="0" dirty="0"/>
              <a:t>Click to add text                    Press ENTER then TAB to view next text style               Press SHIFT+TAB to view previous text style</a:t>
            </a:r>
            <a:endParaRPr lang="en-GB" dirty="0"/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8" name="Content Placeholder 4">
            <a:extLst>
              <a:ext uri="{FF2B5EF4-FFF2-40B4-BE49-F238E27FC236}">
                <a16:creationId xmlns:a16="http://schemas.microsoft.com/office/drawing/2014/main" id="{9A42D6F0-A4EA-4276-A4AC-9D1AB4342CE2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9238809" y="1764000"/>
            <a:ext cx="2598503" cy="4068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GB" noProof="0" dirty="0"/>
              <a:t>Click to add text                    Press ENTER then TAB to view next text style               Press SHIFT+TAB to view previous text style</a:t>
            </a:r>
            <a:endParaRPr lang="en-GB" dirty="0"/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9475CEC-B4D2-4360-B53A-97D13F073FD0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GB" dirty="0"/>
              <a:t>Muuto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CE6C7F8-D421-42DA-9C85-2860E42FE818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20828247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 + int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Date Placeholder 2" hidden="1">
            <a:extLst>
              <a:ext uri="{FF2B5EF4-FFF2-40B4-BE49-F238E27FC236}">
                <a16:creationId xmlns:a16="http://schemas.microsoft.com/office/drawing/2014/main" id="{EAE83243-52AB-4697-728E-23AB45A7410C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92"/>
          </p:nvPr>
        </p:nvSpPr>
        <p:spPr>
          <a:xfrm>
            <a:off x="0" y="6858000"/>
            <a:ext cx="0" cy="0"/>
          </a:xfrm>
        </p:spPr>
        <p:txBody>
          <a:bodyPr/>
          <a:lstStyle/>
          <a:p>
            <a:fld id="{45527A44-AA1D-4BA1-AA93-32475F9E9A8F}" type="datetime4">
              <a:rPr lang="en-GB" smtClean="0"/>
              <a:pPr/>
              <a:t>14 March 2025</a:t>
            </a:fld>
            <a:endParaRPr lang="en-GB" dirty="0"/>
          </a:p>
        </p:txBody>
      </p:sp>
      <p:sp>
        <p:nvSpPr>
          <p:cNvPr id="4" name="Text Placeholder background">
            <a:extLst>
              <a:ext uri="{FF2B5EF4-FFF2-40B4-BE49-F238E27FC236}">
                <a16:creationId xmlns:a16="http://schemas.microsoft.com/office/drawing/2014/main" id="{34E063AA-AF1D-E6EB-1FD0-EFD05E9613B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white">
          <a:xfrm>
            <a:off x="0" y="0"/>
            <a:ext cx="12198350" cy="6858000"/>
          </a:xfrm>
          <a:solidFill>
            <a:srgbClr val="ECE8DD"/>
          </a:solidFill>
          <a:ln>
            <a:noFill/>
          </a:ln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ED066672-B841-FDA4-25C1-C232BAA0A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8961" y="360001"/>
            <a:ext cx="4933343" cy="933779"/>
          </a:xfrm>
        </p:spPr>
        <p:txBody>
          <a:bodyPr/>
          <a:lstStyle/>
          <a:p>
            <a:r>
              <a:rPr lang="en-GB" noProof="0" dirty="0"/>
              <a:t>Click to add title</a:t>
            </a:r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4604BA42-F911-8784-8224-2DCCC6C8C1D8}"/>
              </a:ext>
            </a:extLst>
          </p:cNvPr>
          <p:cNvSpPr>
            <a:spLocks noGrp="1"/>
          </p:cNvSpPr>
          <p:nvPr>
            <p:ph type="subTitle" idx="95" hasCustomPrompt="1"/>
          </p:nvPr>
        </p:nvSpPr>
        <p:spPr>
          <a:xfrm>
            <a:off x="358961" y="742223"/>
            <a:ext cx="4933343" cy="540000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1400" cap="all" baseline="0"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34" name="Text Placeholder 24">
            <a:extLst>
              <a:ext uri="{FF2B5EF4-FFF2-40B4-BE49-F238E27FC236}">
                <a16:creationId xmlns:a16="http://schemas.microsoft.com/office/drawing/2014/main" id="{D02C449E-5311-594C-E6FE-F093D01DD0D6}"/>
              </a:ext>
            </a:extLst>
          </p:cNvPr>
          <p:cNvSpPr>
            <a:spLocks noGrp="1"/>
          </p:cNvSpPr>
          <p:nvPr>
            <p:ph type="body" sz="quarter" idx="102" hasCustomPrompt="1"/>
          </p:nvPr>
        </p:nvSpPr>
        <p:spPr>
          <a:xfrm>
            <a:off x="358961" y="1668623"/>
            <a:ext cx="10492488" cy="1649930"/>
          </a:xfrm>
        </p:spPr>
        <p:txBody>
          <a:bodyPr lIns="0" t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1"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1">
                <a:latin typeface="+mn-lt"/>
              </a:defRPr>
            </a:lvl3pPr>
            <a:lvl4pPr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1"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Euclid Flex" panose="020B0500030000000000" pitchFamily="34" charset="0"/>
              <a:buNone/>
              <a:defRPr sz="2000" b="1"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1">
                <a:latin typeface="+mn-lt"/>
              </a:defRPr>
            </a:lvl6pPr>
            <a:lvl7pPr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1">
                <a:latin typeface="+mn-lt"/>
              </a:defRPr>
            </a:lvl7pPr>
            <a:lvl8pPr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1">
                <a:latin typeface="+mn-lt"/>
              </a:defRPr>
            </a:lvl8pPr>
            <a:lvl9pPr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1">
                <a:latin typeface="+mn-lt"/>
              </a:defRPr>
            </a:lvl9pPr>
          </a:lstStyle>
          <a:p>
            <a:pPr lvl="0"/>
            <a:r>
              <a:rPr lang="en-GB" noProof="0" dirty="0"/>
              <a:t>Click to add headline</a:t>
            </a:r>
            <a:endParaRPr lang="en-GB" dirty="0"/>
          </a:p>
        </p:txBody>
      </p:sp>
      <p:sp>
        <p:nvSpPr>
          <p:cNvPr id="7" name="Text Placeholder h1">
            <a:extLst>
              <a:ext uri="{FF2B5EF4-FFF2-40B4-BE49-F238E27FC236}">
                <a16:creationId xmlns:a16="http://schemas.microsoft.com/office/drawing/2014/main" id="{C3D06205-EB73-D81F-B3FA-CECF51EC640C}"/>
              </a:ext>
            </a:extLst>
          </p:cNvPr>
          <p:cNvSpPr>
            <a:spLocks noGrp="1"/>
          </p:cNvSpPr>
          <p:nvPr>
            <p:ph type="body" sz="quarter" idx="110" hasCustomPrompt="1"/>
          </p:nvPr>
        </p:nvSpPr>
        <p:spPr>
          <a:xfrm>
            <a:off x="358962" y="4431481"/>
            <a:ext cx="3586442" cy="318611"/>
          </a:xfrm>
        </p:spPr>
        <p:txBody>
          <a:bodyPr lIns="0" tIns="0" rIns="0" b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latin typeface="+mn-lt"/>
              </a:defRPr>
            </a:lvl3pPr>
            <a:lvl4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latin typeface="+mn-lt"/>
              </a:defRPr>
            </a:lvl4pPr>
            <a:lvl5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latin typeface="+mn-lt"/>
              </a:defRPr>
            </a:lvl6pPr>
            <a:lvl7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100" b="1">
                <a:latin typeface="+mn-lt"/>
              </a:defRPr>
            </a:lvl7pPr>
            <a:lvl8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latin typeface="+mn-lt"/>
              </a:defRPr>
            </a:lvl8pPr>
            <a:lvl9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latin typeface="+mn-lt"/>
              </a:defRPr>
            </a:lvl9pPr>
          </a:lstStyle>
          <a:p>
            <a:pPr lvl="0"/>
            <a:r>
              <a:rPr lang="en-GB" noProof="0" dirty="0"/>
              <a:t>Click to add Headline</a:t>
            </a:r>
          </a:p>
        </p:txBody>
      </p:sp>
      <p:sp>
        <p:nvSpPr>
          <p:cNvPr id="41" name="Text Placeholder t1">
            <a:extLst>
              <a:ext uri="{FF2B5EF4-FFF2-40B4-BE49-F238E27FC236}">
                <a16:creationId xmlns:a16="http://schemas.microsoft.com/office/drawing/2014/main" id="{B8BA6897-1120-DFB2-7627-2580A85609C1}"/>
              </a:ext>
            </a:extLst>
          </p:cNvPr>
          <p:cNvSpPr>
            <a:spLocks noGrp="1"/>
          </p:cNvSpPr>
          <p:nvPr>
            <p:ph type="body" sz="quarter" idx="105" hasCustomPrompt="1"/>
          </p:nvPr>
        </p:nvSpPr>
        <p:spPr>
          <a:xfrm>
            <a:off x="358961" y="4941870"/>
            <a:ext cx="3586442" cy="1145418"/>
          </a:xfrm>
        </p:spPr>
        <p:txBody>
          <a:bodyPr vert="horz" lIns="0" tIns="0" rIns="0" bIns="0" rtlCol="0">
            <a:noAutofit/>
          </a:bodyPr>
          <a:lstStyle>
            <a:lvl1pPr>
              <a:defRPr lang="en-GB" sz="1400" dirty="0" smtClean="0"/>
            </a:lvl1pPr>
            <a:lvl2pPr>
              <a:defRPr lang="en-GB" sz="1400" dirty="0" smtClean="0"/>
            </a:lvl2pPr>
            <a:lvl3pPr>
              <a:defRPr lang="en-GB" sz="1400" dirty="0" smtClean="0"/>
            </a:lvl3pPr>
            <a:lvl4pPr>
              <a:defRPr lang="en-GB" sz="1400" dirty="0" smtClean="0"/>
            </a:lvl4pPr>
            <a:lvl5pPr>
              <a:defRPr lang="en-GB" sz="1400" dirty="0" smtClean="0"/>
            </a:lvl5pPr>
            <a:lvl6pPr>
              <a:defRPr lang="en-GB" dirty="0" smtClean="0"/>
            </a:lvl6pPr>
            <a:lvl7pPr>
              <a:defRPr lang="en-GB" dirty="0" smtClean="0"/>
            </a:lvl7pPr>
            <a:lvl8pPr>
              <a:defRPr lang="en-GB" dirty="0" smtClean="0"/>
            </a:lvl8pPr>
            <a:lvl9pPr>
              <a:defRPr lang="en-GB" dirty="0"/>
            </a:lvl9pPr>
          </a:lstStyle>
          <a:p>
            <a:pPr lvl="0"/>
            <a:r>
              <a:rPr lang="en-GB" noProof="0" dirty="0"/>
              <a:t>Click to add text                                           Press ENTER then TAB to view next text style                                                          Press SHIFT+TAB to view previous text style</a:t>
            </a:r>
            <a:endParaRPr lang="en-GB" dirty="0"/>
          </a:p>
          <a:p>
            <a:pPr lvl="8"/>
            <a:endParaRPr lang="en-GB" dirty="0"/>
          </a:p>
        </p:txBody>
      </p:sp>
      <p:sp>
        <p:nvSpPr>
          <p:cNvPr id="10" name="Text Placeholder h2">
            <a:extLst>
              <a:ext uri="{FF2B5EF4-FFF2-40B4-BE49-F238E27FC236}">
                <a16:creationId xmlns:a16="http://schemas.microsoft.com/office/drawing/2014/main" id="{4260B3C1-E8D4-FABB-91A9-F8BD5CFD46FB}"/>
              </a:ext>
            </a:extLst>
          </p:cNvPr>
          <p:cNvSpPr>
            <a:spLocks noGrp="1"/>
          </p:cNvSpPr>
          <p:nvPr>
            <p:ph type="body" sz="quarter" idx="111" hasCustomPrompt="1"/>
          </p:nvPr>
        </p:nvSpPr>
        <p:spPr>
          <a:xfrm>
            <a:off x="4305955" y="4431481"/>
            <a:ext cx="3586442" cy="318611"/>
          </a:xfrm>
        </p:spPr>
        <p:txBody>
          <a:bodyPr lIns="0" tIns="0" rIns="0" b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latin typeface="+mn-lt"/>
              </a:defRPr>
            </a:lvl3pPr>
            <a:lvl4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latin typeface="+mn-lt"/>
              </a:defRPr>
            </a:lvl4pPr>
            <a:lvl5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latin typeface="+mn-lt"/>
              </a:defRPr>
            </a:lvl6pPr>
            <a:lvl7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100" b="1">
                <a:latin typeface="+mn-lt"/>
              </a:defRPr>
            </a:lvl7pPr>
            <a:lvl8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latin typeface="+mn-lt"/>
              </a:defRPr>
            </a:lvl8pPr>
            <a:lvl9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latin typeface="+mn-lt"/>
              </a:defRPr>
            </a:lvl9pPr>
          </a:lstStyle>
          <a:p>
            <a:pPr lvl="0"/>
            <a:r>
              <a:rPr lang="en-GB" noProof="0" dirty="0"/>
              <a:t>Click to add Headline</a:t>
            </a:r>
          </a:p>
        </p:txBody>
      </p:sp>
      <p:sp>
        <p:nvSpPr>
          <p:cNvPr id="42" name="Text Placeholder t2">
            <a:extLst>
              <a:ext uri="{FF2B5EF4-FFF2-40B4-BE49-F238E27FC236}">
                <a16:creationId xmlns:a16="http://schemas.microsoft.com/office/drawing/2014/main" id="{1360B2A8-8E5D-BDEB-EF7B-86B770E48EDD}"/>
              </a:ext>
            </a:extLst>
          </p:cNvPr>
          <p:cNvSpPr>
            <a:spLocks noGrp="1"/>
          </p:cNvSpPr>
          <p:nvPr>
            <p:ph type="body" sz="quarter" idx="106" hasCustomPrompt="1"/>
          </p:nvPr>
        </p:nvSpPr>
        <p:spPr>
          <a:xfrm>
            <a:off x="4305953" y="4941870"/>
            <a:ext cx="3587468" cy="1145418"/>
          </a:xfrm>
        </p:spPr>
        <p:txBody>
          <a:bodyPr vert="horz" lIns="0" tIns="0" rIns="0" bIns="0" rtlCol="0">
            <a:noAutofit/>
          </a:bodyPr>
          <a:lstStyle>
            <a:lvl1pPr>
              <a:defRPr lang="en-GB" sz="1400" dirty="0"/>
            </a:lvl1pPr>
            <a:lvl2pPr>
              <a:defRPr lang="en-GB" sz="1400" dirty="0"/>
            </a:lvl2pPr>
            <a:lvl3pPr>
              <a:defRPr lang="en-GB" sz="1400" dirty="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GB" noProof="0" dirty="0"/>
              <a:t>Click to add text                                           Press ENTER then TAB to view next text style                                                          Press SHIFT+TAB to view previous text style</a:t>
            </a:r>
            <a:endParaRPr lang="en-GB" dirty="0"/>
          </a:p>
          <a:p>
            <a:pPr lvl="8"/>
            <a:endParaRPr lang="en-GB" dirty="0"/>
          </a:p>
        </p:txBody>
      </p:sp>
      <p:sp>
        <p:nvSpPr>
          <p:cNvPr id="11" name="Text Placeholder h3">
            <a:extLst>
              <a:ext uri="{FF2B5EF4-FFF2-40B4-BE49-F238E27FC236}">
                <a16:creationId xmlns:a16="http://schemas.microsoft.com/office/drawing/2014/main" id="{767E19F5-410F-A7A4-DE85-0921FDCAE472}"/>
              </a:ext>
            </a:extLst>
          </p:cNvPr>
          <p:cNvSpPr>
            <a:spLocks noGrp="1"/>
          </p:cNvSpPr>
          <p:nvPr>
            <p:ph type="body" sz="quarter" idx="112" hasCustomPrompt="1"/>
          </p:nvPr>
        </p:nvSpPr>
        <p:spPr>
          <a:xfrm>
            <a:off x="8251359" y="4431481"/>
            <a:ext cx="3586442" cy="318611"/>
          </a:xfrm>
        </p:spPr>
        <p:txBody>
          <a:bodyPr lIns="0" tIns="0" rIns="0" b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latin typeface="+mn-lt"/>
              </a:defRPr>
            </a:lvl3pPr>
            <a:lvl4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latin typeface="+mn-lt"/>
              </a:defRPr>
            </a:lvl4pPr>
            <a:lvl5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latin typeface="+mn-lt"/>
              </a:defRPr>
            </a:lvl6pPr>
            <a:lvl7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100" b="1">
                <a:latin typeface="+mn-lt"/>
              </a:defRPr>
            </a:lvl7pPr>
            <a:lvl8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latin typeface="+mn-lt"/>
              </a:defRPr>
            </a:lvl8pPr>
            <a:lvl9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latin typeface="+mn-lt"/>
              </a:defRPr>
            </a:lvl9pPr>
          </a:lstStyle>
          <a:p>
            <a:pPr lvl="0"/>
            <a:r>
              <a:rPr lang="en-GB" noProof="0" dirty="0"/>
              <a:t>Click to add Headline</a:t>
            </a:r>
          </a:p>
        </p:txBody>
      </p:sp>
      <p:sp>
        <p:nvSpPr>
          <p:cNvPr id="43" name="Text Placeholder t3">
            <a:extLst>
              <a:ext uri="{FF2B5EF4-FFF2-40B4-BE49-F238E27FC236}">
                <a16:creationId xmlns:a16="http://schemas.microsoft.com/office/drawing/2014/main" id="{5BA938EF-AC36-8EFA-A9E7-96F213C21B65}"/>
              </a:ext>
            </a:extLst>
          </p:cNvPr>
          <p:cNvSpPr>
            <a:spLocks noGrp="1"/>
          </p:cNvSpPr>
          <p:nvPr>
            <p:ph type="body" sz="quarter" idx="107" hasCustomPrompt="1"/>
          </p:nvPr>
        </p:nvSpPr>
        <p:spPr>
          <a:xfrm>
            <a:off x="8251359" y="4941870"/>
            <a:ext cx="3586442" cy="1145418"/>
          </a:xfrm>
        </p:spPr>
        <p:txBody>
          <a:bodyPr vert="horz" lIns="0" tIns="0" rIns="0" bIns="0" rtlCol="0">
            <a:noAutofit/>
          </a:bodyPr>
          <a:lstStyle>
            <a:lvl1pPr>
              <a:defRPr lang="en-GB" sz="1400" dirty="0" smtClean="0"/>
            </a:lvl1pPr>
            <a:lvl2pPr>
              <a:defRPr lang="en-GB" sz="1400" dirty="0" smtClean="0"/>
            </a:lvl2pPr>
            <a:lvl3pPr>
              <a:defRPr lang="en-GB" sz="1400" dirty="0" smtClean="0"/>
            </a:lvl3pPr>
            <a:lvl4pPr>
              <a:defRPr lang="en-GB" sz="1400" dirty="0" smtClean="0"/>
            </a:lvl4pPr>
            <a:lvl5pPr>
              <a:defRPr lang="en-GB" sz="1400" dirty="0" smtClean="0"/>
            </a:lvl5pPr>
            <a:lvl6pPr>
              <a:defRPr lang="en-GB" dirty="0" smtClean="0"/>
            </a:lvl6pPr>
            <a:lvl7pPr>
              <a:defRPr lang="en-GB" dirty="0" smtClean="0"/>
            </a:lvl7pPr>
            <a:lvl8pPr>
              <a:defRPr lang="en-GB" dirty="0" smtClean="0"/>
            </a:lvl8pPr>
            <a:lvl9pPr>
              <a:defRPr lang="en-GB" dirty="0"/>
            </a:lvl9pPr>
          </a:lstStyle>
          <a:p>
            <a:pPr lvl="0"/>
            <a:r>
              <a:rPr lang="en-GB" noProof="0" dirty="0"/>
              <a:t>Click to add text                                           Press ENTER then TAB to view next text style                                                          Press SHIFT+TAB to view previous text style</a:t>
            </a:r>
            <a:endParaRPr lang="en-GB" dirty="0"/>
          </a:p>
          <a:p>
            <a:pPr lvl="8"/>
            <a:endParaRPr lang="en-GB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19BBA23-6835-2CB6-F424-129020162816}"/>
              </a:ext>
            </a:extLst>
          </p:cNvPr>
          <p:cNvSpPr>
            <a:spLocks noGrp="1"/>
          </p:cNvSpPr>
          <p:nvPr>
            <p:ph type="ftr" sz="quarter" idx="108"/>
          </p:nvPr>
        </p:nvSpPr>
        <p:spPr/>
        <p:txBody>
          <a:bodyPr/>
          <a:lstStyle/>
          <a:p>
            <a:r>
              <a:rPr lang="en-GB" dirty="0"/>
              <a:t>Muuto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48FD7F6-3CDA-0480-EB3E-188307BEB28D}"/>
              </a:ext>
            </a:extLst>
          </p:cNvPr>
          <p:cNvSpPr>
            <a:spLocks noGrp="1"/>
          </p:cNvSpPr>
          <p:nvPr>
            <p:ph type="sldNum" sz="quarter" idx="109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08738553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Picture A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 hidden="1">
            <a:extLst>
              <a:ext uri="{FF2B5EF4-FFF2-40B4-BE49-F238E27FC236}">
                <a16:creationId xmlns:a16="http://schemas.microsoft.com/office/drawing/2014/main" id="{D22E9E5B-6F1E-4B03-B368-998A878A535A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20"/>
          </p:nvPr>
        </p:nvSpPr>
        <p:spPr/>
        <p:txBody>
          <a:bodyPr/>
          <a:lstStyle/>
          <a:p>
            <a:fld id="{45527A44-AA1D-4BA1-AA93-32475F9E9A8F}" type="datetime4">
              <a:rPr lang="en-GB" smtClean="0"/>
              <a:pPr/>
              <a:t>14 March 2025</a:t>
            </a:fld>
            <a:endParaRPr lang="en-GB" dirty="0"/>
          </a:p>
        </p:txBody>
      </p:sp>
      <p:sp>
        <p:nvSpPr>
          <p:cNvPr id="7" name="Text Placeholder background">
            <a:extLst>
              <a:ext uri="{FF2B5EF4-FFF2-40B4-BE49-F238E27FC236}">
                <a16:creationId xmlns:a16="http://schemas.microsoft.com/office/drawing/2014/main" id="{5D92613D-D4B9-2254-3E52-75D313EBA4B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white">
          <a:xfrm>
            <a:off x="0" y="0"/>
            <a:ext cx="12198350" cy="6858000"/>
          </a:xfrm>
          <a:solidFill>
            <a:srgbClr val="ECE8DD"/>
          </a:solidFill>
          <a:ln>
            <a:noFill/>
          </a:ln>
        </p:spPr>
        <p:txBody>
          <a:bodyPr/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10" name="Picture Placeholder 45">
            <a:extLst>
              <a:ext uri="{FF2B5EF4-FFF2-40B4-BE49-F238E27FC236}">
                <a16:creationId xmlns:a16="http://schemas.microsoft.com/office/drawing/2014/main" id="{8938A562-B105-D3B7-0EB3-4C682C854F2F}"/>
              </a:ext>
            </a:extLst>
          </p:cNvPr>
          <p:cNvSpPr>
            <a:spLocks noGrp="1"/>
          </p:cNvSpPr>
          <p:nvPr>
            <p:ph type="pic" sz="quarter" idx="109" hasCustomPrompt="1"/>
          </p:nvPr>
        </p:nvSpPr>
        <p:spPr>
          <a:xfrm>
            <a:off x="7263781" y="0"/>
            <a:ext cx="4934569" cy="6858000"/>
          </a:xfrm>
          <a:solidFill>
            <a:schemeClr val="bg1">
              <a:lumMod val="85000"/>
            </a:schemeClr>
          </a:solidFill>
        </p:spPr>
        <p:txBody>
          <a:bodyPr tIns="648000" anchor="ctr" anchorCtr="0"/>
          <a:lstStyle>
            <a:lvl1pPr marL="0" indent="0" algn="ctr">
              <a:buNone/>
              <a:defRPr sz="1200"/>
            </a:lvl1pPr>
          </a:lstStyle>
          <a:p>
            <a:r>
              <a:rPr lang="en-GB" dirty="0"/>
              <a:t>Click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8962" y="360000"/>
            <a:ext cx="4570779" cy="1080000"/>
          </a:xfrm>
        </p:spPr>
        <p:txBody>
          <a:bodyPr/>
          <a:lstStyle/>
          <a:p>
            <a:r>
              <a:rPr lang="en-GB" noProof="0" dirty="0"/>
              <a:t>Click to add title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B3517978-FF4C-1A59-0E5F-5086370E000F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358962" y="742223"/>
            <a:ext cx="4570779" cy="701344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1400" cap="all" baseline="0"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639C785-90F2-48A6-926C-AD502380696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60188" y="1764000"/>
            <a:ext cx="4570779" cy="4356000"/>
          </a:xfrm>
        </p:spPr>
        <p:txBody>
          <a:bodyPr anchor="b"/>
          <a:lstStyle>
            <a:lvl1pPr algn="l">
              <a:defRPr sz="1400"/>
            </a:lvl1pPr>
            <a:lvl2pPr algn="l">
              <a:defRPr sz="1400"/>
            </a:lvl2pPr>
            <a:lvl3pPr algn="l">
              <a:defRPr sz="1400"/>
            </a:lvl3pPr>
            <a:lvl4pPr algn="l">
              <a:defRPr sz="1400"/>
            </a:lvl4pPr>
            <a:lvl5pPr algn="l">
              <a:defRPr sz="1400"/>
            </a:lvl5pPr>
          </a:lstStyle>
          <a:p>
            <a:pPr lvl="0"/>
            <a:r>
              <a:rPr lang="en-GB" noProof="0" dirty="0"/>
              <a:t>Click to add text                                                                Press ENTER then TAB to view next text style             Press SHIFT+TAB to view previous text style</a:t>
            </a:r>
            <a:endParaRPr lang="en-GB" dirty="0"/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6707E24-E5D8-42CD-90FA-C443808E4079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GB" dirty="0"/>
              <a:t>Muuto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AD94224-8F77-42E8-A2DC-E8EA002DD75B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39064541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Picture A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Date Placeholder 2" hidden="1">
            <a:extLst>
              <a:ext uri="{FF2B5EF4-FFF2-40B4-BE49-F238E27FC236}">
                <a16:creationId xmlns:a16="http://schemas.microsoft.com/office/drawing/2014/main" id="{EAE83243-52AB-4697-728E-23AB45A7410C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92"/>
          </p:nvPr>
        </p:nvSpPr>
        <p:spPr>
          <a:xfrm>
            <a:off x="0" y="6858000"/>
            <a:ext cx="0" cy="0"/>
          </a:xfrm>
        </p:spPr>
        <p:txBody>
          <a:bodyPr/>
          <a:lstStyle/>
          <a:p>
            <a:fld id="{45527A44-AA1D-4BA1-AA93-32475F9E9A8F}" type="datetime4">
              <a:rPr lang="en-GB" smtClean="0"/>
              <a:pPr/>
              <a:t>14 March 2025</a:t>
            </a:fld>
            <a:endParaRPr lang="en-GB" dirty="0"/>
          </a:p>
        </p:txBody>
      </p:sp>
      <p:sp>
        <p:nvSpPr>
          <p:cNvPr id="2" name="Text Placeholder background">
            <a:extLst>
              <a:ext uri="{FF2B5EF4-FFF2-40B4-BE49-F238E27FC236}">
                <a16:creationId xmlns:a16="http://schemas.microsoft.com/office/drawing/2014/main" id="{A5C8FC62-8A3C-A84A-17BC-4A384CDB0FAA}"/>
              </a:ext>
            </a:extLst>
          </p:cNvPr>
          <p:cNvSpPr>
            <a:spLocks noGrp="1"/>
          </p:cNvSpPr>
          <p:nvPr>
            <p:ph type="body" sz="quarter" idx="110" hasCustomPrompt="1"/>
          </p:nvPr>
        </p:nvSpPr>
        <p:spPr bwMode="white">
          <a:xfrm>
            <a:off x="0" y="0"/>
            <a:ext cx="12198350" cy="6858000"/>
          </a:xfrm>
          <a:solidFill>
            <a:srgbClr val="ECE8DD"/>
          </a:solidFill>
          <a:ln>
            <a:noFill/>
          </a:ln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47" name="Picture Placeholder 3">
            <a:extLst>
              <a:ext uri="{FF2B5EF4-FFF2-40B4-BE49-F238E27FC236}">
                <a16:creationId xmlns:a16="http://schemas.microsoft.com/office/drawing/2014/main" id="{AF1A12E2-ECD6-C4D1-2A88-A15C9AADF11B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60188" y="1768288"/>
            <a:ext cx="1257054" cy="1263600"/>
          </a:xfrm>
          <a:solidFill>
            <a:schemeClr val="bg1"/>
          </a:solidFill>
        </p:spPr>
        <p:txBody>
          <a:bodyPr lIns="0" tIns="648000" anchor="ctr" anchorCtr="0"/>
          <a:lstStyle>
            <a:lvl1pPr marL="0" indent="0" algn="ctr">
              <a:buNone/>
              <a:defRPr sz="1000"/>
            </a:lvl1pPr>
          </a:lstStyle>
          <a:p>
            <a:r>
              <a:rPr lang="en-GB" noProof="0" dirty="0"/>
              <a:t>Click to add picture</a:t>
            </a:r>
          </a:p>
        </p:txBody>
      </p:sp>
      <p:sp>
        <p:nvSpPr>
          <p:cNvPr id="48" name="Picture Placeholder 5">
            <a:extLst>
              <a:ext uri="{FF2B5EF4-FFF2-40B4-BE49-F238E27FC236}">
                <a16:creationId xmlns:a16="http://schemas.microsoft.com/office/drawing/2014/main" id="{F4D02799-279A-21F8-37EF-B90AFFDBBB4C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3558653" y="1768288"/>
            <a:ext cx="1257054" cy="12636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0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49" name="Picture Placeholder 13">
            <a:extLst>
              <a:ext uri="{FF2B5EF4-FFF2-40B4-BE49-F238E27FC236}">
                <a16:creationId xmlns:a16="http://schemas.microsoft.com/office/drawing/2014/main" id="{DD792FFF-BB7E-B051-7BD5-744D0675ADD1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1977430" y="1768288"/>
            <a:ext cx="1257054" cy="12636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0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50" name="Picture Placeholder 3">
            <a:extLst>
              <a:ext uri="{FF2B5EF4-FFF2-40B4-BE49-F238E27FC236}">
                <a16:creationId xmlns:a16="http://schemas.microsoft.com/office/drawing/2014/main" id="{A77B3EE6-57AB-23B0-48B3-EC706952D2AC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5175895" y="1768288"/>
            <a:ext cx="1257054" cy="12636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0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51" name="Picture Placeholder 18">
            <a:extLst>
              <a:ext uri="{FF2B5EF4-FFF2-40B4-BE49-F238E27FC236}">
                <a16:creationId xmlns:a16="http://schemas.microsoft.com/office/drawing/2014/main" id="{E3435057-7242-8A11-EFB8-50331B814429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360188" y="3450538"/>
            <a:ext cx="1257054" cy="12636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0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52" name="Picture Placeholder 15">
            <a:extLst>
              <a:ext uri="{FF2B5EF4-FFF2-40B4-BE49-F238E27FC236}">
                <a16:creationId xmlns:a16="http://schemas.microsoft.com/office/drawing/2014/main" id="{E9576A22-6010-2FF0-CF01-D3C959A9642C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1977430" y="3450538"/>
            <a:ext cx="1257054" cy="12636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0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53" name="Picture Placeholder 21">
            <a:extLst>
              <a:ext uri="{FF2B5EF4-FFF2-40B4-BE49-F238E27FC236}">
                <a16:creationId xmlns:a16="http://schemas.microsoft.com/office/drawing/2014/main" id="{DE52E6BB-A171-CFAE-5982-8E2C2D0E919C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3558653" y="3450538"/>
            <a:ext cx="1257054" cy="12636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0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54" name="Picture Placeholder 4">
            <a:extLst>
              <a:ext uri="{FF2B5EF4-FFF2-40B4-BE49-F238E27FC236}">
                <a16:creationId xmlns:a16="http://schemas.microsoft.com/office/drawing/2014/main" id="{B0614E32-9FC2-097F-BE81-5819325DFCE2}"/>
              </a:ext>
            </a:extLst>
          </p:cNvPr>
          <p:cNvSpPr>
            <a:spLocks noGrp="1"/>
          </p:cNvSpPr>
          <p:nvPr>
            <p:ph type="pic" sz="quarter" idx="37" hasCustomPrompt="1"/>
          </p:nvPr>
        </p:nvSpPr>
        <p:spPr>
          <a:xfrm>
            <a:off x="5175895" y="3450538"/>
            <a:ext cx="1257054" cy="12636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0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55" name="Text Placeholder 23">
            <a:extLst>
              <a:ext uri="{FF2B5EF4-FFF2-40B4-BE49-F238E27FC236}">
                <a16:creationId xmlns:a16="http://schemas.microsoft.com/office/drawing/2014/main" id="{3BD304F5-2582-877C-03FC-1416E905ABB7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60188" y="3094340"/>
            <a:ext cx="1257054" cy="2232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noProof="0" dirty="0"/>
              <a:t>Click to add text</a:t>
            </a:r>
            <a:endParaRPr lang="en-GB" dirty="0"/>
          </a:p>
        </p:txBody>
      </p:sp>
      <p:sp>
        <p:nvSpPr>
          <p:cNvPr id="56" name="Text Placeholder 25">
            <a:extLst>
              <a:ext uri="{FF2B5EF4-FFF2-40B4-BE49-F238E27FC236}">
                <a16:creationId xmlns:a16="http://schemas.microsoft.com/office/drawing/2014/main" id="{C17C1F76-91E9-2EF7-94BB-1CE69005653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977430" y="3094340"/>
            <a:ext cx="1257054" cy="2232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noProof="0" dirty="0"/>
              <a:t>Click to add text</a:t>
            </a:r>
            <a:endParaRPr lang="en-GB" dirty="0"/>
          </a:p>
        </p:txBody>
      </p:sp>
      <p:sp>
        <p:nvSpPr>
          <p:cNvPr id="57" name="Text Placeholder 27">
            <a:extLst>
              <a:ext uri="{FF2B5EF4-FFF2-40B4-BE49-F238E27FC236}">
                <a16:creationId xmlns:a16="http://schemas.microsoft.com/office/drawing/2014/main" id="{0BD100E9-5532-0CDB-EE8E-CDCF580487F5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558653" y="3094404"/>
            <a:ext cx="1257054" cy="2232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noProof="0" dirty="0"/>
              <a:t>Click to add text</a:t>
            </a:r>
            <a:endParaRPr lang="en-GB" dirty="0"/>
          </a:p>
        </p:txBody>
      </p:sp>
      <p:sp>
        <p:nvSpPr>
          <p:cNvPr id="58" name="Text Placeholder 29">
            <a:extLst>
              <a:ext uri="{FF2B5EF4-FFF2-40B4-BE49-F238E27FC236}">
                <a16:creationId xmlns:a16="http://schemas.microsoft.com/office/drawing/2014/main" id="{369CD10F-055C-E941-F6E3-C03C969C15A6}"/>
              </a:ext>
            </a:extLst>
          </p:cNvPr>
          <p:cNvSpPr>
            <a:spLocks noGrp="1"/>
          </p:cNvSpPr>
          <p:nvPr>
            <p:ph type="body" sz="quarter" idx="106" hasCustomPrompt="1"/>
          </p:nvPr>
        </p:nvSpPr>
        <p:spPr>
          <a:xfrm>
            <a:off x="5175895" y="3094404"/>
            <a:ext cx="1257054" cy="2232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noProof="0" dirty="0"/>
              <a:t>Click to add text</a:t>
            </a:r>
            <a:endParaRPr lang="en-GB" dirty="0"/>
          </a:p>
        </p:txBody>
      </p:sp>
      <p:sp>
        <p:nvSpPr>
          <p:cNvPr id="59" name="Text Placeholder 35">
            <a:extLst>
              <a:ext uri="{FF2B5EF4-FFF2-40B4-BE49-F238E27FC236}">
                <a16:creationId xmlns:a16="http://schemas.microsoft.com/office/drawing/2014/main" id="{7D889F20-6FB6-03EF-9E67-A20C62C9BA3E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360188" y="4777536"/>
            <a:ext cx="1257054" cy="2232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noProof="0" dirty="0"/>
              <a:t>Click to add text</a:t>
            </a:r>
            <a:endParaRPr lang="en-GB" dirty="0"/>
          </a:p>
        </p:txBody>
      </p:sp>
      <p:sp>
        <p:nvSpPr>
          <p:cNvPr id="60" name="Text Placeholder 37">
            <a:extLst>
              <a:ext uri="{FF2B5EF4-FFF2-40B4-BE49-F238E27FC236}">
                <a16:creationId xmlns:a16="http://schemas.microsoft.com/office/drawing/2014/main" id="{EF3E7AF8-2865-42FB-1302-E33C88BEB289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1977430" y="4779204"/>
            <a:ext cx="1257054" cy="2232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noProof="0" dirty="0"/>
              <a:t>Click to add text</a:t>
            </a:r>
            <a:endParaRPr lang="en-GB" dirty="0"/>
          </a:p>
        </p:txBody>
      </p:sp>
      <p:sp>
        <p:nvSpPr>
          <p:cNvPr id="61" name="Text Placeholder 39">
            <a:extLst>
              <a:ext uri="{FF2B5EF4-FFF2-40B4-BE49-F238E27FC236}">
                <a16:creationId xmlns:a16="http://schemas.microsoft.com/office/drawing/2014/main" id="{93232003-3FBD-D55E-EB1B-210F53BA7408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558653" y="4779204"/>
            <a:ext cx="1257054" cy="2232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noProof="0" dirty="0"/>
              <a:t>Click to add text</a:t>
            </a:r>
            <a:endParaRPr lang="en-GB" dirty="0"/>
          </a:p>
        </p:txBody>
      </p:sp>
      <p:sp>
        <p:nvSpPr>
          <p:cNvPr id="62" name="Text Placeholder 41">
            <a:extLst>
              <a:ext uri="{FF2B5EF4-FFF2-40B4-BE49-F238E27FC236}">
                <a16:creationId xmlns:a16="http://schemas.microsoft.com/office/drawing/2014/main" id="{A8BFB2EE-1EE5-D23F-CB10-52405CB55C62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5175895" y="4779204"/>
            <a:ext cx="1257054" cy="2232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3pPr>
            <a:lvl4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4pPr>
            <a:lvl5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noProof="0" dirty="0"/>
              <a:t>Click to add text</a:t>
            </a:r>
            <a:endParaRPr lang="en-GB" dirty="0"/>
          </a:p>
        </p:txBody>
      </p:sp>
      <p:sp>
        <p:nvSpPr>
          <p:cNvPr id="46" name="Picture Placeholder 45">
            <a:extLst>
              <a:ext uri="{FF2B5EF4-FFF2-40B4-BE49-F238E27FC236}">
                <a16:creationId xmlns:a16="http://schemas.microsoft.com/office/drawing/2014/main" id="{014B866C-BD0C-B645-BBD7-21AFDF74324C}"/>
              </a:ext>
            </a:extLst>
          </p:cNvPr>
          <p:cNvSpPr>
            <a:spLocks noGrp="1"/>
          </p:cNvSpPr>
          <p:nvPr>
            <p:ph type="pic" sz="quarter" idx="109" hasCustomPrompt="1"/>
          </p:nvPr>
        </p:nvSpPr>
        <p:spPr>
          <a:xfrm>
            <a:off x="7263781" y="0"/>
            <a:ext cx="4934569" cy="6858000"/>
          </a:xfrm>
          <a:solidFill>
            <a:schemeClr val="bg1"/>
          </a:solidFill>
        </p:spPr>
        <p:txBody>
          <a:bodyPr tIns="648000" anchor="ctr" anchorCtr="0"/>
          <a:lstStyle>
            <a:lvl1pPr marL="0" indent="0" algn="ctr">
              <a:buNone/>
              <a:defRPr sz="1200"/>
            </a:lvl1pPr>
          </a:lstStyle>
          <a:p>
            <a:r>
              <a:rPr lang="en-GB" dirty="0"/>
              <a:t>Click to add picture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ED066672-B841-FDA4-25C1-C232BAA0A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8961" y="360001"/>
            <a:ext cx="4933343" cy="933779"/>
          </a:xfrm>
        </p:spPr>
        <p:txBody>
          <a:bodyPr/>
          <a:lstStyle/>
          <a:p>
            <a:r>
              <a:rPr lang="en-GB" noProof="0" dirty="0"/>
              <a:t>Click to add title</a:t>
            </a:r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4604BA42-F911-8784-8224-2DCCC6C8C1D8}"/>
              </a:ext>
            </a:extLst>
          </p:cNvPr>
          <p:cNvSpPr>
            <a:spLocks noGrp="1"/>
          </p:cNvSpPr>
          <p:nvPr>
            <p:ph type="subTitle" idx="95" hasCustomPrompt="1"/>
          </p:nvPr>
        </p:nvSpPr>
        <p:spPr>
          <a:xfrm>
            <a:off x="358961" y="742223"/>
            <a:ext cx="4933343" cy="540000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1400" cap="all" baseline="0"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41" name="Text Placeholder 17">
            <a:extLst>
              <a:ext uri="{FF2B5EF4-FFF2-40B4-BE49-F238E27FC236}">
                <a16:creationId xmlns:a16="http://schemas.microsoft.com/office/drawing/2014/main" id="{B8BA6897-1120-DFB2-7627-2580A85609C1}"/>
              </a:ext>
            </a:extLst>
          </p:cNvPr>
          <p:cNvSpPr>
            <a:spLocks noGrp="1"/>
          </p:cNvSpPr>
          <p:nvPr>
            <p:ph type="body" sz="quarter" idx="105" hasCustomPrompt="1"/>
          </p:nvPr>
        </p:nvSpPr>
        <p:spPr>
          <a:xfrm>
            <a:off x="358961" y="5122800"/>
            <a:ext cx="2874296" cy="997200"/>
          </a:xfrm>
        </p:spPr>
        <p:txBody>
          <a:bodyPr vert="horz" lIns="0" tIns="0" rIns="0" bIns="0" rtlCol="0">
            <a:noAutofit/>
          </a:bodyPr>
          <a:lstStyle>
            <a:lvl1pPr>
              <a:defRPr lang="en-GB" sz="1400" dirty="0" smtClean="0"/>
            </a:lvl1pPr>
            <a:lvl2pPr>
              <a:defRPr lang="en-GB" sz="1400" dirty="0" smtClean="0"/>
            </a:lvl2pPr>
            <a:lvl3pPr>
              <a:defRPr lang="en-GB" sz="1400" dirty="0" smtClean="0"/>
            </a:lvl3pPr>
            <a:lvl4pPr>
              <a:defRPr lang="en-GB" sz="1400" dirty="0" smtClean="0"/>
            </a:lvl4pPr>
            <a:lvl5pPr>
              <a:defRPr lang="en-GB" sz="1400" dirty="0" smtClean="0"/>
            </a:lvl5pPr>
            <a:lvl6pPr>
              <a:defRPr lang="en-GB" dirty="0" smtClean="0"/>
            </a:lvl6pPr>
            <a:lvl7pPr>
              <a:defRPr lang="en-GB" dirty="0" smtClean="0"/>
            </a:lvl7pPr>
            <a:lvl8pPr>
              <a:defRPr lang="en-GB" dirty="0" smtClean="0"/>
            </a:lvl8pPr>
            <a:lvl9pPr>
              <a:defRPr lang="en-GB" dirty="0"/>
            </a:lvl9pPr>
          </a:lstStyle>
          <a:p>
            <a:pPr lvl="0"/>
            <a:r>
              <a:rPr lang="en-GB" noProof="0" dirty="0"/>
              <a:t>Click to add text                           Press ENTER then TAB to view next text style                         Press SHIFT+TAB to view previous text style</a:t>
            </a:r>
            <a:endParaRPr lang="en-GB" dirty="0"/>
          </a:p>
          <a:p>
            <a:pPr lvl="8"/>
            <a:endParaRPr lang="en-GB" dirty="0"/>
          </a:p>
        </p:txBody>
      </p:sp>
      <p:sp>
        <p:nvSpPr>
          <p:cNvPr id="39" name="Footer Placeholder 38">
            <a:extLst>
              <a:ext uri="{FF2B5EF4-FFF2-40B4-BE49-F238E27FC236}">
                <a16:creationId xmlns:a16="http://schemas.microsoft.com/office/drawing/2014/main" id="{55A91BD2-7E49-C0B4-94B7-11A23F160291}"/>
              </a:ext>
            </a:extLst>
          </p:cNvPr>
          <p:cNvSpPr>
            <a:spLocks noGrp="1"/>
          </p:cNvSpPr>
          <p:nvPr>
            <p:ph type="ftr" sz="quarter" idx="107"/>
          </p:nvPr>
        </p:nvSpPr>
        <p:spPr/>
        <p:txBody>
          <a:bodyPr/>
          <a:lstStyle/>
          <a:p>
            <a:r>
              <a:rPr lang="en-GB" dirty="0"/>
              <a:t>Muuto</a:t>
            </a:r>
          </a:p>
        </p:txBody>
      </p:sp>
      <p:sp>
        <p:nvSpPr>
          <p:cNvPr id="40" name="Slide Number Placeholder 39">
            <a:extLst>
              <a:ext uri="{FF2B5EF4-FFF2-40B4-BE49-F238E27FC236}">
                <a16:creationId xmlns:a16="http://schemas.microsoft.com/office/drawing/2014/main" id="{CDC628C0-9BB7-C9E3-3A4E-7D837B05AD31}"/>
              </a:ext>
            </a:extLst>
          </p:cNvPr>
          <p:cNvSpPr>
            <a:spLocks noGrp="1"/>
          </p:cNvSpPr>
          <p:nvPr>
            <p:ph type="sldNum" sz="quarter" idx="108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67842625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Picture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 hidden="1">
            <a:extLst>
              <a:ext uri="{FF2B5EF4-FFF2-40B4-BE49-F238E27FC236}">
                <a16:creationId xmlns:a16="http://schemas.microsoft.com/office/drawing/2014/main" id="{2EE0E2BD-48D1-4D47-8342-791206DBA9EB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28"/>
          </p:nvPr>
        </p:nvSpPr>
        <p:spPr/>
        <p:txBody>
          <a:bodyPr/>
          <a:lstStyle/>
          <a:p>
            <a:fld id="{45527A44-AA1D-4BA1-AA93-32475F9E9A8F}" type="datetime4">
              <a:rPr lang="en-GB" smtClean="0"/>
              <a:pPr/>
              <a:t>14 March 2025</a:t>
            </a:fld>
            <a:endParaRPr lang="en-GB" dirty="0"/>
          </a:p>
        </p:txBody>
      </p:sp>
      <p:sp>
        <p:nvSpPr>
          <p:cNvPr id="17" name="Text Placeholder background">
            <a:extLst>
              <a:ext uri="{FF2B5EF4-FFF2-40B4-BE49-F238E27FC236}">
                <a16:creationId xmlns:a16="http://schemas.microsoft.com/office/drawing/2014/main" id="{EB36702A-A44D-425A-A9FA-6A0926B0F79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white">
          <a:xfrm>
            <a:off x="0" y="0"/>
            <a:ext cx="12198350" cy="6858000"/>
          </a:xfrm>
          <a:solidFill>
            <a:srgbClr val="ECE8DD"/>
          </a:solidFill>
          <a:ln>
            <a:noFill/>
          </a:ln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C3740E63-FE5A-40EF-8F52-2CDC77D09BC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-1" y="1764000"/>
            <a:ext cx="3944053" cy="5094000"/>
          </a:xfrm>
          <a:solidFill>
            <a:schemeClr val="bg1"/>
          </a:solidFill>
        </p:spPr>
        <p:txBody>
          <a:bodyPr lIns="0" tIns="648000" anchor="ctr" anchorCtr="0"/>
          <a:lstStyle>
            <a:lvl1pPr marL="0" indent="0" algn="ctr">
              <a:buNone/>
              <a:defRPr sz="1200"/>
            </a:lvl1pPr>
          </a:lstStyle>
          <a:p>
            <a:r>
              <a:rPr lang="en-GB" noProof="0" dirty="0"/>
              <a:t>Click to add picture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A1EAB557-51FE-4F46-971A-ED4CEBB5AC4C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304241" y="360000"/>
            <a:ext cx="3584853" cy="47196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  <a:endParaRPr lang="en-GB" dirty="0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397DB119-4C74-4B54-9E2F-163A08938EC5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8251358" y="3578400"/>
            <a:ext cx="3583866" cy="21888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0186" y="360000"/>
            <a:ext cx="3583866" cy="1080000"/>
          </a:xfrm>
        </p:spPr>
        <p:txBody>
          <a:bodyPr/>
          <a:lstStyle/>
          <a:p>
            <a:r>
              <a:rPr lang="en-GB" noProof="0" dirty="0"/>
              <a:t>Click to add tit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06EBDE00-5963-85A6-2E80-F6F4E7A6EA09}"/>
              </a:ext>
            </a:extLst>
          </p:cNvPr>
          <p:cNvSpPr>
            <a:spLocks noGrp="1"/>
          </p:cNvSpPr>
          <p:nvPr>
            <p:ph type="subTitle" idx="31" hasCustomPrompt="1"/>
          </p:nvPr>
        </p:nvSpPr>
        <p:spPr>
          <a:xfrm>
            <a:off x="358962" y="742223"/>
            <a:ext cx="3583866" cy="701344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1400" cap="all" baseline="0"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639C785-90F2-48A6-926C-AD502380696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125679" y="6073200"/>
            <a:ext cx="2778778" cy="432000"/>
          </a:xfrm>
        </p:spPr>
        <p:txBody>
          <a:bodyPr anchor="b"/>
          <a:lstStyle>
            <a:lvl1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1pPr>
            <a:lvl2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2pPr>
            <a:lvl3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3pPr>
            <a:lvl4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4pPr>
            <a:lvl5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D52EA5A8-641C-4C8C-92D4-F5A7005607E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484335" y="4846404"/>
            <a:ext cx="2780673" cy="432000"/>
          </a:xfrm>
        </p:spPr>
        <p:txBody>
          <a:bodyPr/>
          <a:lstStyle>
            <a:lvl1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1pPr>
            <a:lvl2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2pPr>
            <a:lvl3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3pPr>
            <a:lvl4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4pPr>
            <a:lvl5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20" name="Text Placeholder 15">
            <a:extLst>
              <a:ext uri="{FF2B5EF4-FFF2-40B4-BE49-F238E27FC236}">
                <a16:creationId xmlns:a16="http://schemas.microsoft.com/office/drawing/2014/main" id="{BFD7635F-522B-48C8-8BDC-03DF50688E4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433654" y="5530245"/>
            <a:ext cx="2776756" cy="432000"/>
          </a:xfrm>
        </p:spPr>
        <p:txBody>
          <a:bodyPr anchor="t" anchorCtr="0"/>
          <a:lstStyle>
            <a:lvl1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1pPr>
            <a:lvl2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2pPr>
            <a:lvl3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3pPr>
            <a:lvl4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4pPr>
            <a:lvl5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D688CCA-09B2-4E65-A717-E5EA6ED5CCE8}"/>
              </a:ext>
            </a:extLst>
          </p:cNvPr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r>
              <a:rPr lang="en-GB" dirty="0"/>
              <a:t>Muuto</a:t>
            </a: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F99E7C01-DC5F-4CBE-B02A-7E633A21663E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16163702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Picture 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 hidden="1">
            <a:extLst>
              <a:ext uri="{FF2B5EF4-FFF2-40B4-BE49-F238E27FC236}">
                <a16:creationId xmlns:a16="http://schemas.microsoft.com/office/drawing/2014/main" id="{91C074F6-B33E-4F9F-B11A-8BF68E4EA743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28"/>
          </p:nvPr>
        </p:nvSpPr>
        <p:spPr/>
        <p:txBody>
          <a:bodyPr/>
          <a:lstStyle/>
          <a:p>
            <a:fld id="{45527A44-AA1D-4BA1-AA93-32475F9E9A8F}" type="datetime4">
              <a:rPr lang="en-GB" smtClean="0"/>
              <a:pPr/>
              <a:t>14 March 2025</a:t>
            </a:fld>
            <a:endParaRPr lang="en-GB" dirty="0"/>
          </a:p>
        </p:txBody>
      </p:sp>
      <p:sp>
        <p:nvSpPr>
          <p:cNvPr id="13" name="Text Placeholder background">
            <a:extLst>
              <a:ext uri="{FF2B5EF4-FFF2-40B4-BE49-F238E27FC236}">
                <a16:creationId xmlns:a16="http://schemas.microsoft.com/office/drawing/2014/main" id="{34E8A825-2C85-42D1-AA58-57656F0AE85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white">
          <a:xfrm>
            <a:off x="0" y="0"/>
            <a:ext cx="12198350" cy="6858000"/>
          </a:xfrm>
          <a:solidFill>
            <a:srgbClr val="ECE8DD"/>
          </a:solidFill>
          <a:ln>
            <a:noFill/>
          </a:ln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C3740E63-FE5A-40EF-8F52-2CDC77D09BC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1764000"/>
            <a:ext cx="4931755" cy="5094000"/>
          </a:xfrm>
          <a:solidFill>
            <a:schemeClr val="bg1"/>
          </a:solidFill>
        </p:spPr>
        <p:txBody>
          <a:bodyPr lIns="0" tIns="648000" anchor="ctr" anchorCtr="0"/>
          <a:lstStyle>
            <a:lvl1pPr marL="0" indent="0" algn="ctr">
              <a:buNone/>
              <a:defRPr sz="1200"/>
            </a:lvl1pPr>
          </a:lstStyle>
          <a:p>
            <a:r>
              <a:rPr lang="en-GB" noProof="0" dirty="0"/>
              <a:t>Click to add picture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A1EAB557-51FE-4F46-971A-ED4CEBB5AC4C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5294756" y="1764000"/>
            <a:ext cx="3582403" cy="26820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397DB119-4C74-4B54-9E2F-163A08938EC5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9240160" y="3816000"/>
            <a:ext cx="2597640" cy="2681638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8962" y="360000"/>
            <a:ext cx="8518434" cy="1080000"/>
          </a:xfrm>
        </p:spPr>
        <p:txBody>
          <a:bodyPr/>
          <a:lstStyle/>
          <a:p>
            <a:r>
              <a:rPr lang="en-GB" noProof="0" dirty="0"/>
              <a:t>Click to add title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183923D3-5812-6239-AE30-CA88436BD923}"/>
              </a:ext>
            </a:extLst>
          </p:cNvPr>
          <p:cNvSpPr>
            <a:spLocks noGrp="1"/>
          </p:cNvSpPr>
          <p:nvPr>
            <p:ph type="subTitle" idx="31" hasCustomPrompt="1"/>
          </p:nvPr>
        </p:nvSpPr>
        <p:spPr>
          <a:xfrm>
            <a:off x="358962" y="742223"/>
            <a:ext cx="8518434" cy="701344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1400" cap="all" baseline="0"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639C785-90F2-48A6-926C-AD502380696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121586" y="6072539"/>
            <a:ext cx="2769222" cy="432001"/>
          </a:xfrm>
        </p:spPr>
        <p:txBody>
          <a:bodyPr anchor="b"/>
          <a:lstStyle>
            <a:lvl1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1pPr>
            <a:lvl2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2pPr>
            <a:lvl3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3pPr>
            <a:lvl4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4pPr>
            <a:lvl5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D52EA5A8-641C-4C8C-92D4-F5A7005607E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472398" y="4210890"/>
            <a:ext cx="2778960" cy="432000"/>
          </a:xfrm>
        </p:spPr>
        <p:txBody>
          <a:bodyPr/>
          <a:lstStyle>
            <a:lvl1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1pPr>
            <a:lvl2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2pPr>
            <a:lvl3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3pPr>
            <a:lvl4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4pPr>
            <a:lvl5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BB3D2840-BCD6-46B3-980D-0532CB1ADAE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417094" y="3625410"/>
            <a:ext cx="1793317" cy="432000"/>
          </a:xfrm>
        </p:spPr>
        <p:txBody>
          <a:bodyPr anchor="b" anchorCtr="0"/>
          <a:lstStyle>
            <a:lvl1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1pPr>
            <a:lvl2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2pPr>
            <a:lvl3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3pPr>
            <a:lvl4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4pPr>
            <a:lvl5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6832DB0-A72E-412E-8EC1-4208F4332274}"/>
              </a:ext>
            </a:extLst>
          </p:cNvPr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r>
              <a:rPr lang="en-GB" dirty="0"/>
              <a:t>Muuto</a:t>
            </a: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C6E5EE9D-D9BB-418C-8376-A34AA9C1AAF0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38072431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Picture 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 hidden="1">
            <a:extLst>
              <a:ext uri="{FF2B5EF4-FFF2-40B4-BE49-F238E27FC236}">
                <a16:creationId xmlns:a16="http://schemas.microsoft.com/office/drawing/2014/main" id="{C8A03455-1886-482F-B215-D0F51809F031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28"/>
          </p:nvPr>
        </p:nvSpPr>
        <p:spPr/>
        <p:txBody>
          <a:bodyPr/>
          <a:lstStyle/>
          <a:p>
            <a:fld id="{45527A44-AA1D-4BA1-AA93-32475F9E9A8F}" type="datetime4">
              <a:rPr lang="en-GB" smtClean="0"/>
              <a:pPr/>
              <a:t>14 March 2025</a:t>
            </a:fld>
            <a:endParaRPr lang="en-GB" dirty="0"/>
          </a:p>
        </p:txBody>
      </p:sp>
      <p:sp>
        <p:nvSpPr>
          <p:cNvPr id="13" name="Text Placeholder background">
            <a:extLst>
              <a:ext uri="{FF2B5EF4-FFF2-40B4-BE49-F238E27FC236}">
                <a16:creationId xmlns:a16="http://schemas.microsoft.com/office/drawing/2014/main" id="{A487D1F4-8FC5-40AA-90FF-BB1E8D537359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white">
          <a:xfrm>
            <a:off x="0" y="0"/>
            <a:ext cx="12198350" cy="6858000"/>
          </a:xfrm>
          <a:solidFill>
            <a:srgbClr val="ECE8DD"/>
          </a:solidFill>
          <a:ln>
            <a:noFill/>
          </a:ln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C3740E63-FE5A-40EF-8F52-2CDC77D09BC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60187" y="1764000"/>
            <a:ext cx="2598503" cy="2736000"/>
          </a:xfrm>
          <a:solidFill>
            <a:schemeClr val="bg1"/>
          </a:solidFill>
        </p:spPr>
        <p:txBody>
          <a:bodyPr lIns="0" tIns="648000" anchor="ctr" anchorCtr="0"/>
          <a:lstStyle>
            <a:lvl1pPr marL="0" indent="0" algn="ctr">
              <a:buNone/>
              <a:defRPr sz="1200"/>
            </a:lvl1pPr>
          </a:lstStyle>
          <a:p>
            <a:r>
              <a:rPr lang="en-GB" noProof="0" dirty="0"/>
              <a:t>Click to add picture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A1EAB557-51FE-4F46-971A-ED4CEBB5AC4C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3317652" y="2520000"/>
            <a:ext cx="3586806" cy="27360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  <a:endParaRPr lang="en-GB" dirty="0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397DB119-4C74-4B54-9E2F-163A08938EC5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7265006" y="0"/>
            <a:ext cx="4933343" cy="68580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8962" y="360000"/>
            <a:ext cx="6544607" cy="1080000"/>
          </a:xfrm>
        </p:spPr>
        <p:txBody>
          <a:bodyPr/>
          <a:lstStyle/>
          <a:p>
            <a:r>
              <a:rPr lang="en-GB" noProof="0" dirty="0"/>
              <a:t>Click to add title</a:t>
            </a:r>
          </a:p>
        </p:txBody>
      </p:sp>
      <p:sp>
        <p:nvSpPr>
          <p:cNvPr id="21" name="Subtitle 2">
            <a:extLst>
              <a:ext uri="{FF2B5EF4-FFF2-40B4-BE49-F238E27FC236}">
                <a16:creationId xmlns:a16="http://schemas.microsoft.com/office/drawing/2014/main" id="{7DC7CB40-31F6-A6B6-65EA-6E2421868EF9}"/>
              </a:ext>
            </a:extLst>
          </p:cNvPr>
          <p:cNvSpPr>
            <a:spLocks noGrp="1"/>
          </p:cNvSpPr>
          <p:nvPr>
            <p:ph type="subTitle" idx="31" hasCustomPrompt="1"/>
          </p:nvPr>
        </p:nvSpPr>
        <p:spPr>
          <a:xfrm>
            <a:off x="358962" y="742223"/>
            <a:ext cx="6544607" cy="701344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1400" cap="all" baseline="0"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639C785-90F2-48A6-926C-AD502380696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39056" y="4270242"/>
            <a:ext cx="2262753" cy="432000"/>
          </a:xfrm>
        </p:spPr>
        <p:txBody>
          <a:bodyPr anchor="t" anchorCtr="0"/>
          <a:lstStyle>
            <a:lvl1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1pPr>
            <a:lvl2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2pPr>
            <a:lvl3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3pPr>
            <a:lvl4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4pPr>
            <a:lvl5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D52EA5A8-641C-4C8C-92D4-F5A7005607E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497745" y="2340800"/>
            <a:ext cx="2780911" cy="432000"/>
          </a:xfrm>
        </p:spPr>
        <p:txBody>
          <a:bodyPr anchor="b"/>
          <a:lstStyle>
            <a:lvl1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1pPr>
            <a:lvl2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2pPr>
            <a:lvl3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3pPr>
            <a:lvl4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4pPr>
            <a:lvl5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BB3D2840-BCD6-46B3-980D-0532CB1ADAE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305955" y="6073200"/>
            <a:ext cx="2778957" cy="432000"/>
          </a:xfrm>
        </p:spPr>
        <p:txBody>
          <a:bodyPr anchor="b" anchorCtr="0"/>
          <a:lstStyle>
            <a:lvl1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1pPr>
            <a:lvl2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2pPr>
            <a:lvl3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3pPr>
            <a:lvl4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4pPr>
            <a:lvl5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5pPr>
            <a:lvl6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6pPr>
            <a:lvl7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7pPr>
            <a:lvl8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8pPr>
            <a:lvl9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7B18F46-B5A1-40D3-9A0A-B3E56A562011}"/>
              </a:ext>
            </a:extLst>
          </p:cNvPr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r>
              <a:rPr lang="en-GB" dirty="0"/>
              <a:t>Muuto</a:t>
            </a: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B2A824F9-FD00-457E-828C-398CD5D86A1A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69077054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Picture 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 hidden="1">
            <a:extLst>
              <a:ext uri="{FF2B5EF4-FFF2-40B4-BE49-F238E27FC236}">
                <a16:creationId xmlns:a16="http://schemas.microsoft.com/office/drawing/2014/main" id="{94B30BE3-926B-4867-95CC-C7920E0C24BF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28"/>
          </p:nvPr>
        </p:nvSpPr>
        <p:spPr/>
        <p:txBody>
          <a:bodyPr/>
          <a:lstStyle/>
          <a:p>
            <a:fld id="{45527A44-AA1D-4BA1-AA93-32475F9E9A8F}" type="datetime4">
              <a:rPr lang="en-GB" smtClean="0"/>
              <a:pPr/>
              <a:t>14 March 2025</a:t>
            </a:fld>
            <a:endParaRPr lang="en-GB" dirty="0"/>
          </a:p>
        </p:txBody>
      </p:sp>
      <p:sp>
        <p:nvSpPr>
          <p:cNvPr id="17" name="Text Placeholder background">
            <a:extLst>
              <a:ext uri="{FF2B5EF4-FFF2-40B4-BE49-F238E27FC236}">
                <a16:creationId xmlns:a16="http://schemas.microsoft.com/office/drawing/2014/main" id="{EB36702A-A44D-425A-A9FA-6A0926B0F79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white">
          <a:xfrm>
            <a:off x="0" y="0"/>
            <a:ext cx="12198350" cy="6858000"/>
          </a:xfrm>
          <a:solidFill>
            <a:srgbClr val="ECE8DD"/>
          </a:solidFill>
          <a:ln>
            <a:noFill/>
          </a:ln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C3740E63-FE5A-40EF-8F52-2CDC77D09BC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1" y="2689200"/>
            <a:ext cx="2959053" cy="4168800"/>
          </a:xfrm>
          <a:solidFill>
            <a:schemeClr val="bg1"/>
          </a:solidFill>
        </p:spPr>
        <p:txBody>
          <a:bodyPr lIns="0" tIns="648000" anchor="ctr" anchorCtr="0"/>
          <a:lstStyle>
            <a:lvl1pPr marL="0" indent="0" algn="ctr">
              <a:buNone/>
              <a:defRPr sz="1200"/>
            </a:lvl1pPr>
          </a:lstStyle>
          <a:p>
            <a:r>
              <a:rPr lang="en-GB" noProof="0" dirty="0"/>
              <a:t>Click to add picture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A1EAB557-51FE-4F46-971A-ED4CEBB5AC4C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3319703" y="2689200"/>
            <a:ext cx="3584754" cy="23328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  <a:endParaRPr lang="en-GB" dirty="0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397DB119-4C74-4B54-9E2F-163A08938EC5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7265006" y="358776"/>
            <a:ext cx="4573156" cy="6138862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8962" y="360000"/>
            <a:ext cx="6544607" cy="1080000"/>
          </a:xfrm>
        </p:spPr>
        <p:txBody>
          <a:bodyPr/>
          <a:lstStyle/>
          <a:p>
            <a:r>
              <a:rPr lang="en-GB" noProof="0" dirty="0"/>
              <a:t>Click to add title</a:t>
            </a:r>
          </a:p>
        </p:txBody>
      </p:sp>
      <p:sp>
        <p:nvSpPr>
          <p:cNvPr id="20" name="Subtitle 2">
            <a:extLst>
              <a:ext uri="{FF2B5EF4-FFF2-40B4-BE49-F238E27FC236}">
                <a16:creationId xmlns:a16="http://schemas.microsoft.com/office/drawing/2014/main" id="{C85E3043-5317-6424-A94A-A4824FC5BA2F}"/>
              </a:ext>
            </a:extLst>
          </p:cNvPr>
          <p:cNvSpPr>
            <a:spLocks noGrp="1"/>
          </p:cNvSpPr>
          <p:nvPr>
            <p:ph type="subTitle" idx="31" hasCustomPrompt="1"/>
          </p:nvPr>
        </p:nvSpPr>
        <p:spPr>
          <a:xfrm>
            <a:off x="358962" y="742223"/>
            <a:ext cx="6544607" cy="701344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1400" cap="all" baseline="0"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639C785-90F2-48A6-926C-AD502380696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58963" y="2502371"/>
            <a:ext cx="1972701" cy="432000"/>
          </a:xfrm>
        </p:spPr>
        <p:txBody>
          <a:bodyPr anchor="b"/>
          <a:lstStyle>
            <a:lvl1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1pPr>
            <a:lvl2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2pPr>
            <a:lvl3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3pPr>
            <a:lvl4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4pPr>
            <a:lvl5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D52EA5A8-641C-4C8C-92D4-F5A7005607E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501022" y="4795186"/>
            <a:ext cx="2777634" cy="432000"/>
          </a:xfrm>
        </p:spPr>
        <p:txBody>
          <a:bodyPr/>
          <a:lstStyle>
            <a:lvl1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1pPr>
            <a:lvl2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2pPr>
            <a:lvl3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3pPr>
            <a:lvl4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4pPr>
            <a:lvl5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BB3D2840-BCD6-46B3-980D-0532CB1ADAE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931755" y="6073200"/>
            <a:ext cx="2150756" cy="432000"/>
          </a:xfrm>
        </p:spPr>
        <p:txBody>
          <a:bodyPr anchor="b" anchorCtr="0"/>
          <a:lstStyle>
            <a:lvl1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1pPr>
            <a:lvl2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2pPr>
            <a:lvl3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3pPr>
            <a:lvl4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4pPr>
            <a:lvl5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5pPr>
            <a:lvl6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6pPr>
            <a:lvl7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7pPr>
            <a:lvl8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8pPr>
            <a:lvl9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2BEEBFC-DD8A-4AD3-9877-1A3F23E5ED76}"/>
              </a:ext>
            </a:extLst>
          </p:cNvPr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r>
              <a:rPr lang="en-GB" dirty="0"/>
              <a:t>Muuto</a:t>
            </a: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511ABCEB-3EA0-49D2-B4E9-59C01B8EDC8D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4787561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80593A0-4211-460E-B6CF-FE2D9CE6D9C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" y="2"/>
            <a:ext cx="2384460" cy="6857999"/>
          </a:xfrm>
        </p:spPr>
        <p:txBody>
          <a:bodyPr/>
          <a:lstStyle/>
          <a:p>
            <a:endParaRPr lang="en-IN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5294" y="294200"/>
            <a:ext cx="8892000" cy="590400"/>
          </a:xfrm>
        </p:spPr>
        <p:txBody>
          <a:bodyPr/>
          <a:lstStyle>
            <a:lvl1pPr>
              <a:defRPr sz="2399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695293" y="1137921"/>
            <a:ext cx="2742882" cy="5018184"/>
          </a:xfrm>
        </p:spPr>
        <p:txBody>
          <a:bodyPr/>
          <a:lstStyle>
            <a:lvl1pPr marL="0" indent="0">
              <a:buNone/>
              <a:defRPr sz="1799">
                <a:solidFill>
                  <a:schemeClr val="bg1"/>
                </a:solidFill>
              </a:defRPr>
            </a:lvl1pPr>
            <a:lvl2pPr marL="356438" indent="0">
              <a:buNone/>
              <a:defRPr sz="1799">
                <a:solidFill>
                  <a:schemeClr val="bg1"/>
                </a:solidFill>
              </a:defRPr>
            </a:lvl2pPr>
            <a:lvl3pPr marL="712875" indent="0">
              <a:buNone/>
              <a:defRPr sz="1599">
                <a:solidFill>
                  <a:schemeClr val="bg1"/>
                </a:solidFill>
              </a:defRPr>
            </a:lvl3pPr>
            <a:lvl4pPr marL="1069313" indent="0">
              <a:buNone/>
              <a:defRPr sz="1399">
                <a:solidFill>
                  <a:schemeClr val="bg1"/>
                </a:solidFill>
              </a:defRPr>
            </a:lvl4pPr>
            <a:lvl5pPr marL="1425751" indent="0">
              <a:buNone/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78D3272-120F-430D-AFB5-E93227EEEAAF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5727083" y="1137921"/>
            <a:ext cx="2803842" cy="5018184"/>
          </a:xfrm>
        </p:spPr>
        <p:txBody>
          <a:bodyPr numCol="1"/>
          <a:lstStyle>
            <a:lvl1pPr marL="0" indent="0">
              <a:buNone/>
              <a:defRPr sz="1399">
                <a:solidFill>
                  <a:schemeClr val="bg1"/>
                </a:solidFill>
              </a:defRPr>
            </a:lvl1pPr>
            <a:lvl2pPr marL="356438" indent="0">
              <a:buNone/>
              <a:defRPr sz="1799">
                <a:solidFill>
                  <a:schemeClr val="bg1"/>
                </a:solidFill>
              </a:defRPr>
            </a:lvl2pPr>
            <a:lvl3pPr marL="712875" indent="0">
              <a:buNone/>
              <a:defRPr sz="1599">
                <a:solidFill>
                  <a:schemeClr val="bg1"/>
                </a:solidFill>
              </a:defRPr>
            </a:lvl3pPr>
            <a:lvl4pPr marL="1069313" indent="0">
              <a:buNone/>
              <a:defRPr sz="1399">
                <a:solidFill>
                  <a:schemeClr val="bg1"/>
                </a:solidFill>
              </a:defRPr>
            </a:lvl4pPr>
            <a:lvl5pPr marL="1425751" indent="0">
              <a:buNone/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6FF4A6F8-D9C6-4FEE-9324-5200D308BB1F}"/>
              </a:ext>
            </a:extLst>
          </p:cNvPr>
          <p:cNvSpPr>
            <a:spLocks noGrp="1"/>
          </p:cNvSpPr>
          <p:nvPr userDrawn="1">
            <p:ph idx="12" hasCustomPrompt="1"/>
          </p:nvPr>
        </p:nvSpPr>
        <p:spPr>
          <a:xfrm>
            <a:off x="8819833" y="1137923"/>
            <a:ext cx="2768600" cy="2796151"/>
          </a:xfrm>
        </p:spPr>
        <p:txBody>
          <a:bodyPr numCol="1"/>
          <a:lstStyle>
            <a:lvl1pPr marL="0" indent="0">
              <a:buNone/>
              <a:defRPr sz="1399">
                <a:solidFill>
                  <a:schemeClr val="bg1"/>
                </a:solidFill>
              </a:defRPr>
            </a:lvl1pPr>
            <a:lvl2pPr marL="356438" indent="0">
              <a:buNone/>
              <a:defRPr sz="1799">
                <a:solidFill>
                  <a:schemeClr val="bg1"/>
                </a:solidFill>
              </a:defRPr>
            </a:lvl2pPr>
            <a:lvl3pPr marL="712875" indent="0">
              <a:buNone/>
              <a:defRPr sz="1599">
                <a:solidFill>
                  <a:schemeClr val="bg1"/>
                </a:solidFill>
              </a:defRPr>
            </a:lvl3pPr>
            <a:lvl4pPr marL="1069313" indent="0">
              <a:buNone/>
              <a:defRPr sz="1399">
                <a:solidFill>
                  <a:schemeClr val="bg1"/>
                </a:solidFill>
              </a:defRPr>
            </a:lvl4pPr>
            <a:lvl5pPr marL="1425751" indent="0">
              <a:buNone/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9" name="Line 10">
            <a:extLst>
              <a:ext uri="{FF2B5EF4-FFF2-40B4-BE49-F238E27FC236}">
                <a16:creationId xmlns:a16="http://schemas.microsoft.com/office/drawing/2014/main" id="{B63A7CBA-3151-452E-BD2F-D3E65CE1595F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2695294" y="907750"/>
            <a:ext cx="8892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9A18168-B280-402E-8310-35BC958D390B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Presentation titl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7D562B9-5194-4705-ABBD-89576E2CC7A3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994335041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Picture F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 hidden="1">
            <a:extLst>
              <a:ext uri="{FF2B5EF4-FFF2-40B4-BE49-F238E27FC236}">
                <a16:creationId xmlns:a16="http://schemas.microsoft.com/office/drawing/2014/main" id="{773C0342-9ADB-4D4B-AF32-66CA841A1E27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28"/>
          </p:nvPr>
        </p:nvSpPr>
        <p:spPr/>
        <p:txBody>
          <a:bodyPr/>
          <a:lstStyle/>
          <a:p>
            <a:fld id="{45527A44-AA1D-4BA1-AA93-32475F9E9A8F}" type="datetime4">
              <a:rPr lang="en-GB" smtClean="0"/>
              <a:pPr/>
              <a:t>14 March 2025</a:t>
            </a:fld>
            <a:endParaRPr lang="en-GB" dirty="0"/>
          </a:p>
        </p:txBody>
      </p:sp>
      <p:sp>
        <p:nvSpPr>
          <p:cNvPr id="17" name="Text Placeholder background">
            <a:extLst>
              <a:ext uri="{FF2B5EF4-FFF2-40B4-BE49-F238E27FC236}">
                <a16:creationId xmlns:a16="http://schemas.microsoft.com/office/drawing/2014/main" id="{EB36702A-A44D-425A-A9FA-6A0926B0F79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white">
          <a:xfrm>
            <a:off x="0" y="0"/>
            <a:ext cx="12198350" cy="6858000"/>
          </a:xfrm>
          <a:solidFill>
            <a:srgbClr val="ECE8DD"/>
          </a:solidFill>
          <a:ln>
            <a:noFill/>
          </a:ln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C3740E63-FE5A-40EF-8F52-2CDC77D09BC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1" y="4086000"/>
            <a:ext cx="2959053" cy="2772000"/>
          </a:xfrm>
          <a:solidFill>
            <a:schemeClr val="bg1"/>
          </a:solidFill>
        </p:spPr>
        <p:txBody>
          <a:bodyPr lIns="0" tIns="648000" anchor="ctr" anchorCtr="0"/>
          <a:lstStyle>
            <a:lvl1pPr marL="0" indent="0" algn="ctr">
              <a:buNone/>
              <a:defRPr sz="1200"/>
            </a:lvl1pPr>
          </a:lstStyle>
          <a:p>
            <a:r>
              <a:rPr lang="en-GB" noProof="0" dirty="0"/>
              <a:t>Click to add picture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A1EAB557-51FE-4F46-971A-ED4CEBB5AC4C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3319703" y="1764000"/>
            <a:ext cx="3584754" cy="33480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  <a:endParaRPr lang="en-GB" dirty="0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397DB119-4C74-4B54-9E2F-163A08938EC5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7265006" y="358776"/>
            <a:ext cx="4573156" cy="4753224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0186" y="360000"/>
            <a:ext cx="6544271" cy="1080000"/>
          </a:xfrm>
        </p:spPr>
        <p:txBody>
          <a:bodyPr/>
          <a:lstStyle/>
          <a:p>
            <a:r>
              <a:rPr lang="en-GB" noProof="0" dirty="0"/>
              <a:t>Click to add tit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CA9FEC6E-BE23-13CE-DD69-5A24F18C2FB0}"/>
              </a:ext>
            </a:extLst>
          </p:cNvPr>
          <p:cNvSpPr>
            <a:spLocks noGrp="1"/>
          </p:cNvSpPr>
          <p:nvPr>
            <p:ph type="subTitle" idx="31" hasCustomPrompt="1"/>
          </p:nvPr>
        </p:nvSpPr>
        <p:spPr>
          <a:xfrm>
            <a:off x="358962" y="742223"/>
            <a:ext cx="6544607" cy="701344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1400" cap="all" baseline="0"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639C785-90F2-48A6-926C-AD502380696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58963" y="3796132"/>
            <a:ext cx="1972701" cy="432000"/>
          </a:xfrm>
        </p:spPr>
        <p:txBody>
          <a:bodyPr anchor="b"/>
          <a:lstStyle>
            <a:lvl1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1pPr>
            <a:lvl2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2pPr>
            <a:lvl3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3pPr>
            <a:lvl4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4pPr>
            <a:lvl5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D52EA5A8-641C-4C8C-92D4-F5A7005607E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501022" y="4987932"/>
            <a:ext cx="1790921" cy="432000"/>
          </a:xfrm>
        </p:spPr>
        <p:txBody>
          <a:bodyPr/>
          <a:lstStyle>
            <a:lvl1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1pPr>
            <a:lvl2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2pPr>
            <a:lvl3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3pPr>
            <a:lvl4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4pPr>
            <a:lvl5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20" name="Text Placeholder 15">
            <a:extLst>
              <a:ext uri="{FF2B5EF4-FFF2-40B4-BE49-F238E27FC236}">
                <a16:creationId xmlns:a16="http://schemas.microsoft.com/office/drawing/2014/main" id="{BFD7635F-522B-48C8-8BDC-03DF50688E4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446427" y="4987933"/>
            <a:ext cx="1790922" cy="432000"/>
          </a:xfrm>
        </p:spPr>
        <p:txBody>
          <a:bodyPr anchor="t" anchorCtr="0"/>
          <a:lstStyle>
            <a:lvl1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1pPr>
            <a:lvl2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2pPr>
            <a:lvl3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3pPr>
            <a:lvl4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4pPr>
            <a:lvl5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4738F88-05DA-4D0F-85C2-7B464B507DC0}"/>
              </a:ext>
            </a:extLst>
          </p:cNvPr>
          <p:cNvSpPr>
            <a:spLocks noGrp="1"/>
          </p:cNvSpPr>
          <p:nvPr>
            <p:ph type="ftr" sz="quarter" idx="29"/>
          </p:nvPr>
        </p:nvSpPr>
        <p:spPr>
          <a:xfrm>
            <a:off x="1345314" y="6315616"/>
            <a:ext cx="1613740" cy="180000"/>
          </a:xfrm>
        </p:spPr>
        <p:txBody>
          <a:bodyPr/>
          <a:lstStyle/>
          <a:p>
            <a:r>
              <a:rPr lang="en-GB" dirty="0"/>
              <a:t>Muuto</a:t>
            </a: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49997AE7-A864-4BB1-8F0A-6C4A0293F1A0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72728783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odboard">
    <p:bg>
      <p:bgPr>
        <a:solidFill>
          <a:srgbClr val="DBD4A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 hidden="1">
            <a:extLst>
              <a:ext uri="{FF2B5EF4-FFF2-40B4-BE49-F238E27FC236}">
                <a16:creationId xmlns:a16="http://schemas.microsoft.com/office/drawing/2014/main" id="{B89372E2-3CC5-4776-9171-F91D4E0F00F8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34"/>
          </p:nvPr>
        </p:nvSpPr>
        <p:spPr/>
        <p:txBody>
          <a:bodyPr/>
          <a:lstStyle/>
          <a:p>
            <a:fld id="{45527A44-AA1D-4BA1-AA93-32475F9E9A8F}" type="datetime4">
              <a:rPr lang="en-GB" smtClean="0"/>
              <a:pPr/>
              <a:t>14 March 2025</a:t>
            </a:fld>
            <a:endParaRPr lang="en-GB" dirty="0"/>
          </a:p>
        </p:txBody>
      </p:sp>
      <p:sp>
        <p:nvSpPr>
          <p:cNvPr id="20" name="Text Placeholder background">
            <a:extLst>
              <a:ext uri="{FF2B5EF4-FFF2-40B4-BE49-F238E27FC236}">
                <a16:creationId xmlns:a16="http://schemas.microsoft.com/office/drawing/2014/main" id="{8130B635-30E9-4563-BAC9-AA40416C146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white">
          <a:xfrm>
            <a:off x="0" y="0"/>
            <a:ext cx="12198350" cy="6858000"/>
          </a:xfrm>
          <a:solidFill>
            <a:srgbClr val="DBD4AA"/>
          </a:solidFill>
          <a:ln>
            <a:noFill/>
          </a:ln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C3740E63-FE5A-40EF-8F52-2CDC77D09BC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981031" cy="2664000"/>
          </a:xfrm>
          <a:solidFill>
            <a:schemeClr val="bg1"/>
          </a:solidFill>
        </p:spPr>
        <p:txBody>
          <a:bodyPr lIns="0" tIns="648000" anchor="ctr" anchorCtr="0"/>
          <a:lstStyle>
            <a:lvl1pPr marL="0" indent="0" algn="ctr">
              <a:buNone/>
              <a:defRPr sz="1200"/>
            </a:lvl1pPr>
          </a:lstStyle>
          <a:p>
            <a:r>
              <a:rPr lang="en-GB" noProof="0" dirty="0"/>
              <a:t>Click to add picture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A1EAB557-51FE-4F46-971A-ED4CEBB5AC4C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2331663" y="1296000"/>
            <a:ext cx="1981031" cy="20700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  <a:endParaRPr lang="en-GB" dirty="0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397DB119-4C74-4B54-9E2F-163A08938EC5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0" y="3780000"/>
            <a:ext cx="3945404" cy="20700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  <a:endParaRPr lang="en-GB" dirty="0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00883700-9020-4EDE-B612-DD8CC8490357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4305954" y="4536000"/>
            <a:ext cx="2598504" cy="1961638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  <a:endParaRPr lang="en-GB" dirty="0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37502B56-F0FB-4E62-B8DB-61DFAEDA3ECA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5294756" y="1998000"/>
            <a:ext cx="2595801" cy="21600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  <a:endParaRPr lang="en-GB" dirty="0"/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E2E08168-0D95-474A-8248-65F90C47763E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7265008" y="360000"/>
            <a:ext cx="2601678" cy="12960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  <a:endParaRPr lang="en-GB" dirty="0"/>
          </a:p>
        </p:txBody>
      </p:sp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323B86F2-F615-4D6C-B0EB-807DFCD5D209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8251358" y="1998000"/>
            <a:ext cx="3946992" cy="48600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C16FF16-8AB3-4A99-B458-6AFCAEB3222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60188" y="2770095"/>
            <a:ext cx="1431443" cy="595905"/>
          </a:xfrm>
        </p:spPr>
        <p:txBody>
          <a:bodyPr/>
          <a:lstStyle>
            <a:lvl1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1pPr>
            <a:lvl2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2pPr>
            <a:lvl3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3pPr>
            <a:lvl4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4pPr>
            <a:lvl5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95542A18-E35A-4959-9BCA-38191C8A5F84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2331662" y="5951726"/>
            <a:ext cx="1613741" cy="363891"/>
          </a:xfrm>
        </p:spPr>
        <p:txBody>
          <a:bodyPr/>
          <a:lstStyle>
            <a:lvl1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1pPr>
            <a:lvl2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2pPr>
            <a:lvl3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3pPr>
            <a:lvl4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4pPr>
            <a:lvl5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5pPr>
            <a:lvl6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6pPr>
            <a:lvl7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7pPr>
            <a:lvl8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8pPr>
            <a:lvl9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23" name="Text Placeholder 6">
            <a:extLst>
              <a:ext uri="{FF2B5EF4-FFF2-40B4-BE49-F238E27FC236}">
                <a16:creationId xmlns:a16="http://schemas.microsoft.com/office/drawing/2014/main" id="{9F4C81B5-0E40-4CBF-BB82-FA3112DCAF6D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2331665" y="358775"/>
            <a:ext cx="1613740" cy="855506"/>
          </a:xfrm>
        </p:spPr>
        <p:txBody>
          <a:bodyPr anchor="b" anchorCtr="0"/>
          <a:lstStyle>
            <a:lvl1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1pPr>
            <a:lvl2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2pPr>
            <a:lvl3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3pPr>
            <a:lvl4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4pPr>
            <a:lvl5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030658A2-871D-4640-A779-B131EE465DF8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5292306" y="1486425"/>
            <a:ext cx="1612152" cy="432000"/>
          </a:xfrm>
        </p:spPr>
        <p:txBody>
          <a:bodyPr anchor="b" anchorCtr="0"/>
          <a:lstStyle>
            <a:lvl1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1pPr>
            <a:lvl2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2pPr>
            <a:lvl3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3pPr>
            <a:lvl4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4pPr>
            <a:lvl5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27" name="Text Placeholder 10">
            <a:extLst>
              <a:ext uri="{FF2B5EF4-FFF2-40B4-BE49-F238E27FC236}">
                <a16:creationId xmlns:a16="http://schemas.microsoft.com/office/drawing/2014/main" id="{BE9462B7-B185-46B5-8C68-132F89815D12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085949" y="5951726"/>
            <a:ext cx="804609" cy="551500"/>
          </a:xfrm>
        </p:spPr>
        <p:txBody>
          <a:bodyPr anchor="b" anchorCtr="0"/>
          <a:lstStyle>
            <a:lvl1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2pPr>
            <a:lvl3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3pPr>
            <a:lvl4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4pPr>
            <a:lvl5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29" name="Text Placeholder 12">
            <a:extLst>
              <a:ext uri="{FF2B5EF4-FFF2-40B4-BE49-F238E27FC236}">
                <a16:creationId xmlns:a16="http://schemas.microsoft.com/office/drawing/2014/main" id="{E4550DBD-212F-4FF4-967D-B1BD38268903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5300634" y="358775"/>
            <a:ext cx="1785314" cy="432000"/>
          </a:xfrm>
        </p:spPr>
        <p:txBody>
          <a:bodyPr/>
          <a:lstStyle>
            <a:lvl1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1pPr>
            <a:lvl2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2pPr>
            <a:lvl3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3pPr>
            <a:lvl4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4pPr>
            <a:lvl5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5pPr>
            <a:lvl6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6pPr>
            <a:lvl7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7pPr>
            <a:lvl8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8pPr>
            <a:lvl9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31" name="Text Placeholder 14">
            <a:extLst>
              <a:ext uri="{FF2B5EF4-FFF2-40B4-BE49-F238E27FC236}">
                <a16:creationId xmlns:a16="http://schemas.microsoft.com/office/drawing/2014/main" id="{3403082B-8D65-4142-BB8D-4D74D07167A3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10224060" y="1616928"/>
            <a:ext cx="1613740" cy="301497"/>
          </a:xfrm>
        </p:spPr>
        <p:txBody>
          <a:bodyPr anchor="b" anchorCtr="0"/>
          <a:lstStyle>
            <a:lvl1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1pPr>
            <a:lvl2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2pPr>
            <a:lvl3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3pPr>
            <a:lvl4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4pPr>
            <a:lvl5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5pPr>
            <a:lvl6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6pPr>
            <a:lvl7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7pPr>
            <a:lvl8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8pPr>
            <a:lvl9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7CCA1A1-22EC-43BD-A4F5-3C91F945E8A8}"/>
              </a:ext>
            </a:extLst>
          </p:cNvPr>
          <p:cNvSpPr>
            <a:spLocks noGrp="1"/>
          </p:cNvSpPr>
          <p:nvPr>
            <p:ph type="ftr" sz="quarter" idx="35"/>
          </p:nvPr>
        </p:nvSpPr>
        <p:spPr/>
        <p:txBody>
          <a:bodyPr/>
          <a:lstStyle/>
          <a:p>
            <a:r>
              <a:rPr lang="en-GB" dirty="0"/>
              <a:t>Muuto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7A72FF57-81FA-4EC5-BE10-F87B98FC8D0B}"/>
              </a:ext>
            </a:extLst>
          </p:cNvPr>
          <p:cNvSpPr>
            <a:spLocks noGrp="1"/>
          </p:cNvSpPr>
          <p:nvPr>
            <p:ph type="sldNum" sz="quarter" idx="36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99254429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odboard w. text">
    <p:bg>
      <p:bgPr>
        <a:solidFill>
          <a:srgbClr val="22283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2" hidden="1">
            <a:extLst>
              <a:ext uri="{FF2B5EF4-FFF2-40B4-BE49-F238E27FC236}">
                <a16:creationId xmlns:a16="http://schemas.microsoft.com/office/drawing/2014/main" id="{642DCFFC-91CD-3FDB-7163-F64243082378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92"/>
          </p:nvPr>
        </p:nvSpPr>
        <p:spPr>
          <a:xfrm>
            <a:off x="0" y="6858000"/>
            <a:ext cx="0" cy="0"/>
          </a:xfrm>
        </p:spPr>
        <p:txBody>
          <a:bodyPr/>
          <a:lstStyle/>
          <a:p>
            <a:fld id="{45527A44-AA1D-4BA1-AA93-32475F9E9A8F}" type="datetime4">
              <a:rPr lang="en-GB" smtClean="0"/>
              <a:pPr/>
              <a:t>14 March 2025</a:t>
            </a:fld>
            <a:endParaRPr lang="en-GB" dirty="0"/>
          </a:p>
        </p:txBody>
      </p:sp>
      <p:sp>
        <p:nvSpPr>
          <p:cNvPr id="22" name="Text Placeholder background">
            <a:extLst>
              <a:ext uri="{FF2B5EF4-FFF2-40B4-BE49-F238E27FC236}">
                <a16:creationId xmlns:a16="http://schemas.microsoft.com/office/drawing/2014/main" id="{7F8EA530-D562-4FB7-B628-B55B36C6D936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26" hasCustomPrompt="1"/>
          </p:nvPr>
        </p:nvSpPr>
        <p:spPr bwMode="white">
          <a:xfrm>
            <a:off x="0" y="0"/>
            <a:ext cx="12198350" cy="6858000"/>
          </a:xfrm>
          <a:solidFill>
            <a:srgbClr val="22283E"/>
          </a:solidFill>
          <a:ln>
            <a:noFill/>
          </a:ln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13" name="Picture Placeholder 13">
            <a:extLst>
              <a:ext uri="{FF2B5EF4-FFF2-40B4-BE49-F238E27FC236}">
                <a16:creationId xmlns:a16="http://schemas.microsoft.com/office/drawing/2014/main" id="{CF405E34-C9AD-E9F0-DD6A-19A81DEC02F6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360188" y="1918800"/>
            <a:ext cx="3220076" cy="4078800"/>
          </a:xfrm>
          <a:solidFill>
            <a:schemeClr val="tx1"/>
          </a:solidFill>
        </p:spPr>
        <p:txBody>
          <a:bodyPr tIns="648000" anchor="ctr"/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  <a:endParaRPr lang="en-GB" dirty="0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1CDE8BD7-96B8-A549-3830-6CA41B052DE2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4902152" y="0"/>
            <a:ext cx="1624446" cy="2163600"/>
          </a:xfrm>
          <a:solidFill>
            <a:schemeClr val="tx1"/>
          </a:solidFill>
        </p:spPr>
        <p:txBody>
          <a:bodyPr tIns="648000" anchor="ctr"/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  <a:endParaRPr lang="en-GB" dirty="0"/>
          </a:p>
        </p:txBody>
      </p:sp>
      <p:sp>
        <p:nvSpPr>
          <p:cNvPr id="15" name="Picture Placeholder 13">
            <a:extLst>
              <a:ext uri="{FF2B5EF4-FFF2-40B4-BE49-F238E27FC236}">
                <a16:creationId xmlns:a16="http://schemas.microsoft.com/office/drawing/2014/main" id="{6B1658D0-97B7-57A7-BA99-5908D8948DEE}"/>
              </a:ext>
            </a:extLst>
          </p:cNvPr>
          <p:cNvSpPr>
            <a:spLocks noGrp="1"/>
          </p:cNvSpPr>
          <p:nvPr>
            <p:ph type="pic" sz="quarter" idx="93" hasCustomPrompt="1"/>
          </p:nvPr>
        </p:nvSpPr>
        <p:spPr>
          <a:xfrm>
            <a:off x="7805263" y="0"/>
            <a:ext cx="4113341" cy="3045600"/>
          </a:xfrm>
          <a:solidFill>
            <a:schemeClr val="tx1"/>
          </a:solidFill>
        </p:spPr>
        <p:txBody>
          <a:bodyPr tIns="648000" anchor="ctr"/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  <a:endParaRPr lang="en-GB" dirty="0"/>
          </a:p>
        </p:txBody>
      </p:sp>
      <p:sp>
        <p:nvSpPr>
          <p:cNvPr id="16" name="Picture Placeholder 13">
            <a:extLst>
              <a:ext uri="{FF2B5EF4-FFF2-40B4-BE49-F238E27FC236}">
                <a16:creationId xmlns:a16="http://schemas.microsoft.com/office/drawing/2014/main" id="{B6CDD5FA-DEDB-54C0-29EB-2849429B08AA}"/>
              </a:ext>
            </a:extLst>
          </p:cNvPr>
          <p:cNvSpPr>
            <a:spLocks noGrp="1"/>
          </p:cNvSpPr>
          <p:nvPr>
            <p:ph type="pic" sz="quarter" idx="94" hasCustomPrompt="1"/>
          </p:nvPr>
        </p:nvSpPr>
        <p:spPr>
          <a:xfrm>
            <a:off x="4232203" y="3114000"/>
            <a:ext cx="1786530" cy="1807200"/>
          </a:xfrm>
          <a:solidFill>
            <a:schemeClr val="tx1"/>
          </a:solidFill>
        </p:spPr>
        <p:txBody>
          <a:bodyPr tIns="648000" anchor="ctr"/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  <a:endParaRPr lang="en-GB" dirty="0"/>
          </a:p>
        </p:txBody>
      </p:sp>
      <p:sp>
        <p:nvSpPr>
          <p:cNvPr id="3" name="Picture Placeholder 13">
            <a:extLst>
              <a:ext uri="{FF2B5EF4-FFF2-40B4-BE49-F238E27FC236}">
                <a16:creationId xmlns:a16="http://schemas.microsoft.com/office/drawing/2014/main" id="{6B2E8A5C-FE7B-359E-81ED-21D3337570B1}"/>
              </a:ext>
            </a:extLst>
          </p:cNvPr>
          <p:cNvSpPr>
            <a:spLocks noGrp="1"/>
          </p:cNvSpPr>
          <p:nvPr>
            <p:ph type="pic" sz="quarter" idx="98" hasCustomPrompt="1"/>
          </p:nvPr>
        </p:nvSpPr>
        <p:spPr>
          <a:xfrm>
            <a:off x="6674274" y="4320000"/>
            <a:ext cx="3374957" cy="2538000"/>
          </a:xfrm>
          <a:solidFill>
            <a:schemeClr val="tx1"/>
          </a:solidFill>
        </p:spPr>
        <p:txBody>
          <a:bodyPr tIns="648000" anchor="ctr"/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  <a:endParaRPr lang="en-GB" dirty="0"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2DA72281-FF8A-A214-DD98-6DEEB4A3A4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8962" y="360000"/>
            <a:ext cx="4844522" cy="84219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19" name="Subtitle 2">
            <a:extLst>
              <a:ext uri="{FF2B5EF4-FFF2-40B4-BE49-F238E27FC236}">
                <a16:creationId xmlns:a16="http://schemas.microsoft.com/office/drawing/2014/main" id="{03691DF4-F4F4-2EF9-0573-6733C31A51ED}"/>
              </a:ext>
            </a:extLst>
          </p:cNvPr>
          <p:cNvSpPr>
            <a:spLocks noGrp="1"/>
          </p:cNvSpPr>
          <p:nvPr>
            <p:ph type="subTitle" idx="32" hasCustomPrompt="1"/>
          </p:nvPr>
        </p:nvSpPr>
        <p:spPr>
          <a:xfrm>
            <a:off x="358962" y="742224"/>
            <a:ext cx="4844522" cy="459853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1400" cap="all" baseline="0">
                <a:solidFill>
                  <a:schemeClr val="tx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40CF4073-12F7-49F5-A562-203C063C162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60188" y="1364400"/>
            <a:ext cx="1971476" cy="432000"/>
          </a:xfrm>
        </p:spPr>
        <p:txBody>
          <a:bodyPr anchor="b" anchorCtr="0"/>
          <a:lstStyle>
            <a:lvl1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None/>
              <a:defRPr sz="1000" b="0">
                <a:solidFill>
                  <a:srgbClr val="C5DBF3"/>
                </a:solidFill>
                <a:latin typeface="+mn-lt"/>
              </a:defRPr>
            </a:lvl2pPr>
            <a:lvl3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3pPr>
            <a:lvl4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4pPr>
            <a:lvl5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5pPr>
            <a:lvl6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6pPr>
            <a:lvl7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7pPr>
            <a:lvl8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8pPr>
            <a:lvl9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5B5F57F6-8F8F-845B-2223-019B5A26AAE7}"/>
              </a:ext>
            </a:extLst>
          </p:cNvPr>
          <p:cNvSpPr>
            <a:spLocks noGrp="1"/>
          </p:cNvSpPr>
          <p:nvPr>
            <p:ph type="body" sz="quarter" idx="95" hasCustomPrompt="1"/>
          </p:nvPr>
        </p:nvSpPr>
        <p:spPr>
          <a:xfrm>
            <a:off x="10224060" y="5889600"/>
            <a:ext cx="1613640" cy="856800"/>
          </a:xfrm>
        </p:spPr>
        <p:txBody>
          <a:bodyPr anchor="b" anchorCtr="0"/>
          <a:lstStyle>
            <a:lvl1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None/>
              <a:defRPr sz="1000" b="0">
                <a:solidFill>
                  <a:srgbClr val="C5DBF3"/>
                </a:solidFill>
                <a:latin typeface="+mn-lt"/>
              </a:defRPr>
            </a:lvl2pPr>
            <a:lvl3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3pPr>
            <a:lvl4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4pPr>
            <a:lvl5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5pPr>
            <a:lvl6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6pPr>
            <a:lvl7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7pPr>
            <a:lvl8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8pPr>
            <a:lvl9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C6B925E3-C070-A84E-0AE0-65C25A1026D6}"/>
              </a:ext>
            </a:extLst>
          </p:cNvPr>
          <p:cNvSpPr>
            <a:spLocks noGrp="1"/>
          </p:cNvSpPr>
          <p:nvPr>
            <p:ph type="body" sz="quarter" idx="96" hasCustomPrompt="1"/>
          </p:nvPr>
        </p:nvSpPr>
        <p:spPr>
          <a:xfrm>
            <a:off x="9865099" y="3229200"/>
            <a:ext cx="1972702" cy="576000"/>
          </a:xfrm>
        </p:spPr>
        <p:txBody>
          <a:bodyPr anchor="t" anchorCtr="0"/>
          <a:lstStyle>
            <a:lvl1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None/>
              <a:defRPr sz="1000" b="0">
                <a:solidFill>
                  <a:srgbClr val="C5DBF3"/>
                </a:solidFill>
                <a:latin typeface="+mn-lt"/>
              </a:defRPr>
            </a:lvl2pPr>
            <a:lvl3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3pPr>
            <a:lvl4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4pPr>
            <a:lvl5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5pPr>
            <a:lvl6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6pPr>
            <a:lvl7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7pPr>
            <a:lvl8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8pPr>
            <a:lvl9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B62089B-BD03-644A-60BD-04310CC8A944}"/>
              </a:ext>
            </a:extLst>
          </p:cNvPr>
          <p:cNvSpPr>
            <a:spLocks noGrp="1"/>
          </p:cNvSpPr>
          <p:nvPr>
            <p:ph type="ftr" sz="quarter" idx="99"/>
          </p:nvPr>
        </p:nvSpPr>
        <p:spPr/>
        <p:txBody>
          <a:bodyPr/>
          <a:lstStyle/>
          <a:p>
            <a:r>
              <a:rPr lang="en-GB" dirty="0"/>
              <a:t>Muuto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B16D9CF-8C52-3521-18A2-14114F49FD31}"/>
              </a:ext>
            </a:extLst>
          </p:cNvPr>
          <p:cNvSpPr>
            <a:spLocks noGrp="1"/>
          </p:cNvSpPr>
          <p:nvPr>
            <p:ph type="sldNum" sz="quarter" idx="100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8561002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ditorial A">
    <p:bg>
      <p:bgPr>
        <a:solidFill>
          <a:srgbClr val="C5DB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7D01AFF7-5FA2-4444-8FED-935918450D52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27"/>
          </p:nvPr>
        </p:nvSpPr>
        <p:spPr/>
        <p:txBody>
          <a:bodyPr/>
          <a:lstStyle/>
          <a:p>
            <a:fld id="{45527A44-AA1D-4BA1-AA93-32475F9E9A8F}" type="datetime4">
              <a:rPr lang="en-GB" smtClean="0"/>
              <a:pPr/>
              <a:t>14 March 2025</a:t>
            </a:fld>
            <a:endParaRPr lang="en-GB" dirty="0"/>
          </a:p>
        </p:txBody>
      </p:sp>
      <p:sp>
        <p:nvSpPr>
          <p:cNvPr id="14" name="Text Placeholder background">
            <a:extLst>
              <a:ext uri="{FF2B5EF4-FFF2-40B4-BE49-F238E27FC236}">
                <a16:creationId xmlns:a16="http://schemas.microsoft.com/office/drawing/2014/main" id="{A6EF560F-470F-466E-860C-B64C432C5ED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ltGray">
          <a:xfrm>
            <a:off x="0" y="0"/>
            <a:ext cx="12198350" cy="6858000"/>
          </a:xfrm>
          <a:solidFill>
            <a:srgbClr val="E2F1FD"/>
          </a:solidFill>
          <a:ln>
            <a:noFill/>
          </a:ln>
        </p:spPr>
        <p:txBody>
          <a:bodyPr/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0188" y="360000"/>
            <a:ext cx="6537403" cy="5796000"/>
          </a:xfrm>
        </p:spPr>
        <p:txBody>
          <a:bodyPr/>
          <a:lstStyle>
            <a:lvl1pPr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9238809" y="360000"/>
            <a:ext cx="2596952" cy="2700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en-GB" noProof="0" dirty="0"/>
              <a:t>Click to add text               Press ENTER then TAB to view next text style         Press SHIFT+TAB to view previous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 level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9238809" y="3373200"/>
            <a:ext cx="2596952" cy="2700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en-GB" noProof="0" dirty="0"/>
              <a:t>Click to add text                   Press ENTER then TAB to view next text style             Press SHIFT+TAB to view previous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 level</a:t>
            </a:r>
          </a:p>
          <a:p>
            <a:pPr lvl="6"/>
            <a:r>
              <a:rPr lang="en-GB" noProof="0" dirty="0"/>
              <a:t>7 level</a:t>
            </a:r>
          </a:p>
          <a:p>
            <a:pPr lvl="7"/>
            <a:r>
              <a:rPr lang="en-GB" noProof="0" dirty="0"/>
              <a:t>8 level</a:t>
            </a:r>
          </a:p>
          <a:p>
            <a:pPr lvl="8"/>
            <a:r>
              <a:rPr lang="en-GB" noProof="0" dirty="0"/>
              <a:t>9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499F151-F887-446A-BDB1-E70C4544F0D6}"/>
              </a:ext>
            </a:extLst>
          </p:cNvPr>
          <p:cNvSpPr>
            <a:spLocks noGrp="1"/>
          </p:cNvSpPr>
          <p:nvPr>
            <p:ph type="ftr" sz="quarter" idx="28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Muuto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C353671-8D18-4C4F-94F1-D57CA37BE1C7}"/>
              </a:ext>
            </a:extLst>
          </p:cNvPr>
          <p:cNvSpPr>
            <a:spLocks noGrp="1"/>
          </p:cNvSpPr>
          <p:nvPr>
            <p:ph type="sldNum" sz="quarter" idx="29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8293813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ditorial B">
    <p:bg>
      <p:bgPr>
        <a:solidFill>
          <a:srgbClr val="E5F5E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084B9691-4D2C-446F-BF9D-B76FC0274CB6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27"/>
          </p:nvPr>
        </p:nvSpPr>
        <p:spPr/>
        <p:txBody>
          <a:bodyPr/>
          <a:lstStyle/>
          <a:p>
            <a:fld id="{45527A44-AA1D-4BA1-AA93-32475F9E9A8F}" type="datetime4">
              <a:rPr lang="en-GB" smtClean="0"/>
              <a:pPr/>
              <a:t>14 March 2025</a:t>
            </a:fld>
            <a:endParaRPr lang="en-GB" dirty="0"/>
          </a:p>
        </p:txBody>
      </p:sp>
      <p:sp>
        <p:nvSpPr>
          <p:cNvPr id="14" name="Text Placeholder background">
            <a:extLst>
              <a:ext uri="{FF2B5EF4-FFF2-40B4-BE49-F238E27FC236}">
                <a16:creationId xmlns:a16="http://schemas.microsoft.com/office/drawing/2014/main" id="{5E2E1AE4-F854-40BF-9784-DF7DFD9161A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white">
          <a:xfrm>
            <a:off x="0" y="0"/>
            <a:ext cx="12198350" cy="6858000"/>
          </a:xfrm>
          <a:solidFill>
            <a:srgbClr val="E5F5E4"/>
          </a:solidFill>
          <a:ln>
            <a:noFill/>
          </a:ln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9" name="Picture Placeholder 3">
            <a:extLst>
              <a:ext uri="{FF2B5EF4-FFF2-40B4-BE49-F238E27FC236}">
                <a16:creationId xmlns:a16="http://schemas.microsoft.com/office/drawing/2014/main" id="{2906E3D3-FF54-41ED-B4FA-86CF6E9B3BC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890808" y="360000"/>
            <a:ext cx="3944053" cy="2700000"/>
          </a:xfrm>
          <a:solidFill>
            <a:schemeClr val="bg1"/>
          </a:solidFill>
        </p:spPr>
        <p:txBody>
          <a:bodyPr lIns="0" tIns="648000" anchor="ctr" anchorCtr="0"/>
          <a:lstStyle>
            <a:lvl1pPr marL="0" indent="0" algn="ctr">
              <a:buNone/>
              <a:defRPr sz="1200"/>
            </a:lvl1pPr>
          </a:lstStyle>
          <a:p>
            <a:r>
              <a:rPr lang="en-GB" noProof="0" dirty="0"/>
              <a:t>Click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0187" y="360000"/>
            <a:ext cx="4556372" cy="5148000"/>
          </a:xfrm>
        </p:spPr>
        <p:txBody>
          <a:bodyPr/>
          <a:lstStyle>
            <a:lvl1pPr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331735" y="3420000"/>
            <a:ext cx="2586371" cy="2340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en-GB" noProof="0" dirty="0"/>
              <a:t>Click to add text                   Press ENTER then TAB to view next text style             Press SHIFT+TAB to view previous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 level</a:t>
            </a:r>
          </a:p>
          <a:p>
            <a:pPr lvl="6"/>
            <a:r>
              <a:rPr lang="en-GB" noProof="0" dirty="0"/>
              <a:t>7 level</a:t>
            </a:r>
          </a:p>
          <a:p>
            <a:pPr lvl="7"/>
            <a:r>
              <a:rPr lang="en-GB" noProof="0" dirty="0"/>
              <a:t>8 level</a:t>
            </a:r>
          </a:p>
          <a:p>
            <a:pPr lvl="8"/>
            <a:r>
              <a:rPr lang="en-GB" noProof="0" dirty="0"/>
              <a:t>9 level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A695239E-96E4-8F24-180F-240795B0E02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071802" y="2822037"/>
            <a:ext cx="2779647" cy="432000"/>
          </a:xfrm>
        </p:spPr>
        <p:txBody>
          <a:bodyPr anchor="t"/>
          <a:lstStyle>
            <a:lvl1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1pPr>
            <a:lvl2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2pPr>
            <a:lvl3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3pPr>
            <a:lvl4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4pPr>
            <a:lvl5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789066D-EE07-4156-AD43-52A047B035B5}"/>
              </a:ext>
            </a:extLst>
          </p:cNvPr>
          <p:cNvSpPr>
            <a:spLocks noGrp="1"/>
          </p:cNvSpPr>
          <p:nvPr>
            <p:ph type="ftr" sz="quarter" idx="28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Muuto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BB2914B-BD88-49C7-9C7F-8BA2AA1ED75B}"/>
              </a:ext>
            </a:extLst>
          </p:cNvPr>
          <p:cNvSpPr>
            <a:spLocks noGrp="1"/>
          </p:cNvSpPr>
          <p:nvPr>
            <p:ph type="sldNum" sz="quarter" idx="29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2551570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ditorial C">
    <p:bg>
      <p:bgPr>
        <a:solidFill>
          <a:srgbClr val="ECE8D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 hidden="1">
            <a:extLst>
              <a:ext uri="{FF2B5EF4-FFF2-40B4-BE49-F238E27FC236}">
                <a16:creationId xmlns:a16="http://schemas.microsoft.com/office/drawing/2014/main" id="{9D0DFDB0-5500-422C-A7A9-C1B80C46FBB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28"/>
          </p:nvPr>
        </p:nvSpPr>
        <p:spPr/>
        <p:txBody>
          <a:bodyPr/>
          <a:lstStyle/>
          <a:p>
            <a:fld id="{45527A44-AA1D-4BA1-AA93-32475F9E9A8F}" type="datetime4">
              <a:rPr lang="en-GB" smtClean="0"/>
              <a:pPr/>
              <a:t>14 March 2025</a:t>
            </a:fld>
            <a:endParaRPr lang="en-GB" dirty="0"/>
          </a:p>
        </p:txBody>
      </p:sp>
      <p:sp>
        <p:nvSpPr>
          <p:cNvPr id="15" name="Text Placeholder background">
            <a:extLst>
              <a:ext uri="{FF2B5EF4-FFF2-40B4-BE49-F238E27FC236}">
                <a16:creationId xmlns:a16="http://schemas.microsoft.com/office/drawing/2014/main" id="{D2E0EEEA-3407-4641-A4AB-4E89B3D363A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white">
          <a:xfrm>
            <a:off x="1" y="0"/>
            <a:ext cx="12198350" cy="6858000"/>
          </a:xfrm>
          <a:solidFill>
            <a:srgbClr val="ECE8DD"/>
          </a:solidFill>
          <a:ln>
            <a:noFill/>
          </a:ln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14" name="Picture Placeholder 5">
            <a:extLst>
              <a:ext uri="{FF2B5EF4-FFF2-40B4-BE49-F238E27FC236}">
                <a16:creationId xmlns:a16="http://schemas.microsoft.com/office/drawing/2014/main" id="{50A3361E-A400-46E5-9025-A1EAD7012EF0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1" y="0"/>
            <a:ext cx="4931755" cy="6858000"/>
          </a:xfrm>
          <a:solidFill>
            <a:schemeClr val="bg1"/>
          </a:solidFill>
        </p:spPr>
        <p:txBody>
          <a:bodyPr lIns="0" tIns="648000" anchor="ctr" anchorCtr="0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  <a:endParaRPr lang="en-GB" dirty="0"/>
          </a:p>
        </p:txBody>
      </p:sp>
      <p:sp>
        <p:nvSpPr>
          <p:cNvPr id="9" name="Picture Placeholder 3">
            <a:extLst>
              <a:ext uri="{FF2B5EF4-FFF2-40B4-BE49-F238E27FC236}">
                <a16:creationId xmlns:a16="http://schemas.microsoft.com/office/drawing/2014/main" id="{2906E3D3-FF54-41ED-B4FA-86CF6E9B3BC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8251358" y="360637"/>
            <a:ext cx="3586441" cy="5320800"/>
          </a:xfrm>
          <a:solidFill>
            <a:schemeClr val="bg1"/>
          </a:solidFill>
        </p:spPr>
        <p:txBody>
          <a:bodyPr lIns="0" tIns="648000" anchor="ctr" anchorCtr="0"/>
          <a:lstStyle>
            <a:lvl1pPr marL="0" indent="0" algn="ctr">
              <a:buNone/>
              <a:defRPr sz="1200"/>
            </a:lvl1pPr>
          </a:lstStyle>
          <a:p>
            <a:r>
              <a:rPr lang="en-GB" noProof="0" dirty="0"/>
              <a:t>Click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0187" y="360001"/>
            <a:ext cx="4214194" cy="1229119"/>
          </a:xfrm>
        </p:spPr>
        <p:txBody>
          <a:bodyPr wrap="square">
            <a:spAutoFit/>
          </a:bodyPr>
          <a:lstStyle>
            <a:lvl1pPr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9D7C7530-9D20-25CC-CFAB-5C7969B3573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112386" y="6073200"/>
            <a:ext cx="1792072" cy="432000"/>
          </a:xfrm>
        </p:spPr>
        <p:txBody>
          <a:bodyPr anchor="b" anchorCtr="0"/>
          <a:lstStyle>
            <a:lvl1pPr marL="180000" indent="-180000" algn="l">
              <a:lnSpc>
                <a:spcPct val="5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1pPr>
            <a:lvl2pPr marL="180000" indent="-180000" algn="l">
              <a:lnSpc>
                <a:spcPct val="5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2pPr>
            <a:lvl3pPr marL="180000" indent="-180000" algn="l">
              <a:lnSpc>
                <a:spcPct val="5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3pPr>
            <a:lvl4pPr marL="180000" indent="-180000" algn="l">
              <a:lnSpc>
                <a:spcPct val="5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4pPr>
            <a:lvl5pPr marL="180000" indent="-180000" algn="l">
              <a:lnSpc>
                <a:spcPct val="5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lnSpc>
                <a:spcPct val="5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lnSpc>
                <a:spcPct val="5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lnSpc>
                <a:spcPct val="5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lnSpc>
                <a:spcPct val="5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DB778169-DC79-1C47-B8D0-E50ADF4CECF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431987" y="5445999"/>
            <a:ext cx="1792073" cy="432000"/>
          </a:xfrm>
        </p:spPr>
        <p:txBody>
          <a:bodyPr anchor="t" anchorCtr="0"/>
          <a:lstStyle>
            <a:lvl1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1pPr>
            <a:lvl2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2pPr>
            <a:lvl3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3pPr>
            <a:lvl4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4pPr>
            <a:lvl5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BBD834F-B869-4B01-BC3B-AD99B2C8320B}"/>
              </a:ext>
            </a:extLst>
          </p:cNvPr>
          <p:cNvSpPr>
            <a:spLocks noGrp="1"/>
          </p:cNvSpPr>
          <p:nvPr>
            <p:ph type="ftr" sz="quarter" idx="29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Muuto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9F5F185-5AB2-49B5-86FC-C2D8B46DB7B0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8490824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ditorial D">
    <p:bg>
      <p:bgPr>
        <a:solidFill>
          <a:srgbClr val="22283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 hidden="1">
            <a:extLst>
              <a:ext uri="{FF2B5EF4-FFF2-40B4-BE49-F238E27FC236}">
                <a16:creationId xmlns:a16="http://schemas.microsoft.com/office/drawing/2014/main" id="{5AA15CFC-BDC3-4978-AD4B-F033222763F9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27"/>
          </p:nvPr>
        </p:nvSpPr>
        <p:spPr/>
        <p:txBody>
          <a:bodyPr/>
          <a:lstStyle/>
          <a:p>
            <a:fld id="{45527A44-AA1D-4BA1-AA93-32475F9E9A8F}" type="datetime4">
              <a:rPr lang="en-GB" smtClean="0"/>
              <a:pPr/>
              <a:t>14 March 2025</a:t>
            </a:fld>
            <a:endParaRPr lang="en-GB" dirty="0"/>
          </a:p>
        </p:txBody>
      </p:sp>
      <p:sp>
        <p:nvSpPr>
          <p:cNvPr id="17" name="Text Placeholder background">
            <a:extLst>
              <a:ext uri="{FF2B5EF4-FFF2-40B4-BE49-F238E27FC236}">
                <a16:creationId xmlns:a16="http://schemas.microsoft.com/office/drawing/2014/main" id="{29089519-7599-4136-B4A5-1FAF7FAC907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white">
          <a:xfrm>
            <a:off x="0" y="0"/>
            <a:ext cx="12198350" cy="6858000"/>
          </a:xfrm>
          <a:solidFill>
            <a:srgbClr val="22283E"/>
          </a:solidFill>
          <a:ln>
            <a:noFill/>
          </a:ln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9" name="Picture Placeholder 3">
            <a:extLst>
              <a:ext uri="{FF2B5EF4-FFF2-40B4-BE49-F238E27FC236}">
                <a16:creationId xmlns:a16="http://schemas.microsoft.com/office/drawing/2014/main" id="{2906E3D3-FF54-41ED-B4FA-86CF6E9B3BC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111181" y="0"/>
            <a:ext cx="6087169" cy="6858000"/>
          </a:xfrm>
          <a:solidFill>
            <a:schemeClr val="tx1">
              <a:lumMod val="75000"/>
            </a:schemeClr>
          </a:solidFill>
        </p:spPr>
        <p:txBody>
          <a:bodyPr lIns="0" tIns="0" bIns="72000" anchor="b" anchorCtr="0"/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here and insert picture via Insert &gt; Pictures</a:t>
            </a:r>
          </a:p>
        </p:txBody>
      </p:sp>
      <p:sp>
        <p:nvSpPr>
          <p:cNvPr id="14" name="Picture Placeholder 5">
            <a:extLst>
              <a:ext uri="{FF2B5EF4-FFF2-40B4-BE49-F238E27FC236}">
                <a16:creationId xmlns:a16="http://schemas.microsoft.com/office/drawing/2014/main" id="{50A3361E-A400-46E5-9025-A1EAD7012EF0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0" y="0"/>
            <a:ext cx="3583866" cy="1908000"/>
          </a:xfrm>
          <a:solidFill>
            <a:schemeClr val="tx1">
              <a:lumMod val="75000"/>
            </a:schemeClr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  <a:endParaRPr lang="en-GB" dirty="0"/>
          </a:p>
        </p:txBody>
      </p:sp>
      <p:sp>
        <p:nvSpPr>
          <p:cNvPr id="16" name="Picture Placeholder 13">
            <a:extLst>
              <a:ext uri="{FF2B5EF4-FFF2-40B4-BE49-F238E27FC236}">
                <a16:creationId xmlns:a16="http://schemas.microsoft.com/office/drawing/2014/main" id="{C75E9C3E-785A-4E0A-A170-AD1A52C1F2B3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2786398" y="4860000"/>
            <a:ext cx="2917519" cy="1638000"/>
          </a:xfrm>
          <a:solidFill>
            <a:schemeClr val="tx1">
              <a:lumMod val="75000"/>
            </a:schemeClr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47356" y="360000"/>
            <a:ext cx="3421781" cy="3960000"/>
          </a:xfrm>
        </p:spPr>
        <p:txBody>
          <a:bodyPr/>
          <a:lstStyle>
            <a:lvl1pPr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B12CB135-C014-0010-D6F0-7B78E44E20A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60188" y="1665763"/>
            <a:ext cx="1971476" cy="432000"/>
          </a:xfrm>
        </p:spPr>
        <p:txBody>
          <a:bodyPr anchor="t"/>
          <a:lstStyle>
            <a:lvl1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1pPr>
            <a:lvl2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bg1"/>
                </a:solidFill>
                <a:latin typeface="+mn-lt"/>
              </a:defRPr>
            </a:lvl2pPr>
            <a:lvl3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bg1"/>
                </a:solidFill>
                <a:latin typeface="+mn-lt"/>
              </a:defRPr>
            </a:lvl3pPr>
            <a:lvl4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bg1"/>
                </a:solidFill>
                <a:latin typeface="+mn-lt"/>
              </a:defRPr>
            </a:lvl4pPr>
            <a:lvl5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bg1"/>
                </a:solidFill>
                <a:latin typeface="+mn-lt"/>
              </a:defRPr>
            </a:lvl5pPr>
            <a:lvl6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bg1"/>
                </a:solidFill>
                <a:latin typeface="+mn-lt"/>
              </a:defRPr>
            </a:lvl6pPr>
            <a:lvl7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bg1"/>
                </a:solidFill>
                <a:latin typeface="+mn-lt"/>
              </a:defRPr>
            </a:lvl7pPr>
            <a:lvl8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bg1"/>
                </a:solidFill>
                <a:latin typeface="+mn-lt"/>
              </a:defRPr>
            </a:lvl8pPr>
            <a:lvl9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0B13DD4B-B99C-732E-EDFD-D5B5430DA86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966492" y="4683967"/>
            <a:ext cx="1965263" cy="432000"/>
          </a:xfrm>
        </p:spPr>
        <p:txBody>
          <a:bodyPr anchor="b"/>
          <a:lstStyle>
            <a:lvl1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1pPr>
            <a:lvl2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bg1"/>
                </a:solidFill>
                <a:latin typeface="+mn-lt"/>
              </a:defRPr>
            </a:lvl2pPr>
            <a:lvl3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bg1"/>
                </a:solidFill>
                <a:latin typeface="+mn-lt"/>
              </a:defRPr>
            </a:lvl3pPr>
            <a:lvl4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bg1"/>
                </a:solidFill>
                <a:latin typeface="+mn-lt"/>
              </a:defRPr>
            </a:lvl4pPr>
            <a:lvl5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bg1"/>
                </a:solidFill>
                <a:latin typeface="+mn-lt"/>
              </a:defRPr>
            </a:lvl5pPr>
            <a:lvl6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bg1"/>
                </a:solidFill>
                <a:latin typeface="+mn-lt"/>
              </a:defRPr>
            </a:lvl6pPr>
            <a:lvl7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bg1"/>
                </a:solidFill>
                <a:latin typeface="+mn-lt"/>
              </a:defRPr>
            </a:lvl7pPr>
            <a:lvl8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bg1"/>
                </a:solidFill>
                <a:latin typeface="+mn-lt"/>
              </a:defRPr>
            </a:lvl8pPr>
            <a:lvl9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D9B1785-0A11-4D40-98BD-1585C2C3C280}"/>
              </a:ext>
            </a:extLst>
          </p:cNvPr>
          <p:cNvSpPr>
            <a:spLocks noGrp="1"/>
          </p:cNvSpPr>
          <p:nvPr>
            <p:ph type="ftr" sz="quarter" idx="28"/>
          </p:nvPr>
        </p:nvSpPr>
        <p:spPr>
          <a:xfrm>
            <a:off x="1345314" y="6315616"/>
            <a:ext cx="1441084" cy="180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Muuto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99FA235-2B84-4F20-9EC3-3CCD8C3B14FD}"/>
              </a:ext>
            </a:extLst>
          </p:cNvPr>
          <p:cNvSpPr>
            <a:spLocks noGrp="1"/>
          </p:cNvSpPr>
          <p:nvPr>
            <p:ph type="sldNum" sz="quarter" idx="29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7701761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ditorial E">
    <p:bg>
      <p:bgPr>
        <a:solidFill>
          <a:srgbClr val="3C0E1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 hidden="1">
            <a:extLst>
              <a:ext uri="{FF2B5EF4-FFF2-40B4-BE49-F238E27FC236}">
                <a16:creationId xmlns:a16="http://schemas.microsoft.com/office/drawing/2014/main" id="{AFADCBA6-0C97-4AE4-B298-34EF30EBB343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27"/>
          </p:nvPr>
        </p:nvSpPr>
        <p:spPr/>
        <p:txBody>
          <a:bodyPr/>
          <a:lstStyle/>
          <a:p>
            <a:fld id="{45527A44-AA1D-4BA1-AA93-32475F9E9A8F}" type="datetime4">
              <a:rPr lang="en-GB" smtClean="0"/>
              <a:pPr/>
              <a:t>14 March 2025</a:t>
            </a:fld>
            <a:endParaRPr lang="en-GB" dirty="0"/>
          </a:p>
        </p:txBody>
      </p:sp>
      <p:sp>
        <p:nvSpPr>
          <p:cNvPr id="22" name="Text Placeholder background">
            <a:extLst>
              <a:ext uri="{FF2B5EF4-FFF2-40B4-BE49-F238E27FC236}">
                <a16:creationId xmlns:a16="http://schemas.microsoft.com/office/drawing/2014/main" id="{7F8EA530-D562-4FB7-B628-B55B36C6D93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white">
          <a:xfrm>
            <a:off x="0" y="0"/>
            <a:ext cx="12198350" cy="6858000"/>
          </a:xfrm>
          <a:solidFill>
            <a:srgbClr val="3C0E18"/>
          </a:solidFill>
          <a:ln>
            <a:noFill/>
          </a:ln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0187" y="360000"/>
            <a:ext cx="4556372" cy="3060000"/>
          </a:xfrm>
        </p:spPr>
        <p:txBody>
          <a:bodyPr/>
          <a:lstStyle>
            <a:lvl1pPr>
              <a:defRPr sz="4800">
                <a:solidFill>
                  <a:srgbClr val="ECE8DD"/>
                </a:solidFill>
              </a:defRPr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8E56037-223D-4AB6-9059-CCFD057AC00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345314" y="1080000"/>
            <a:ext cx="5564284" cy="4698000"/>
          </a:xfrm>
        </p:spPr>
        <p:txBody>
          <a:bodyPr anchor="b"/>
          <a:lstStyle>
            <a:lvl1pPr marL="0" indent="0" algn="r">
              <a:lnSpc>
                <a:spcPct val="83000"/>
              </a:lnSpc>
              <a:spcAft>
                <a:spcPts val="0"/>
              </a:spcAft>
              <a:buNone/>
              <a:defRPr sz="9600">
                <a:solidFill>
                  <a:srgbClr val="89BCE7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Insert text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2EFC67-F023-4686-A2C3-4063332223F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275787" y="360000"/>
            <a:ext cx="4562013" cy="3474000"/>
          </a:xfrm>
        </p:spPr>
        <p:txBody>
          <a:bodyPr anchor="b"/>
          <a:lstStyle>
            <a:lvl1pPr marL="0" indent="0">
              <a:lnSpc>
                <a:spcPct val="83000"/>
              </a:lnSpc>
              <a:spcAft>
                <a:spcPts val="0"/>
              </a:spcAft>
              <a:buNone/>
              <a:defRPr sz="9600">
                <a:solidFill>
                  <a:srgbClr val="89BCE7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Insert text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40CF4073-12F7-49F5-A562-203C063C162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319602" y="1170000"/>
            <a:ext cx="2605482" cy="2353593"/>
          </a:xfrm>
        </p:spPr>
        <p:txBody>
          <a:bodyPr anchor="b"/>
          <a:lstStyle>
            <a:lvl1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>
                <a:solidFill>
                  <a:schemeClr val="tx1"/>
                </a:solidFill>
                <a:latin typeface="+mn-lt"/>
              </a:defRPr>
            </a:lvl1pPr>
            <a:lvl2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>
                <a:solidFill>
                  <a:schemeClr val="tx1"/>
                </a:solidFill>
                <a:latin typeface="+mn-lt"/>
              </a:defRPr>
            </a:lvl2pPr>
            <a:lvl3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>
                <a:solidFill>
                  <a:schemeClr val="tx1"/>
                </a:solidFill>
                <a:latin typeface="+mn-lt"/>
              </a:defRPr>
            </a:lvl3pPr>
            <a:lvl4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>
                <a:solidFill>
                  <a:schemeClr val="tx1"/>
                </a:solidFill>
                <a:latin typeface="+mn-lt"/>
              </a:defRPr>
            </a:lvl4pPr>
            <a:lvl5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>
                <a:solidFill>
                  <a:schemeClr val="tx1"/>
                </a:solidFill>
                <a:latin typeface="+mn-lt"/>
              </a:defRPr>
            </a:lvl5pPr>
            <a:lvl6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>
                <a:solidFill>
                  <a:schemeClr val="tx1"/>
                </a:solidFill>
                <a:latin typeface="+mn-lt"/>
              </a:defRPr>
            </a:lvl6pPr>
            <a:lvl7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>
                <a:solidFill>
                  <a:schemeClr val="tx1"/>
                </a:solidFill>
                <a:latin typeface="+mn-lt"/>
              </a:defRPr>
            </a:lvl7pPr>
            <a:lvl8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>
                <a:solidFill>
                  <a:schemeClr val="tx1"/>
                </a:solidFill>
                <a:latin typeface="+mn-lt"/>
              </a:defRPr>
            </a:lvl8pPr>
            <a:lvl9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noProof="0" dirty="0"/>
              <a:t>Click to add text</a:t>
            </a:r>
            <a:endParaRPr lang="en-GB" dirty="0"/>
          </a:p>
        </p:txBody>
      </p:sp>
      <p:sp>
        <p:nvSpPr>
          <p:cNvPr id="15" name="Text Placeholder 11">
            <a:extLst>
              <a:ext uri="{FF2B5EF4-FFF2-40B4-BE49-F238E27FC236}">
                <a16:creationId xmlns:a16="http://schemas.microsoft.com/office/drawing/2014/main" id="{037D0F49-8C55-4D74-B551-833FFE8CC40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238809" y="3381704"/>
            <a:ext cx="2178084" cy="2288297"/>
          </a:xfrm>
        </p:spPr>
        <p:txBody>
          <a:bodyPr anchor="t"/>
          <a:lstStyle>
            <a:lvl1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–"/>
              <a:defRPr sz="1400">
                <a:solidFill>
                  <a:schemeClr val="tx1"/>
                </a:solidFill>
                <a:latin typeface="+mn-lt"/>
              </a:defRPr>
            </a:lvl1pPr>
            <a:lvl2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–"/>
              <a:defRPr sz="1400">
                <a:solidFill>
                  <a:schemeClr val="tx1"/>
                </a:solidFill>
                <a:latin typeface="+mn-lt"/>
              </a:defRPr>
            </a:lvl2pPr>
            <a:lvl3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–"/>
              <a:defRPr sz="1400">
                <a:solidFill>
                  <a:schemeClr val="tx1"/>
                </a:solidFill>
                <a:latin typeface="+mn-lt"/>
              </a:defRPr>
            </a:lvl3pPr>
            <a:lvl4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–"/>
              <a:defRPr sz="1400">
                <a:solidFill>
                  <a:schemeClr val="tx1"/>
                </a:solidFill>
                <a:latin typeface="+mn-lt"/>
              </a:defRPr>
            </a:lvl4pPr>
            <a:lvl5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–"/>
              <a:defRPr sz="1400">
                <a:solidFill>
                  <a:schemeClr val="tx1"/>
                </a:solidFill>
                <a:latin typeface="+mn-lt"/>
              </a:defRPr>
            </a:lvl5pPr>
            <a:lvl6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–"/>
              <a:defRPr sz="1400">
                <a:solidFill>
                  <a:schemeClr val="tx1"/>
                </a:solidFill>
                <a:latin typeface="+mn-lt"/>
              </a:defRPr>
            </a:lvl6pPr>
            <a:lvl7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–"/>
              <a:defRPr sz="1400">
                <a:solidFill>
                  <a:schemeClr val="tx1"/>
                </a:solidFill>
                <a:latin typeface="+mn-lt"/>
              </a:defRPr>
            </a:lvl7pPr>
            <a:lvl8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–"/>
              <a:defRPr sz="1400">
                <a:solidFill>
                  <a:schemeClr val="tx1"/>
                </a:solidFill>
                <a:latin typeface="+mn-lt"/>
              </a:defRPr>
            </a:lvl8pPr>
            <a:lvl9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–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noProof="0" dirty="0"/>
              <a:t>Click to add text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F52925D-2F91-4818-B34D-7539CBDBE16E}"/>
              </a:ext>
            </a:extLst>
          </p:cNvPr>
          <p:cNvSpPr>
            <a:spLocks noGrp="1"/>
          </p:cNvSpPr>
          <p:nvPr>
            <p:ph type="ftr" sz="quarter" idx="28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Muuto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95F525A-4A0F-438E-AC47-DE74FE2F1792}"/>
              </a:ext>
            </a:extLst>
          </p:cNvPr>
          <p:cNvSpPr>
            <a:spLocks noGrp="1"/>
          </p:cNvSpPr>
          <p:nvPr>
            <p:ph type="sldNum" sz="quarter" idx="29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9048872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ditorial F">
    <p:bg>
      <p:bgPr>
        <a:solidFill>
          <a:srgbClr val="3C0E1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2" hidden="1">
            <a:extLst>
              <a:ext uri="{FF2B5EF4-FFF2-40B4-BE49-F238E27FC236}">
                <a16:creationId xmlns:a16="http://schemas.microsoft.com/office/drawing/2014/main" id="{642DCFFC-91CD-3FDB-7163-F64243082378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92"/>
          </p:nvPr>
        </p:nvSpPr>
        <p:spPr>
          <a:xfrm>
            <a:off x="0" y="6858000"/>
            <a:ext cx="0" cy="0"/>
          </a:xfrm>
        </p:spPr>
        <p:txBody>
          <a:bodyPr/>
          <a:lstStyle/>
          <a:p>
            <a:fld id="{45527A44-AA1D-4BA1-AA93-32475F9E9A8F}" type="datetime4">
              <a:rPr lang="en-GB" smtClean="0"/>
              <a:pPr/>
              <a:t>14 March 2025</a:t>
            </a:fld>
            <a:endParaRPr lang="en-GB" dirty="0"/>
          </a:p>
        </p:txBody>
      </p:sp>
      <p:sp>
        <p:nvSpPr>
          <p:cNvPr id="4" name="Footer Placeholder 4" hidden="1">
            <a:extLst>
              <a:ext uri="{FF2B5EF4-FFF2-40B4-BE49-F238E27FC236}">
                <a16:creationId xmlns:a16="http://schemas.microsoft.com/office/drawing/2014/main" id="{96684AF2-6144-5C9C-7263-B12DEB799CB8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1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GB" dirty="0"/>
              <a:t>Muuto</a:t>
            </a:r>
          </a:p>
        </p:txBody>
      </p:sp>
      <p:sp>
        <p:nvSpPr>
          <p:cNvPr id="6" name="Slide Number Placeholder 5" hidden="1">
            <a:extLst>
              <a:ext uri="{FF2B5EF4-FFF2-40B4-BE49-F238E27FC236}">
                <a16:creationId xmlns:a16="http://schemas.microsoft.com/office/drawing/2014/main" id="{8511C6D6-F560-5D72-5F0B-764185440A42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12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2" name="Text Placeholder background">
            <a:extLst>
              <a:ext uri="{FF2B5EF4-FFF2-40B4-BE49-F238E27FC236}">
                <a16:creationId xmlns:a16="http://schemas.microsoft.com/office/drawing/2014/main" id="{7F8EA530-D562-4FB7-B628-B55B36C6D93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white">
          <a:xfrm>
            <a:off x="0" y="0"/>
            <a:ext cx="12198350" cy="6858000"/>
          </a:xfrm>
          <a:solidFill>
            <a:srgbClr val="3C0E18"/>
          </a:solidFill>
          <a:ln>
            <a:noFill/>
          </a:ln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13" name="Picture Placeholder 13">
            <a:extLst>
              <a:ext uri="{FF2B5EF4-FFF2-40B4-BE49-F238E27FC236}">
                <a16:creationId xmlns:a16="http://schemas.microsoft.com/office/drawing/2014/main" id="{CF405E34-C9AD-E9F0-DD6A-19A81DEC02F6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0" y="1767600"/>
            <a:ext cx="3792774" cy="5090400"/>
          </a:xfrm>
          <a:solidFill>
            <a:schemeClr val="tx1"/>
          </a:solidFill>
        </p:spPr>
        <p:txBody>
          <a:bodyPr tIns="648000" anchor="ctr"/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  <a:endParaRPr lang="en-GB" dirty="0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1CDE8BD7-96B8-A549-3830-6CA41B052DE2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4833716" y="781200"/>
            <a:ext cx="2211551" cy="3085200"/>
          </a:xfrm>
          <a:solidFill>
            <a:schemeClr val="tx1"/>
          </a:solidFill>
        </p:spPr>
        <p:txBody>
          <a:bodyPr tIns="648000" anchor="ctr"/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  <a:endParaRPr lang="en-GB" dirty="0"/>
          </a:p>
        </p:txBody>
      </p:sp>
      <p:sp>
        <p:nvSpPr>
          <p:cNvPr id="15" name="Picture Placeholder 13">
            <a:extLst>
              <a:ext uri="{FF2B5EF4-FFF2-40B4-BE49-F238E27FC236}">
                <a16:creationId xmlns:a16="http://schemas.microsoft.com/office/drawing/2014/main" id="{6B1658D0-97B7-57A7-BA99-5908D8948DEE}"/>
              </a:ext>
            </a:extLst>
          </p:cNvPr>
          <p:cNvSpPr>
            <a:spLocks noGrp="1"/>
          </p:cNvSpPr>
          <p:nvPr>
            <p:ph type="pic" sz="quarter" idx="93" hasCustomPrompt="1"/>
          </p:nvPr>
        </p:nvSpPr>
        <p:spPr>
          <a:xfrm>
            <a:off x="8614484" y="0"/>
            <a:ext cx="3583866" cy="3430800"/>
          </a:xfrm>
          <a:solidFill>
            <a:schemeClr val="tx1"/>
          </a:solidFill>
        </p:spPr>
        <p:txBody>
          <a:bodyPr tIns="648000" anchor="ctr"/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  <a:endParaRPr lang="en-GB" dirty="0"/>
          </a:p>
        </p:txBody>
      </p:sp>
      <p:sp>
        <p:nvSpPr>
          <p:cNvPr id="16" name="Picture Placeholder 13">
            <a:extLst>
              <a:ext uri="{FF2B5EF4-FFF2-40B4-BE49-F238E27FC236}">
                <a16:creationId xmlns:a16="http://schemas.microsoft.com/office/drawing/2014/main" id="{B6CDD5FA-DEDB-54C0-29EB-2849429B08AA}"/>
              </a:ext>
            </a:extLst>
          </p:cNvPr>
          <p:cNvSpPr>
            <a:spLocks noGrp="1"/>
          </p:cNvSpPr>
          <p:nvPr>
            <p:ph type="pic" sz="quarter" idx="94" hasCustomPrompt="1"/>
          </p:nvPr>
        </p:nvSpPr>
        <p:spPr>
          <a:xfrm>
            <a:off x="6757117" y="4838400"/>
            <a:ext cx="2020652" cy="2019600"/>
          </a:xfrm>
          <a:solidFill>
            <a:schemeClr val="tx1"/>
          </a:solidFill>
        </p:spPr>
        <p:txBody>
          <a:bodyPr tIns="648000" anchor="ctr"/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  <a:endParaRPr lang="en-GB" dirty="0"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2DA72281-FF8A-A214-DD98-6DEEB4A3A4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8962" y="360000"/>
            <a:ext cx="6544607" cy="842199"/>
          </a:xfrm>
        </p:spPr>
        <p:txBody>
          <a:bodyPr/>
          <a:lstStyle>
            <a:lvl1pPr>
              <a:defRPr>
                <a:solidFill>
                  <a:srgbClr val="C5DBF3"/>
                </a:solidFill>
              </a:defRPr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19" name="Subtitle 2">
            <a:extLst>
              <a:ext uri="{FF2B5EF4-FFF2-40B4-BE49-F238E27FC236}">
                <a16:creationId xmlns:a16="http://schemas.microsoft.com/office/drawing/2014/main" id="{03691DF4-F4F4-2EF9-0573-6733C31A51ED}"/>
              </a:ext>
            </a:extLst>
          </p:cNvPr>
          <p:cNvSpPr>
            <a:spLocks noGrp="1"/>
          </p:cNvSpPr>
          <p:nvPr>
            <p:ph type="subTitle" idx="32" hasCustomPrompt="1"/>
          </p:nvPr>
        </p:nvSpPr>
        <p:spPr>
          <a:xfrm>
            <a:off x="358962" y="742224"/>
            <a:ext cx="6544607" cy="459853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1400" cap="all" baseline="0">
                <a:solidFill>
                  <a:srgbClr val="C5DBF3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40CF4073-12F7-49F5-A562-203C063C162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33716" y="3981600"/>
            <a:ext cx="1619429" cy="723964"/>
          </a:xfrm>
        </p:spPr>
        <p:txBody>
          <a:bodyPr anchor="t" anchorCtr="0"/>
          <a:lstStyle>
            <a:lvl1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>
                <a:solidFill>
                  <a:srgbClr val="C5DBF3"/>
                </a:solidFill>
                <a:latin typeface="+mn-lt"/>
              </a:defRPr>
            </a:lvl1pPr>
            <a:lvl2pPr marL="0" indent="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None/>
              <a:defRPr sz="1000" b="0">
                <a:solidFill>
                  <a:srgbClr val="C5DBF3"/>
                </a:solidFill>
                <a:latin typeface="+mn-lt"/>
              </a:defRPr>
            </a:lvl2pPr>
            <a:lvl3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rgbClr val="C5DBF3"/>
                </a:solidFill>
                <a:latin typeface="+mn-lt"/>
              </a:defRPr>
            </a:lvl3pPr>
            <a:lvl4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rgbClr val="C5DBF3"/>
                </a:solidFill>
                <a:latin typeface="+mn-lt"/>
              </a:defRPr>
            </a:lvl4pPr>
            <a:lvl5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rgbClr val="C5DBF3"/>
                </a:solidFill>
                <a:latin typeface="+mn-lt"/>
              </a:defRPr>
            </a:lvl5pPr>
            <a:lvl6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rgbClr val="C5DBF3"/>
                </a:solidFill>
                <a:latin typeface="+mn-lt"/>
              </a:defRPr>
            </a:lvl6pPr>
            <a:lvl7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rgbClr val="C5DBF3"/>
                </a:solidFill>
                <a:latin typeface="+mn-lt"/>
              </a:defRPr>
            </a:lvl7pPr>
            <a:lvl8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rgbClr val="C5DBF3"/>
                </a:solidFill>
                <a:latin typeface="+mn-lt"/>
              </a:defRPr>
            </a:lvl8pPr>
            <a:lvl9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rgbClr val="C5DBF3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5B5F57F6-8F8F-845B-2223-019B5A26AAE7}"/>
              </a:ext>
            </a:extLst>
          </p:cNvPr>
          <p:cNvSpPr>
            <a:spLocks noGrp="1"/>
          </p:cNvSpPr>
          <p:nvPr>
            <p:ph type="body" sz="quarter" idx="95" hasCustomPrompt="1"/>
          </p:nvPr>
        </p:nvSpPr>
        <p:spPr>
          <a:xfrm>
            <a:off x="8975873" y="5810400"/>
            <a:ext cx="1875576" cy="939721"/>
          </a:xfrm>
        </p:spPr>
        <p:txBody>
          <a:bodyPr anchor="b" anchorCtr="0"/>
          <a:lstStyle>
            <a:lvl1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>
                <a:solidFill>
                  <a:srgbClr val="C5DBF3"/>
                </a:solidFill>
                <a:latin typeface="+mn-lt"/>
              </a:defRPr>
            </a:lvl1pPr>
            <a:lvl2pPr marL="0" indent="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None/>
              <a:defRPr sz="1000" b="0">
                <a:solidFill>
                  <a:srgbClr val="C5DBF3"/>
                </a:solidFill>
                <a:latin typeface="+mn-lt"/>
              </a:defRPr>
            </a:lvl2pPr>
            <a:lvl3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rgbClr val="C5DBF3"/>
                </a:solidFill>
                <a:latin typeface="+mn-lt"/>
              </a:defRPr>
            </a:lvl3pPr>
            <a:lvl4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rgbClr val="C5DBF3"/>
                </a:solidFill>
                <a:latin typeface="+mn-lt"/>
              </a:defRPr>
            </a:lvl4pPr>
            <a:lvl5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rgbClr val="C5DBF3"/>
                </a:solidFill>
                <a:latin typeface="+mn-lt"/>
              </a:defRPr>
            </a:lvl5pPr>
            <a:lvl6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rgbClr val="C5DBF3"/>
                </a:solidFill>
                <a:latin typeface="+mn-lt"/>
              </a:defRPr>
            </a:lvl6pPr>
            <a:lvl7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rgbClr val="C5DBF3"/>
                </a:solidFill>
                <a:latin typeface="+mn-lt"/>
              </a:defRPr>
            </a:lvl7pPr>
            <a:lvl8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rgbClr val="C5DBF3"/>
                </a:solidFill>
                <a:latin typeface="+mn-lt"/>
              </a:defRPr>
            </a:lvl8pPr>
            <a:lvl9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rgbClr val="C5DBF3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C6B925E3-C070-A84E-0AE0-65C25A1026D6}"/>
              </a:ext>
            </a:extLst>
          </p:cNvPr>
          <p:cNvSpPr>
            <a:spLocks noGrp="1"/>
          </p:cNvSpPr>
          <p:nvPr>
            <p:ph type="body" sz="quarter" idx="96" hasCustomPrompt="1"/>
          </p:nvPr>
        </p:nvSpPr>
        <p:spPr>
          <a:xfrm>
            <a:off x="9865099" y="3502800"/>
            <a:ext cx="2186775" cy="586315"/>
          </a:xfrm>
        </p:spPr>
        <p:txBody>
          <a:bodyPr anchor="t" anchorCtr="0"/>
          <a:lstStyle>
            <a:lvl1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>
                <a:solidFill>
                  <a:srgbClr val="C5DBF3"/>
                </a:solidFill>
                <a:latin typeface="+mn-lt"/>
              </a:defRPr>
            </a:lvl1pPr>
            <a:lvl2pPr marL="0" indent="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None/>
              <a:defRPr sz="1000" b="0">
                <a:solidFill>
                  <a:srgbClr val="C5DBF3"/>
                </a:solidFill>
                <a:latin typeface="+mn-lt"/>
              </a:defRPr>
            </a:lvl2pPr>
            <a:lvl3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rgbClr val="C5DBF3"/>
                </a:solidFill>
                <a:latin typeface="+mn-lt"/>
              </a:defRPr>
            </a:lvl3pPr>
            <a:lvl4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rgbClr val="C5DBF3"/>
                </a:solidFill>
                <a:latin typeface="+mn-lt"/>
              </a:defRPr>
            </a:lvl4pPr>
            <a:lvl5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rgbClr val="C5DBF3"/>
                </a:solidFill>
                <a:latin typeface="+mn-lt"/>
              </a:defRPr>
            </a:lvl5pPr>
            <a:lvl6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rgbClr val="C5DBF3"/>
                </a:solidFill>
                <a:latin typeface="+mn-lt"/>
              </a:defRPr>
            </a:lvl6pPr>
            <a:lvl7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rgbClr val="C5DBF3"/>
                </a:solidFill>
                <a:latin typeface="+mn-lt"/>
              </a:defRPr>
            </a:lvl7pPr>
            <a:lvl8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rgbClr val="C5DBF3"/>
                </a:solidFill>
                <a:latin typeface="+mn-lt"/>
              </a:defRPr>
            </a:lvl8pPr>
            <a:lvl9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rgbClr val="C5DBF3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3304A936-9963-1C8B-4DD8-6212031798C9}"/>
              </a:ext>
            </a:extLst>
          </p:cNvPr>
          <p:cNvSpPr>
            <a:spLocks noGrp="1"/>
          </p:cNvSpPr>
          <p:nvPr>
            <p:ph type="body" sz="quarter" idx="97" hasCustomPrompt="1"/>
          </p:nvPr>
        </p:nvSpPr>
        <p:spPr>
          <a:xfrm>
            <a:off x="3918840" y="6174770"/>
            <a:ext cx="1790132" cy="535631"/>
          </a:xfrm>
        </p:spPr>
        <p:txBody>
          <a:bodyPr anchor="b"/>
          <a:lstStyle>
            <a:lvl1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>
                <a:solidFill>
                  <a:srgbClr val="C5DBF3"/>
                </a:solidFill>
                <a:latin typeface="+mn-lt"/>
              </a:defRPr>
            </a:lvl1pPr>
            <a:lvl2pPr marL="0" indent="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None/>
              <a:defRPr sz="1000" b="0">
                <a:solidFill>
                  <a:srgbClr val="C5DBF3"/>
                </a:solidFill>
                <a:latin typeface="+mn-lt"/>
              </a:defRPr>
            </a:lvl2pPr>
            <a:lvl3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rgbClr val="C5DBF3"/>
                </a:solidFill>
                <a:latin typeface="+mn-lt"/>
              </a:defRPr>
            </a:lvl3pPr>
            <a:lvl4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rgbClr val="C5DBF3"/>
                </a:solidFill>
                <a:latin typeface="+mn-lt"/>
              </a:defRPr>
            </a:lvl4pPr>
            <a:lvl5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rgbClr val="C5DBF3"/>
                </a:solidFill>
                <a:latin typeface="+mn-lt"/>
              </a:defRPr>
            </a:lvl5pPr>
            <a:lvl6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rgbClr val="C5DBF3"/>
                </a:solidFill>
                <a:latin typeface="+mn-lt"/>
              </a:defRPr>
            </a:lvl6pPr>
            <a:lvl7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rgbClr val="C5DBF3"/>
                </a:solidFill>
                <a:latin typeface="+mn-lt"/>
              </a:defRPr>
            </a:lvl7pPr>
            <a:lvl8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rgbClr val="C5DBF3"/>
                </a:solidFill>
                <a:latin typeface="+mn-lt"/>
              </a:defRPr>
            </a:lvl8pPr>
            <a:lvl9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rgbClr val="C5DBF3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101721580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ditorial w. USP 1">
    <p:bg>
      <p:bgPr>
        <a:solidFill>
          <a:srgbClr val="3C0E1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 hidden="1">
            <a:extLst>
              <a:ext uri="{FF2B5EF4-FFF2-40B4-BE49-F238E27FC236}">
                <a16:creationId xmlns:a16="http://schemas.microsoft.com/office/drawing/2014/main" id="{AFADCBA6-0C97-4AE4-B298-34EF30EBB343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27"/>
          </p:nvPr>
        </p:nvSpPr>
        <p:spPr/>
        <p:txBody>
          <a:bodyPr/>
          <a:lstStyle/>
          <a:p>
            <a:fld id="{45527A44-AA1D-4BA1-AA93-32475F9E9A8F}" type="datetime4">
              <a:rPr lang="en-GB" smtClean="0"/>
              <a:pPr/>
              <a:t>14 March 2025</a:t>
            </a:fld>
            <a:endParaRPr lang="en-GB" dirty="0"/>
          </a:p>
        </p:txBody>
      </p:sp>
      <p:sp>
        <p:nvSpPr>
          <p:cNvPr id="22" name="Text Placeholder background">
            <a:extLst>
              <a:ext uri="{FF2B5EF4-FFF2-40B4-BE49-F238E27FC236}">
                <a16:creationId xmlns:a16="http://schemas.microsoft.com/office/drawing/2014/main" id="{7F8EA530-D562-4FB7-B628-B55B36C6D93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white">
          <a:xfrm>
            <a:off x="0" y="0"/>
            <a:ext cx="12198350" cy="6858000"/>
          </a:xfrm>
          <a:solidFill>
            <a:srgbClr val="3C0E18"/>
          </a:solidFill>
          <a:ln>
            <a:noFill/>
          </a:ln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13" name="Picture Placeholder 13">
            <a:extLst>
              <a:ext uri="{FF2B5EF4-FFF2-40B4-BE49-F238E27FC236}">
                <a16:creationId xmlns:a16="http://schemas.microsoft.com/office/drawing/2014/main" id="{CF405E34-C9AD-E9F0-DD6A-19A81DEC02F6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360187" y="1346400"/>
            <a:ext cx="5478452" cy="4165200"/>
          </a:xfrm>
          <a:solidFill>
            <a:schemeClr val="tx1"/>
          </a:solidFill>
        </p:spPr>
        <p:txBody>
          <a:bodyPr tIns="648000" anchor="ctr"/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  <a:endParaRPr lang="en-GB" dirty="0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1CDE8BD7-96B8-A549-3830-6CA41B052DE2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7149722" y="0"/>
            <a:ext cx="5060634" cy="6858000"/>
          </a:xfrm>
          <a:solidFill>
            <a:schemeClr val="tx1"/>
          </a:solidFill>
        </p:spPr>
        <p:txBody>
          <a:bodyPr tIns="648000" anchor="ctr"/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  <a:endParaRPr lang="en-GB" dirty="0"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2DA72281-FF8A-A214-DD98-6DEEB4A3A4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8962" y="360000"/>
            <a:ext cx="6544607" cy="842199"/>
          </a:xfrm>
        </p:spPr>
        <p:txBody>
          <a:bodyPr/>
          <a:lstStyle>
            <a:lvl1pPr>
              <a:defRPr>
                <a:solidFill>
                  <a:srgbClr val="ECE8DD"/>
                </a:solidFill>
              </a:defRPr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19" name="Subtitle 2">
            <a:extLst>
              <a:ext uri="{FF2B5EF4-FFF2-40B4-BE49-F238E27FC236}">
                <a16:creationId xmlns:a16="http://schemas.microsoft.com/office/drawing/2014/main" id="{03691DF4-F4F4-2EF9-0573-6733C31A51ED}"/>
              </a:ext>
            </a:extLst>
          </p:cNvPr>
          <p:cNvSpPr>
            <a:spLocks noGrp="1"/>
          </p:cNvSpPr>
          <p:nvPr>
            <p:ph type="subTitle" idx="32" hasCustomPrompt="1"/>
          </p:nvPr>
        </p:nvSpPr>
        <p:spPr>
          <a:xfrm>
            <a:off x="358962" y="742224"/>
            <a:ext cx="6544607" cy="459853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1400" cap="all" baseline="0">
                <a:solidFill>
                  <a:srgbClr val="ECE8DD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40CF4073-12F7-49F5-A562-203C063C162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1304" y="4608000"/>
            <a:ext cx="3342540" cy="1425600"/>
          </a:xfrm>
        </p:spPr>
        <p:txBody>
          <a:bodyPr anchor="b"/>
          <a:lstStyle>
            <a:lvl1pPr marL="180000" indent="-180000" algn="ct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1">
                <a:solidFill>
                  <a:schemeClr val="tx1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None/>
              <a:defRPr sz="1400" b="0">
                <a:solidFill>
                  <a:schemeClr val="tx1"/>
                </a:solidFill>
                <a:latin typeface="+mn-lt"/>
              </a:defRPr>
            </a:lvl2pPr>
            <a:lvl3pPr marL="180000" indent="-180000" algn="ct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3pPr>
            <a:lvl4pPr marL="180000" indent="-180000" algn="ct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4pPr>
            <a:lvl5pPr marL="180000" indent="-180000" algn="ct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5pPr>
            <a:lvl6pPr marL="180000" indent="-180000" algn="ct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6pPr>
            <a:lvl7pPr marL="180000" indent="-180000" algn="ct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7pPr>
            <a:lvl8pPr marL="180000" indent="-180000" algn="ct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8pPr>
            <a:lvl9pPr marL="180000" indent="-180000" algn="ct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F52925D-2F91-4818-B34D-7539CBDBE16E}"/>
              </a:ext>
            </a:extLst>
          </p:cNvPr>
          <p:cNvSpPr>
            <a:spLocks noGrp="1"/>
          </p:cNvSpPr>
          <p:nvPr>
            <p:ph type="ftr" sz="quarter" idx="28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Muuto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95F525A-4A0F-438E-AC47-DE74FE2F1792}"/>
              </a:ext>
            </a:extLst>
          </p:cNvPr>
          <p:cNvSpPr>
            <a:spLocks noGrp="1"/>
          </p:cNvSpPr>
          <p:nvPr>
            <p:ph type="sldNum" sz="quarter" idx="29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2074848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9" y="294200"/>
            <a:ext cx="10978515" cy="590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919" y="1137920"/>
            <a:ext cx="8238744" cy="48348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None/>
              <a:defRPr sz="1799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None/>
              <a:defRPr sz="1599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buNone/>
              <a:defRPr sz="1399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buNone/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9" name="Line 10">
            <a:extLst>
              <a:ext uri="{FF2B5EF4-FFF2-40B4-BE49-F238E27FC236}">
                <a16:creationId xmlns:a16="http://schemas.microsoft.com/office/drawing/2014/main" id="{CF130104-FAF2-4309-9701-573F37743137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F02C3F7-BD0A-4AD4-95D8-328DA6F539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E4422C8-68BE-4650-89F1-3BECCFF9B5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762509590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ditorial w. USP 2">
    <p:bg>
      <p:bgPr>
        <a:solidFill>
          <a:srgbClr val="C5DB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Date Placeholder 2" hidden="1">
            <a:extLst>
              <a:ext uri="{FF2B5EF4-FFF2-40B4-BE49-F238E27FC236}">
                <a16:creationId xmlns:a16="http://schemas.microsoft.com/office/drawing/2014/main" id="{15EDFE49-28D9-6D98-FEC1-D0F55FD66964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92"/>
          </p:nvPr>
        </p:nvSpPr>
        <p:spPr>
          <a:xfrm>
            <a:off x="0" y="6858000"/>
            <a:ext cx="0" cy="0"/>
          </a:xfrm>
        </p:spPr>
        <p:txBody>
          <a:bodyPr/>
          <a:lstStyle/>
          <a:p>
            <a:fld id="{45527A44-AA1D-4BA1-AA93-32475F9E9A8F}" type="datetime4">
              <a:rPr lang="en-GB" smtClean="0"/>
              <a:pPr/>
              <a:t>14 March 2025</a:t>
            </a:fld>
            <a:endParaRPr lang="en-GB" dirty="0"/>
          </a:p>
        </p:txBody>
      </p:sp>
      <p:sp>
        <p:nvSpPr>
          <p:cNvPr id="20" name="Footer Placeholder 4" hidden="1">
            <a:extLst>
              <a:ext uri="{FF2B5EF4-FFF2-40B4-BE49-F238E27FC236}">
                <a16:creationId xmlns:a16="http://schemas.microsoft.com/office/drawing/2014/main" id="{D8B43074-9935-3EAD-8A39-01E2C5A0E8D4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1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GB" dirty="0"/>
              <a:t>Muuto</a:t>
            </a:r>
          </a:p>
        </p:txBody>
      </p:sp>
      <p:sp>
        <p:nvSpPr>
          <p:cNvPr id="21" name="Slide Number Placeholder 5" hidden="1">
            <a:extLst>
              <a:ext uri="{FF2B5EF4-FFF2-40B4-BE49-F238E27FC236}">
                <a16:creationId xmlns:a16="http://schemas.microsoft.com/office/drawing/2014/main" id="{414B2DA6-5FA7-95F4-3BF6-2C4E3A063FF4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12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2" name="Text Placeholder background">
            <a:extLst>
              <a:ext uri="{FF2B5EF4-FFF2-40B4-BE49-F238E27FC236}">
                <a16:creationId xmlns:a16="http://schemas.microsoft.com/office/drawing/2014/main" id="{7F8EA530-D562-4FB7-B628-B55B36C6D93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white">
          <a:xfrm>
            <a:off x="0" y="0"/>
            <a:ext cx="12198350" cy="6858000"/>
          </a:xfrm>
          <a:solidFill>
            <a:srgbClr val="C5DBF3"/>
          </a:solidFill>
          <a:ln>
            <a:noFill/>
          </a:ln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13" name="Picture Placeholder 13">
            <a:extLst>
              <a:ext uri="{FF2B5EF4-FFF2-40B4-BE49-F238E27FC236}">
                <a16:creationId xmlns:a16="http://schemas.microsoft.com/office/drawing/2014/main" id="{CF405E34-C9AD-E9F0-DD6A-19A81DEC02F6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360188" y="1386000"/>
            <a:ext cx="3771163" cy="51120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200">
                <a:solidFill>
                  <a:schemeClr val="tx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  <a:endParaRPr lang="en-GB" dirty="0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1CDE8BD7-96B8-A549-3830-6CA41B052DE2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6899992" y="3621600"/>
            <a:ext cx="5298358" cy="32364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200">
                <a:solidFill>
                  <a:schemeClr val="tx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  <a:endParaRPr lang="en-GB" dirty="0"/>
          </a:p>
        </p:txBody>
      </p:sp>
      <p:sp>
        <p:nvSpPr>
          <p:cNvPr id="15" name="Picture Placeholder 13">
            <a:extLst>
              <a:ext uri="{FF2B5EF4-FFF2-40B4-BE49-F238E27FC236}">
                <a16:creationId xmlns:a16="http://schemas.microsoft.com/office/drawing/2014/main" id="{9F85B9CF-30F3-3324-FA00-76649216A568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5719778" y="0"/>
            <a:ext cx="1602834" cy="19152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200">
                <a:solidFill>
                  <a:schemeClr val="tx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  <a:endParaRPr lang="en-GB" dirty="0"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2DA72281-FF8A-A214-DD98-6DEEB4A3A4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8962" y="360000"/>
            <a:ext cx="5919695" cy="84219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19" name="Subtitle 2">
            <a:extLst>
              <a:ext uri="{FF2B5EF4-FFF2-40B4-BE49-F238E27FC236}">
                <a16:creationId xmlns:a16="http://schemas.microsoft.com/office/drawing/2014/main" id="{03691DF4-F4F4-2EF9-0573-6733C31A51ED}"/>
              </a:ext>
            </a:extLst>
          </p:cNvPr>
          <p:cNvSpPr>
            <a:spLocks noGrp="1"/>
          </p:cNvSpPr>
          <p:nvPr>
            <p:ph type="subTitle" idx="32" hasCustomPrompt="1"/>
          </p:nvPr>
        </p:nvSpPr>
        <p:spPr>
          <a:xfrm>
            <a:off x="358962" y="742224"/>
            <a:ext cx="5919695" cy="459853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1400" cap="all" baseline="0">
                <a:solidFill>
                  <a:schemeClr val="tx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40CF4073-12F7-49F5-A562-203C063C162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05955" y="5065160"/>
            <a:ext cx="1972702" cy="1432840"/>
          </a:xfrm>
        </p:spPr>
        <p:txBody>
          <a:bodyPr anchor="b"/>
          <a:lstStyle>
            <a:lvl1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>
                <a:solidFill>
                  <a:schemeClr val="tx1"/>
                </a:solidFill>
                <a:latin typeface="+mn-lt"/>
              </a:defRPr>
            </a:lvl1pPr>
            <a:lvl2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2pPr>
            <a:lvl3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3pPr>
            <a:lvl4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4pPr>
            <a:lvl5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211EDC82-13FB-48BE-8E41-96BCE91BF040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9865099" y="2065106"/>
            <a:ext cx="2139951" cy="1293694"/>
          </a:xfrm>
        </p:spPr>
        <p:txBody>
          <a:bodyPr anchor="b"/>
          <a:lstStyle>
            <a:lvl1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>
                <a:solidFill>
                  <a:schemeClr val="tx1"/>
                </a:solidFill>
                <a:latin typeface="+mn-lt"/>
              </a:defRPr>
            </a:lvl1pPr>
            <a:lvl2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2pPr>
            <a:lvl3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3pPr>
            <a:lvl4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4pPr>
            <a:lvl5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5pPr>
            <a:lvl6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6pPr>
            <a:lvl7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7pPr>
            <a:lvl8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8pPr>
            <a:lvl9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345459897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ditorial w. USP 3">
    <p:bg>
      <p:bgPr>
        <a:solidFill>
          <a:srgbClr val="E5F5E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Date Placeholder 2" hidden="1">
            <a:extLst>
              <a:ext uri="{FF2B5EF4-FFF2-40B4-BE49-F238E27FC236}">
                <a16:creationId xmlns:a16="http://schemas.microsoft.com/office/drawing/2014/main" id="{15EDFE49-28D9-6D98-FEC1-D0F55FD66964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92"/>
          </p:nvPr>
        </p:nvSpPr>
        <p:spPr>
          <a:xfrm>
            <a:off x="0" y="6858000"/>
            <a:ext cx="0" cy="0"/>
          </a:xfrm>
        </p:spPr>
        <p:txBody>
          <a:bodyPr/>
          <a:lstStyle/>
          <a:p>
            <a:fld id="{45527A44-AA1D-4BA1-AA93-32475F9E9A8F}" type="datetime4">
              <a:rPr lang="en-GB" smtClean="0"/>
              <a:pPr/>
              <a:t>14 March 2025</a:t>
            </a:fld>
            <a:endParaRPr lang="en-GB" dirty="0"/>
          </a:p>
        </p:txBody>
      </p:sp>
      <p:sp>
        <p:nvSpPr>
          <p:cNvPr id="20" name="Footer Placeholder 4" hidden="1">
            <a:extLst>
              <a:ext uri="{FF2B5EF4-FFF2-40B4-BE49-F238E27FC236}">
                <a16:creationId xmlns:a16="http://schemas.microsoft.com/office/drawing/2014/main" id="{D8B43074-9935-3EAD-8A39-01E2C5A0E8D4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1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GB" dirty="0"/>
              <a:t>Muuto</a:t>
            </a:r>
          </a:p>
        </p:txBody>
      </p:sp>
      <p:sp>
        <p:nvSpPr>
          <p:cNvPr id="21" name="Slide Number Placeholder 5" hidden="1">
            <a:extLst>
              <a:ext uri="{FF2B5EF4-FFF2-40B4-BE49-F238E27FC236}">
                <a16:creationId xmlns:a16="http://schemas.microsoft.com/office/drawing/2014/main" id="{414B2DA6-5FA7-95F4-3BF6-2C4E3A063FF4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12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2" name="Text Placeholder background">
            <a:extLst>
              <a:ext uri="{FF2B5EF4-FFF2-40B4-BE49-F238E27FC236}">
                <a16:creationId xmlns:a16="http://schemas.microsoft.com/office/drawing/2014/main" id="{7F8EA530-D562-4FB7-B628-B55B36C6D93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ltGray">
          <a:xfrm>
            <a:off x="0" y="0"/>
            <a:ext cx="12198350" cy="6858000"/>
          </a:xfrm>
          <a:solidFill>
            <a:srgbClr val="E5F5E4"/>
          </a:solidFill>
          <a:ln>
            <a:noFill/>
          </a:ln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13" name="Picture Placeholder 13">
            <a:extLst>
              <a:ext uri="{FF2B5EF4-FFF2-40B4-BE49-F238E27FC236}">
                <a16:creationId xmlns:a16="http://schemas.microsoft.com/office/drawing/2014/main" id="{CF405E34-C9AD-E9F0-DD6A-19A81DEC02F6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0" y="1616400"/>
            <a:ext cx="3940451" cy="52524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200">
                <a:solidFill>
                  <a:schemeClr val="tx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  <a:endParaRPr lang="en-GB" dirty="0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1CDE8BD7-96B8-A549-3830-6CA41B052DE2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8136636" y="0"/>
            <a:ext cx="4062915" cy="50976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200">
                <a:solidFill>
                  <a:schemeClr val="tx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  <a:endParaRPr lang="en-GB" dirty="0"/>
          </a:p>
        </p:txBody>
      </p:sp>
      <p:sp>
        <p:nvSpPr>
          <p:cNvPr id="15" name="Picture Placeholder 13">
            <a:extLst>
              <a:ext uri="{FF2B5EF4-FFF2-40B4-BE49-F238E27FC236}">
                <a16:creationId xmlns:a16="http://schemas.microsoft.com/office/drawing/2014/main" id="{9F85B9CF-30F3-3324-FA00-76649216A568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4740068" y="2044800"/>
            <a:ext cx="2150319" cy="22212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200">
                <a:solidFill>
                  <a:schemeClr val="tx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  <a:endParaRPr lang="en-GB" dirty="0"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2DA72281-FF8A-A214-DD98-6DEEB4A3A4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8962" y="360000"/>
            <a:ext cx="6544607" cy="84219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19" name="Subtitle 2">
            <a:extLst>
              <a:ext uri="{FF2B5EF4-FFF2-40B4-BE49-F238E27FC236}">
                <a16:creationId xmlns:a16="http://schemas.microsoft.com/office/drawing/2014/main" id="{03691DF4-F4F4-2EF9-0573-6733C31A51ED}"/>
              </a:ext>
            </a:extLst>
          </p:cNvPr>
          <p:cNvSpPr>
            <a:spLocks noGrp="1"/>
          </p:cNvSpPr>
          <p:nvPr>
            <p:ph type="subTitle" idx="32" hasCustomPrompt="1"/>
          </p:nvPr>
        </p:nvSpPr>
        <p:spPr>
          <a:xfrm>
            <a:off x="358962" y="742224"/>
            <a:ext cx="6544607" cy="459853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1400" cap="all" baseline="0">
                <a:solidFill>
                  <a:schemeClr val="tx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40CF4073-12F7-49F5-A562-203C063C162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69735" y="4032299"/>
            <a:ext cx="1916198" cy="852092"/>
          </a:xfrm>
        </p:spPr>
        <p:txBody>
          <a:bodyPr anchor="t" anchorCtr="0"/>
          <a:lstStyle>
            <a:lvl1pPr marL="180000" indent="-180000" algn="ct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>
                <a:solidFill>
                  <a:schemeClr val="tx1"/>
                </a:solidFill>
                <a:latin typeface="+mn-lt"/>
              </a:defRPr>
            </a:lvl1pPr>
            <a:lvl2pPr marL="180000" indent="-180000" algn="ct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2pPr>
            <a:lvl3pPr marL="180000" indent="-180000" algn="ct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3pPr>
            <a:lvl4pPr marL="180000" indent="-180000" algn="ct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4pPr>
            <a:lvl5pPr marL="180000" indent="-180000" algn="ct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5pPr>
            <a:lvl6pPr marL="180000" indent="-180000" algn="ct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6pPr>
            <a:lvl7pPr marL="180000" indent="-180000" algn="ct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7pPr>
            <a:lvl8pPr marL="180000" indent="-180000" algn="ct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8pPr>
            <a:lvl9pPr marL="180000" indent="-180000" algn="ct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211EDC82-13FB-48BE-8E41-96BCE91BF040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9746674" y="5178176"/>
            <a:ext cx="2258376" cy="869825"/>
          </a:xfrm>
        </p:spPr>
        <p:txBody>
          <a:bodyPr anchor="t" anchorCtr="0"/>
          <a:lstStyle>
            <a:lvl1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>
                <a:solidFill>
                  <a:schemeClr val="tx1"/>
                </a:solidFill>
                <a:latin typeface="+mn-lt"/>
              </a:defRPr>
            </a:lvl1pPr>
            <a:lvl2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2pPr>
            <a:lvl3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3pPr>
            <a:lvl4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4pPr>
            <a:lvl5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5pPr>
            <a:lvl6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6pPr>
            <a:lvl7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7pPr>
            <a:lvl8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8pPr>
            <a:lvl9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96282221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ditorial w. USP 4">
    <p:bg>
      <p:bgPr>
        <a:solidFill>
          <a:srgbClr val="22283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2" hidden="1">
            <a:extLst>
              <a:ext uri="{FF2B5EF4-FFF2-40B4-BE49-F238E27FC236}">
                <a16:creationId xmlns:a16="http://schemas.microsoft.com/office/drawing/2014/main" id="{2DB75723-9354-DD92-509D-F941AE3A81A6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92"/>
          </p:nvPr>
        </p:nvSpPr>
        <p:spPr>
          <a:xfrm>
            <a:off x="0" y="6858000"/>
            <a:ext cx="0" cy="0"/>
          </a:xfrm>
        </p:spPr>
        <p:txBody>
          <a:bodyPr/>
          <a:lstStyle/>
          <a:p>
            <a:fld id="{45527A44-AA1D-4BA1-AA93-32475F9E9A8F}" type="datetime4">
              <a:rPr lang="en-GB" smtClean="0"/>
              <a:pPr/>
              <a:t>14 March 2025</a:t>
            </a:fld>
            <a:endParaRPr lang="en-GB" dirty="0"/>
          </a:p>
        </p:txBody>
      </p:sp>
      <p:sp>
        <p:nvSpPr>
          <p:cNvPr id="4" name="Footer Placeholder 4" hidden="1">
            <a:extLst>
              <a:ext uri="{FF2B5EF4-FFF2-40B4-BE49-F238E27FC236}">
                <a16:creationId xmlns:a16="http://schemas.microsoft.com/office/drawing/2014/main" id="{3B36EBCA-F119-38B8-DE50-984C094D9561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1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GB" dirty="0"/>
              <a:t>Muuto</a:t>
            </a:r>
          </a:p>
        </p:txBody>
      </p:sp>
      <p:sp>
        <p:nvSpPr>
          <p:cNvPr id="6" name="Slide Number Placeholder 5" hidden="1">
            <a:extLst>
              <a:ext uri="{FF2B5EF4-FFF2-40B4-BE49-F238E27FC236}">
                <a16:creationId xmlns:a16="http://schemas.microsoft.com/office/drawing/2014/main" id="{51AE55D7-0342-2126-55CA-F9BBE902AE85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12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2" name="Text Placeholder background">
            <a:extLst>
              <a:ext uri="{FF2B5EF4-FFF2-40B4-BE49-F238E27FC236}">
                <a16:creationId xmlns:a16="http://schemas.microsoft.com/office/drawing/2014/main" id="{7F8EA530-D562-4FB7-B628-B55B36C6D93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white">
          <a:xfrm>
            <a:off x="0" y="0"/>
            <a:ext cx="12198350" cy="6858000"/>
          </a:xfrm>
          <a:solidFill>
            <a:srgbClr val="22283E"/>
          </a:solidFill>
          <a:ln>
            <a:noFill/>
          </a:ln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13" name="Picture Placeholder 13">
            <a:extLst>
              <a:ext uri="{FF2B5EF4-FFF2-40B4-BE49-F238E27FC236}">
                <a16:creationId xmlns:a16="http://schemas.microsoft.com/office/drawing/2014/main" id="{CF405E34-C9AD-E9F0-DD6A-19A81DEC02F6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360188" y="1414800"/>
            <a:ext cx="3825191" cy="5079600"/>
          </a:xfrm>
          <a:solidFill>
            <a:schemeClr val="tx1"/>
          </a:solidFill>
        </p:spPr>
        <p:txBody>
          <a:bodyPr tIns="648000" anchor="ctr"/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  <a:endParaRPr lang="en-GB" dirty="0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1CDE8BD7-96B8-A549-3830-6CA41B052DE2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7801661" y="0"/>
            <a:ext cx="4405093" cy="5799600"/>
          </a:xfrm>
          <a:solidFill>
            <a:schemeClr val="tx1"/>
          </a:solidFill>
        </p:spPr>
        <p:txBody>
          <a:bodyPr tIns="648000" anchor="ctr"/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  <a:endParaRPr lang="en-GB" dirty="0"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2DA72281-FF8A-A214-DD98-6DEEB4A3A4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186" y="360000"/>
            <a:ext cx="4932118" cy="842199"/>
          </a:xfrm>
        </p:spPr>
        <p:txBody>
          <a:bodyPr/>
          <a:lstStyle>
            <a:lvl1pPr>
              <a:defRPr>
                <a:solidFill>
                  <a:srgbClr val="E5F5E4"/>
                </a:solidFill>
              </a:defRPr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19" name="Subtitle 2">
            <a:extLst>
              <a:ext uri="{FF2B5EF4-FFF2-40B4-BE49-F238E27FC236}">
                <a16:creationId xmlns:a16="http://schemas.microsoft.com/office/drawing/2014/main" id="{03691DF4-F4F4-2EF9-0573-6733C31A51ED}"/>
              </a:ext>
            </a:extLst>
          </p:cNvPr>
          <p:cNvSpPr>
            <a:spLocks noGrp="1"/>
          </p:cNvSpPr>
          <p:nvPr>
            <p:ph type="subTitle" idx="32" hasCustomPrompt="1"/>
          </p:nvPr>
        </p:nvSpPr>
        <p:spPr>
          <a:xfrm>
            <a:off x="358962" y="742224"/>
            <a:ext cx="4932118" cy="459853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1400" cap="all" baseline="0">
                <a:solidFill>
                  <a:srgbClr val="E5F5E4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40CF4073-12F7-49F5-A562-203C063C162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33056" y="5383794"/>
            <a:ext cx="2153921" cy="1141006"/>
          </a:xfrm>
        </p:spPr>
        <p:txBody>
          <a:bodyPr anchor="b" anchorCtr="0"/>
          <a:lstStyle>
            <a:lvl1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>
                <a:solidFill>
                  <a:srgbClr val="E5F5E4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None/>
              <a:defRPr sz="1400" b="0">
                <a:solidFill>
                  <a:srgbClr val="B7C5C5"/>
                </a:solidFill>
                <a:latin typeface="+mn-lt"/>
              </a:defRPr>
            </a:lvl2pPr>
            <a:lvl3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rgbClr val="B7C5C5"/>
                </a:solidFill>
                <a:latin typeface="+mn-lt"/>
              </a:defRPr>
            </a:lvl3pPr>
            <a:lvl4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rgbClr val="B7C5C5"/>
                </a:solidFill>
                <a:latin typeface="+mn-lt"/>
              </a:defRPr>
            </a:lvl4pPr>
            <a:lvl5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rgbClr val="B7C5C5"/>
                </a:solidFill>
                <a:latin typeface="+mn-lt"/>
              </a:defRPr>
            </a:lvl5pPr>
            <a:lvl6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rgbClr val="B7C5C5"/>
                </a:solidFill>
                <a:latin typeface="+mn-lt"/>
              </a:defRPr>
            </a:lvl6pPr>
            <a:lvl7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rgbClr val="B7C5C5"/>
                </a:solidFill>
                <a:latin typeface="+mn-lt"/>
              </a:defRPr>
            </a:lvl7pPr>
            <a:lvl8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rgbClr val="B7C5C5"/>
                </a:solidFill>
                <a:latin typeface="+mn-lt"/>
              </a:defRPr>
            </a:lvl8pPr>
            <a:lvl9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rgbClr val="B7C5C5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E7049037-323A-735D-20AA-22A4AC9972A0}"/>
              </a:ext>
            </a:extLst>
          </p:cNvPr>
          <p:cNvSpPr>
            <a:spLocks noGrp="1"/>
          </p:cNvSpPr>
          <p:nvPr>
            <p:ph type="body" sz="quarter" idx="93" hasCustomPrompt="1"/>
          </p:nvPr>
        </p:nvSpPr>
        <p:spPr>
          <a:xfrm>
            <a:off x="5680157" y="1079771"/>
            <a:ext cx="3184058" cy="1364630"/>
          </a:xfrm>
        </p:spPr>
        <p:txBody>
          <a:bodyPr anchor="b"/>
          <a:lstStyle>
            <a:lvl1pPr marL="180000" indent="-180000" algn="ct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1">
                <a:solidFill>
                  <a:srgbClr val="E5F5E4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None/>
              <a:defRPr sz="1400" b="0">
                <a:solidFill>
                  <a:schemeClr val="tx1"/>
                </a:solidFill>
                <a:latin typeface="+mn-lt"/>
              </a:defRPr>
            </a:lvl2pPr>
            <a:lvl3pPr marL="180000" indent="-180000" algn="ct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rgbClr val="B7C5C5"/>
                </a:solidFill>
                <a:latin typeface="+mn-lt"/>
              </a:defRPr>
            </a:lvl3pPr>
            <a:lvl4pPr marL="180000" indent="-180000" algn="ct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rgbClr val="B7C5C5"/>
                </a:solidFill>
                <a:latin typeface="+mn-lt"/>
              </a:defRPr>
            </a:lvl4pPr>
            <a:lvl5pPr marL="180000" indent="-180000" algn="ct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rgbClr val="B7C5C5"/>
                </a:solidFill>
                <a:latin typeface="+mn-lt"/>
              </a:defRPr>
            </a:lvl5pPr>
            <a:lvl6pPr marL="180000" indent="-180000" algn="ct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rgbClr val="B7C5C5"/>
                </a:solidFill>
                <a:latin typeface="+mn-lt"/>
              </a:defRPr>
            </a:lvl6pPr>
            <a:lvl7pPr marL="180000" indent="-180000" algn="ct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rgbClr val="B7C5C5"/>
                </a:solidFill>
                <a:latin typeface="+mn-lt"/>
              </a:defRPr>
            </a:lvl7pPr>
            <a:lvl8pPr marL="180000" indent="-180000" algn="ct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rgbClr val="B7C5C5"/>
                </a:solidFill>
                <a:latin typeface="+mn-lt"/>
              </a:defRPr>
            </a:lvl8pPr>
            <a:lvl9pPr marL="180000" indent="-180000" algn="ct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rgbClr val="B7C5C5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12341312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ditorial w. USP 5">
    <p:bg>
      <p:bgPr>
        <a:solidFill>
          <a:srgbClr val="143E3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Date Placeholder 2" hidden="1">
            <a:extLst>
              <a:ext uri="{FF2B5EF4-FFF2-40B4-BE49-F238E27FC236}">
                <a16:creationId xmlns:a16="http://schemas.microsoft.com/office/drawing/2014/main" id="{15EDFE49-28D9-6D98-FEC1-D0F55FD66964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92"/>
          </p:nvPr>
        </p:nvSpPr>
        <p:spPr>
          <a:xfrm>
            <a:off x="0" y="6858000"/>
            <a:ext cx="0" cy="0"/>
          </a:xfrm>
        </p:spPr>
        <p:txBody>
          <a:bodyPr/>
          <a:lstStyle/>
          <a:p>
            <a:fld id="{45527A44-AA1D-4BA1-AA93-32475F9E9A8F}" type="datetime4">
              <a:rPr lang="en-GB" smtClean="0"/>
              <a:pPr/>
              <a:t>14 March 2025</a:t>
            </a:fld>
            <a:endParaRPr lang="en-GB" dirty="0"/>
          </a:p>
        </p:txBody>
      </p:sp>
      <p:sp>
        <p:nvSpPr>
          <p:cNvPr id="20" name="Footer Placeholder 4" hidden="1">
            <a:extLst>
              <a:ext uri="{FF2B5EF4-FFF2-40B4-BE49-F238E27FC236}">
                <a16:creationId xmlns:a16="http://schemas.microsoft.com/office/drawing/2014/main" id="{D8B43074-9935-3EAD-8A39-01E2C5A0E8D4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1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GB" dirty="0"/>
              <a:t>Muuto</a:t>
            </a:r>
          </a:p>
        </p:txBody>
      </p:sp>
      <p:sp>
        <p:nvSpPr>
          <p:cNvPr id="21" name="Slide Number Placeholder 5" hidden="1">
            <a:extLst>
              <a:ext uri="{FF2B5EF4-FFF2-40B4-BE49-F238E27FC236}">
                <a16:creationId xmlns:a16="http://schemas.microsoft.com/office/drawing/2014/main" id="{414B2DA6-5FA7-95F4-3BF6-2C4E3A063FF4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12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2" name="Text Placeholder background">
            <a:extLst>
              <a:ext uri="{FF2B5EF4-FFF2-40B4-BE49-F238E27FC236}">
                <a16:creationId xmlns:a16="http://schemas.microsoft.com/office/drawing/2014/main" id="{7F8EA530-D562-4FB7-B628-B55B36C6D93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white">
          <a:xfrm>
            <a:off x="0" y="0"/>
            <a:ext cx="12198350" cy="6858000"/>
          </a:xfrm>
          <a:solidFill>
            <a:srgbClr val="143E3D"/>
          </a:solidFill>
          <a:ln>
            <a:noFill/>
          </a:ln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13" name="Picture Placeholder 13">
            <a:extLst>
              <a:ext uri="{FF2B5EF4-FFF2-40B4-BE49-F238E27FC236}">
                <a16:creationId xmlns:a16="http://schemas.microsoft.com/office/drawing/2014/main" id="{CF405E34-C9AD-E9F0-DD6A-19A81DEC02F6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0" y="2667600"/>
            <a:ext cx="5726981" cy="4201200"/>
          </a:xfrm>
          <a:solidFill>
            <a:schemeClr val="tx1"/>
          </a:solidFill>
        </p:spPr>
        <p:txBody>
          <a:bodyPr tIns="648000" anchor="ctr"/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  <a:endParaRPr lang="en-GB" dirty="0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1CDE8BD7-96B8-A549-3830-6CA41B052DE2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9723862" y="4410000"/>
            <a:ext cx="2474488" cy="2448000"/>
          </a:xfrm>
          <a:solidFill>
            <a:schemeClr val="tx1"/>
          </a:solidFill>
        </p:spPr>
        <p:txBody>
          <a:bodyPr tIns="648000" anchor="ctr"/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  <a:endParaRPr lang="en-GB" dirty="0"/>
          </a:p>
        </p:txBody>
      </p:sp>
      <p:sp>
        <p:nvSpPr>
          <p:cNvPr id="15" name="Picture Placeholder 13">
            <a:extLst>
              <a:ext uri="{FF2B5EF4-FFF2-40B4-BE49-F238E27FC236}">
                <a16:creationId xmlns:a16="http://schemas.microsoft.com/office/drawing/2014/main" id="{9F85B9CF-30F3-3324-FA00-76649216A568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6566218" y="226800"/>
            <a:ext cx="3364151" cy="3495600"/>
          </a:xfrm>
          <a:solidFill>
            <a:schemeClr val="tx1"/>
          </a:solidFill>
        </p:spPr>
        <p:txBody>
          <a:bodyPr tIns="648000" anchor="ctr"/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  <a:endParaRPr lang="en-GB" dirty="0"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2DA72281-FF8A-A214-DD98-6DEEB4A3A4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8962" y="360000"/>
            <a:ext cx="6544607" cy="84219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19" name="Subtitle 2">
            <a:extLst>
              <a:ext uri="{FF2B5EF4-FFF2-40B4-BE49-F238E27FC236}">
                <a16:creationId xmlns:a16="http://schemas.microsoft.com/office/drawing/2014/main" id="{03691DF4-F4F4-2EF9-0573-6733C31A51ED}"/>
              </a:ext>
            </a:extLst>
          </p:cNvPr>
          <p:cNvSpPr>
            <a:spLocks noGrp="1"/>
          </p:cNvSpPr>
          <p:nvPr>
            <p:ph type="subTitle" idx="32" hasCustomPrompt="1"/>
          </p:nvPr>
        </p:nvSpPr>
        <p:spPr>
          <a:xfrm>
            <a:off x="358962" y="742224"/>
            <a:ext cx="6544607" cy="459853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1400" cap="all" baseline="0">
                <a:solidFill>
                  <a:schemeClr val="tx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40CF4073-12F7-49F5-A562-203C063C162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566218" y="3819600"/>
            <a:ext cx="1901790" cy="817200"/>
          </a:xfrm>
        </p:spPr>
        <p:txBody>
          <a:bodyPr anchor="t" anchorCtr="0"/>
          <a:lstStyle>
            <a:lvl1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>
                <a:solidFill>
                  <a:schemeClr val="tx1"/>
                </a:solidFill>
                <a:latin typeface="+mn-lt"/>
              </a:defRPr>
            </a:lvl1pPr>
            <a:lvl2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2pPr>
            <a:lvl3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3pPr>
            <a:lvl4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4pPr>
            <a:lvl5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5pPr>
            <a:lvl6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6pPr>
            <a:lvl7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7pPr>
            <a:lvl8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8pPr>
            <a:lvl9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211EDC82-13FB-48BE-8E41-96BCE91BF040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7664790" y="5713200"/>
            <a:ext cx="1901790" cy="975276"/>
          </a:xfrm>
        </p:spPr>
        <p:txBody>
          <a:bodyPr anchor="b" anchorCtr="0"/>
          <a:lstStyle>
            <a:lvl1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>
                <a:solidFill>
                  <a:schemeClr val="tx1"/>
                </a:solidFill>
                <a:latin typeface="+mn-lt"/>
              </a:defRPr>
            </a:lvl1pPr>
            <a:lvl2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2pPr>
            <a:lvl3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3pPr>
            <a:lvl4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4pPr>
            <a:lvl5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5pPr>
            <a:lvl6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6pPr>
            <a:lvl7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7pPr>
            <a:lvl8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8pPr>
            <a:lvl9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416082372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ditorial w. quote ">
    <p:bg>
      <p:bgPr>
        <a:solidFill>
          <a:srgbClr val="FCF1C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Date Placeholder 2" hidden="1">
            <a:extLst>
              <a:ext uri="{FF2B5EF4-FFF2-40B4-BE49-F238E27FC236}">
                <a16:creationId xmlns:a16="http://schemas.microsoft.com/office/drawing/2014/main" id="{15EDFE49-28D9-6D98-FEC1-D0F55FD66964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92"/>
          </p:nvPr>
        </p:nvSpPr>
        <p:spPr>
          <a:xfrm>
            <a:off x="0" y="6858000"/>
            <a:ext cx="0" cy="0"/>
          </a:xfrm>
        </p:spPr>
        <p:txBody>
          <a:bodyPr/>
          <a:lstStyle/>
          <a:p>
            <a:fld id="{45527A44-AA1D-4BA1-AA93-32475F9E9A8F}" type="datetime4">
              <a:rPr lang="en-GB" smtClean="0"/>
              <a:pPr/>
              <a:t>14 March 2025</a:t>
            </a:fld>
            <a:endParaRPr lang="en-GB" dirty="0"/>
          </a:p>
        </p:txBody>
      </p:sp>
      <p:sp>
        <p:nvSpPr>
          <p:cNvPr id="20" name="Footer Placeholder 4" hidden="1">
            <a:extLst>
              <a:ext uri="{FF2B5EF4-FFF2-40B4-BE49-F238E27FC236}">
                <a16:creationId xmlns:a16="http://schemas.microsoft.com/office/drawing/2014/main" id="{D8B43074-9935-3EAD-8A39-01E2C5A0E8D4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1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GB" dirty="0"/>
              <a:t>Muuto</a:t>
            </a:r>
          </a:p>
        </p:txBody>
      </p:sp>
      <p:sp>
        <p:nvSpPr>
          <p:cNvPr id="21" name="Slide Number Placeholder 5" hidden="1">
            <a:extLst>
              <a:ext uri="{FF2B5EF4-FFF2-40B4-BE49-F238E27FC236}">
                <a16:creationId xmlns:a16="http://schemas.microsoft.com/office/drawing/2014/main" id="{414B2DA6-5FA7-95F4-3BF6-2C4E3A063FF4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12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2" name="Text Placeholder background">
            <a:extLst>
              <a:ext uri="{FF2B5EF4-FFF2-40B4-BE49-F238E27FC236}">
                <a16:creationId xmlns:a16="http://schemas.microsoft.com/office/drawing/2014/main" id="{7F8EA530-D562-4FB7-B628-B55B36C6D93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white">
          <a:xfrm>
            <a:off x="0" y="0"/>
            <a:ext cx="12198350" cy="6858000"/>
          </a:xfrm>
          <a:solidFill>
            <a:srgbClr val="FCF1C3"/>
          </a:solidFill>
          <a:ln>
            <a:noFill/>
          </a:ln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13" name="Picture Placeholder 13">
            <a:extLst>
              <a:ext uri="{FF2B5EF4-FFF2-40B4-BE49-F238E27FC236}">
                <a16:creationId xmlns:a16="http://schemas.microsoft.com/office/drawing/2014/main" id="{CF405E34-C9AD-E9F0-DD6A-19A81DEC02F6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360187" y="1810800"/>
            <a:ext cx="3699126" cy="46836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200">
                <a:solidFill>
                  <a:schemeClr val="tx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  <a:endParaRPr lang="en-GB" dirty="0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1CDE8BD7-96B8-A549-3830-6CA41B052DE2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9858332" y="4694400"/>
            <a:ext cx="1624446" cy="21636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200">
                <a:solidFill>
                  <a:schemeClr val="tx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  <a:endParaRPr lang="en-GB" dirty="0"/>
          </a:p>
        </p:txBody>
      </p:sp>
      <p:sp>
        <p:nvSpPr>
          <p:cNvPr id="15" name="Picture Placeholder 13">
            <a:extLst>
              <a:ext uri="{FF2B5EF4-FFF2-40B4-BE49-F238E27FC236}">
                <a16:creationId xmlns:a16="http://schemas.microsoft.com/office/drawing/2014/main" id="{9F85B9CF-30F3-3324-FA00-76649216A568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4812105" y="0"/>
            <a:ext cx="4595993" cy="34596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200">
                <a:solidFill>
                  <a:schemeClr val="tx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  <a:endParaRPr lang="en-GB" dirty="0"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2DA72281-FF8A-A214-DD98-6DEEB4A3A4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8962" y="360000"/>
            <a:ext cx="8518434" cy="84219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19" name="Subtitle 2">
            <a:extLst>
              <a:ext uri="{FF2B5EF4-FFF2-40B4-BE49-F238E27FC236}">
                <a16:creationId xmlns:a16="http://schemas.microsoft.com/office/drawing/2014/main" id="{03691DF4-F4F4-2EF9-0573-6733C31A51ED}"/>
              </a:ext>
            </a:extLst>
          </p:cNvPr>
          <p:cNvSpPr>
            <a:spLocks noGrp="1"/>
          </p:cNvSpPr>
          <p:nvPr>
            <p:ph type="subTitle" idx="32" hasCustomPrompt="1"/>
          </p:nvPr>
        </p:nvSpPr>
        <p:spPr>
          <a:xfrm>
            <a:off x="358962" y="742224"/>
            <a:ext cx="8518434" cy="459853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1400" cap="all" baseline="0">
                <a:solidFill>
                  <a:schemeClr val="tx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40CF4073-12F7-49F5-A562-203C063C162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046227" y="4119327"/>
            <a:ext cx="3832395" cy="1956922"/>
          </a:xfrm>
        </p:spPr>
        <p:txBody>
          <a:bodyPr anchor="b" anchorCtr="0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2000"/>
              </a:spcAft>
              <a:buFont typeface="Arial" panose="020B0604020202020204" pitchFamily="34" charset="0"/>
              <a:buChar char="​"/>
              <a:defRPr sz="1800" b="0" i="0">
                <a:solidFill>
                  <a:schemeClr val="tx1"/>
                </a:solidFill>
                <a:latin typeface="+mj-lt"/>
              </a:defRPr>
            </a:lvl1pPr>
            <a:lvl2pPr marL="180000" indent="-180000" algn="ct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 i="0" cap="all" baseline="0">
                <a:solidFill>
                  <a:schemeClr val="tx1"/>
                </a:solidFill>
                <a:latin typeface="+mn-lt"/>
              </a:defRPr>
            </a:lvl2pPr>
            <a:lvl3pPr marL="180000" indent="-180000" algn="ct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 i="0" cap="all">
                <a:solidFill>
                  <a:schemeClr val="tx1"/>
                </a:solidFill>
                <a:latin typeface="+mn-lt"/>
              </a:defRPr>
            </a:lvl3pPr>
            <a:lvl4pPr marL="180000" indent="-180000" algn="ct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 i="0" cap="all">
                <a:solidFill>
                  <a:schemeClr val="tx1"/>
                </a:solidFill>
                <a:latin typeface="+mn-lt"/>
              </a:defRPr>
            </a:lvl4pPr>
            <a:lvl5pPr marL="180000" indent="-180000" algn="ct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 i="0" cap="all">
                <a:solidFill>
                  <a:schemeClr val="tx1"/>
                </a:solidFill>
                <a:latin typeface="+mn-lt"/>
              </a:defRPr>
            </a:lvl5pPr>
            <a:lvl6pPr marL="180000" indent="-180000" algn="ct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 i="0" cap="all">
                <a:solidFill>
                  <a:schemeClr val="tx1"/>
                </a:solidFill>
                <a:latin typeface="+mn-lt"/>
              </a:defRPr>
            </a:lvl6pPr>
            <a:lvl7pPr marL="180000" indent="-180000" algn="ct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 i="0" cap="all">
                <a:solidFill>
                  <a:schemeClr val="tx1"/>
                </a:solidFill>
                <a:latin typeface="+mn-lt"/>
              </a:defRPr>
            </a:lvl7pPr>
            <a:lvl8pPr marL="180000" indent="-180000" algn="ct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 i="0" cap="all">
                <a:solidFill>
                  <a:schemeClr val="tx1"/>
                </a:solidFill>
                <a:latin typeface="+mn-lt"/>
              </a:defRPr>
            </a:lvl8pPr>
            <a:lvl9pPr marL="180000" indent="-180000" algn="ct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 i="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“Click to add quote                                        </a:t>
            </a:r>
            <a:r>
              <a:rPr lang="en-GB" noProof="0" dirty="0"/>
              <a:t>Press ENTER then TAB to name text style”</a:t>
            </a:r>
            <a:endParaRPr lang="en-GB" dirty="0"/>
          </a:p>
          <a:p>
            <a:pPr lvl="1"/>
            <a:r>
              <a:rPr lang="en-GB" dirty="0"/>
              <a:t>Name</a:t>
            </a:r>
          </a:p>
          <a:p>
            <a:pPr lvl="2"/>
            <a:r>
              <a:rPr lang="en-GB" dirty="0"/>
              <a:t>3a</a:t>
            </a:r>
          </a:p>
          <a:p>
            <a:pPr lvl="3"/>
            <a:r>
              <a:rPr lang="en-GB" dirty="0"/>
              <a:t>4b</a:t>
            </a:r>
          </a:p>
          <a:p>
            <a:pPr lvl="4"/>
            <a:r>
              <a:rPr lang="en-GB" dirty="0"/>
              <a:t>5c</a:t>
            </a:r>
          </a:p>
          <a:p>
            <a:pPr lvl="5"/>
            <a:r>
              <a:rPr lang="en-GB" dirty="0"/>
              <a:t>6d</a:t>
            </a:r>
          </a:p>
          <a:p>
            <a:pPr lvl="6"/>
            <a:r>
              <a:rPr lang="en-GB" dirty="0"/>
              <a:t>7e</a:t>
            </a:r>
          </a:p>
          <a:p>
            <a:pPr lvl="7"/>
            <a:r>
              <a:rPr lang="en-GB" dirty="0"/>
              <a:t>8f</a:t>
            </a:r>
          </a:p>
          <a:p>
            <a:pPr lvl="8"/>
            <a:r>
              <a:rPr lang="en-GB" dirty="0"/>
              <a:t>9g</a:t>
            </a:r>
          </a:p>
        </p:txBody>
      </p:sp>
    </p:spTree>
    <p:extLst>
      <p:ext uri="{BB962C8B-B14F-4D97-AF65-F5344CB8AC3E}">
        <p14:creationId xmlns:p14="http://schemas.microsoft.com/office/powerpoint/2010/main" val="122934601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SP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Date Placeholder 2" hidden="1">
            <a:extLst>
              <a:ext uri="{FF2B5EF4-FFF2-40B4-BE49-F238E27FC236}">
                <a16:creationId xmlns:a16="http://schemas.microsoft.com/office/drawing/2014/main" id="{3F645BB1-F7BC-BB17-3315-E31D3C138599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92"/>
          </p:nvPr>
        </p:nvSpPr>
        <p:spPr>
          <a:xfrm>
            <a:off x="0" y="6858000"/>
            <a:ext cx="0" cy="0"/>
          </a:xfrm>
        </p:spPr>
        <p:txBody>
          <a:bodyPr/>
          <a:lstStyle/>
          <a:p>
            <a:fld id="{45527A44-AA1D-4BA1-AA93-32475F9E9A8F}" type="datetime4">
              <a:rPr lang="en-GB" smtClean="0"/>
              <a:pPr/>
              <a:t>14 March 2025</a:t>
            </a:fld>
            <a:endParaRPr lang="en-GB" dirty="0"/>
          </a:p>
        </p:txBody>
      </p:sp>
      <p:sp>
        <p:nvSpPr>
          <p:cNvPr id="11" name="Footer Placeholder 4" hidden="1">
            <a:extLst>
              <a:ext uri="{FF2B5EF4-FFF2-40B4-BE49-F238E27FC236}">
                <a16:creationId xmlns:a16="http://schemas.microsoft.com/office/drawing/2014/main" id="{16F9C462-F3DF-A1A8-990C-815F03A08E0C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1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GB" dirty="0"/>
              <a:t>Muuto</a:t>
            </a:r>
          </a:p>
        </p:txBody>
      </p:sp>
      <p:sp>
        <p:nvSpPr>
          <p:cNvPr id="12" name="Slide Number Placeholder 5" hidden="1">
            <a:extLst>
              <a:ext uri="{FF2B5EF4-FFF2-40B4-BE49-F238E27FC236}">
                <a16:creationId xmlns:a16="http://schemas.microsoft.com/office/drawing/2014/main" id="{DF28C081-23D3-FFEB-A9A3-1C52685D818F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12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5" name="Text Placeholder background">
            <a:extLst>
              <a:ext uri="{FF2B5EF4-FFF2-40B4-BE49-F238E27FC236}">
                <a16:creationId xmlns:a16="http://schemas.microsoft.com/office/drawing/2014/main" id="{5A187E53-6373-462D-A58E-8E70EF3E651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white">
          <a:xfrm>
            <a:off x="1" y="0"/>
            <a:ext cx="12198350" cy="6858000"/>
          </a:xfrm>
          <a:solidFill>
            <a:srgbClr val="ECE8DD"/>
          </a:solidFill>
          <a:ln>
            <a:noFill/>
          </a:ln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12D2AFF5-A966-C48A-D023-1A8FBE7405A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188" y="360000"/>
            <a:ext cx="2598866" cy="1624443"/>
          </a:xfrm>
        </p:spPr>
        <p:txBody>
          <a:bodyPr/>
          <a:lstStyle>
            <a:lvl1pPr>
              <a:defRPr sz="1800"/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A10878EB-43AE-13AC-6260-6F34E72C6F4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0187" y="6289358"/>
            <a:ext cx="2600554" cy="208280"/>
          </a:xfrm>
        </p:spPr>
        <p:txBody>
          <a:bodyPr bIns="25200" anchor="b" anchorCtr="0"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1pPr>
            <a:lvl2pPr marL="0" indent="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>
                <a:latin typeface="+mn-lt"/>
              </a:defRPr>
            </a:lvl2pPr>
            <a:lvl3pPr marL="0" indent="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>
                <a:latin typeface="+mn-lt"/>
              </a:defRPr>
            </a:lvl3pPr>
            <a:lvl4pPr marL="0" indent="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>
                <a:latin typeface="+mn-lt"/>
              </a:defRPr>
            </a:lvl4pPr>
            <a:lvl5pPr marL="0" indent="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>
                <a:latin typeface="+mn-lt"/>
              </a:defRPr>
            </a:lvl5pPr>
            <a:lvl6pPr marL="0" indent="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>
                <a:latin typeface="+mn-lt"/>
              </a:defRPr>
            </a:lvl6pPr>
            <a:lvl7pPr marL="0" indent="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>
                <a:latin typeface="+mn-lt"/>
              </a:defRPr>
            </a:lvl7pPr>
            <a:lvl8pPr marL="0" indent="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>
                <a:latin typeface="+mn-lt"/>
              </a:defRPr>
            </a:lvl8pPr>
            <a:lvl9pPr marL="0" indent="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>
                <a:latin typeface="+mn-lt"/>
              </a:defRPr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9ED2E7D5-ADA6-A019-14FA-E01BE8D0C778}"/>
              </a:ext>
            </a:extLst>
          </p:cNvPr>
          <p:cNvSpPr>
            <a:spLocks noGrp="1"/>
          </p:cNvSpPr>
          <p:nvPr>
            <p:ph type="body" sz="quarter" idx="93" hasCustomPrompt="1"/>
          </p:nvPr>
        </p:nvSpPr>
        <p:spPr>
          <a:xfrm>
            <a:off x="3317327" y="358775"/>
            <a:ext cx="4181777" cy="2988000"/>
          </a:xfrm>
          <a:solidFill>
            <a:srgbClr val="C5DBF3"/>
          </a:solidFill>
        </p:spPr>
        <p:txBody>
          <a:bodyPr vert="horz" lIns="828000" tIns="0" rIns="0" bIns="360000" rtlCol="0" anchor="b" anchorCtr="0">
            <a:noAutofit/>
          </a:bodyPr>
          <a:lstStyle>
            <a:lvl1pPr>
              <a:defRPr lang="en-GB" sz="1400" dirty="0" smtClean="0"/>
            </a:lvl1pPr>
            <a:lvl2pPr>
              <a:defRPr lang="en-GB" sz="1400" dirty="0" smtClean="0"/>
            </a:lvl2pPr>
            <a:lvl3pPr>
              <a:defRPr lang="en-GB" sz="1400" dirty="0" smtClean="0"/>
            </a:lvl3pPr>
            <a:lvl4pPr>
              <a:defRPr lang="en-GB" sz="1400" dirty="0" smtClean="0"/>
            </a:lvl4pPr>
            <a:lvl5pPr>
              <a:defRPr lang="en-GB" sz="1400" dirty="0" smtClean="0"/>
            </a:lvl5pPr>
            <a:lvl6pPr>
              <a:defRPr lang="en-GB" dirty="0" smtClean="0"/>
            </a:lvl6pPr>
            <a:lvl7pPr>
              <a:defRPr lang="en-GB" dirty="0" smtClean="0"/>
            </a:lvl7pPr>
            <a:lvl8pPr>
              <a:defRPr lang="en-GB" dirty="0" smtClean="0"/>
            </a:lvl8pPr>
            <a:lvl9pPr>
              <a:defRPr lang="en-GB" dirty="0"/>
            </a:lvl9pPr>
          </a:lstStyle>
          <a:p>
            <a:pPr lvl="0"/>
            <a:r>
              <a:rPr lang="en-GB" noProof="0" dirty="0"/>
              <a:t>Click to add text                               Press ENTER then TAB to view next text style  Press SHIFT+TAB to view previous text style</a:t>
            </a:r>
            <a:endParaRPr lang="en-GB" dirty="0"/>
          </a:p>
        </p:txBody>
      </p:sp>
      <p:sp>
        <p:nvSpPr>
          <p:cNvPr id="19" name="Text Placeholder 17">
            <a:extLst>
              <a:ext uri="{FF2B5EF4-FFF2-40B4-BE49-F238E27FC236}">
                <a16:creationId xmlns:a16="http://schemas.microsoft.com/office/drawing/2014/main" id="{8CCD0EAC-B194-C809-4A16-F1930E1F846B}"/>
              </a:ext>
            </a:extLst>
          </p:cNvPr>
          <p:cNvSpPr>
            <a:spLocks noGrp="1"/>
          </p:cNvSpPr>
          <p:nvPr>
            <p:ph type="body" sz="quarter" idx="94" hasCustomPrompt="1"/>
          </p:nvPr>
        </p:nvSpPr>
        <p:spPr>
          <a:xfrm>
            <a:off x="7656023" y="358775"/>
            <a:ext cx="4181777" cy="2988000"/>
          </a:xfrm>
          <a:solidFill>
            <a:srgbClr val="3C0E18"/>
          </a:solidFill>
        </p:spPr>
        <p:txBody>
          <a:bodyPr lIns="828000" bIns="360000" anchor="b" anchorCtr="0"/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marL="270000" marR="0" lvl="0" indent="-2700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Euclid Flex" panose="020B0500030000000000" pitchFamily="34" charset="0"/>
              <a:buChar char="—"/>
              <a:tabLst/>
              <a:defRPr/>
            </a:pPr>
            <a:r>
              <a:rPr lang="en-GB" noProof="0" dirty="0"/>
              <a:t>Click to add text                                    Press ENTER then TAB to view next text style  Press SHIFT+TAB to view previous text style</a:t>
            </a:r>
            <a:endParaRPr lang="en-GB" dirty="0"/>
          </a:p>
        </p:txBody>
      </p:sp>
      <p:sp>
        <p:nvSpPr>
          <p:cNvPr id="20" name="Text Placeholder 17">
            <a:extLst>
              <a:ext uri="{FF2B5EF4-FFF2-40B4-BE49-F238E27FC236}">
                <a16:creationId xmlns:a16="http://schemas.microsoft.com/office/drawing/2014/main" id="{0E96DE1B-7A09-5BD1-66D1-241366F4A0F0}"/>
              </a:ext>
            </a:extLst>
          </p:cNvPr>
          <p:cNvSpPr>
            <a:spLocks noGrp="1"/>
          </p:cNvSpPr>
          <p:nvPr>
            <p:ph type="body" sz="quarter" idx="95" hasCustomPrompt="1"/>
          </p:nvPr>
        </p:nvSpPr>
        <p:spPr>
          <a:xfrm>
            <a:off x="3317327" y="3510130"/>
            <a:ext cx="4181777" cy="2988000"/>
          </a:xfrm>
          <a:solidFill>
            <a:srgbClr val="5B4A14"/>
          </a:solidFill>
        </p:spPr>
        <p:txBody>
          <a:bodyPr vert="horz" lIns="828000" tIns="0" rIns="0" bIns="360000" rtlCol="0" anchor="b" anchorCtr="0">
            <a:noAutofit/>
          </a:bodyPr>
          <a:lstStyle>
            <a:lvl1pPr>
              <a:defRPr lang="en-GB" sz="1400" dirty="0" smtClean="0">
                <a:solidFill>
                  <a:schemeClr val="bg1"/>
                </a:solidFill>
              </a:defRPr>
            </a:lvl1pPr>
            <a:lvl2pPr>
              <a:defRPr lang="en-GB" sz="1400" dirty="0" smtClean="0">
                <a:solidFill>
                  <a:schemeClr val="bg1"/>
                </a:solidFill>
              </a:defRPr>
            </a:lvl2pPr>
            <a:lvl3pPr>
              <a:defRPr lang="en-GB" sz="1400" dirty="0" smtClean="0">
                <a:solidFill>
                  <a:schemeClr val="bg1"/>
                </a:solidFill>
              </a:defRPr>
            </a:lvl3pPr>
            <a:lvl4pPr>
              <a:defRPr lang="en-GB" sz="1400" dirty="0" smtClean="0">
                <a:solidFill>
                  <a:schemeClr val="bg1"/>
                </a:solidFill>
              </a:defRPr>
            </a:lvl4pPr>
            <a:lvl5pPr>
              <a:defRPr lang="en-GB" sz="1400" dirty="0" smtClean="0">
                <a:solidFill>
                  <a:schemeClr val="bg1"/>
                </a:solidFill>
              </a:defRPr>
            </a:lvl5pPr>
            <a:lvl6pPr>
              <a:defRPr lang="en-GB" dirty="0" smtClean="0">
                <a:solidFill>
                  <a:schemeClr val="bg1"/>
                </a:solidFill>
              </a:defRPr>
            </a:lvl6pPr>
            <a:lvl7pPr>
              <a:defRPr lang="en-GB" dirty="0" smtClean="0">
                <a:solidFill>
                  <a:schemeClr val="bg1"/>
                </a:solidFill>
              </a:defRPr>
            </a:lvl7pPr>
            <a:lvl8pPr>
              <a:defRPr lang="en-GB" dirty="0" smtClean="0">
                <a:solidFill>
                  <a:schemeClr val="bg1"/>
                </a:solidFill>
              </a:defRPr>
            </a:lvl8pPr>
            <a:lvl9pPr>
              <a:buNone/>
              <a:defRPr lang="en-GB" dirty="0">
                <a:solidFill>
                  <a:schemeClr val="bg1"/>
                </a:solidFill>
              </a:defRPr>
            </a:lvl9pPr>
          </a:lstStyle>
          <a:p>
            <a:pPr lvl="0"/>
            <a:r>
              <a:rPr lang="en-GB" noProof="0" dirty="0"/>
              <a:t>Click to add text                              Press ENTER then TAB to view next text style  Press SHIFT+TAB to view previous text style</a:t>
            </a:r>
            <a:endParaRPr lang="en-GB" dirty="0"/>
          </a:p>
        </p:txBody>
      </p:sp>
      <p:sp>
        <p:nvSpPr>
          <p:cNvPr id="21" name="Text Placeholder 17">
            <a:extLst>
              <a:ext uri="{FF2B5EF4-FFF2-40B4-BE49-F238E27FC236}">
                <a16:creationId xmlns:a16="http://schemas.microsoft.com/office/drawing/2014/main" id="{B365418F-BB7D-8819-A37C-A441BA66F9F5}"/>
              </a:ext>
            </a:extLst>
          </p:cNvPr>
          <p:cNvSpPr>
            <a:spLocks noGrp="1"/>
          </p:cNvSpPr>
          <p:nvPr>
            <p:ph type="body" sz="quarter" idx="96" hasCustomPrompt="1"/>
          </p:nvPr>
        </p:nvSpPr>
        <p:spPr>
          <a:xfrm>
            <a:off x="7656023" y="3510130"/>
            <a:ext cx="4181777" cy="2988000"/>
          </a:xfrm>
          <a:solidFill>
            <a:srgbClr val="B7D692"/>
          </a:solidFill>
        </p:spPr>
        <p:txBody>
          <a:bodyPr lIns="828000" bIns="360000" anchor="b" anchorCtr="0"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marL="270000" marR="0" lvl="0" indent="-2700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Euclid Flex" panose="020B0500030000000000" pitchFamily="34" charset="0"/>
              <a:buChar char="—"/>
              <a:tabLst/>
              <a:defRPr/>
            </a:pPr>
            <a:r>
              <a:rPr lang="en-GB" noProof="0" dirty="0"/>
              <a:t>Click to add text                                     Press ENTER then TAB to view next text style  Press SHIFT+TAB to view previous text style</a:t>
            </a:r>
            <a:endParaRPr lang="en-GB" dirty="0"/>
          </a:p>
        </p:txBody>
      </p:sp>
      <p:sp>
        <p:nvSpPr>
          <p:cNvPr id="22" name="Text Placeholder 17">
            <a:extLst>
              <a:ext uri="{FF2B5EF4-FFF2-40B4-BE49-F238E27FC236}">
                <a16:creationId xmlns:a16="http://schemas.microsoft.com/office/drawing/2014/main" id="{C9156F2C-0E12-AFC2-077B-760287DA1516}"/>
              </a:ext>
            </a:extLst>
          </p:cNvPr>
          <p:cNvSpPr>
            <a:spLocks noGrp="1"/>
          </p:cNvSpPr>
          <p:nvPr>
            <p:ph type="body" sz="quarter" idx="97" hasCustomPrompt="1"/>
          </p:nvPr>
        </p:nvSpPr>
        <p:spPr>
          <a:xfrm>
            <a:off x="3317327" y="358775"/>
            <a:ext cx="396206" cy="1908000"/>
          </a:xfrm>
        </p:spPr>
        <p:txBody>
          <a:bodyPr vert="vert270" lIns="108000" tIns="144000" anchor="t" anchorCtr="0"/>
          <a:lstStyle>
            <a:lvl1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>
                <a:latin typeface="+mn-lt"/>
              </a:defRPr>
            </a:lvl3pPr>
            <a:lvl4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>
                <a:latin typeface="+mn-lt"/>
              </a:defRPr>
            </a:lvl4pPr>
            <a:lvl5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>
                <a:latin typeface="+mn-lt"/>
              </a:defRPr>
            </a:lvl6pPr>
            <a:lvl7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>
                <a:latin typeface="+mn-lt"/>
              </a:defRPr>
            </a:lvl7pPr>
            <a:lvl8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>
                <a:latin typeface="+mn-lt"/>
              </a:defRPr>
            </a:lvl8pPr>
            <a:lvl9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>
                <a:latin typeface="+mn-lt"/>
              </a:defRPr>
            </a:lvl9pPr>
          </a:lstStyle>
          <a:p>
            <a:pPr lvl="0"/>
            <a:r>
              <a:rPr lang="en-GB" noProof="0" dirty="0"/>
              <a:t>Click to add text</a:t>
            </a:r>
            <a:endParaRPr lang="en-GB" dirty="0"/>
          </a:p>
        </p:txBody>
      </p:sp>
      <p:sp>
        <p:nvSpPr>
          <p:cNvPr id="23" name="Text Placeholder 17">
            <a:extLst>
              <a:ext uri="{FF2B5EF4-FFF2-40B4-BE49-F238E27FC236}">
                <a16:creationId xmlns:a16="http://schemas.microsoft.com/office/drawing/2014/main" id="{CAE9EB38-A6BD-7113-157B-5AB1BDBD7941}"/>
              </a:ext>
            </a:extLst>
          </p:cNvPr>
          <p:cNvSpPr>
            <a:spLocks noGrp="1"/>
          </p:cNvSpPr>
          <p:nvPr>
            <p:ph type="body" sz="quarter" idx="98" hasCustomPrompt="1"/>
          </p:nvPr>
        </p:nvSpPr>
        <p:spPr bwMode="white">
          <a:xfrm>
            <a:off x="7656024" y="358775"/>
            <a:ext cx="396206" cy="1908000"/>
          </a:xfrm>
        </p:spPr>
        <p:txBody>
          <a:bodyPr vert="vert270" lIns="108000" tIns="144000" anchor="t" anchorCtr="0"/>
          <a:lstStyle>
            <a:lvl1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>
                <a:solidFill>
                  <a:schemeClr val="bg1"/>
                </a:solidFill>
                <a:latin typeface="+mn-lt"/>
              </a:defRPr>
            </a:lvl3pPr>
            <a:lvl4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>
                <a:solidFill>
                  <a:schemeClr val="bg1"/>
                </a:solidFill>
                <a:latin typeface="+mn-lt"/>
              </a:defRPr>
            </a:lvl4pPr>
            <a:lvl5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>
                <a:solidFill>
                  <a:schemeClr val="bg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>
                <a:solidFill>
                  <a:schemeClr val="bg1"/>
                </a:solidFill>
                <a:latin typeface="+mn-lt"/>
              </a:defRPr>
            </a:lvl6pPr>
            <a:lvl7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>
                <a:solidFill>
                  <a:schemeClr val="bg1"/>
                </a:solidFill>
                <a:latin typeface="+mn-lt"/>
              </a:defRPr>
            </a:lvl7pPr>
            <a:lvl8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>
                <a:solidFill>
                  <a:schemeClr val="bg1"/>
                </a:solidFill>
                <a:latin typeface="+mn-lt"/>
              </a:defRPr>
            </a:lvl8pPr>
            <a:lvl9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GB" noProof="0" dirty="0"/>
              <a:t>Click to add text</a:t>
            </a:r>
            <a:endParaRPr lang="en-GB" dirty="0"/>
          </a:p>
        </p:txBody>
      </p:sp>
      <p:sp>
        <p:nvSpPr>
          <p:cNvPr id="25" name="Text Placeholder 17">
            <a:extLst>
              <a:ext uri="{FF2B5EF4-FFF2-40B4-BE49-F238E27FC236}">
                <a16:creationId xmlns:a16="http://schemas.microsoft.com/office/drawing/2014/main" id="{B8105562-CE9A-74BD-BC20-6B979FF210B5}"/>
              </a:ext>
            </a:extLst>
          </p:cNvPr>
          <p:cNvSpPr>
            <a:spLocks noGrp="1"/>
          </p:cNvSpPr>
          <p:nvPr>
            <p:ph type="body" sz="quarter" idx="99" hasCustomPrompt="1"/>
          </p:nvPr>
        </p:nvSpPr>
        <p:spPr>
          <a:xfrm>
            <a:off x="7656024" y="3510130"/>
            <a:ext cx="396206" cy="1908000"/>
          </a:xfrm>
        </p:spPr>
        <p:txBody>
          <a:bodyPr vert="vert270" lIns="108000" tIns="144000" anchor="t" anchorCtr="0"/>
          <a:lstStyle>
            <a:lvl1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>
                <a:latin typeface="+mn-lt"/>
              </a:defRPr>
            </a:lvl3pPr>
            <a:lvl4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>
                <a:latin typeface="+mn-lt"/>
              </a:defRPr>
            </a:lvl4pPr>
            <a:lvl5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>
                <a:latin typeface="+mn-lt"/>
              </a:defRPr>
            </a:lvl6pPr>
            <a:lvl7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>
                <a:latin typeface="+mn-lt"/>
              </a:defRPr>
            </a:lvl7pPr>
            <a:lvl8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>
                <a:latin typeface="+mn-lt"/>
              </a:defRPr>
            </a:lvl8pPr>
            <a:lvl9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>
                <a:latin typeface="+mn-lt"/>
              </a:defRPr>
            </a:lvl9pPr>
          </a:lstStyle>
          <a:p>
            <a:pPr lvl="0"/>
            <a:r>
              <a:rPr lang="en-GB" noProof="0" dirty="0"/>
              <a:t>Click to add text</a:t>
            </a:r>
            <a:endParaRPr lang="en-GB" dirty="0"/>
          </a:p>
        </p:txBody>
      </p:sp>
      <p:sp>
        <p:nvSpPr>
          <p:cNvPr id="27" name="Text Placeholder 17">
            <a:extLst>
              <a:ext uri="{FF2B5EF4-FFF2-40B4-BE49-F238E27FC236}">
                <a16:creationId xmlns:a16="http://schemas.microsoft.com/office/drawing/2014/main" id="{2400F45B-E43C-B0D2-511C-5A75D036B6AF}"/>
              </a:ext>
            </a:extLst>
          </p:cNvPr>
          <p:cNvSpPr>
            <a:spLocks noGrp="1"/>
          </p:cNvSpPr>
          <p:nvPr>
            <p:ph type="body" sz="quarter" idx="100" hasCustomPrompt="1"/>
          </p:nvPr>
        </p:nvSpPr>
        <p:spPr bwMode="white">
          <a:xfrm>
            <a:off x="3317327" y="3510130"/>
            <a:ext cx="396206" cy="1908000"/>
          </a:xfrm>
        </p:spPr>
        <p:txBody>
          <a:bodyPr vert="vert270" lIns="108000" tIns="144000" anchor="t" anchorCtr="0"/>
          <a:lstStyle>
            <a:lvl1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>
                <a:solidFill>
                  <a:schemeClr val="bg1"/>
                </a:solidFill>
                <a:latin typeface="+mn-lt"/>
              </a:defRPr>
            </a:lvl3pPr>
            <a:lvl4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>
                <a:solidFill>
                  <a:schemeClr val="bg1"/>
                </a:solidFill>
                <a:latin typeface="+mn-lt"/>
              </a:defRPr>
            </a:lvl4pPr>
            <a:lvl5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>
                <a:solidFill>
                  <a:schemeClr val="bg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>
                <a:solidFill>
                  <a:schemeClr val="bg1"/>
                </a:solidFill>
                <a:latin typeface="+mn-lt"/>
              </a:defRPr>
            </a:lvl6pPr>
            <a:lvl7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>
                <a:solidFill>
                  <a:schemeClr val="bg1"/>
                </a:solidFill>
                <a:latin typeface="+mn-lt"/>
              </a:defRPr>
            </a:lvl7pPr>
            <a:lvl8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>
                <a:solidFill>
                  <a:schemeClr val="bg1"/>
                </a:solidFill>
                <a:latin typeface="+mn-lt"/>
              </a:defRPr>
            </a:lvl8pPr>
            <a:lvl9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GB" noProof="0" dirty="0"/>
              <a:t>Click to add tex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52355094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SP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 hidden="1">
            <a:extLst>
              <a:ext uri="{FF2B5EF4-FFF2-40B4-BE49-F238E27FC236}">
                <a16:creationId xmlns:a16="http://schemas.microsoft.com/office/drawing/2014/main" id="{316D49C6-FED7-4164-817B-4B7AB38B24B2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32"/>
          </p:nvPr>
        </p:nvSpPr>
        <p:spPr/>
        <p:txBody>
          <a:bodyPr/>
          <a:lstStyle/>
          <a:p>
            <a:fld id="{45527A44-AA1D-4BA1-AA93-32475F9E9A8F}" type="datetime4">
              <a:rPr lang="en-GB" smtClean="0"/>
              <a:pPr/>
              <a:t>14 March 2025</a:t>
            </a:fld>
            <a:endParaRPr lang="en-GB" dirty="0"/>
          </a:p>
        </p:txBody>
      </p:sp>
      <p:sp>
        <p:nvSpPr>
          <p:cNvPr id="2" name="Text Placeholder background">
            <a:extLst>
              <a:ext uri="{FF2B5EF4-FFF2-40B4-BE49-F238E27FC236}">
                <a16:creationId xmlns:a16="http://schemas.microsoft.com/office/drawing/2014/main" id="{97686D5C-73D9-6783-D6BC-04EC18E1DB35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white">
          <a:xfrm>
            <a:off x="0" y="0"/>
            <a:ext cx="12198350" cy="6858000"/>
          </a:xfrm>
          <a:solidFill>
            <a:srgbClr val="ECE8DD"/>
          </a:solidFill>
          <a:ln>
            <a:noFill/>
          </a:ln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C3740E63-FE5A-40EF-8F52-2CDC77D09BC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1076961" y="1814400"/>
            <a:ext cx="3047186" cy="3229200"/>
          </a:xfrm>
          <a:solidFill>
            <a:schemeClr val="bg1"/>
          </a:solidFill>
        </p:spPr>
        <p:txBody>
          <a:bodyPr lIns="0" tIns="648000" anchor="ctr" anchorCtr="0"/>
          <a:lstStyle>
            <a:lvl1pPr marL="0" indent="0" algn="ctr">
              <a:buNone/>
              <a:defRPr sz="1200"/>
            </a:lvl1pPr>
          </a:lstStyle>
          <a:p>
            <a:r>
              <a:rPr lang="en-GB" noProof="0" dirty="0"/>
              <a:t>Click to add picture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A1EAB557-51FE-4F46-971A-ED4CEBB5AC4C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8097015" y="1814400"/>
            <a:ext cx="3047186" cy="32292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397DB119-4C74-4B54-9E2F-163A08938EC5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4586988" y="1814400"/>
            <a:ext cx="3047186" cy="32292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ED066672-B841-FDA4-25C1-C232BAA0A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8961" y="360001"/>
            <a:ext cx="4933343" cy="933779"/>
          </a:xfrm>
        </p:spPr>
        <p:txBody>
          <a:bodyPr/>
          <a:lstStyle/>
          <a:p>
            <a:r>
              <a:rPr lang="en-GB" noProof="0" dirty="0"/>
              <a:t>Click to add title</a:t>
            </a:r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4604BA42-F911-8784-8224-2DCCC6C8C1D8}"/>
              </a:ext>
            </a:extLst>
          </p:cNvPr>
          <p:cNvSpPr>
            <a:spLocks noGrp="1"/>
          </p:cNvSpPr>
          <p:nvPr>
            <p:ph type="subTitle" idx="95" hasCustomPrompt="1"/>
          </p:nvPr>
        </p:nvSpPr>
        <p:spPr>
          <a:xfrm>
            <a:off x="358961" y="742223"/>
            <a:ext cx="4933343" cy="540000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1400" cap="all" baseline="0"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8C798CDB-56B0-9B18-E0EE-F43B6E0CC482}"/>
              </a:ext>
            </a:extLst>
          </p:cNvPr>
          <p:cNvSpPr>
            <a:spLocks noGrp="1"/>
          </p:cNvSpPr>
          <p:nvPr>
            <p:ph type="body" sz="quarter" idx="96" hasCustomPrompt="1"/>
          </p:nvPr>
        </p:nvSpPr>
        <p:spPr>
          <a:xfrm>
            <a:off x="1076961" y="5049319"/>
            <a:ext cx="3047186" cy="720000"/>
          </a:xfrm>
        </p:spPr>
        <p:txBody>
          <a:bodyPr tIns="126000"/>
          <a:lstStyle>
            <a:lvl1pPr marL="180000" indent="-180000">
              <a:defRPr sz="1200"/>
            </a:lvl1pPr>
            <a:lvl2pPr marL="360000" indent="-180000">
              <a:defRPr sz="1200"/>
            </a:lvl2pPr>
            <a:lvl3pPr marL="540000" indent="-180000">
              <a:defRPr sz="1200"/>
            </a:lvl3pPr>
            <a:lvl4pPr>
              <a:defRPr sz="1200"/>
            </a:lvl4pPr>
            <a:lvl5pPr>
              <a:defRPr sz="1200"/>
            </a:lvl5pPr>
            <a:lvl6pPr marL="270000" indent="-270000">
              <a:lnSpc>
                <a:spcPct val="90000"/>
              </a:lnSpc>
              <a:defRPr sz="1600"/>
            </a:lvl6pPr>
            <a:lvl7pPr>
              <a:lnSpc>
                <a:spcPct val="90000"/>
              </a:lnSpc>
              <a:defRPr sz="1600"/>
            </a:lvl7pPr>
            <a:lvl8pPr>
              <a:lnSpc>
                <a:spcPct val="90000"/>
              </a:lnSpc>
              <a:defRPr sz="1600"/>
            </a:lvl8pPr>
          </a:lstStyle>
          <a:p>
            <a:pPr lvl="0"/>
            <a:r>
              <a:rPr lang="en-GB" noProof="0" dirty="0"/>
              <a:t>Click to add text</a:t>
            </a:r>
            <a:endParaRPr lang="en-GB" dirty="0"/>
          </a:p>
        </p:txBody>
      </p:sp>
      <p:sp>
        <p:nvSpPr>
          <p:cNvPr id="21" name="Text Placeholder 17">
            <a:extLst>
              <a:ext uri="{FF2B5EF4-FFF2-40B4-BE49-F238E27FC236}">
                <a16:creationId xmlns:a16="http://schemas.microsoft.com/office/drawing/2014/main" id="{D6CC90EE-7DCB-BCFE-1C38-8D63368763D7}"/>
              </a:ext>
            </a:extLst>
          </p:cNvPr>
          <p:cNvSpPr>
            <a:spLocks noGrp="1"/>
          </p:cNvSpPr>
          <p:nvPr>
            <p:ph type="body" sz="quarter" idx="97" hasCustomPrompt="1"/>
          </p:nvPr>
        </p:nvSpPr>
        <p:spPr>
          <a:xfrm>
            <a:off x="4586988" y="5049319"/>
            <a:ext cx="3047186" cy="720000"/>
          </a:xfrm>
        </p:spPr>
        <p:txBody>
          <a:bodyPr tIns="126000"/>
          <a:lstStyle>
            <a:lvl1pPr marL="180000" indent="-180000">
              <a:defRPr sz="1200"/>
            </a:lvl1pPr>
            <a:lvl2pPr marL="360000" indent="-180000">
              <a:defRPr sz="1200"/>
            </a:lvl2pPr>
            <a:lvl3pPr marL="540000" indent="-180000">
              <a:defRPr sz="1200"/>
            </a:lvl3pPr>
            <a:lvl4pPr>
              <a:defRPr sz="1200"/>
            </a:lvl4pPr>
            <a:lvl5pPr>
              <a:defRPr sz="1200"/>
            </a:lvl5pPr>
            <a:lvl6pPr marL="270000" indent="-270000">
              <a:lnSpc>
                <a:spcPct val="90000"/>
              </a:lnSpc>
              <a:defRPr sz="1600"/>
            </a:lvl6pPr>
            <a:lvl7pPr>
              <a:lnSpc>
                <a:spcPct val="90000"/>
              </a:lnSpc>
              <a:defRPr sz="1600"/>
            </a:lvl7pPr>
            <a:lvl8pPr>
              <a:lnSpc>
                <a:spcPct val="90000"/>
              </a:lnSpc>
              <a:defRPr sz="1600"/>
            </a:lvl8pPr>
          </a:lstStyle>
          <a:p>
            <a:pPr lvl="0"/>
            <a:r>
              <a:rPr lang="en-GB" noProof="0" dirty="0"/>
              <a:t>Click to add text</a:t>
            </a:r>
            <a:endParaRPr lang="en-GB" dirty="0"/>
          </a:p>
        </p:txBody>
      </p:sp>
      <p:sp>
        <p:nvSpPr>
          <p:cNvPr id="22" name="Text Placeholder 17">
            <a:extLst>
              <a:ext uri="{FF2B5EF4-FFF2-40B4-BE49-F238E27FC236}">
                <a16:creationId xmlns:a16="http://schemas.microsoft.com/office/drawing/2014/main" id="{FA7D7413-9D1C-F067-8EBC-BD07815FD080}"/>
              </a:ext>
            </a:extLst>
          </p:cNvPr>
          <p:cNvSpPr>
            <a:spLocks noGrp="1"/>
          </p:cNvSpPr>
          <p:nvPr>
            <p:ph type="body" sz="quarter" idx="98" hasCustomPrompt="1"/>
          </p:nvPr>
        </p:nvSpPr>
        <p:spPr>
          <a:xfrm>
            <a:off x="8097015" y="5049319"/>
            <a:ext cx="3047186" cy="720000"/>
          </a:xfrm>
        </p:spPr>
        <p:txBody>
          <a:bodyPr tIns="126000"/>
          <a:lstStyle>
            <a:lvl1pPr marL="180000" indent="-180000">
              <a:defRPr sz="1200"/>
            </a:lvl1pPr>
            <a:lvl2pPr marL="360000" indent="-180000">
              <a:defRPr sz="1200"/>
            </a:lvl2pPr>
            <a:lvl3pPr marL="540000" indent="-180000">
              <a:defRPr sz="1200"/>
            </a:lvl3pPr>
            <a:lvl4pPr>
              <a:defRPr sz="1200"/>
            </a:lvl4pPr>
            <a:lvl5pPr>
              <a:defRPr sz="1200"/>
            </a:lvl5pPr>
            <a:lvl6pPr marL="270000" indent="-270000">
              <a:lnSpc>
                <a:spcPct val="90000"/>
              </a:lnSpc>
              <a:defRPr sz="1600"/>
            </a:lvl6pPr>
            <a:lvl7pPr>
              <a:lnSpc>
                <a:spcPct val="90000"/>
              </a:lnSpc>
              <a:defRPr sz="1600"/>
            </a:lvl7pPr>
            <a:lvl8pPr>
              <a:lnSpc>
                <a:spcPct val="90000"/>
              </a:lnSpc>
              <a:defRPr sz="1600"/>
            </a:lvl8pPr>
          </a:lstStyle>
          <a:p>
            <a:pPr lvl="0"/>
            <a:r>
              <a:rPr lang="en-GB" noProof="0" dirty="0"/>
              <a:t>Click to add text</a:t>
            </a:r>
            <a:endParaRPr lang="en-GB" dirty="0"/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21250CC4-3C0A-75DE-4CC9-C1DEFCC94DC4}"/>
              </a:ext>
            </a:extLst>
          </p:cNvPr>
          <p:cNvSpPr>
            <a:spLocks noGrp="1"/>
          </p:cNvSpPr>
          <p:nvPr>
            <p:ph type="body" sz="quarter" idx="99" hasCustomPrompt="1"/>
          </p:nvPr>
        </p:nvSpPr>
        <p:spPr>
          <a:xfrm>
            <a:off x="1076961" y="1483801"/>
            <a:ext cx="3047186" cy="325462"/>
          </a:xfrm>
        </p:spPr>
        <p:txBody>
          <a:bodyPr/>
          <a:lstStyle>
            <a:lvl1pPr marL="0" indent="0" algn="ctr">
              <a:buFont typeface="Arial" panose="020B0604020202020204" pitchFamily="34" charset="0"/>
              <a:buChar char="​"/>
              <a:defRPr sz="1400">
                <a:latin typeface="+mj-lt"/>
              </a:defRPr>
            </a:lvl1pPr>
            <a:lvl2pPr algn="ctr">
              <a:defRPr sz="1400"/>
            </a:lvl2pPr>
            <a:lvl3pPr algn="ctr">
              <a:defRPr sz="1400"/>
            </a:lvl3pPr>
            <a:lvl4pPr algn="ctr">
              <a:defRPr sz="1400"/>
            </a:lvl4pPr>
            <a:lvl5pPr marL="270000" indent="-270000" algn="ctr">
              <a:buFont typeface="Euclid Flex" panose="020B0500030000000000" pitchFamily="34" charset="0"/>
              <a:buChar char="—"/>
              <a:defRPr sz="1400"/>
            </a:lvl5pPr>
            <a:lvl6pPr algn="ctr">
              <a:defRPr/>
            </a:lvl6pPr>
            <a:lvl7pPr algn="ctr">
              <a:defRPr/>
            </a:lvl7pPr>
            <a:lvl8pPr algn="ctr">
              <a:defRPr/>
            </a:lvl8pPr>
            <a:lvl9pPr algn="ctr">
              <a:defRPr/>
            </a:lvl9pPr>
          </a:lstStyle>
          <a:p>
            <a:pPr lvl="0"/>
            <a:r>
              <a:rPr lang="en-GB" noProof="0" dirty="0"/>
              <a:t>Click to add text</a:t>
            </a:r>
            <a:endParaRPr lang="en-GB" dirty="0"/>
          </a:p>
        </p:txBody>
      </p:sp>
      <p:sp>
        <p:nvSpPr>
          <p:cNvPr id="31" name="Text Placeholder 24">
            <a:extLst>
              <a:ext uri="{FF2B5EF4-FFF2-40B4-BE49-F238E27FC236}">
                <a16:creationId xmlns:a16="http://schemas.microsoft.com/office/drawing/2014/main" id="{1040EFB5-AC3E-1D9F-F112-8838F8FBA3D8}"/>
              </a:ext>
            </a:extLst>
          </p:cNvPr>
          <p:cNvSpPr>
            <a:spLocks noGrp="1"/>
          </p:cNvSpPr>
          <p:nvPr>
            <p:ph type="body" sz="quarter" idx="100" hasCustomPrompt="1"/>
          </p:nvPr>
        </p:nvSpPr>
        <p:spPr>
          <a:xfrm>
            <a:off x="4586988" y="1483801"/>
            <a:ext cx="3047186" cy="325462"/>
          </a:xfrm>
        </p:spPr>
        <p:txBody>
          <a:bodyPr/>
          <a:lstStyle>
            <a:lvl1pPr marL="0" indent="0" algn="ctr">
              <a:buFont typeface="Arial" panose="020B0604020202020204" pitchFamily="34" charset="0"/>
              <a:buChar char="​"/>
              <a:defRPr sz="1400">
                <a:latin typeface="+mj-lt"/>
              </a:defRPr>
            </a:lvl1pPr>
            <a:lvl2pPr algn="ctr">
              <a:defRPr sz="1400"/>
            </a:lvl2pPr>
            <a:lvl3pPr algn="ctr">
              <a:defRPr sz="1400"/>
            </a:lvl3pPr>
            <a:lvl4pPr algn="ctr">
              <a:defRPr sz="1400"/>
            </a:lvl4pPr>
            <a:lvl5pPr marL="270000" indent="-270000" algn="ctr">
              <a:buFont typeface="Euclid Flex" panose="020B0500030000000000" pitchFamily="34" charset="0"/>
              <a:buChar char="—"/>
              <a:defRPr sz="1400"/>
            </a:lvl5pPr>
            <a:lvl6pPr algn="ctr">
              <a:defRPr/>
            </a:lvl6pPr>
            <a:lvl7pPr algn="ctr">
              <a:defRPr/>
            </a:lvl7pPr>
            <a:lvl8pPr algn="ctr">
              <a:defRPr/>
            </a:lvl8pPr>
            <a:lvl9pPr algn="ctr">
              <a:defRPr/>
            </a:lvl9pPr>
          </a:lstStyle>
          <a:p>
            <a:pPr lvl="0"/>
            <a:r>
              <a:rPr lang="en-GB" noProof="0" dirty="0"/>
              <a:t>Click to add text</a:t>
            </a:r>
            <a:endParaRPr lang="en-GB" dirty="0"/>
          </a:p>
        </p:txBody>
      </p:sp>
      <p:sp>
        <p:nvSpPr>
          <p:cNvPr id="32" name="Text Placeholder 24">
            <a:extLst>
              <a:ext uri="{FF2B5EF4-FFF2-40B4-BE49-F238E27FC236}">
                <a16:creationId xmlns:a16="http://schemas.microsoft.com/office/drawing/2014/main" id="{5E7BFAC7-9414-29D9-3A93-A64B5E75DAE7}"/>
              </a:ext>
            </a:extLst>
          </p:cNvPr>
          <p:cNvSpPr>
            <a:spLocks noGrp="1"/>
          </p:cNvSpPr>
          <p:nvPr>
            <p:ph type="body" sz="quarter" idx="101" hasCustomPrompt="1"/>
          </p:nvPr>
        </p:nvSpPr>
        <p:spPr>
          <a:xfrm>
            <a:off x="8097015" y="1483801"/>
            <a:ext cx="3047186" cy="325462"/>
          </a:xfrm>
        </p:spPr>
        <p:txBody>
          <a:bodyPr/>
          <a:lstStyle>
            <a:lvl1pPr marL="0" indent="0" algn="ctr">
              <a:buFont typeface="Arial" panose="020B0604020202020204" pitchFamily="34" charset="0"/>
              <a:buChar char="​"/>
              <a:defRPr sz="1400">
                <a:latin typeface="+mj-lt"/>
              </a:defRPr>
            </a:lvl1pPr>
            <a:lvl2pPr algn="ctr">
              <a:defRPr sz="1400"/>
            </a:lvl2pPr>
            <a:lvl3pPr algn="ctr">
              <a:defRPr sz="1400"/>
            </a:lvl3pPr>
            <a:lvl4pPr algn="ctr">
              <a:defRPr sz="1400"/>
            </a:lvl4pPr>
            <a:lvl5pPr marL="270000" indent="-270000" algn="ctr">
              <a:buFont typeface="Euclid Flex" panose="020B0500030000000000" pitchFamily="34" charset="0"/>
              <a:buChar char="—"/>
              <a:defRPr sz="1400"/>
            </a:lvl5pPr>
            <a:lvl6pPr algn="ctr">
              <a:defRPr/>
            </a:lvl6pPr>
            <a:lvl7pPr algn="ctr">
              <a:defRPr/>
            </a:lvl7pPr>
            <a:lvl8pPr algn="ctr">
              <a:defRPr/>
            </a:lvl8pPr>
            <a:lvl9pPr algn="ctr">
              <a:defRPr/>
            </a:lvl9pPr>
          </a:lstStyle>
          <a:p>
            <a:pPr lvl="0"/>
            <a:r>
              <a:rPr lang="en-GB" noProof="0" dirty="0"/>
              <a:t>Click to add text</a:t>
            </a:r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CE1AE02-906F-4994-92F4-2F45F17B36E9}"/>
              </a:ext>
            </a:extLst>
          </p:cNvPr>
          <p:cNvSpPr>
            <a:spLocks noGrp="1"/>
          </p:cNvSpPr>
          <p:nvPr>
            <p:ph type="ftr" sz="quarter" idx="33"/>
          </p:nvPr>
        </p:nvSpPr>
        <p:spPr/>
        <p:txBody>
          <a:bodyPr/>
          <a:lstStyle/>
          <a:p>
            <a:r>
              <a:rPr lang="en-GB" dirty="0"/>
              <a:t>Muuto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6DC9A48-4427-437D-BAF7-AEFBFE298256}"/>
              </a:ext>
            </a:extLst>
          </p:cNvPr>
          <p:cNvSpPr>
            <a:spLocks noGrp="1"/>
          </p:cNvSpPr>
          <p:nvPr>
            <p:ph type="sldNum" sz="quarter" idx="34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99175655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SP 2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 hidden="1">
            <a:extLst>
              <a:ext uri="{FF2B5EF4-FFF2-40B4-BE49-F238E27FC236}">
                <a16:creationId xmlns:a16="http://schemas.microsoft.com/office/drawing/2014/main" id="{316D49C6-FED7-4164-817B-4B7AB38B24B2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32"/>
          </p:nvPr>
        </p:nvSpPr>
        <p:spPr/>
        <p:txBody>
          <a:bodyPr/>
          <a:lstStyle/>
          <a:p>
            <a:fld id="{45527A44-AA1D-4BA1-AA93-32475F9E9A8F}" type="datetime4">
              <a:rPr lang="en-GB" smtClean="0"/>
              <a:pPr/>
              <a:t>14 March 2025</a:t>
            </a:fld>
            <a:endParaRPr lang="en-GB" dirty="0"/>
          </a:p>
        </p:txBody>
      </p:sp>
      <p:sp>
        <p:nvSpPr>
          <p:cNvPr id="10" name="Text Placeholder background">
            <a:extLst>
              <a:ext uri="{FF2B5EF4-FFF2-40B4-BE49-F238E27FC236}">
                <a16:creationId xmlns:a16="http://schemas.microsoft.com/office/drawing/2014/main" id="{73A4715C-4F45-6A81-7A8A-3622AA7DE23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white">
          <a:xfrm>
            <a:off x="0" y="0"/>
            <a:ext cx="12198350" cy="6858000"/>
          </a:xfrm>
          <a:solidFill>
            <a:srgbClr val="ECE8DD"/>
          </a:solidFill>
          <a:ln>
            <a:noFill/>
          </a:ln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C3740E63-FE5A-40EF-8F52-2CDC77D09BC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31181" y="1814400"/>
            <a:ext cx="2452877" cy="3229200"/>
          </a:xfrm>
          <a:solidFill>
            <a:schemeClr val="bg1"/>
          </a:solidFill>
        </p:spPr>
        <p:txBody>
          <a:bodyPr lIns="0" tIns="648000" anchor="ctr" anchorCtr="0"/>
          <a:lstStyle>
            <a:lvl1pPr marL="0" indent="0" algn="ctr">
              <a:buNone/>
              <a:defRPr sz="1200"/>
            </a:lvl1pPr>
          </a:lstStyle>
          <a:p>
            <a:r>
              <a:rPr lang="en-GB" noProof="0" dirty="0"/>
              <a:t>Click to add picture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A1EAB557-51FE-4F46-971A-ED4CEBB5AC4C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6332096" y="1814400"/>
            <a:ext cx="2452877" cy="32292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397DB119-4C74-4B54-9E2F-163A08938EC5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3529837" y="1814400"/>
            <a:ext cx="2452877" cy="32292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83444CE5-7D95-971A-AA51-A091CE742D27}"/>
              </a:ext>
            </a:extLst>
          </p:cNvPr>
          <p:cNvSpPr>
            <a:spLocks noGrp="1"/>
          </p:cNvSpPr>
          <p:nvPr>
            <p:ph type="pic" sz="quarter" idx="102" hasCustomPrompt="1"/>
          </p:nvPr>
        </p:nvSpPr>
        <p:spPr>
          <a:xfrm>
            <a:off x="9130753" y="1814400"/>
            <a:ext cx="2452877" cy="32292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ED066672-B841-FDA4-25C1-C232BAA0A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8961" y="360001"/>
            <a:ext cx="4933343" cy="933779"/>
          </a:xfrm>
        </p:spPr>
        <p:txBody>
          <a:bodyPr/>
          <a:lstStyle/>
          <a:p>
            <a:r>
              <a:rPr lang="en-GB" noProof="0" dirty="0"/>
              <a:t>Click to add title</a:t>
            </a:r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4604BA42-F911-8784-8224-2DCCC6C8C1D8}"/>
              </a:ext>
            </a:extLst>
          </p:cNvPr>
          <p:cNvSpPr>
            <a:spLocks noGrp="1"/>
          </p:cNvSpPr>
          <p:nvPr>
            <p:ph type="subTitle" idx="95" hasCustomPrompt="1"/>
          </p:nvPr>
        </p:nvSpPr>
        <p:spPr>
          <a:xfrm>
            <a:off x="358961" y="742223"/>
            <a:ext cx="4933343" cy="540000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1400" cap="all" baseline="0"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18" name="Text Placeholder 1">
            <a:extLst>
              <a:ext uri="{FF2B5EF4-FFF2-40B4-BE49-F238E27FC236}">
                <a16:creationId xmlns:a16="http://schemas.microsoft.com/office/drawing/2014/main" id="{8C798CDB-56B0-9B18-E0EE-F43B6E0CC482}"/>
              </a:ext>
            </a:extLst>
          </p:cNvPr>
          <p:cNvSpPr>
            <a:spLocks noGrp="1"/>
          </p:cNvSpPr>
          <p:nvPr>
            <p:ph type="body" sz="quarter" idx="96" hasCustomPrompt="1"/>
          </p:nvPr>
        </p:nvSpPr>
        <p:spPr>
          <a:xfrm>
            <a:off x="731181" y="5048412"/>
            <a:ext cx="2452877" cy="720000"/>
          </a:xfrm>
        </p:spPr>
        <p:txBody>
          <a:bodyPr tIns="126000"/>
          <a:lstStyle>
            <a:lvl1pPr marL="180000" indent="-180000">
              <a:defRPr sz="1200"/>
            </a:lvl1pPr>
            <a:lvl2pPr marL="360000" indent="-180000">
              <a:defRPr sz="1200"/>
            </a:lvl2pPr>
            <a:lvl3pPr marL="540000" indent="-180000">
              <a:defRPr sz="1200"/>
            </a:lvl3pPr>
            <a:lvl4pPr>
              <a:defRPr sz="1200"/>
            </a:lvl4pPr>
            <a:lvl5pPr>
              <a:defRPr sz="1200"/>
            </a:lvl5pPr>
            <a:lvl6pPr marL="270000" indent="-270000">
              <a:lnSpc>
                <a:spcPct val="90000"/>
              </a:lnSpc>
              <a:defRPr sz="1600"/>
            </a:lvl6pPr>
            <a:lvl7pPr>
              <a:lnSpc>
                <a:spcPct val="90000"/>
              </a:lnSpc>
              <a:defRPr sz="1600"/>
            </a:lvl7pPr>
            <a:lvl8pPr>
              <a:lnSpc>
                <a:spcPct val="90000"/>
              </a:lnSpc>
              <a:defRPr sz="1600"/>
            </a:lvl8pPr>
          </a:lstStyle>
          <a:p>
            <a:pPr lvl="0"/>
            <a:r>
              <a:rPr lang="en-GB" noProof="0" dirty="0"/>
              <a:t>Click to add text</a:t>
            </a:r>
            <a:endParaRPr lang="en-GB" dirty="0"/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D6CC90EE-7DCB-BCFE-1C38-8D63368763D7}"/>
              </a:ext>
            </a:extLst>
          </p:cNvPr>
          <p:cNvSpPr>
            <a:spLocks noGrp="1"/>
          </p:cNvSpPr>
          <p:nvPr>
            <p:ph type="body" sz="quarter" idx="97" hasCustomPrompt="1"/>
          </p:nvPr>
        </p:nvSpPr>
        <p:spPr>
          <a:xfrm>
            <a:off x="3529837" y="5048412"/>
            <a:ext cx="2452877" cy="720000"/>
          </a:xfrm>
        </p:spPr>
        <p:txBody>
          <a:bodyPr tIns="126000"/>
          <a:lstStyle>
            <a:lvl1pPr marL="180000" indent="-180000">
              <a:defRPr sz="1200"/>
            </a:lvl1pPr>
            <a:lvl2pPr marL="360000" indent="-180000">
              <a:defRPr sz="1200"/>
            </a:lvl2pPr>
            <a:lvl3pPr marL="540000" indent="-180000">
              <a:defRPr sz="1200"/>
            </a:lvl3pPr>
            <a:lvl4pPr>
              <a:defRPr sz="1200"/>
            </a:lvl4pPr>
            <a:lvl5pPr>
              <a:defRPr sz="1200"/>
            </a:lvl5pPr>
            <a:lvl6pPr marL="270000" indent="-270000">
              <a:lnSpc>
                <a:spcPct val="90000"/>
              </a:lnSpc>
              <a:defRPr sz="1600"/>
            </a:lvl6pPr>
            <a:lvl7pPr>
              <a:lnSpc>
                <a:spcPct val="90000"/>
              </a:lnSpc>
              <a:defRPr sz="1600"/>
            </a:lvl7pPr>
            <a:lvl8pPr>
              <a:lnSpc>
                <a:spcPct val="90000"/>
              </a:lnSpc>
              <a:defRPr sz="1600"/>
            </a:lvl8pPr>
          </a:lstStyle>
          <a:p>
            <a:pPr lvl="0"/>
            <a:r>
              <a:rPr lang="en-GB" noProof="0" dirty="0"/>
              <a:t>Click to add text</a:t>
            </a:r>
            <a:endParaRPr lang="en-GB" dirty="0"/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FA7D7413-9D1C-F067-8EBC-BD07815FD080}"/>
              </a:ext>
            </a:extLst>
          </p:cNvPr>
          <p:cNvSpPr>
            <a:spLocks noGrp="1"/>
          </p:cNvSpPr>
          <p:nvPr>
            <p:ph type="body" sz="quarter" idx="98" hasCustomPrompt="1"/>
          </p:nvPr>
        </p:nvSpPr>
        <p:spPr>
          <a:xfrm>
            <a:off x="6332096" y="5048412"/>
            <a:ext cx="2452877" cy="720000"/>
          </a:xfrm>
        </p:spPr>
        <p:txBody>
          <a:bodyPr tIns="126000"/>
          <a:lstStyle>
            <a:lvl1pPr marL="180000" indent="-180000">
              <a:defRPr sz="1200"/>
            </a:lvl1pPr>
            <a:lvl2pPr marL="360000" indent="-180000">
              <a:defRPr sz="1200"/>
            </a:lvl2pPr>
            <a:lvl3pPr marL="540000" indent="-180000">
              <a:defRPr sz="1200"/>
            </a:lvl3pPr>
            <a:lvl4pPr>
              <a:defRPr sz="1200"/>
            </a:lvl4pPr>
            <a:lvl5pPr>
              <a:defRPr sz="1200"/>
            </a:lvl5pPr>
            <a:lvl6pPr marL="270000" indent="-270000">
              <a:lnSpc>
                <a:spcPct val="90000"/>
              </a:lnSpc>
              <a:defRPr sz="1600"/>
            </a:lvl6pPr>
            <a:lvl7pPr>
              <a:lnSpc>
                <a:spcPct val="90000"/>
              </a:lnSpc>
              <a:defRPr sz="1600"/>
            </a:lvl7pPr>
            <a:lvl8pPr>
              <a:lnSpc>
                <a:spcPct val="90000"/>
              </a:lnSpc>
              <a:defRPr sz="1600"/>
            </a:lvl8pPr>
          </a:lstStyle>
          <a:p>
            <a:pPr lvl="0"/>
            <a:r>
              <a:rPr lang="en-GB" noProof="0" dirty="0"/>
              <a:t>Click to add text</a:t>
            </a:r>
            <a:endParaRPr lang="en-GB" dirty="0"/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3E4164D3-F978-704E-4D9E-F57ED66A4722}"/>
              </a:ext>
            </a:extLst>
          </p:cNvPr>
          <p:cNvSpPr>
            <a:spLocks noGrp="1"/>
          </p:cNvSpPr>
          <p:nvPr>
            <p:ph type="body" sz="quarter" idx="103" hasCustomPrompt="1"/>
          </p:nvPr>
        </p:nvSpPr>
        <p:spPr>
          <a:xfrm>
            <a:off x="9130753" y="5048412"/>
            <a:ext cx="2452877" cy="720000"/>
          </a:xfrm>
        </p:spPr>
        <p:txBody>
          <a:bodyPr tIns="126000"/>
          <a:lstStyle>
            <a:lvl1pPr marL="180000" indent="-180000">
              <a:defRPr sz="1200"/>
            </a:lvl1pPr>
            <a:lvl2pPr marL="360000" indent="-180000">
              <a:defRPr sz="1200"/>
            </a:lvl2pPr>
            <a:lvl3pPr marL="540000" indent="-180000">
              <a:defRPr sz="1200"/>
            </a:lvl3pPr>
            <a:lvl4pPr>
              <a:defRPr sz="1200"/>
            </a:lvl4pPr>
            <a:lvl5pPr>
              <a:defRPr sz="1200"/>
            </a:lvl5pPr>
            <a:lvl6pPr marL="270000" indent="-270000">
              <a:lnSpc>
                <a:spcPct val="90000"/>
              </a:lnSpc>
              <a:defRPr sz="1600"/>
            </a:lvl6pPr>
            <a:lvl7pPr>
              <a:lnSpc>
                <a:spcPct val="90000"/>
              </a:lnSpc>
              <a:defRPr sz="1600"/>
            </a:lvl7pPr>
            <a:lvl8pPr>
              <a:lnSpc>
                <a:spcPct val="90000"/>
              </a:lnSpc>
              <a:defRPr sz="1600"/>
            </a:lvl8pPr>
          </a:lstStyle>
          <a:p>
            <a:pPr lvl="0"/>
            <a:r>
              <a:rPr lang="en-GB" noProof="0" dirty="0"/>
              <a:t>Click to add text</a:t>
            </a:r>
            <a:endParaRPr lang="en-GB" dirty="0"/>
          </a:p>
        </p:txBody>
      </p:sp>
      <p:sp>
        <p:nvSpPr>
          <p:cNvPr id="25" name="Text Placeholder 5">
            <a:extLst>
              <a:ext uri="{FF2B5EF4-FFF2-40B4-BE49-F238E27FC236}">
                <a16:creationId xmlns:a16="http://schemas.microsoft.com/office/drawing/2014/main" id="{21250CC4-3C0A-75DE-4CC9-C1DEFCC94DC4}"/>
              </a:ext>
            </a:extLst>
          </p:cNvPr>
          <p:cNvSpPr>
            <a:spLocks noGrp="1"/>
          </p:cNvSpPr>
          <p:nvPr>
            <p:ph type="body" sz="quarter" idx="99" hasCustomPrompt="1"/>
          </p:nvPr>
        </p:nvSpPr>
        <p:spPr>
          <a:xfrm>
            <a:off x="731181" y="1483801"/>
            <a:ext cx="2452877" cy="325462"/>
          </a:xfrm>
        </p:spPr>
        <p:txBody>
          <a:bodyPr/>
          <a:lstStyle>
            <a:lvl1pPr marL="0" indent="0" algn="ctr">
              <a:buFont typeface="Arial" panose="020B0604020202020204" pitchFamily="34" charset="0"/>
              <a:buChar char="​"/>
              <a:defRPr sz="1400">
                <a:latin typeface="+mj-lt"/>
              </a:defRPr>
            </a:lvl1pPr>
            <a:lvl2pPr algn="ctr">
              <a:defRPr sz="1400"/>
            </a:lvl2pPr>
            <a:lvl3pPr algn="ctr">
              <a:defRPr sz="1400"/>
            </a:lvl3pPr>
            <a:lvl4pPr algn="ctr">
              <a:defRPr sz="1400"/>
            </a:lvl4pPr>
            <a:lvl5pPr marL="270000" indent="-270000" algn="ctr">
              <a:buFont typeface="Euclid Flex" panose="020B0500030000000000" pitchFamily="34" charset="0"/>
              <a:buChar char="—"/>
              <a:defRPr sz="1400"/>
            </a:lvl5pPr>
            <a:lvl6pPr algn="ctr">
              <a:defRPr/>
            </a:lvl6pPr>
            <a:lvl7pPr algn="ctr">
              <a:defRPr/>
            </a:lvl7pPr>
            <a:lvl8pPr algn="ctr">
              <a:defRPr/>
            </a:lvl8pPr>
            <a:lvl9pPr algn="ctr">
              <a:defRPr/>
            </a:lvl9pPr>
          </a:lstStyle>
          <a:p>
            <a:pPr lvl="0"/>
            <a:r>
              <a:rPr lang="en-GB" noProof="0" dirty="0"/>
              <a:t>Click to add text</a:t>
            </a:r>
            <a:endParaRPr lang="en-GB" dirty="0"/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id="{1040EFB5-AC3E-1D9F-F112-8838F8FBA3D8}"/>
              </a:ext>
            </a:extLst>
          </p:cNvPr>
          <p:cNvSpPr>
            <a:spLocks noGrp="1"/>
          </p:cNvSpPr>
          <p:nvPr>
            <p:ph type="body" sz="quarter" idx="100" hasCustomPrompt="1"/>
          </p:nvPr>
        </p:nvSpPr>
        <p:spPr>
          <a:xfrm>
            <a:off x="3529837" y="1483801"/>
            <a:ext cx="2452877" cy="325462"/>
          </a:xfrm>
        </p:spPr>
        <p:txBody>
          <a:bodyPr/>
          <a:lstStyle>
            <a:lvl1pPr marL="0" indent="0" algn="ctr">
              <a:buFont typeface="Arial" panose="020B0604020202020204" pitchFamily="34" charset="0"/>
              <a:buChar char="​"/>
              <a:defRPr sz="1400">
                <a:latin typeface="+mj-lt"/>
              </a:defRPr>
            </a:lvl1pPr>
            <a:lvl2pPr algn="ctr">
              <a:defRPr sz="1400"/>
            </a:lvl2pPr>
            <a:lvl3pPr algn="ctr">
              <a:defRPr sz="1400"/>
            </a:lvl3pPr>
            <a:lvl4pPr algn="ctr">
              <a:defRPr sz="1400"/>
            </a:lvl4pPr>
            <a:lvl5pPr marL="270000" indent="-270000" algn="ctr">
              <a:buFont typeface="Euclid Flex" panose="020B0500030000000000" pitchFamily="34" charset="0"/>
              <a:buChar char="—"/>
              <a:defRPr sz="1400"/>
            </a:lvl5pPr>
            <a:lvl6pPr algn="ctr">
              <a:defRPr/>
            </a:lvl6pPr>
            <a:lvl7pPr algn="ctr">
              <a:defRPr/>
            </a:lvl7pPr>
            <a:lvl8pPr algn="ctr">
              <a:defRPr/>
            </a:lvl8pPr>
            <a:lvl9pPr algn="ctr">
              <a:defRPr/>
            </a:lvl9pPr>
          </a:lstStyle>
          <a:p>
            <a:pPr lvl="0"/>
            <a:r>
              <a:rPr lang="en-GB" noProof="0" dirty="0"/>
              <a:t>Click to add text</a:t>
            </a:r>
            <a:endParaRPr lang="en-GB" dirty="0"/>
          </a:p>
        </p:txBody>
      </p:sp>
      <p:sp>
        <p:nvSpPr>
          <p:cNvPr id="32" name="Text Placeholder 7">
            <a:extLst>
              <a:ext uri="{FF2B5EF4-FFF2-40B4-BE49-F238E27FC236}">
                <a16:creationId xmlns:a16="http://schemas.microsoft.com/office/drawing/2014/main" id="{5E7BFAC7-9414-29D9-3A93-A64B5E75DAE7}"/>
              </a:ext>
            </a:extLst>
          </p:cNvPr>
          <p:cNvSpPr>
            <a:spLocks noGrp="1"/>
          </p:cNvSpPr>
          <p:nvPr>
            <p:ph type="body" sz="quarter" idx="101" hasCustomPrompt="1"/>
          </p:nvPr>
        </p:nvSpPr>
        <p:spPr>
          <a:xfrm>
            <a:off x="6332096" y="1483801"/>
            <a:ext cx="2452877" cy="325462"/>
          </a:xfrm>
        </p:spPr>
        <p:txBody>
          <a:bodyPr/>
          <a:lstStyle>
            <a:lvl1pPr marL="0" indent="0" algn="ctr">
              <a:buFont typeface="Arial" panose="020B0604020202020204" pitchFamily="34" charset="0"/>
              <a:buChar char="​"/>
              <a:defRPr sz="1400">
                <a:latin typeface="+mj-lt"/>
              </a:defRPr>
            </a:lvl1pPr>
            <a:lvl2pPr algn="ctr">
              <a:defRPr sz="1400"/>
            </a:lvl2pPr>
            <a:lvl3pPr algn="ctr">
              <a:defRPr sz="1400"/>
            </a:lvl3pPr>
            <a:lvl4pPr algn="ctr">
              <a:defRPr sz="1400"/>
            </a:lvl4pPr>
            <a:lvl5pPr marL="270000" indent="-270000" algn="ctr">
              <a:buFont typeface="Euclid Flex" panose="020B0500030000000000" pitchFamily="34" charset="0"/>
              <a:buChar char="—"/>
              <a:defRPr sz="1400"/>
            </a:lvl5pPr>
            <a:lvl6pPr algn="ctr">
              <a:defRPr/>
            </a:lvl6pPr>
            <a:lvl7pPr algn="ctr">
              <a:defRPr/>
            </a:lvl7pPr>
            <a:lvl8pPr algn="ctr">
              <a:defRPr/>
            </a:lvl8pPr>
            <a:lvl9pPr algn="ctr">
              <a:defRPr/>
            </a:lvl9pPr>
          </a:lstStyle>
          <a:p>
            <a:pPr lvl="0"/>
            <a:r>
              <a:rPr lang="en-GB" noProof="0" dirty="0"/>
              <a:t>Click to add text</a:t>
            </a:r>
            <a:endParaRPr lang="en-GB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753D45A4-2D15-24F9-B248-56805C2D2B6F}"/>
              </a:ext>
            </a:extLst>
          </p:cNvPr>
          <p:cNvSpPr>
            <a:spLocks noGrp="1"/>
          </p:cNvSpPr>
          <p:nvPr>
            <p:ph type="body" sz="quarter" idx="104" hasCustomPrompt="1"/>
          </p:nvPr>
        </p:nvSpPr>
        <p:spPr>
          <a:xfrm>
            <a:off x="9130753" y="1483801"/>
            <a:ext cx="2452877" cy="325462"/>
          </a:xfrm>
        </p:spPr>
        <p:txBody>
          <a:bodyPr/>
          <a:lstStyle>
            <a:lvl1pPr marL="0" indent="0" algn="ctr">
              <a:buFont typeface="Arial" panose="020B0604020202020204" pitchFamily="34" charset="0"/>
              <a:buChar char="​"/>
              <a:defRPr sz="1400">
                <a:latin typeface="+mj-lt"/>
              </a:defRPr>
            </a:lvl1pPr>
            <a:lvl2pPr algn="ctr">
              <a:defRPr sz="1400"/>
            </a:lvl2pPr>
            <a:lvl3pPr algn="ctr">
              <a:defRPr sz="1400"/>
            </a:lvl3pPr>
            <a:lvl4pPr algn="ctr">
              <a:defRPr sz="1400"/>
            </a:lvl4pPr>
            <a:lvl5pPr marL="270000" indent="-270000" algn="ctr">
              <a:buFont typeface="Euclid Flex" panose="020B0500030000000000" pitchFamily="34" charset="0"/>
              <a:buChar char="—"/>
              <a:defRPr sz="1400"/>
            </a:lvl5pPr>
            <a:lvl6pPr algn="ctr">
              <a:defRPr/>
            </a:lvl6pPr>
            <a:lvl7pPr algn="ctr">
              <a:defRPr/>
            </a:lvl7pPr>
            <a:lvl8pPr algn="ctr">
              <a:defRPr/>
            </a:lvl8pPr>
            <a:lvl9pPr algn="ctr">
              <a:defRPr/>
            </a:lvl9pPr>
          </a:lstStyle>
          <a:p>
            <a:pPr lvl="0"/>
            <a:r>
              <a:rPr lang="en-GB" noProof="0" dirty="0"/>
              <a:t>Click to add text</a:t>
            </a:r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CE1AE02-906F-4994-92F4-2F45F17B36E9}"/>
              </a:ext>
            </a:extLst>
          </p:cNvPr>
          <p:cNvSpPr>
            <a:spLocks noGrp="1"/>
          </p:cNvSpPr>
          <p:nvPr>
            <p:ph type="ftr" sz="quarter" idx="33"/>
          </p:nvPr>
        </p:nvSpPr>
        <p:spPr/>
        <p:txBody>
          <a:bodyPr/>
          <a:lstStyle/>
          <a:p>
            <a:r>
              <a:rPr lang="en-GB" dirty="0"/>
              <a:t>Muuto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6DC9A48-4427-437D-BAF7-AEFBFE298256}"/>
              </a:ext>
            </a:extLst>
          </p:cNvPr>
          <p:cNvSpPr>
            <a:spLocks noGrp="1"/>
          </p:cNvSpPr>
          <p:nvPr>
            <p:ph type="sldNum" sz="quarter" idx="34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60422365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SP 2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 hidden="1">
            <a:extLst>
              <a:ext uri="{FF2B5EF4-FFF2-40B4-BE49-F238E27FC236}">
                <a16:creationId xmlns:a16="http://schemas.microsoft.com/office/drawing/2014/main" id="{316D49C6-FED7-4164-817B-4B7AB38B24B2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32"/>
          </p:nvPr>
        </p:nvSpPr>
        <p:spPr/>
        <p:txBody>
          <a:bodyPr/>
          <a:lstStyle/>
          <a:p>
            <a:fld id="{45527A44-AA1D-4BA1-AA93-32475F9E9A8F}" type="datetime4">
              <a:rPr lang="en-GB" smtClean="0"/>
              <a:pPr/>
              <a:t>14 March 2025</a:t>
            </a:fld>
            <a:endParaRPr lang="en-GB" dirty="0"/>
          </a:p>
        </p:txBody>
      </p:sp>
      <p:sp>
        <p:nvSpPr>
          <p:cNvPr id="9" name="Text Placeholder background">
            <a:extLst>
              <a:ext uri="{FF2B5EF4-FFF2-40B4-BE49-F238E27FC236}">
                <a16:creationId xmlns:a16="http://schemas.microsoft.com/office/drawing/2014/main" id="{C7F14ED4-77D8-143A-D9E6-07A2C362B1C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white">
          <a:xfrm>
            <a:off x="0" y="0"/>
            <a:ext cx="12198350" cy="6858000"/>
          </a:xfrm>
          <a:solidFill>
            <a:srgbClr val="ECE8DD"/>
          </a:solidFill>
          <a:ln>
            <a:noFill/>
          </a:ln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C3740E63-FE5A-40EF-8F52-2CDC77D09BC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60187" y="1530000"/>
            <a:ext cx="2452877" cy="3016800"/>
          </a:xfrm>
          <a:solidFill>
            <a:schemeClr val="bg1"/>
          </a:solidFill>
        </p:spPr>
        <p:txBody>
          <a:bodyPr lIns="0" tIns="648000" anchor="ctr" anchorCtr="0"/>
          <a:lstStyle>
            <a:lvl1pPr marL="0" indent="0" algn="ctr">
              <a:buNone/>
              <a:defRPr sz="1200"/>
            </a:lvl1pPr>
          </a:lstStyle>
          <a:p>
            <a:r>
              <a:rPr lang="en-GB" noProof="0" dirty="0"/>
              <a:t>Click to add picture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A1EAB557-51FE-4F46-971A-ED4CEBB5AC4C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6293500" y="1530000"/>
            <a:ext cx="2809463" cy="37440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397DB119-4C74-4B54-9E2F-163A08938EC5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3094523" y="1530000"/>
            <a:ext cx="2917519" cy="21924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83444CE5-7D95-971A-AA51-A091CE742D27}"/>
              </a:ext>
            </a:extLst>
          </p:cNvPr>
          <p:cNvSpPr>
            <a:spLocks noGrp="1"/>
          </p:cNvSpPr>
          <p:nvPr>
            <p:ph type="pic" sz="quarter" idx="102" hasCustomPrompt="1"/>
          </p:nvPr>
        </p:nvSpPr>
        <p:spPr>
          <a:xfrm>
            <a:off x="9384421" y="1530000"/>
            <a:ext cx="2452877" cy="30168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ED066672-B841-FDA4-25C1-C232BAA0A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8961" y="360001"/>
            <a:ext cx="4933343" cy="933779"/>
          </a:xfrm>
        </p:spPr>
        <p:txBody>
          <a:bodyPr/>
          <a:lstStyle/>
          <a:p>
            <a:r>
              <a:rPr lang="en-GB" noProof="0" dirty="0"/>
              <a:t>Click to add title</a:t>
            </a:r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4604BA42-F911-8784-8224-2DCCC6C8C1D8}"/>
              </a:ext>
            </a:extLst>
          </p:cNvPr>
          <p:cNvSpPr>
            <a:spLocks noGrp="1"/>
          </p:cNvSpPr>
          <p:nvPr>
            <p:ph type="subTitle" idx="95" hasCustomPrompt="1"/>
          </p:nvPr>
        </p:nvSpPr>
        <p:spPr>
          <a:xfrm>
            <a:off x="358961" y="742223"/>
            <a:ext cx="4933343" cy="540000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1400" cap="all" baseline="0"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8C798CDB-56B0-9B18-E0EE-F43B6E0CC482}"/>
              </a:ext>
            </a:extLst>
          </p:cNvPr>
          <p:cNvSpPr>
            <a:spLocks noGrp="1"/>
          </p:cNvSpPr>
          <p:nvPr>
            <p:ph type="body" sz="quarter" idx="96" hasCustomPrompt="1"/>
          </p:nvPr>
        </p:nvSpPr>
        <p:spPr>
          <a:xfrm>
            <a:off x="360187" y="4555672"/>
            <a:ext cx="2452877" cy="844773"/>
          </a:xfrm>
        </p:spPr>
        <p:txBody>
          <a:bodyPr tIns="126000"/>
          <a:lstStyle>
            <a:lvl1pPr marL="180000" indent="-180000">
              <a:defRPr sz="1200"/>
            </a:lvl1pPr>
            <a:lvl2pPr marL="360000" indent="-180000">
              <a:defRPr sz="1200"/>
            </a:lvl2pPr>
            <a:lvl3pPr marL="540000" indent="-180000">
              <a:defRPr sz="1200"/>
            </a:lvl3pPr>
            <a:lvl4pPr>
              <a:defRPr sz="1200"/>
            </a:lvl4pPr>
            <a:lvl5pPr>
              <a:defRPr sz="1200"/>
            </a:lvl5pPr>
            <a:lvl6pPr marL="270000" indent="-270000">
              <a:lnSpc>
                <a:spcPct val="90000"/>
              </a:lnSpc>
              <a:defRPr sz="1600"/>
            </a:lvl6pPr>
            <a:lvl7pPr>
              <a:lnSpc>
                <a:spcPct val="90000"/>
              </a:lnSpc>
              <a:defRPr sz="1600"/>
            </a:lvl7pPr>
            <a:lvl8pPr>
              <a:lnSpc>
                <a:spcPct val="90000"/>
              </a:lnSpc>
              <a:defRPr sz="1600"/>
            </a:lvl8pPr>
          </a:lstStyle>
          <a:p>
            <a:pPr lvl="0"/>
            <a:r>
              <a:rPr lang="en-GB" noProof="0" dirty="0"/>
              <a:t>Click to add text</a:t>
            </a:r>
          </a:p>
          <a:p>
            <a:pPr lvl="8"/>
            <a:endParaRPr lang="en-GB" dirty="0"/>
          </a:p>
        </p:txBody>
      </p:sp>
      <p:sp>
        <p:nvSpPr>
          <p:cNvPr id="21" name="Text Placeholder 17">
            <a:extLst>
              <a:ext uri="{FF2B5EF4-FFF2-40B4-BE49-F238E27FC236}">
                <a16:creationId xmlns:a16="http://schemas.microsoft.com/office/drawing/2014/main" id="{D6CC90EE-7DCB-BCFE-1C38-8D63368763D7}"/>
              </a:ext>
            </a:extLst>
          </p:cNvPr>
          <p:cNvSpPr>
            <a:spLocks noGrp="1"/>
          </p:cNvSpPr>
          <p:nvPr>
            <p:ph type="body" sz="quarter" idx="97" hasCustomPrompt="1"/>
          </p:nvPr>
        </p:nvSpPr>
        <p:spPr>
          <a:xfrm>
            <a:off x="3094523" y="3732265"/>
            <a:ext cx="2917519" cy="720000"/>
          </a:xfrm>
        </p:spPr>
        <p:txBody>
          <a:bodyPr tIns="126000"/>
          <a:lstStyle>
            <a:lvl1pPr marL="180000" indent="-180000">
              <a:defRPr sz="1200"/>
            </a:lvl1pPr>
            <a:lvl2pPr marL="360000" indent="-180000">
              <a:defRPr sz="1200"/>
            </a:lvl2pPr>
            <a:lvl3pPr marL="540000" indent="-180000">
              <a:defRPr sz="1200"/>
            </a:lvl3pPr>
            <a:lvl4pPr>
              <a:defRPr sz="1200"/>
            </a:lvl4pPr>
            <a:lvl5pPr>
              <a:defRPr sz="1200"/>
            </a:lvl5pPr>
            <a:lvl6pPr marL="270000" indent="-270000">
              <a:lnSpc>
                <a:spcPct val="90000"/>
              </a:lnSpc>
              <a:defRPr sz="1600"/>
            </a:lvl6pPr>
            <a:lvl7pPr>
              <a:lnSpc>
                <a:spcPct val="90000"/>
              </a:lnSpc>
              <a:defRPr sz="1600"/>
            </a:lvl7pPr>
            <a:lvl8pPr>
              <a:lnSpc>
                <a:spcPct val="90000"/>
              </a:lnSpc>
              <a:defRPr sz="1600"/>
            </a:lvl8pPr>
          </a:lstStyle>
          <a:p>
            <a:pPr lvl="0"/>
            <a:r>
              <a:rPr lang="en-GB" noProof="0" dirty="0"/>
              <a:t>Click to add text</a:t>
            </a:r>
          </a:p>
          <a:p>
            <a:pPr lvl="8"/>
            <a:endParaRPr lang="en-GB" dirty="0"/>
          </a:p>
        </p:txBody>
      </p:sp>
      <p:sp>
        <p:nvSpPr>
          <p:cNvPr id="22" name="Text Placeholder 17">
            <a:extLst>
              <a:ext uri="{FF2B5EF4-FFF2-40B4-BE49-F238E27FC236}">
                <a16:creationId xmlns:a16="http://schemas.microsoft.com/office/drawing/2014/main" id="{FA7D7413-9D1C-F067-8EBC-BD07815FD080}"/>
              </a:ext>
            </a:extLst>
          </p:cNvPr>
          <p:cNvSpPr>
            <a:spLocks noGrp="1"/>
          </p:cNvSpPr>
          <p:nvPr>
            <p:ph type="body" sz="quarter" idx="98" hasCustomPrompt="1"/>
          </p:nvPr>
        </p:nvSpPr>
        <p:spPr>
          <a:xfrm>
            <a:off x="6293500" y="5280666"/>
            <a:ext cx="2809463" cy="720000"/>
          </a:xfrm>
        </p:spPr>
        <p:txBody>
          <a:bodyPr tIns="126000"/>
          <a:lstStyle>
            <a:lvl1pPr marL="180000" indent="-180000">
              <a:defRPr sz="1200"/>
            </a:lvl1pPr>
            <a:lvl2pPr marL="360000" indent="-180000">
              <a:defRPr sz="1200"/>
            </a:lvl2pPr>
            <a:lvl3pPr marL="540000" indent="-180000">
              <a:defRPr sz="1200"/>
            </a:lvl3pPr>
            <a:lvl4pPr>
              <a:defRPr sz="1200"/>
            </a:lvl4pPr>
            <a:lvl5pPr>
              <a:defRPr sz="1200"/>
            </a:lvl5pPr>
            <a:lvl6pPr marL="270000" indent="-270000">
              <a:lnSpc>
                <a:spcPct val="90000"/>
              </a:lnSpc>
              <a:defRPr sz="1600"/>
            </a:lvl6pPr>
            <a:lvl7pPr>
              <a:lnSpc>
                <a:spcPct val="90000"/>
              </a:lnSpc>
              <a:defRPr sz="1600"/>
            </a:lvl7pPr>
            <a:lvl8pPr>
              <a:lnSpc>
                <a:spcPct val="90000"/>
              </a:lnSpc>
              <a:defRPr sz="1600"/>
            </a:lvl8pPr>
          </a:lstStyle>
          <a:p>
            <a:pPr lvl="0"/>
            <a:r>
              <a:rPr lang="en-GB" noProof="0" dirty="0"/>
              <a:t>Click to add text</a:t>
            </a:r>
          </a:p>
          <a:p>
            <a:pPr lvl="8"/>
            <a:endParaRPr lang="en-GB" dirty="0"/>
          </a:p>
        </p:txBody>
      </p:sp>
      <p:sp>
        <p:nvSpPr>
          <p:cNvPr id="8" name="Text Placeholder 17">
            <a:extLst>
              <a:ext uri="{FF2B5EF4-FFF2-40B4-BE49-F238E27FC236}">
                <a16:creationId xmlns:a16="http://schemas.microsoft.com/office/drawing/2014/main" id="{3E4164D3-F978-704E-4D9E-F57ED66A4722}"/>
              </a:ext>
            </a:extLst>
          </p:cNvPr>
          <p:cNvSpPr>
            <a:spLocks noGrp="1"/>
          </p:cNvSpPr>
          <p:nvPr>
            <p:ph type="body" sz="quarter" idx="103" hasCustomPrompt="1"/>
          </p:nvPr>
        </p:nvSpPr>
        <p:spPr>
          <a:xfrm>
            <a:off x="9384421" y="4556766"/>
            <a:ext cx="2452877" cy="720000"/>
          </a:xfrm>
        </p:spPr>
        <p:txBody>
          <a:bodyPr tIns="126000"/>
          <a:lstStyle>
            <a:lvl1pPr marL="180000" indent="-180000">
              <a:defRPr sz="1200"/>
            </a:lvl1pPr>
            <a:lvl2pPr marL="360000" indent="-180000">
              <a:defRPr sz="1200"/>
            </a:lvl2pPr>
            <a:lvl3pPr marL="540000" indent="-180000">
              <a:defRPr sz="1200"/>
            </a:lvl3pPr>
            <a:lvl4pPr>
              <a:defRPr sz="1200"/>
            </a:lvl4pPr>
            <a:lvl5pPr>
              <a:defRPr sz="1200"/>
            </a:lvl5pPr>
            <a:lvl6pPr marL="270000" indent="-270000">
              <a:lnSpc>
                <a:spcPct val="90000"/>
              </a:lnSpc>
              <a:defRPr sz="1600"/>
            </a:lvl6pPr>
            <a:lvl7pPr>
              <a:lnSpc>
                <a:spcPct val="90000"/>
              </a:lnSpc>
              <a:defRPr sz="1600"/>
            </a:lvl7pPr>
            <a:lvl8pPr>
              <a:lnSpc>
                <a:spcPct val="90000"/>
              </a:lnSpc>
              <a:defRPr sz="1600"/>
            </a:lvl8pPr>
          </a:lstStyle>
          <a:p>
            <a:pPr lvl="0"/>
            <a:r>
              <a:rPr lang="en-GB" noProof="0" dirty="0"/>
              <a:t>Click to add text</a:t>
            </a:r>
          </a:p>
          <a:p>
            <a:pPr lvl="8"/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CE1AE02-906F-4994-92F4-2F45F17B36E9}"/>
              </a:ext>
            </a:extLst>
          </p:cNvPr>
          <p:cNvSpPr>
            <a:spLocks noGrp="1"/>
          </p:cNvSpPr>
          <p:nvPr>
            <p:ph type="ftr" sz="quarter" idx="33"/>
          </p:nvPr>
        </p:nvSpPr>
        <p:spPr/>
        <p:txBody>
          <a:bodyPr/>
          <a:lstStyle/>
          <a:p>
            <a:r>
              <a:rPr lang="en-GB" dirty="0"/>
              <a:t>Muuto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6DC9A48-4427-437D-BAF7-AEFBFE298256}"/>
              </a:ext>
            </a:extLst>
          </p:cNvPr>
          <p:cNvSpPr>
            <a:spLocks noGrp="1"/>
          </p:cNvSpPr>
          <p:nvPr>
            <p:ph type="sldNum" sz="quarter" idx="34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46720859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E3DE2716-4190-54F5-31BA-926F65FE4990}"/>
              </a:ext>
            </a:extLst>
          </p:cNvPr>
          <p:cNvSpPr>
            <a:spLocks/>
          </p:cNvSpPr>
          <p:nvPr userDrawn="1"/>
        </p:nvSpPr>
        <p:spPr>
          <a:xfrm>
            <a:off x="266948" y="1760403"/>
            <a:ext cx="11789814" cy="4830316"/>
          </a:xfrm>
          <a:prstGeom prst="rect">
            <a:avLst/>
          </a:prstGeom>
          <a:solidFill>
            <a:srgbClr val="C5DB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b" anchorCtr="0"/>
          <a:lstStyle/>
          <a:p>
            <a:endParaRPr lang="en-GB" sz="1100" dirty="0">
              <a:solidFill>
                <a:schemeClr val="tx1"/>
              </a:solidFill>
              <a:latin typeface="Euclid Flex" panose="020B0500030000000000" pitchFamily="34" charset="0"/>
            </a:endParaRPr>
          </a:p>
        </p:txBody>
      </p:sp>
      <p:sp>
        <p:nvSpPr>
          <p:cNvPr id="23" name="Date Placeholder 2" hidden="1">
            <a:extLst>
              <a:ext uri="{FF2B5EF4-FFF2-40B4-BE49-F238E27FC236}">
                <a16:creationId xmlns:a16="http://schemas.microsoft.com/office/drawing/2014/main" id="{EAE83243-52AB-4697-728E-23AB45A7410C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92"/>
          </p:nvPr>
        </p:nvSpPr>
        <p:spPr>
          <a:xfrm>
            <a:off x="0" y="6858000"/>
            <a:ext cx="0" cy="0"/>
          </a:xfrm>
        </p:spPr>
        <p:txBody>
          <a:bodyPr/>
          <a:lstStyle/>
          <a:p>
            <a:fld id="{45527A44-AA1D-4BA1-AA93-32475F9E9A8F}" type="datetime4">
              <a:rPr lang="en-GB" smtClean="0"/>
              <a:pPr/>
              <a:t>14 March 2025</a:t>
            </a:fld>
            <a:endParaRPr lang="en-GB" dirty="0"/>
          </a:p>
        </p:txBody>
      </p:sp>
      <p:sp>
        <p:nvSpPr>
          <p:cNvPr id="24" name="Footer Placeholder 4" hidden="1">
            <a:extLst>
              <a:ext uri="{FF2B5EF4-FFF2-40B4-BE49-F238E27FC236}">
                <a16:creationId xmlns:a16="http://schemas.microsoft.com/office/drawing/2014/main" id="{9BE14E54-2536-AA10-A0E9-2955336F43C4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1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GB" dirty="0"/>
              <a:t>Muuto</a:t>
            </a:r>
          </a:p>
        </p:txBody>
      </p:sp>
      <p:sp>
        <p:nvSpPr>
          <p:cNvPr id="26" name="Slide Number Placeholder 5" hidden="1">
            <a:extLst>
              <a:ext uri="{FF2B5EF4-FFF2-40B4-BE49-F238E27FC236}">
                <a16:creationId xmlns:a16="http://schemas.microsoft.com/office/drawing/2014/main" id="{CD6ECCDC-9E5B-8970-BCD8-30255E1597E7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12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3FB1D63-07C0-38DB-A193-84DE99366D4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white">
          <a:xfrm>
            <a:off x="0" y="0"/>
            <a:ext cx="12198350" cy="6858000"/>
          </a:xfrm>
          <a:prstGeom prst="rect">
            <a:avLst/>
          </a:prstGeom>
          <a:solidFill>
            <a:srgbClr val="ECE8DD"/>
          </a:solidFill>
          <a:ln>
            <a:noFill/>
          </a:ln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ED066672-B841-FDA4-25C1-C232BAA0A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8961" y="360001"/>
            <a:ext cx="4933343" cy="933779"/>
          </a:xfrm>
        </p:spPr>
        <p:txBody>
          <a:bodyPr/>
          <a:lstStyle/>
          <a:p>
            <a:r>
              <a:rPr lang="en-GB" noProof="0" dirty="0"/>
              <a:t>Click to add title</a:t>
            </a:r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4604BA42-F911-8784-8224-2DCCC6C8C1D8}"/>
              </a:ext>
            </a:extLst>
          </p:cNvPr>
          <p:cNvSpPr>
            <a:spLocks noGrp="1"/>
          </p:cNvSpPr>
          <p:nvPr>
            <p:ph type="subTitle" idx="95" hasCustomPrompt="1"/>
          </p:nvPr>
        </p:nvSpPr>
        <p:spPr>
          <a:xfrm>
            <a:off x="358961" y="742223"/>
            <a:ext cx="4933343" cy="540000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1400" cap="all" baseline="0"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21250CC4-3C0A-75DE-4CC9-C1DEFCC94DC4}"/>
              </a:ext>
            </a:extLst>
          </p:cNvPr>
          <p:cNvSpPr>
            <a:spLocks noGrp="1"/>
          </p:cNvSpPr>
          <p:nvPr>
            <p:ph type="body" sz="quarter" idx="99" hasCustomPrompt="1"/>
          </p:nvPr>
        </p:nvSpPr>
        <p:spPr>
          <a:xfrm>
            <a:off x="266948" y="1760403"/>
            <a:ext cx="2114301" cy="4831200"/>
          </a:xfrm>
          <a:solidFill>
            <a:srgbClr val="C5DBF3"/>
          </a:solidFill>
        </p:spPr>
        <p:txBody>
          <a:bodyPr lIns="108000" tIns="17280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1"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1">
                <a:latin typeface="+mn-lt"/>
              </a:defRPr>
            </a:lvl3pPr>
            <a:lvl4pPr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1"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Euclid Flex" panose="020B0500030000000000" pitchFamily="34" charset="0"/>
              <a:buNone/>
              <a:defRPr sz="2000" b="1"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1">
                <a:latin typeface="+mn-lt"/>
              </a:defRPr>
            </a:lvl6pPr>
            <a:lvl7pPr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1">
                <a:latin typeface="+mn-lt"/>
              </a:defRPr>
            </a:lvl7pPr>
            <a:lvl8pPr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1">
                <a:latin typeface="+mn-lt"/>
              </a:defRPr>
            </a:lvl8pPr>
            <a:lvl9pPr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1">
                <a:latin typeface="+mn-lt"/>
              </a:defRPr>
            </a:lvl9pPr>
          </a:lstStyle>
          <a:p>
            <a:pPr lvl="0"/>
            <a:r>
              <a:rPr lang="en-GB" sz="2000" b="1" dirty="0"/>
              <a:t>Headline</a:t>
            </a:r>
            <a:endParaRPr lang="en-GB" dirty="0"/>
          </a:p>
        </p:txBody>
      </p:sp>
      <p:sp>
        <p:nvSpPr>
          <p:cNvPr id="32" name="Text Placeholder 24">
            <a:extLst>
              <a:ext uri="{FF2B5EF4-FFF2-40B4-BE49-F238E27FC236}">
                <a16:creationId xmlns:a16="http://schemas.microsoft.com/office/drawing/2014/main" id="{51D5E3B0-F8C1-96F1-D115-0461FAE7995C}"/>
              </a:ext>
            </a:extLst>
          </p:cNvPr>
          <p:cNvSpPr>
            <a:spLocks noGrp="1"/>
          </p:cNvSpPr>
          <p:nvPr>
            <p:ph type="body" sz="quarter" idx="111" hasCustomPrompt="1"/>
          </p:nvPr>
        </p:nvSpPr>
        <p:spPr>
          <a:xfrm>
            <a:off x="2659218" y="1760403"/>
            <a:ext cx="2114301" cy="4831200"/>
          </a:xfrm>
          <a:solidFill>
            <a:srgbClr val="C5DBF3"/>
          </a:solidFill>
        </p:spPr>
        <p:txBody>
          <a:bodyPr lIns="108000" tIns="17280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1"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1">
                <a:latin typeface="+mn-lt"/>
              </a:defRPr>
            </a:lvl3pPr>
            <a:lvl4pPr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1"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Euclid Flex" panose="020B0500030000000000" pitchFamily="34" charset="0"/>
              <a:buNone/>
              <a:defRPr sz="2000" b="1"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1">
                <a:latin typeface="+mn-lt"/>
              </a:defRPr>
            </a:lvl6pPr>
            <a:lvl7pPr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1">
                <a:latin typeface="+mn-lt"/>
              </a:defRPr>
            </a:lvl7pPr>
            <a:lvl8pPr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1">
                <a:latin typeface="+mn-lt"/>
              </a:defRPr>
            </a:lvl8pPr>
            <a:lvl9pPr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1">
                <a:latin typeface="+mn-lt"/>
              </a:defRPr>
            </a:lvl9pPr>
          </a:lstStyle>
          <a:p>
            <a:pPr lvl="0"/>
            <a:r>
              <a:rPr lang="en-GB" sz="2000" b="1" dirty="0"/>
              <a:t>Headline</a:t>
            </a:r>
            <a:endParaRPr lang="en-GB" dirty="0"/>
          </a:p>
        </p:txBody>
      </p:sp>
      <p:sp>
        <p:nvSpPr>
          <p:cNvPr id="39" name="Text Placeholder 24">
            <a:extLst>
              <a:ext uri="{FF2B5EF4-FFF2-40B4-BE49-F238E27FC236}">
                <a16:creationId xmlns:a16="http://schemas.microsoft.com/office/drawing/2014/main" id="{7694AC8F-CBB8-9CB4-D4CF-2362F5B6A5BE}"/>
              </a:ext>
            </a:extLst>
          </p:cNvPr>
          <p:cNvSpPr>
            <a:spLocks noGrp="1"/>
          </p:cNvSpPr>
          <p:nvPr>
            <p:ph type="body" sz="quarter" idx="113" hasCustomPrompt="1"/>
          </p:nvPr>
        </p:nvSpPr>
        <p:spPr>
          <a:xfrm>
            <a:off x="5048986" y="1760403"/>
            <a:ext cx="2114301" cy="4831200"/>
          </a:xfrm>
          <a:solidFill>
            <a:srgbClr val="C5DBF3"/>
          </a:solidFill>
        </p:spPr>
        <p:txBody>
          <a:bodyPr lIns="108000" tIns="17280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1"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1">
                <a:latin typeface="+mn-lt"/>
              </a:defRPr>
            </a:lvl3pPr>
            <a:lvl4pPr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1"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Euclid Flex" panose="020B0500030000000000" pitchFamily="34" charset="0"/>
              <a:buNone/>
              <a:defRPr sz="2000" b="1"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1">
                <a:latin typeface="+mn-lt"/>
              </a:defRPr>
            </a:lvl6pPr>
            <a:lvl7pPr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1">
                <a:latin typeface="+mn-lt"/>
              </a:defRPr>
            </a:lvl7pPr>
            <a:lvl8pPr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1">
                <a:latin typeface="+mn-lt"/>
              </a:defRPr>
            </a:lvl8pPr>
            <a:lvl9pPr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1">
                <a:latin typeface="+mn-lt"/>
              </a:defRPr>
            </a:lvl9pPr>
          </a:lstStyle>
          <a:p>
            <a:pPr lvl="0"/>
            <a:r>
              <a:rPr lang="en-GB" sz="2000" b="1" dirty="0"/>
              <a:t>Headline</a:t>
            </a:r>
            <a:endParaRPr lang="en-GB" dirty="0"/>
          </a:p>
        </p:txBody>
      </p:sp>
      <p:sp>
        <p:nvSpPr>
          <p:cNvPr id="46" name="Text Placeholder 24">
            <a:extLst>
              <a:ext uri="{FF2B5EF4-FFF2-40B4-BE49-F238E27FC236}">
                <a16:creationId xmlns:a16="http://schemas.microsoft.com/office/drawing/2014/main" id="{AE89405C-BD8C-CB4D-CF2D-D65543618B53}"/>
              </a:ext>
            </a:extLst>
          </p:cNvPr>
          <p:cNvSpPr>
            <a:spLocks noGrp="1"/>
          </p:cNvSpPr>
          <p:nvPr>
            <p:ph type="body" sz="quarter" idx="115" hasCustomPrompt="1"/>
          </p:nvPr>
        </p:nvSpPr>
        <p:spPr>
          <a:xfrm>
            <a:off x="7441866" y="1760403"/>
            <a:ext cx="2114301" cy="4831200"/>
          </a:xfrm>
          <a:solidFill>
            <a:srgbClr val="C5DBF3"/>
          </a:solidFill>
        </p:spPr>
        <p:txBody>
          <a:bodyPr lIns="108000" tIns="17280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1"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1">
                <a:latin typeface="+mn-lt"/>
              </a:defRPr>
            </a:lvl3pPr>
            <a:lvl4pPr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1"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Euclid Flex" panose="020B0500030000000000" pitchFamily="34" charset="0"/>
              <a:buNone/>
              <a:defRPr sz="2000" b="1"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1">
                <a:latin typeface="+mn-lt"/>
              </a:defRPr>
            </a:lvl6pPr>
            <a:lvl7pPr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1">
                <a:latin typeface="+mn-lt"/>
              </a:defRPr>
            </a:lvl7pPr>
            <a:lvl8pPr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1">
                <a:latin typeface="+mn-lt"/>
              </a:defRPr>
            </a:lvl8pPr>
            <a:lvl9pPr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1">
                <a:latin typeface="+mn-lt"/>
              </a:defRPr>
            </a:lvl9pPr>
          </a:lstStyle>
          <a:p>
            <a:pPr lvl="0"/>
            <a:r>
              <a:rPr lang="en-GB" sz="2000" b="1" dirty="0"/>
              <a:t>Headline</a:t>
            </a:r>
            <a:endParaRPr lang="en-GB" dirty="0"/>
          </a:p>
        </p:txBody>
      </p:sp>
      <p:sp>
        <p:nvSpPr>
          <p:cNvPr id="48" name="Text Placeholder 24">
            <a:extLst>
              <a:ext uri="{FF2B5EF4-FFF2-40B4-BE49-F238E27FC236}">
                <a16:creationId xmlns:a16="http://schemas.microsoft.com/office/drawing/2014/main" id="{23841110-9092-4DE2-159F-5B789EC3D593}"/>
              </a:ext>
            </a:extLst>
          </p:cNvPr>
          <p:cNvSpPr>
            <a:spLocks noGrp="1"/>
          </p:cNvSpPr>
          <p:nvPr>
            <p:ph type="body" sz="quarter" idx="117" hasCustomPrompt="1"/>
          </p:nvPr>
        </p:nvSpPr>
        <p:spPr>
          <a:xfrm>
            <a:off x="9831535" y="1760403"/>
            <a:ext cx="2114301" cy="4831200"/>
          </a:xfrm>
          <a:solidFill>
            <a:srgbClr val="C5DBF3"/>
          </a:solidFill>
        </p:spPr>
        <p:txBody>
          <a:bodyPr lIns="108000" tIns="17280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1"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1">
                <a:latin typeface="+mn-lt"/>
              </a:defRPr>
            </a:lvl3pPr>
            <a:lvl4pPr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1"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Euclid Flex" panose="020B0500030000000000" pitchFamily="34" charset="0"/>
              <a:buNone/>
              <a:defRPr sz="2000" b="1"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1">
                <a:latin typeface="+mn-lt"/>
              </a:defRPr>
            </a:lvl6pPr>
            <a:lvl7pPr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1">
                <a:latin typeface="+mn-lt"/>
              </a:defRPr>
            </a:lvl7pPr>
            <a:lvl8pPr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1">
                <a:latin typeface="+mn-lt"/>
              </a:defRPr>
            </a:lvl8pPr>
            <a:lvl9pPr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1">
                <a:latin typeface="+mn-lt"/>
              </a:defRPr>
            </a:lvl9pPr>
          </a:lstStyle>
          <a:p>
            <a:pPr lvl="0"/>
            <a:r>
              <a:rPr lang="en-GB" sz="2000" b="1" dirty="0"/>
              <a:t>Headline</a:t>
            </a:r>
            <a:endParaRPr lang="en-GB" dirty="0"/>
          </a:p>
        </p:txBody>
      </p:sp>
      <p:sp>
        <p:nvSpPr>
          <p:cNvPr id="41" name="Text Placeholder 17">
            <a:extLst>
              <a:ext uri="{FF2B5EF4-FFF2-40B4-BE49-F238E27FC236}">
                <a16:creationId xmlns:a16="http://schemas.microsoft.com/office/drawing/2014/main" id="{B8BA6897-1120-DFB2-7627-2580A85609C1}"/>
              </a:ext>
            </a:extLst>
          </p:cNvPr>
          <p:cNvSpPr>
            <a:spLocks noGrp="1"/>
          </p:cNvSpPr>
          <p:nvPr>
            <p:ph type="body" sz="quarter" idx="105" hasCustomPrompt="1"/>
          </p:nvPr>
        </p:nvSpPr>
        <p:spPr>
          <a:xfrm>
            <a:off x="266948" y="3291521"/>
            <a:ext cx="2114301" cy="3299199"/>
          </a:xfrm>
        </p:spPr>
        <p:txBody>
          <a:bodyPr lIns="108000" tIns="0" rIns="180000" bIns="324000" anchor="b" anchorCtr="0"/>
          <a:lstStyle>
            <a:lvl1pPr marL="180000" indent="-180000">
              <a:defRPr sz="1400"/>
            </a:lvl1pPr>
            <a:lvl2pPr marL="360000" indent="-180000">
              <a:defRPr sz="1400"/>
            </a:lvl2pPr>
            <a:lvl3pPr marL="540000" indent="-180000">
              <a:defRPr sz="1400"/>
            </a:lvl3pPr>
            <a:lvl4pPr>
              <a:defRPr sz="1400"/>
            </a:lvl4pPr>
            <a:lvl5pPr>
              <a:defRPr sz="1400"/>
            </a:lvl5pPr>
            <a:lvl6pPr marL="270000" indent="-270000">
              <a:lnSpc>
                <a:spcPct val="90000"/>
              </a:lnSpc>
              <a:defRPr sz="1600"/>
            </a:lvl6pPr>
            <a:lvl7pPr>
              <a:lnSpc>
                <a:spcPct val="90000"/>
              </a:lnSpc>
              <a:defRPr sz="1600"/>
            </a:lvl7pPr>
            <a:lvl8pPr>
              <a:lnSpc>
                <a:spcPct val="90000"/>
              </a:lnSpc>
              <a:defRPr sz="1600"/>
            </a:lvl8pPr>
          </a:lstStyle>
          <a:p>
            <a:pPr lvl="0"/>
            <a:r>
              <a:rPr lang="en-GB" noProof="0" dirty="0"/>
              <a:t>Click to add text    Press ENTER then TAB to view next text style               Press SHIFT+TAB to view previous text style</a:t>
            </a:r>
            <a:endParaRPr lang="en-GB" dirty="0"/>
          </a:p>
        </p:txBody>
      </p:sp>
      <p:sp>
        <p:nvSpPr>
          <p:cNvPr id="42" name="Text Placeholder 17">
            <a:extLst>
              <a:ext uri="{FF2B5EF4-FFF2-40B4-BE49-F238E27FC236}">
                <a16:creationId xmlns:a16="http://schemas.microsoft.com/office/drawing/2014/main" id="{1360B2A8-8E5D-BDEB-EF7B-86B770E48EDD}"/>
              </a:ext>
            </a:extLst>
          </p:cNvPr>
          <p:cNvSpPr>
            <a:spLocks noGrp="1"/>
          </p:cNvSpPr>
          <p:nvPr>
            <p:ph type="body" sz="quarter" idx="106" hasCustomPrompt="1"/>
          </p:nvPr>
        </p:nvSpPr>
        <p:spPr>
          <a:xfrm>
            <a:off x="2657777" y="3291521"/>
            <a:ext cx="2114301" cy="3299199"/>
          </a:xfrm>
        </p:spPr>
        <p:txBody>
          <a:bodyPr lIns="108000" tIns="0" rIns="180000" bIns="324000" anchor="b" anchorCtr="0"/>
          <a:lstStyle>
            <a:lvl1pPr marL="180000" indent="-180000">
              <a:defRPr sz="1400"/>
            </a:lvl1pPr>
            <a:lvl2pPr marL="360000" indent="-180000">
              <a:defRPr sz="1400"/>
            </a:lvl2pPr>
            <a:lvl3pPr marL="540000" indent="-180000">
              <a:defRPr sz="1400"/>
            </a:lvl3pPr>
            <a:lvl4pPr>
              <a:defRPr sz="1400"/>
            </a:lvl4pPr>
            <a:lvl5pPr>
              <a:defRPr sz="1400"/>
            </a:lvl5pPr>
            <a:lvl6pPr marL="270000" indent="-270000">
              <a:lnSpc>
                <a:spcPct val="90000"/>
              </a:lnSpc>
              <a:defRPr sz="1600"/>
            </a:lvl6pPr>
            <a:lvl7pPr>
              <a:lnSpc>
                <a:spcPct val="90000"/>
              </a:lnSpc>
              <a:defRPr sz="1600"/>
            </a:lvl7pPr>
            <a:lvl8pPr>
              <a:lnSpc>
                <a:spcPct val="90000"/>
              </a:lnSpc>
              <a:defRPr sz="1600"/>
            </a:lvl8pPr>
          </a:lstStyle>
          <a:p>
            <a:pPr lvl="0"/>
            <a:r>
              <a:rPr lang="en-GB" noProof="0" dirty="0"/>
              <a:t>Click to add text    Press ENTER then TAB to view next text style               Press SHIFT+TAB to view previous text style</a:t>
            </a:r>
            <a:endParaRPr lang="en-GB" dirty="0"/>
          </a:p>
        </p:txBody>
      </p:sp>
      <p:sp>
        <p:nvSpPr>
          <p:cNvPr id="43" name="Text Placeholder 17">
            <a:extLst>
              <a:ext uri="{FF2B5EF4-FFF2-40B4-BE49-F238E27FC236}">
                <a16:creationId xmlns:a16="http://schemas.microsoft.com/office/drawing/2014/main" id="{5BA938EF-AC36-8EFA-A9E7-96F213C21B65}"/>
              </a:ext>
            </a:extLst>
          </p:cNvPr>
          <p:cNvSpPr>
            <a:spLocks noGrp="1"/>
          </p:cNvSpPr>
          <p:nvPr>
            <p:ph type="body" sz="quarter" idx="107" hasCustomPrompt="1"/>
          </p:nvPr>
        </p:nvSpPr>
        <p:spPr>
          <a:xfrm>
            <a:off x="5048606" y="3291521"/>
            <a:ext cx="2114301" cy="3299199"/>
          </a:xfrm>
        </p:spPr>
        <p:txBody>
          <a:bodyPr lIns="108000" tIns="0" rIns="180000" bIns="324000" anchor="b" anchorCtr="0"/>
          <a:lstStyle>
            <a:lvl1pPr marL="180000" indent="-180000">
              <a:defRPr sz="1400"/>
            </a:lvl1pPr>
            <a:lvl2pPr marL="360000" indent="-180000">
              <a:defRPr sz="1400"/>
            </a:lvl2pPr>
            <a:lvl3pPr marL="540000" indent="-180000">
              <a:defRPr sz="1400"/>
            </a:lvl3pPr>
            <a:lvl4pPr>
              <a:defRPr sz="1400"/>
            </a:lvl4pPr>
            <a:lvl5pPr>
              <a:defRPr sz="1400"/>
            </a:lvl5pPr>
            <a:lvl6pPr marL="270000" indent="-270000">
              <a:lnSpc>
                <a:spcPct val="90000"/>
              </a:lnSpc>
              <a:defRPr sz="1600"/>
            </a:lvl6pPr>
            <a:lvl7pPr>
              <a:lnSpc>
                <a:spcPct val="90000"/>
              </a:lnSpc>
              <a:defRPr sz="1600"/>
            </a:lvl7pPr>
            <a:lvl8pPr>
              <a:lnSpc>
                <a:spcPct val="90000"/>
              </a:lnSpc>
              <a:defRPr sz="1600"/>
            </a:lvl8pPr>
          </a:lstStyle>
          <a:p>
            <a:pPr lvl="0"/>
            <a:r>
              <a:rPr lang="en-GB" noProof="0" dirty="0"/>
              <a:t>Click to add text    Press ENTER then TAB to view next text style               Press SHIFT+TAB to view previous text style</a:t>
            </a:r>
            <a:endParaRPr lang="en-GB" dirty="0"/>
          </a:p>
        </p:txBody>
      </p:sp>
      <p:sp>
        <p:nvSpPr>
          <p:cNvPr id="44" name="Text Placeholder 17">
            <a:extLst>
              <a:ext uri="{FF2B5EF4-FFF2-40B4-BE49-F238E27FC236}">
                <a16:creationId xmlns:a16="http://schemas.microsoft.com/office/drawing/2014/main" id="{0CFB0EFD-C3A0-212A-90C0-15F73F59AC25}"/>
              </a:ext>
            </a:extLst>
          </p:cNvPr>
          <p:cNvSpPr>
            <a:spLocks noGrp="1"/>
          </p:cNvSpPr>
          <p:nvPr>
            <p:ph type="body" sz="quarter" idx="108" hasCustomPrompt="1"/>
          </p:nvPr>
        </p:nvSpPr>
        <p:spPr>
          <a:xfrm>
            <a:off x="7439435" y="3291521"/>
            <a:ext cx="2114301" cy="3299199"/>
          </a:xfrm>
        </p:spPr>
        <p:txBody>
          <a:bodyPr lIns="108000" tIns="0" rIns="180000" bIns="324000" anchor="b" anchorCtr="0"/>
          <a:lstStyle>
            <a:lvl1pPr marL="180000" indent="-180000">
              <a:defRPr sz="1400"/>
            </a:lvl1pPr>
            <a:lvl2pPr marL="360000" indent="-180000">
              <a:defRPr sz="1400"/>
            </a:lvl2pPr>
            <a:lvl3pPr marL="540000" indent="-180000">
              <a:defRPr sz="1400"/>
            </a:lvl3pPr>
            <a:lvl4pPr>
              <a:defRPr sz="1400"/>
            </a:lvl4pPr>
            <a:lvl5pPr>
              <a:defRPr sz="1400"/>
            </a:lvl5pPr>
            <a:lvl6pPr marL="270000" indent="-270000">
              <a:lnSpc>
                <a:spcPct val="90000"/>
              </a:lnSpc>
              <a:defRPr sz="1600"/>
            </a:lvl6pPr>
            <a:lvl7pPr>
              <a:lnSpc>
                <a:spcPct val="90000"/>
              </a:lnSpc>
              <a:defRPr sz="1600"/>
            </a:lvl7pPr>
            <a:lvl8pPr>
              <a:lnSpc>
                <a:spcPct val="90000"/>
              </a:lnSpc>
              <a:defRPr sz="1600"/>
            </a:lvl8pPr>
          </a:lstStyle>
          <a:p>
            <a:pPr lvl="0"/>
            <a:r>
              <a:rPr lang="en-GB" noProof="0" dirty="0"/>
              <a:t>Click to add text    Press ENTER then TAB to view next text style               Press SHIFT+TAB to view previous text style</a:t>
            </a:r>
            <a:endParaRPr lang="en-GB" dirty="0"/>
          </a:p>
        </p:txBody>
      </p:sp>
      <p:sp>
        <p:nvSpPr>
          <p:cNvPr id="45" name="Text Placeholder 17">
            <a:extLst>
              <a:ext uri="{FF2B5EF4-FFF2-40B4-BE49-F238E27FC236}">
                <a16:creationId xmlns:a16="http://schemas.microsoft.com/office/drawing/2014/main" id="{988EE986-1BAA-81A1-8CAF-F3C82A363F9B}"/>
              </a:ext>
            </a:extLst>
          </p:cNvPr>
          <p:cNvSpPr>
            <a:spLocks noGrp="1"/>
          </p:cNvSpPr>
          <p:nvPr>
            <p:ph type="body" sz="quarter" idx="109" hasCustomPrompt="1"/>
          </p:nvPr>
        </p:nvSpPr>
        <p:spPr>
          <a:xfrm>
            <a:off x="9830264" y="3291521"/>
            <a:ext cx="2114301" cy="3299199"/>
          </a:xfrm>
        </p:spPr>
        <p:txBody>
          <a:bodyPr lIns="108000" tIns="0" rIns="180000" bIns="324000" anchor="b" anchorCtr="0"/>
          <a:lstStyle>
            <a:lvl1pPr marL="180000" indent="-180000">
              <a:defRPr sz="1400"/>
            </a:lvl1pPr>
            <a:lvl2pPr marL="360000" indent="-180000">
              <a:defRPr sz="1400"/>
            </a:lvl2pPr>
            <a:lvl3pPr marL="540000" indent="-180000">
              <a:defRPr sz="1400"/>
            </a:lvl3pPr>
            <a:lvl4pPr>
              <a:defRPr sz="1400"/>
            </a:lvl4pPr>
            <a:lvl5pPr>
              <a:defRPr sz="1400"/>
            </a:lvl5pPr>
            <a:lvl6pPr marL="270000" indent="-270000">
              <a:lnSpc>
                <a:spcPct val="90000"/>
              </a:lnSpc>
              <a:defRPr sz="1600"/>
            </a:lvl6pPr>
            <a:lvl7pPr>
              <a:lnSpc>
                <a:spcPct val="90000"/>
              </a:lnSpc>
              <a:defRPr sz="1600"/>
            </a:lvl7pPr>
            <a:lvl8pPr>
              <a:lnSpc>
                <a:spcPct val="90000"/>
              </a:lnSpc>
              <a:defRPr sz="1600"/>
            </a:lvl8pPr>
          </a:lstStyle>
          <a:p>
            <a:pPr lvl="0"/>
            <a:r>
              <a:rPr lang="en-GB" noProof="0" dirty="0"/>
              <a:t>Click to add text    Press ENTER then TAB to view next text style               Press SHIFT+TAB to view previous text style</a:t>
            </a:r>
            <a:endParaRPr lang="en-GB" dirty="0"/>
          </a:p>
        </p:txBody>
      </p:sp>
      <p:sp>
        <p:nvSpPr>
          <p:cNvPr id="31" name="Arrow 1">
            <a:extLst>
              <a:ext uri="{FF2B5EF4-FFF2-40B4-BE49-F238E27FC236}">
                <a16:creationId xmlns:a16="http://schemas.microsoft.com/office/drawing/2014/main" id="{72572C1F-CA1A-3F5A-D1B1-89B6F5653BDA}"/>
              </a:ext>
            </a:extLst>
          </p:cNvPr>
          <p:cNvSpPr>
            <a:spLocks noGrp="1" noChangeAspect="1"/>
          </p:cNvSpPr>
          <p:nvPr>
            <p:ph type="body" sz="quarter" idx="110" hasCustomPrompt="1"/>
          </p:nvPr>
        </p:nvSpPr>
        <p:spPr>
          <a:xfrm>
            <a:off x="1901457" y="1906812"/>
            <a:ext cx="360188" cy="360000"/>
          </a:xfrm>
          <a:custGeom>
            <a:avLst/>
            <a:gdLst>
              <a:gd name="connsiteX0" fmla="*/ 265145 w 457200"/>
              <a:gd name="connsiteY0" fmla="*/ 126781 h 457200"/>
              <a:gd name="connsiteX1" fmla="*/ 277448 w 457200"/>
              <a:gd name="connsiteY1" fmla="*/ 131625 h 457200"/>
              <a:gd name="connsiteX2" fmla="*/ 361669 w 457200"/>
              <a:gd name="connsiteY2" fmla="*/ 215846 h 457200"/>
              <a:gd name="connsiteX3" fmla="*/ 361669 w 457200"/>
              <a:gd name="connsiteY3" fmla="*/ 241353 h 457200"/>
              <a:gd name="connsiteX4" fmla="*/ 277448 w 457200"/>
              <a:gd name="connsiteY4" fmla="*/ 325574 h 457200"/>
              <a:gd name="connsiteX5" fmla="*/ 251941 w 457200"/>
              <a:gd name="connsiteY5" fmla="*/ 325574 h 457200"/>
              <a:gd name="connsiteX6" fmla="*/ 251941 w 457200"/>
              <a:gd name="connsiteY6" fmla="*/ 300067 h 457200"/>
              <a:gd name="connsiteX7" fmla="*/ 305361 w 457200"/>
              <a:gd name="connsiteY7" fmla="*/ 246647 h 457200"/>
              <a:gd name="connsiteX8" fmla="*/ 108284 w 457200"/>
              <a:gd name="connsiteY8" fmla="*/ 246647 h 457200"/>
              <a:gd name="connsiteX9" fmla="*/ 90237 w 457200"/>
              <a:gd name="connsiteY9" fmla="*/ 228600 h 457200"/>
              <a:gd name="connsiteX10" fmla="*/ 108284 w 457200"/>
              <a:gd name="connsiteY10" fmla="*/ 210552 h 457200"/>
              <a:gd name="connsiteX11" fmla="*/ 305361 w 457200"/>
              <a:gd name="connsiteY11" fmla="*/ 210552 h 457200"/>
              <a:gd name="connsiteX12" fmla="*/ 251941 w 457200"/>
              <a:gd name="connsiteY12" fmla="*/ 157132 h 457200"/>
              <a:gd name="connsiteX13" fmla="*/ 252842 w 457200"/>
              <a:gd name="connsiteY13" fmla="*/ 131625 h 457200"/>
              <a:gd name="connsiteX14" fmla="*/ 265145 w 457200"/>
              <a:gd name="connsiteY14" fmla="*/ 126781 h 457200"/>
              <a:gd name="connsiteX15" fmla="*/ 228600 w 457200"/>
              <a:gd name="connsiteY15" fmla="*/ 36095 h 457200"/>
              <a:gd name="connsiteX16" fmla="*/ 36095 w 457200"/>
              <a:gd name="connsiteY16" fmla="*/ 228600 h 457200"/>
              <a:gd name="connsiteX17" fmla="*/ 228600 w 457200"/>
              <a:gd name="connsiteY17" fmla="*/ 421105 h 457200"/>
              <a:gd name="connsiteX18" fmla="*/ 421105 w 457200"/>
              <a:gd name="connsiteY18" fmla="*/ 228600 h 457200"/>
              <a:gd name="connsiteX19" fmla="*/ 228600 w 457200"/>
              <a:gd name="connsiteY19" fmla="*/ 36095 h 457200"/>
              <a:gd name="connsiteX20" fmla="*/ 228600 w 457200"/>
              <a:gd name="connsiteY20" fmla="*/ 0 h 457200"/>
              <a:gd name="connsiteX21" fmla="*/ 457200 w 457200"/>
              <a:gd name="connsiteY21" fmla="*/ 228600 h 457200"/>
              <a:gd name="connsiteX22" fmla="*/ 228600 w 457200"/>
              <a:gd name="connsiteY22" fmla="*/ 457200 h 457200"/>
              <a:gd name="connsiteX23" fmla="*/ 0 w 457200"/>
              <a:gd name="connsiteY23" fmla="*/ 228600 h 457200"/>
              <a:gd name="connsiteX24" fmla="*/ 228600 w 457200"/>
              <a:gd name="connsiteY24" fmla="*/ 0 h 45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457200" h="457200">
                <a:moveTo>
                  <a:pt x="265145" y="126781"/>
                </a:moveTo>
                <a:cubicBezTo>
                  <a:pt x="269564" y="126781"/>
                  <a:pt x="273983" y="128396"/>
                  <a:pt x="277448" y="131625"/>
                </a:cubicBezTo>
                <a:lnTo>
                  <a:pt x="361669" y="215846"/>
                </a:lnTo>
                <a:cubicBezTo>
                  <a:pt x="368706" y="222893"/>
                  <a:pt x="368706" y="234307"/>
                  <a:pt x="361669" y="241353"/>
                </a:cubicBezTo>
                <a:lnTo>
                  <a:pt x="277448" y="325574"/>
                </a:lnTo>
                <a:cubicBezTo>
                  <a:pt x="270402" y="332612"/>
                  <a:pt x="258987" y="332612"/>
                  <a:pt x="251941" y="325574"/>
                </a:cubicBezTo>
                <a:cubicBezTo>
                  <a:pt x="244904" y="318528"/>
                  <a:pt x="244904" y="307114"/>
                  <a:pt x="251941" y="300067"/>
                </a:cubicBezTo>
                <a:lnTo>
                  <a:pt x="305361" y="246647"/>
                </a:lnTo>
                <a:lnTo>
                  <a:pt x="108284" y="246647"/>
                </a:lnTo>
                <a:cubicBezTo>
                  <a:pt x="98317" y="246647"/>
                  <a:pt x="90237" y="238567"/>
                  <a:pt x="90237" y="228600"/>
                </a:cubicBezTo>
                <a:cubicBezTo>
                  <a:pt x="90237" y="218632"/>
                  <a:pt x="98317" y="210552"/>
                  <a:pt x="108284" y="210552"/>
                </a:cubicBezTo>
                <a:lnTo>
                  <a:pt x="305361" y="210552"/>
                </a:lnTo>
                <a:lnTo>
                  <a:pt x="251941" y="157132"/>
                </a:lnTo>
                <a:cubicBezTo>
                  <a:pt x="245146" y="149840"/>
                  <a:pt x="245549" y="138420"/>
                  <a:pt x="252842" y="131625"/>
                </a:cubicBezTo>
                <a:cubicBezTo>
                  <a:pt x="256307" y="128396"/>
                  <a:pt x="260726" y="126781"/>
                  <a:pt x="265145" y="126781"/>
                </a:cubicBezTo>
                <a:close/>
                <a:moveTo>
                  <a:pt x="228600" y="36095"/>
                </a:moveTo>
                <a:cubicBezTo>
                  <a:pt x="122282" y="36095"/>
                  <a:pt x="36095" y="122282"/>
                  <a:pt x="36095" y="228600"/>
                </a:cubicBezTo>
                <a:cubicBezTo>
                  <a:pt x="36095" y="334918"/>
                  <a:pt x="122282" y="421105"/>
                  <a:pt x="228600" y="421105"/>
                </a:cubicBezTo>
                <a:cubicBezTo>
                  <a:pt x="334918" y="421105"/>
                  <a:pt x="421105" y="334918"/>
                  <a:pt x="421105" y="228600"/>
                </a:cubicBezTo>
                <a:cubicBezTo>
                  <a:pt x="421105" y="122282"/>
                  <a:pt x="334918" y="36095"/>
                  <a:pt x="228600" y="36095"/>
                </a:cubicBezTo>
                <a:close/>
                <a:moveTo>
                  <a:pt x="228600" y="0"/>
                </a:moveTo>
                <a:cubicBezTo>
                  <a:pt x="354852" y="0"/>
                  <a:pt x="457200" y="102348"/>
                  <a:pt x="457200" y="228600"/>
                </a:cubicBezTo>
                <a:cubicBezTo>
                  <a:pt x="457200" y="354852"/>
                  <a:pt x="354852" y="457200"/>
                  <a:pt x="228600" y="457200"/>
                </a:cubicBezTo>
                <a:cubicBezTo>
                  <a:pt x="102348" y="457200"/>
                  <a:pt x="0" y="354852"/>
                  <a:pt x="0" y="228600"/>
                </a:cubicBezTo>
                <a:cubicBezTo>
                  <a:pt x="0" y="102348"/>
                  <a:pt x="102348" y="0"/>
                  <a:pt x="228600" y="0"/>
                </a:cubicBezTo>
                <a:close/>
              </a:path>
            </a:pathLst>
          </a:custGeom>
          <a:solidFill>
            <a:schemeClr val="tx1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38" name="Arrow 2">
            <a:extLst>
              <a:ext uri="{FF2B5EF4-FFF2-40B4-BE49-F238E27FC236}">
                <a16:creationId xmlns:a16="http://schemas.microsoft.com/office/drawing/2014/main" id="{56C87872-F9B2-3C96-9D18-A85130093A72}"/>
              </a:ext>
            </a:extLst>
          </p:cNvPr>
          <p:cNvSpPr>
            <a:spLocks noGrp="1" noChangeAspect="1"/>
          </p:cNvSpPr>
          <p:nvPr>
            <p:ph type="body" sz="quarter" idx="112" hasCustomPrompt="1"/>
          </p:nvPr>
        </p:nvSpPr>
        <p:spPr>
          <a:xfrm>
            <a:off x="4292540" y="1906812"/>
            <a:ext cx="360188" cy="360000"/>
          </a:xfrm>
          <a:custGeom>
            <a:avLst/>
            <a:gdLst>
              <a:gd name="connsiteX0" fmla="*/ 265145 w 457200"/>
              <a:gd name="connsiteY0" fmla="*/ 126781 h 457200"/>
              <a:gd name="connsiteX1" fmla="*/ 277448 w 457200"/>
              <a:gd name="connsiteY1" fmla="*/ 131625 h 457200"/>
              <a:gd name="connsiteX2" fmla="*/ 361669 w 457200"/>
              <a:gd name="connsiteY2" fmla="*/ 215846 h 457200"/>
              <a:gd name="connsiteX3" fmla="*/ 361669 w 457200"/>
              <a:gd name="connsiteY3" fmla="*/ 241353 h 457200"/>
              <a:gd name="connsiteX4" fmla="*/ 277448 w 457200"/>
              <a:gd name="connsiteY4" fmla="*/ 325574 h 457200"/>
              <a:gd name="connsiteX5" fmla="*/ 251941 w 457200"/>
              <a:gd name="connsiteY5" fmla="*/ 325574 h 457200"/>
              <a:gd name="connsiteX6" fmla="*/ 251941 w 457200"/>
              <a:gd name="connsiteY6" fmla="*/ 300067 h 457200"/>
              <a:gd name="connsiteX7" fmla="*/ 305361 w 457200"/>
              <a:gd name="connsiteY7" fmla="*/ 246647 h 457200"/>
              <a:gd name="connsiteX8" fmla="*/ 108284 w 457200"/>
              <a:gd name="connsiteY8" fmla="*/ 246647 h 457200"/>
              <a:gd name="connsiteX9" fmla="*/ 90237 w 457200"/>
              <a:gd name="connsiteY9" fmla="*/ 228600 h 457200"/>
              <a:gd name="connsiteX10" fmla="*/ 108284 w 457200"/>
              <a:gd name="connsiteY10" fmla="*/ 210552 h 457200"/>
              <a:gd name="connsiteX11" fmla="*/ 305361 w 457200"/>
              <a:gd name="connsiteY11" fmla="*/ 210552 h 457200"/>
              <a:gd name="connsiteX12" fmla="*/ 251941 w 457200"/>
              <a:gd name="connsiteY12" fmla="*/ 157132 h 457200"/>
              <a:gd name="connsiteX13" fmla="*/ 252842 w 457200"/>
              <a:gd name="connsiteY13" fmla="*/ 131625 h 457200"/>
              <a:gd name="connsiteX14" fmla="*/ 265145 w 457200"/>
              <a:gd name="connsiteY14" fmla="*/ 126781 h 457200"/>
              <a:gd name="connsiteX15" fmla="*/ 228600 w 457200"/>
              <a:gd name="connsiteY15" fmla="*/ 36095 h 457200"/>
              <a:gd name="connsiteX16" fmla="*/ 36095 w 457200"/>
              <a:gd name="connsiteY16" fmla="*/ 228600 h 457200"/>
              <a:gd name="connsiteX17" fmla="*/ 228600 w 457200"/>
              <a:gd name="connsiteY17" fmla="*/ 421105 h 457200"/>
              <a:gd name="connsiteX18" fmla="*/ 421105 w 457200"/>
              <a:gd name="connsiteY18" fmla="*/ 228600 h 457200"/>
              <a:gd name="connsiteX19" fmla="*/ 228600 w 457200"/>
              <a:gd name="connsiteY19" fmla="*/ 36095 h 457200"/>
              <a:gd name="connsiteX20" fmla="*/ 228600 w 457200"/>
              <a:gd name="connsiteY20" fmla="*/ 0 h 457200"/>
              <a:gd name="connsiteX21" fmla="*/ 457200 w 457200"/>
              <a:gd name="connsiteY21" fmla="*/ 228600 h 457200"/>
              <a:gd name="connsiteX22" fmla="*/ 228600 w 457200"/>
              <a:gd name="connsiteY22" fmla="*/ 457200 h 457200"/>
              <a:gd name="connsiteX23" fmla="*/ 0 w 457200"/>
              <a:gd name="connsiteY23" fmla="*/ 228600 h 457200"/>
              <a:gd name="connsiteX24" fmla="*/ 228600 w 457200"/>
              <a:gd name="connsiteY24" fmla="*/ 0 h 45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457200" h="457200">
                <a:moveTo>
                  <a:pt x="265145" y="126781"/>
                </a:moveTo>
                <a:cubicBezTo>
                  <a:pt x="269564" y="126781"/>
                  <a:pt x="273983" y="128396"/>
                  <a:pt x="277448" y="131625"/>
                </a:cubicBezTo>
                <a:lnTo>
                  <a:pt x="361669" y="215846"/>
                </a:lnTo>
                <a:cubicBezTo>
                  <a:pt x="368706" y="222893"/>
                  <a:pt x="368706" y="234307"/>
                  <a:pt x="361669" y="241353"/>
                </a:cubicBezTo>
                <a:lnTo>
                  <a:pt x="277448" y="325574"/>
                </a:lnTo>
                <a:cubicBezTo>
                  <a:pt x="270402" y="332612"/>
                  <a:pt x="258987" y="332612"/>
                  <a:pt x="251941" y="325574"/>
                </a:cubicBezTo>
                <a:cubicBezTo>
                  <a:pt x="244904" y="318528"/>
                  <a:pt x="244904" y="307114"/>
                  <a:pt x="251941" y="300067"/>
                </a:cubicBezTo>
                <a:lnTo>
                  <a:pt x="305361" y="246647"/>
                </a:lnTo>
                <a:lnTo>
                  <a:pt x="108284" y="246647"/>
                </a:lnTo>
                <a:cubicBezTo>
                  <a:pt x="98317" y="246647"/>
                  <a:pt x="90237" y="238567"/>
                  <a:pt x="90237" y="228600"/>
                </a:cubicBezTo>
                <a:cubicBezTo>
                  <a:pt x="90237" y="218632"/>
                  <a:pt x="98317" y="210552"/>
                  <a:pt x="108284" y="210552"/>
                </a:cubicBezTo>
                <a:lnTo>
                  <a:pt x="305361" y="210552"/>
                </a:lnTo>
                <a:lnTo>
                  <a:pt x="251941" y="157132"/>
                </a:lnTo>
                <a:cubicBezTo>
                  <a:pt x="245146" y="149840"/>
                  <a:pt x="245549" y="138420"/>
                  <a:pt x="252842" y="131625"/>
                </a:cubicBezTo>
                <a:cubicBezTo>
                  <a:pt x="256307" y="128396"/>
                  <a:pt x="260726" y="126781"/>
                  <a:pt x="265145" y="126781"/>
                </a:cubicBezTo>
                <a:close/>
                <a:moveTo>
                  <a:pt x="228600" y="36095"/>
                </a:moveTo>
                <a:cubicBezTo>
                  <a:pt x="122282" y="36095"/>
                  <a:pt x="36095" y="122282"/>
                  <a:pt x="36095" y="228600"/>
                </a:cubicBezTo>
                <a:cubicBezTo>
                  <a:pt x="36095" y="334918"/>
                  <a:pt x="122282" y="421105"/>
                  <a:pt x="228600" y="421105"/>
                </a:cubicBezTo>
                <a:cubicBezTo>
                  <a:pt x="334918" y="421105"/>
                  <a:pt x="421105" y="334918"/>
                  <a:pt x="421105" y="228600"/>
                </a:cubicBezTo>
                <a:cubicBezTo>
                  <a:pt x="421105" y="122282"/>
                  <a:pt x="334918" y="36095"/>
                  <a:pt x="228600" y="36095"/>
                </a:cubicBezTo>
                <a:close/>
                <a:moveTo>
                  <a:pt x="228600" y="0"/>
                </a:moveTo>
                <a:cubicBezTo>
                  <a:pt x="354852" y="0"/>
                  <a:pt x="457200" y="102348"/>
                  <a:pt x="457200" y="228600"/>
                </a:cubicBezTo>
                <a:cubicBezTo>
                  <a:pt x="457200" y="354852"/>
                  <a:pt x="354852" y="457200"/>
                  <a:pt x="228600" y="457200"/>
                </a:cubicBezTo>
                <a:cubicBezTo>
                  <a:pt x="102348" y="457200"/>
                  <a:pt x="0" y="354852"/>
                  <a:pt x="0" y="228600"/>
                </a:cubicBezTo>
                <a:cubicBezTo>
                  <a:pt x="0" y="102348"/>
                  <a:pt x="102348" y="0"/>
                  <a:pt x="228600" y="0"/>
                </a:cubicBezTo>
                <a:close/>
              </a:path>
            </a:pathLst>
          </a:custGeom>
          <a:solidFill>
            <a:schemeClr val="tx1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40" name="Arrow 3">
            <a:extLst>
              <a:ext uri="{FF2B5EF4-FFF2-40B4-BE49-F238E27FC236}">
                <a16:creationId xmlns:a16="http://schemas.microsoft.com/office/drawing/2014/main" id="{B7443FED-C0FE-3CD1-A295-C12230508D7F}"/>
              </a:ext>
            </a:extLst>
          </p:cNvPr>
          <p:cNvSpPr>
            <a:spLocks noGrp="1" noChangeAspect="1"/>
          </p:cNvSpPr>
          <p:nvPr>
            <p:ph type="body" sz="quarter" idx="114" hasCustomPrompt="1"/>
          </p:nvPr>
        </p:nvSpPr>
        <p:spPr>
          <a:xfrm>
            <a:off x="6683624" y="1906812"/>
            <a:ext cx="360188" cy="360000"/>
          </a:xfrm>
          <a:custGeom>
            <a:avLst/>
            <a:gdLst>
              <a:gd name="connsiteX0" fmla="*/ 265145 w 457200"/>
              <a:gd name="connsiteY0" fmla="*/ 126781 h 457200"/>
              <a:gd name="connsiteX1" fmla="*/ 277448 w 457200"/>
              <a:gd name="connsiteY1" fmla="*/ 131625 h 457200"/>
              <a:gd name="connsiteX2" fmla="*/ 361669 w 457200"/>
              <a:gd name="connsiteY2" fmla="*/ 215846 h 457200"/>
              <a:gd name="connsiteX3" fmla="*/ 361669 w 457200"/>
              <a:gd name="connsiteY3" fmla="*/ 241353 h 457200"/>
              <a:gd name="connsiteX4" fmla="*/ 277448 w 457200"/>
              <a:gd name="connsiteY4" fmla="*/ 325574 h 457200"/>
              <a:gd name="connsiteX5" fmla="*/ 251941 w 457200"/>
              <a:gd name="connsiteY5" fmla="*/ 325574 h 457200"/>
              <a:gd name="connsiteX6" fmla="*/ 251941 w 457200"/>
              <a:gd name="connsiteY6" fmla="*/ 300067 h 457200"/>
              <a:gd name="connsiteX7" fmla="*/ 305361 w 457200"/>
              <a:gd name="connsiteY7" fmla="*/ 246647 h 457200"/>
              <a:gd name="connsiteX8" fmla="*/ 108284 w 457200"/>
              <a:gd name="connsiteY8" fmla="*/ 246647 h 457200"/>
              <a:gd name="connsiteX9" fmla="*/ 90237 w 457200"/>
              <a:gd name="connsiteY9" fmla="*/ 228600 h 457200"/>
              <a:gd name="connsiteX10" fmla="*/ 108284 w 457200"/>
              <a:gd name="connsiteY10" fmla="*/ 210552 h 457200"/>
              <a:gd name="connsiteX11" fmla="*/ 305361 w 457200"/>
              <a:gd name="connsiteY11" fmla="*/ 210552 h 457200"/>
              <a:gd name="connsiteX12" fmla="*/ 251941 w 457200"/>
              <a:gd name="connsiteY12" fmla="*/ 157132 h 457200"/>
              <a:gd name="connsiteX13" fmla="*/ 252842 w 457200"/>
              <a:gd name="connsiteY13" fmla="*/ 131625 h 457200"/>
              <a:gd name="connsiteX14" fmla="*/ 265145 w 457200"/>
              <a:gd name="connsiteY14" fmla="*/ 126781 h 457200"/>
              <a:gd name="connsiteX15" fmla="*/ 228600 w 457200"/>
              <a:gd name="connsiteY15" fmla="*/ 36095 h 457200"/>
              <a:gd name="connsiteX16" fmla="*/ 36095 w 457200"/>
              <a:gd name="connsiteY16" fmla="*/ 228600 h 457200"/>
              <a:gd name="connsiteX17" fmla="*/ 228600 w 457200"/>
              <a:gd name="connsiteY17" fmla="*/ 421105 h 457200"/>
              <a:gd name="connsiteX18" fmla="*/ 421105 w 457200"/>
              <a:gd name="connsiteY18" fmla="*/ 228600 h 457200"/>
              <a:gd name="connsiteX19" fmla="*/ 228600 w 457200"/>
              <a:gd name="connsiteY19" fmla="*/ 36095 h 457200"/>
              <a:gd name="connsiteX20" fmla="*/ 228600 w 457200"/>
              <a:gd name="connsiteY20" fmla="*/ 0 h 457200"/>
              <a:gd name="connsiteX21" fmla="*/ 457200 w 457200"/>
              <a:gd name="connsiteY21" fmla="*/ 228600 h 457200"/>
              <a:gd name="connsiteX22" fmla="*/ 228600 w 457200"/>
              <a:gd name="connsiteY22" fmla="*/ 457200 h 457200"/>
              <a:gd name="connsiteX23" fmla="*/ 0 w 457200"/>
              <a:gd name="connsiteY23" fmla="*/ 228600 h 457200"/>
              <a:gd name="connsiteX24" fmla="*/ 228600 w 457200"/>
              <a:gd name="connsiteY24" fmla="*/ 0 h 45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457200" h="457200">
                <a:moveTo>
                  <a:pt x="265145" y="126781"/>
                </a:moveTo>
                <a:cubicBezTo>
                  <a:pt x="269564" y="126781"/>
                  <a:pt x="273983" y="128396"/>
                  <a:pt x="277448" y="131625"/>
                </a:cubicBezTo>
                <a:lnTo>
                  <a:pt x="361669" y="215846"/>
                </a:lnTo>
                <a:cubicBezTo>
                  <a:pt x="368706" y="222893"/>
                  <a:pt x="368706" y="234307"/>
                  <a:pt x="361669" y="241353"/>
                </a:cubicBezTo>
                <a:lnTo>
                  <a:pt x="277448" y="325574"/>
                </a:lnTo>
                <a:cubicBezTo>
                  <a:pt x="270402" y="332612"/>
                  <a:pt x="258987" y="332612"/>
                  <a:pt x="251941" y="325574"/>
                </a:cubicBezTo>
                <a:cubicBezTo>
                  <a:pt x="244904" y="318528"/>
                  <a:pt x="244904" y="307114"/>
                  <a:pt x="251941" y="300067"/>
                </a:cubicBezTo>
                <a:lnTo>
                  <a:pt x="305361" y="246647"/>
                </a:lnTo>
                <a:lnTo>
                  <a:pt x="108284" y="246647"/>
                </a:lnTo>
                <a:cubicBezTo>
                  <a:pt x="98317" y="246647"/>
                  <a:pt x="90237" y="238567"/>
                  <a:pt x="90237" y="228600"/>
                </a:cubicBezTo>
                <a:cubicBezTo>
                  <a:pt x="90237" y="218632"/>
                  <a:pt x="98317" y="210552"/>
                  <a:pt x="108284" y="210552"/>
                </a:cubicBezTo>
                <a:lnTo>
                  <a:pt x="305361" y="210552"/>
                </a:lnTo>
                <a:lnTo>
                  <a:pt x="251941" y="157132"/>
                </a:lnTo>
                <a:cubicBezTo>
                  <a:pt x="245146" y="149840"/>
                  <a:pt x="245549" y="138420"/>
                  <a:pt x="252842" y="131625"/>
                </a:cubicBezTo>
                <a:cubicBezTo>
                  <a:pt x="256307" y="128396"/>
                  <a:pt x="260726" y="126781"/>
                  <a:pt x="265145" y="126781"/>
                </a:cubicBezTo>
                <a:close/>
                <a:moveTo>
                  <a:pt x="228600" y="36095"/>
                </a:moveTo>
                <a:cubicBezTo>
                  <a:pt x="122282" y="36095"/>
                  <a:pt x="36095" y="122282"/>
                  <a:pt x="36095" y="228600"/>
                </a:cubicBezTo>
                <a:cubicBezTo>
                  <a:pt x="36095" y="334918"/>
                  <a:pt x="122282" y="421105"/>
                  <a:pt x="228600" y="421105"/>
                </a:cubicBezTo>
                <a:cubicBezTo>
                  <a:pt x="334918" y="421105"/>
                  <a:pt x="421105" y="334918"/>
                  <a:pt x="421105" y="228600"/>
                </a:cubicBezTo>
                <a:cubicBezTo>
                  <a:pt x="421105" y="122282"/>
                  <a:pt x="334918" y="36095"/>
                  <a:pt x="228600" y="36095"/>
                </a:cubicBezTo>
                <a:close/>
                <a:moveTo>
                  <a:pt x="228600" y="0"/>
                </a:moveTo>
                <a:cubicBezTo>
                  <a:pt x="354852" y="0"/>
                  <a:pt x="457200" y="102348"/>
                  <a:pt x="457200" y="228600"/>
                </a:cubicBezTo>
                <a:cubicBezTo>
                  <a:pt x="457200" y="354852"/>
                  <a:pt x="354852" y="457200"/>
                  <a:pt x="228600" y="457200"/>
                </a:cubicBezTo>
                <a:cubicBezTo>
                  <a:pt x="102348" y="457200"/>
                  <a:pt x="0" y="354852"/>
                  <a:pt x="0" y="228600"/>
                </a:cubicBezTo>
                <a:cubicBezTo>
                  <a:pt x="0" y="102348"/>
                  <a:pt x="102348" y="0"/>
                  <a:pt x="228600" y="0"/>
                </a:cubicBezTo>
                <a:close/>
              </a:path>
            </a:pathLst>
          </a:custGeom>
          <a:solidFill>
            <a:schemeClr val="tx1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47" name="Arrow 4">
            <a:extLst>
              <a:ext uri="{FF2B5EF4-FFF2-40B4-BE49-F238E27FC236}">
                <a16:creationId xmlns:a16="http://schemas.microsoft.com/office/drawing/2014/main" id="{C5E0896A-E69D-E7A5-506C-555E57DDB71C}"/>
              </a:ext>
            </a:extLst>
          </p:cNvPr>
          <p:cNvSpPr>
            <a:spLocks noGrp="1" noChangeAspect="1"/>
          </p:cNvSpPr>
          <p:nvPr>
            <p:ph type="body" sz="quarter" idx="116" hasCustomPrompt="1"/>
          </p:nvPr>
        </p:nvSpPr>
        <p:spPr>
          <a:xfrm>
            <a:off x="9074708" y="1906812"/>
            <a:ext cx="360188" cy="360000"/>
          </a:xfrm>
          <a:custGeom>
            <a:avLst/>
            <a:gdLst>
              <a:gd name="connsiteX0" fmla="*/ 265145 w 457200"/>
              <a:gd name="connsiteY0" fmla="*/ 126781 h 457200"/>
              <a:gd name="connsiteX1" fmla="*/ 277448 w 457200"/>
              <a:gd name="connsiteY1" fmla="*/ 131625 h 457200"/>
              <a:gd name="connsiteX2" fmla="*/ 361669 w 457200"/>
              <a:gd name="connsiteY2" fmla="*/ 215846 h 457200"/>
              <a:gd name="connsiteX3" fmla="*/ 361669 w 457200"/>
              <a:gd name="connsiteY3" fmla="*/ 241353 h 457200"/>
              <a:gd name="connsiteX4" fmla="*/ 277448 w 457200"/>
              <a:gd name="connsiteY4" fmla="*/ 325574 h 457200"/>
              <a:gd name="connsiteX5" fmla="*/ 251941 w 457200"/>
              <a:gd name="connsiteY5" fmla="*/ 325574 h 457200"/>
              <a:gd name="connsiteX6" fmla="*/ 251941 w 457200"/>
              <a:gd name="connsiteY6" fmla="*/ 300067 h 457200"/>
              <a:gd name="connsiteX7" fmla="*/ 305361 w 457200"/>
              <a:gd name="connsiteY7" fmla="*/ 246647 h 457200"/>
              <a:gd name="connsiteX8" fmla="*/ 108284 w 457200"/>
              <a:gd name="connsiteY8" fmla="*/ 246647 h 457200"/>
              <a:gd name="connsiteX9" fmla="*/ 90237 w 457200"/>
              <a:gd name="connsiteY9" fmla="*/ 228600 h 457200"/>
              <a:gd name="connsiteX10" fmla="*/ 108284 w 457200"/>
              <a:gd name="connsiteY10" fmla="*/ 210552 h 457200"/>
              <a:gd name="connsiteX11" fmla="*/ 305361 w 457200"/>
              <a:gd name="connsiteY11" fmla="*/ 210552 h 457200"/>
              <a:gd name="connsiteX12" fmla="*/ 251941 w 457200"/>
              <a:gd name="connsiteY12" fmla="*/ 157132 h 457200"/>
              <a:gd name="connsiteX13" fmla="*/ 252842 w 457200"/>
              <a:gd name="connsiteY13" fmla="*/ 131625 h 457200"/>
              <a:gd name="connsiteX14" fmla="*/ 265145 w 457200"/>
              <a:gd name="connsiteY14" fmla="*/ 126781 h 457200"/>
              <a:gd name="connsiteX15" fmla="*/ 228600 w 457200"/>
              <a:gd name="connsiteY15" fmla="*/ 36095 h 457200"/>
              <a:gd name="connsiteX16" fmla="*/ 36095 w 457200"/>
              <a:gd name="connsiteY16" fmla="*/ 228600 h 457200"/>
              <a:gd name="connsiteX17" fmla="*/ 228600 w 457200"/>
              <a:gd name="connsiteY17" fmla="*/ 421105 h 457200"/>
              <a:gd name="connsiteX18" fmla="*/ 421105 w 457200"/>
              <a:gd name="connsiteY18" fmla="*/ 228600 h 457200"/>
              <a:gd name="connsiteX19" fmla="*/ 228600 w 457200"/>
              <a:gd name="connsiteY19" fmla="*/ 36095 h 457200"/>
              <a:gd name="connsiteX20" fmla="*/ 228600 w 457200"/>
              <a:gd name="connsiteY20" fmla="*/ 0 h 457200"/>
              <a:gd name="connsiteX21" fmla="*/ 457200 w 457200"/>
              <a:gd name="connsiteY21" fmla="*/ 228600 h 457200"/>
              <a:gd name="connsiteX22" fmla="*/ 228600 w 457200"/>
              <a:gd name="connsiteY22" fmla="*/ 457200 h 457200"/>
              <a:gd name="connsiteX23" fmla="*/ 0 w 457200"/>
              <a:gd name="connsiteY23" fmla="*/ 228600 h 457200"/>
              <a:gd name="connsiteX24" fmla="*/ 228600 w 457200"/>
              <a:gd name="connsiteY24" fmla="*/ 0 h 45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457200" h="457200">
                <a:moveTo>
                  <a:pt x="265145" y="126781"/>
                </a:moveTo>
                <a:cubicBezTo>
                  <a:pt x="269564" y="126781"/>
                  <a:pt x="273983" y="128396"/>
                  <a:pt x="277448" y="131625"/>
                </a:cubicBezTo>
                <a:lnTo>
                  <a:pt x="361669" y="215846"/>
                </a:lnTo>
                <a:cubicBezTo>
                  <a:pt x="368706" y="222893"/>
                  <a:pt x="368706" y="234307"/>
                  <a:pt x="361669" y="241353"/>
                </a:cubicBezTo>
                <a:lnTo>
                  <a:pt x="277448" y="325574"/>
                </a:lnTo>
                <a:cubicBezTo>
                  <a:pt x="270402" y="332612"/>
                  <a:pt x="258987" y="332612"/>
                  <a:pt x="251941" y="325574"/>
                </a:cubicBezTo>
                <a:cubicBezTo>
                  <a:pt x="244904" y="318528"/>
                  <a:pt x="244904" y="307114"/>
                  <a:pt x="251941" y="300067"/>
                </a:cubicBezTo>
                <a:lnTo>
                  <a:pt x="305361" y="246647"/>
                </a:lnTo>
                <a:lnTo>
                  <a:pt x="108284" y="246647"/>
                </a:lnTo>
                <a:cubicBezTo>
                  <a:pt x="98317" y="246647"/>
                  <a:pt x="90237" y="238567"/>
                  <a:pt x="90237" y="228600"/>
                </a:cubicBezTo>
                <a:cubicBezTo>
                  <a:pt x="90237" y="218632"/>
                  <a:pt x="98317" y="210552"/>
                  <a:pt x="108284" y="210552"/>
                </a:cubicBezTo>
                <a:lnTo>
                  <a:pt x="305361" y="210552"/>
                </a:lnTo>
                <a:lnTo>
                  <a:pt x="251941" y="157132"/>
                </a:lnTo>
                <a:cubicBezTo>
                  <a:pt x="245146" y="149840"/>
                  <a:pt x="245549" y="138420"/>
                  <a:pt x="252842" y="131625"/>
                </a:cubicBezTo>
                <a:cubicBezTo>
                  <a:pt x="256307" y="128396"/>
                  <a:pt x="260726" y="126781"/>
                  <a:pt x="265145" y="126781"/>
                </a:cubicBezTo>
                <a:close/>
                <a:moveTo>
                  <a:pt x="228600" y="36095"/>
                </a:moveTo>
                <a:cubicBezTo>
                  <a:pt x="122282" y="36095"/>
                  <a:pt x="36095" y="122282"/>
                  <a:pt x="36095" y="228600"/>
                </a:cubicBezTo>
                <a:cubicBezTo>
                  <a:pt x="36095" y="334918"/>
                  <a:pt x="122282" y="421105"/>
                  <a:pt x="228600" y="421105"/>
                </a:cubicBezTo>
                <a:cubicBezTo>
                  <a:pt x="334918" y="421105"/>
                  <a:pt x="421105" y="334918"/>
                  <a:pt x="421105" y="228600"/>
                </a:cubicBezTo>
                <a:cubicBezTo>
                  <a:pt x="421105" y="122282"/>
                  <a:pt x="334918" y="36095"/>
                  <a:pt x="228600" y="36095"/>
                </a:cubicBezTo>
                <a:close/>
                <a:moveTo>
                  <a:pt x="228600" y="0"/>
                </a:moveTo>
                <a:cubicBezTo>
                  <a:pt x="354852" y="0"/>
                  <a:pt x="457200" y="102348"/>
                  <a:pt x="457200" y="228600"/>
                </a:cubicBezTo>
                <a:cubicBezTo>
                  <a:pt x="457200" y="354852"/>
                  <a:pt x="354852" y="457200"/>
                  <a:pt x="228600" y="457200"/>
                </a:cubicBezTo>
                <a:cubicBezTo>
                  <a:pt x="102348" y="457200"/>
                  <a:pt x="0" y="354852"/>
                  <a:pt x="0" y="228600"/>
                </a:cubicBezTo>
                <a:cubicBezTo>
                  <a:pt x="0" y="102348"/>
                  <a:pt x="102348" y="0"/>
                  <a:pt x="228600" y="0"/>
                </a:cubicBezTo>
                <a:close/>
              </a:path>
            </a:pathLst>
          </a:custGeom>
          <a:solidFill>
            <a:schemeClr val="tx1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49" name="Arrow 5">
            <a:extLst>
              <a:ext uri="{FF2B5EF4-FFF2-40B4-BE49-F238E27FC236}">
                <a16:creationId xmlns:a16="http://schemas.microsoft.com/office/drawing/2014/main" id="{9DA9D448-D148-4785-47AB-5CA19231C82B}"/>
              </a:ext>
            </a:extLst>
          </p:cNvPr>
          <p:cNvSpPr>
            <a:spLocks noGrp="1" noChangeAspect="1"/>
          </p:cNvSpPr>
          <p:nvPr>
            <p:ph type="body" sz="quarter" idx="118" hasCustomPrompt="1"/>
          </p:nvPr>
        </p:nvSpPr>
        <p:spPr>
          <a:xfrm>
            <a:off x="11465792" y="1906812"/>
            <a:ext cx="360188" cy="360000"/>
          </a:xfrm>
          <a:custGeom>
            <a:avLst/>
            <a:gdLst>
              <a:gd name="connsiteX0" fmla="*/ 265145 w 457200"/>
              <a:gd name="connsiteY0" fmla="*/ 126781 h 457200"/>
              <a:gd name="connsiteX1" fmla="*/ 277448 w 457200"/>
              <a:gd name="connsiteY1" fmla="*/ 131625 h 457200"/>
              <a:gd name="connsiteX2" fmla="*/ 361669 w 457200"/>
              <a:gd name="connsiteY2" fmla="*/ 215846 h 457200"/>
              <a:gd name="connsiteX3" fmla="*/ 361669 w 457200"/>
              <a:gd name="connsiteY3" fmla="*/ 241353 h 457200"/>
              <a:gd name="connsiteX4" fmla="*/ 277448 w 457200"/>
              <a:gd name="connsiteY4" fmla="*/ 325574 h 457200"/>
              <a:gd name="connsiteX5" fmla="*/ 251941 w 457200"/>
              <a:gd name="connsiteY5" fmla="*/ 325574 h 457200"/>
              <a:gd name="connsiteX6" fmla="*/ 251941 w 457200"/>
              <a:gd name="connsiteY6" fmla="*/ 300067 h 457200"/>
              <a:gd name="connsiteX7" fmla="*/ 305361 w 457200"/>
              <a:gd name="connsiteY7" fmla="*/ 246647 h 457200"/>
              <a:gd name="connsiteX8" fmla="*/ 108284 w 457200"/>
              <a:gd name="connsiteY8" fmla="*/ 246647 h 457200"/>
              <a:gd name="connsiteX9" fmla="*/ 90237 w 457200"/>
              <a:gd name="connsiteY9" fmla="*/ 228600 h 457200"/>
              <a:gd name="connsiteX10" fmla="*/ 108284 w 457200"/>
              <a:gd name="connsiteY10" fmla="*/ 210552 h 457200"/>
              <a:gd name="connsiteX11" fmla="*/ 305361 w 457200"/>
              <a:gd name="connsiteY11" fmla="*/ 210552 h 457200"/>
              <a:gd name="connsiteX12" fmla="*/ 251941 w 457200"/>
              <a:gd name="connsiteY12" fmla="*/ 157132 h 457200"/>
              <a:gd name="connsiteX13" fmla="*/ 252842 w 457200"/>
              <a:gd name="connsiteY13" fmla="*/ 131625 h 457200"/>
              <a:gd name="connsiteX14" fmla="*/ 265145 w 457200"/>
              <a:gd name="connsiteY14" fmla="*/ 126781 h 457200"/>
              <a:gd name="connsiteX15" fmla="*/ 228600 w 457200"/>
              <a:gd name="connsiteY15" fmla="*/ 36095 h 457200"/>
              <a:gd name="connsiteX16" fmla="*/ 36095 w 457200"/>
              <a:gd name="connsiteY16" fmla="*/ 228600 h 457200"/>
              <a:gd name="connsiteX17" fmla="*/ 228600 w 457200"/>
              <a:gd name="connsiteY17" fmla="*/ 421105 h 457200"/>
              <a:gd name="connsiteX18" fmla="*/ 421105 w 457200"/>
              <a:gd name="connsiteY18" fmla="*/ 228600 h 457200"/>
              <a:gd name="connsiteX19" fmla="*/ 228600 w 457200"/>
              <a:gd name="connsiteY19" fmla="*/ 36095 h 457200"/>
              <a:gd name="connsiteX20" fmla="*/ 228600 w 457200"/>
              <a:gd name="connsiteY20" fmla="*/ 0 h 457200"/>
              <a:gd name="connsiteX21" fmla="*/ 457200 w 457200"/>
              <a:gd name="connsiteY21" fmla="*/ 228600 h 457200"/>
              <a:gd name="connsiteX22" fmla="*/ 228600 w 457200"/>
              <a:gd name="connsiteY22" fmla="*/ 457200 h 457200"/>
              <a:gd name="connsiteX23" fmla="*/ 0 w 457200"/>
              <a:gd name="connsiteY23" fmla="*/ 228600 h 457200"/>
              <a:gd name="connsiteX24" fmla="*/ 228600 w 457200"/>
              <a:gd name="connsiteY24" fmla="*/ 0 h 45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457200" h="457200">
                <a:moveTo>
                  <a:pt x="265145" y="126781"/>
                </a:moveTo>
                <a:cubicBezTo>
                  <a:pt x="269564" y="126781"/>
                  <a:pt x="273983" y="128396"/>
                  <a:pt x="277448" y="131625"/>
                </a:cubicBezTo>
                <a:lnTo>
                  <a:pt x="361669" y="215846"/>
                </a:lnTo>
                <a:cubicBezTo>
                  <a:pt x="368706" y="222893"/>
                  <a:pt x="368706" y="234307"/>
                  <a:pt x="361669" y="241353"/>
                </a:cubicBezTo>
                <a:lnTo>
                  <a:pt x="277448" y="325574"/>
                </a:lnTo>
                <a:cubicBezTo>
                  <a:pt x="270402" y="332612"/>
                  <a:pt x="258987" y="332612"/>
                  <a:pt x="251941" y="325574"/>
                </a:cubicBezTo>
                <a:cubicBezTo>
                  <a:pt x="244904" y="318528"/>
                  <a:pt x="244904" y="307114"/>
                  <a:pt x="251941" y="300067"/>
                </a:cubicBezTo>
                <a:lnTo>
                  <a:pt x="305361" y="246647"/>
                </a:lnTo>
                <a:lnTo>
                  <a:pt x="108284" y="246647"/>
                </a:lnTo>
                <a:cubicBezTo>
                  <a:pt x="98317" y="246647"/>
                  <a:pt x="90237" y="238567"/>
                  <a:pt x="90237" y="228600"/>
                </a:cubicBezTo>
                <a:cubicBezTo>
                  <a:pt x="90237" y="218632"/>
                  <a:pt x="98317" y="210552"/>
                  <a:pt x="108284" y="210552"/>
                </a:cubicBezTo>
                <a:lnTo>
                  <a:pt x="305361" y="210552"/>
                </a:lnTo>
                <a:lnTo>
                  <a:pt x="251941" y="157132"/>
                </a:lnTo>
                <a:cubicBezTo>
                  <a:pt x="245146" y="149840"/>
                  <a:pt x="245549" y="138420"/>
                  <a:pt x="252842" y="131625"/>
                </a:cubicBezTo>
                <a:cubicBezTo>
                  <a:pt x="256307" y="128396"/>
                  <a:pt x="260726" y="126781"/>
                  <a:pt x="265145" y="126781"/>
                </a:cubicBezTo>
                <a:close/>
                <a:moveTo>
                  <a:pt x="228600" y="36095"/>
                </a:moveTo>
                <a:cubicBezTo>
                  <a:pt x="122282" y="36095"/>
                  <a:pt x="36095" y="122282"/>
                  <a:pt x="36095" y="228600"/>
                </a:cubicBezTo>
                <a:cubicBezTo>
                  <a:pt x="36095" y="334918"/>
                  <a:pt x="122282" y="421105"/>
                  <a:pt x="228600" y="421105"/>
                </a:cubicBezTo>
                <a:cubicBezTo>
                  <a:pt x="334918" y="421105"/>
                  <a:pt x="421105" y="334918"/>
                  <a:pt x="421105" y="228600"/>
                </a:cubicBezTo>
                <a:cubicBezTo>
                  <a:pt x="421105" y="122282"/>
                  <a:pt x="334918" y="36095"/>
                  <a:pt x="228600" y="36095"/>
                </a:cubicBezTo>
                <a:close/>
                <a:moveTo>
                  <a:pt x="228600" y="0"/>
                </a:moveTo>
                <a:cubicBezTo>
                  <a:pt x="354852" y="0"/>
                  <a:pt x="457200" y="102348"/>
                  <a:pt x="457200" y="228600"/>
                </a:cubicBezTo>
                <a:cubicBezTo>
                  <a:pt x="457200" y="354852"/>
                  <a:pt x="354852" y="457200"/>
                  <a:pt x="228600" y="457200"/>
                </a:cubicBezTo>
                <a:cubicBezTo>
                  <a:pt x="102348" y="457200"/>
                  <a:pt x="0" y="354852"/>
                  <a:pt x="0" y="228600"/>
                </a:cubicBezTo>
                <a:cubicBezTo>
                  <a:pt x="0" y="102348"/>
                  <a:pt x="102348" y="0"/>
                  <a:pt x="228600" y="0"/>
                </a:cubicBezTo>
                <a:close/>
              </a:path>
            </a:pathLst>
          </a:custGeom>
          <a:solidFill>
            <a:schemeClr val="tx1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73672473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697C43D-4F1B-43DA-A0C6-DA6B6708E16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2800" y="2851522"/>
            <a:ext cx="4447800" cy="1202318"/>
          </a:xfrm>
        </p:spPr>
        <p:txBody>
          <a:bodyPr vert="horz" lIns="0" tIns="0" rIns="0" bIns="0" rtlCol="0" anchor="ctr" anchorCtr="0">
            <a:noAutofit/>
          </a:bodyPr>
          <a:lstStyle>
            <a:lvl1pPr marL="0" indent="0">
              <a:buNone/>
              <a:defRPr kumimoji="0" lang="en-IN" sz="3598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 panose="02000506000000020004" pitchFamily="2" charset="0"/>
                <a:ea typeface="+mj-ea"/>
                <a:cs typeface="+mj-cs"/>
              </a:defRPr>
            </a:lvl1pPr>
          </a:lstStyle>
          <a:p>
            <a:pPr marL="356438" marR="0" lvl="0" indent="-356438" defTabSz="1007383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Chapter Title</a:t>
            </a:r>
            <a:endParaRPr lang="en-IN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AB04F4-59F4-4102-9BBD-DB62B48E184D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Presentation tit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499AB0A-887B-46B8-BA72-781970F002C7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730265769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duct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background">
            <a:extLst>
              <a:ext uri="{FF2B5EF4-FFF2-40B4-BE49-F238E27FC236}">
                <a16:creationId xmlns:a16="http://schemas.microsoft.com/office/drawing/2014/main" id="{3E7A4E14-9343-70D5-7333-816CDBB4BC2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white">
          <a:xfrm>
            <a:off x="0" y="0"/>
            <a:ext cx="12198350" cy="6858000"/>
          </a:xfrm>
          <a:solidFill>
            <a:srgbClr val="ECE8DD"/>
          </a:solidFill>
          <a:ln>
            <a:noFill/>
          </a:ln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8" name="Picture Placeholder 3">
            <a:extLst>
              <a:ext uri="{FF2B5EF4-FFF2-40B4-BE49-F238E27FC236}">
                <a16:creationId xmlns:a16="http://schemas.microsoft.com/office/drawing/2014/main" id="{4588A9F5-D4E3-863A-AD79-4169B0AA3C5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58962" y="1008000"/>
            <a:ext cx="3583866" cy="3600000"/>
          </a:xfrm>
          <a:solidFill>
            <a:schemeClr val="bg1"/>
          </a:solidFill>
        </p:spPr>
        <p:txBody>
          <a:bodyPr lIns="0" tIns="648000" anchor="ctr" anchorCtr="0"/>
          <a:lstStyle>
            <a:lvl1pPr marL="0" indent="0" algn="ctr">
              <a:buNone/>
              <a:defRPr sz="1200"/>
            </a:lvl1pPr>
          </a:lstStyle>
          <a:p>
            <a:r>
              <a:rPr lang="en-GB" noProof="0" dirty="0"/>
              <a:t>Click to add picture</a:t>
            </a:r>
          </a:p>
        </p:txBody>
      </p:sp>
      <p:sp>
        <p:nvSpPr>
          <p:cNvPr id="9" name="Picture Placeholder 5">
            <a:extLst>
              <a:ext uri="{FF2B5EF4-FFF2-40B4-BE49-F238E27FC236}">
                <a16:creationId xmlns:a16="http://schemas.microsoft.com/office/drawing/2014/main" id="{32794DB5-03B7-15EE-23F5-32CD609562A1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8251458" y="1008000"/>
            <a:ext cx="3583866" cy="36000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10" name="Picture Placeholder 13">
            <a:extLst>
              <a:ext uri="{FF2B5EF4-FFF2-40B4-BE49-F238E27FC236}">
                <a16:creationId xmlns:a16="http://schemas.microsoft.com/office/drawing/2014/main" id="{494EA6BC-8AA0-4E12-4312-96E31C14E8D6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4304466" y="1008000"/>
            <a:ext cx="3583866" cy="36000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65FF8577-4EB2-E635-DA3B-9A998A4C61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187" y="360000"/>
            <a:ext cx="11475574" cy="262646"/>
          </a:xfrm>
        </p:spPr>
        <p:txBody>
          <a:bodyPr/>
          <a:lstStyle>
            <a:lvl1pPr>
              <a:defRPr sz="1800"/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17" name="Subtitle 2">
            <a:extLst>
              <a:ext uri="{FF2B5EF4-FFF2-40B4-BE49-F238E27FC236}">
                <a16:creationId xmlns:a16="http://schemas.microsoft.com/office/drawing/2014/main" id="{6180523F-83B5-7EA0-2A21-4562B7DD996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0187" y="626324"/>
            <a:ext cx="11475574" cy="216000"/>
          </a:xfrm>
        </p:spPr>
        <p:txBody>
          <a:bodyPr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1200" cap="all" baseline="0"/>
            </a:lvl1pPr>
            <a:lvl2pPr marL="0" indent="0" algn="l">
              <a:buFont typeface="Arial" panose="020B0604020202020204" pitchFamily="34" charset="0"/>
              <a:buChar char="​"/>
              <a:defRPr sz="2000"/>
            </a:lvl2pPr>
            <a:lvl3pPr marL="0" indent="0" algn="l">
              <a:buFont typeface="Arial" panose="020B0604020202020204" pitchFamily="34" charset="0"/>
              <a:buChar char="​"/>
              <a:defRPr sz="2000"/>
            </a:lvl3pPr>
            <a:lvl4pPr marL="0" indent="0" algn="l">
              <a:buFont typeface="Arial" panose="020B0604020202020204" pitchFamily="34" charset="0"/>
              <a:buChar char="​"/>
              <a:defRPr sz="2000"/>
            </a:lvl4pPr>
            <a:lvl5pPr marL="0" indent="0" algn="l">
              <a:buFont typeface="Arial" panose="020B0604020202020204" pitchFamily="34" charset="0"/>
              <a:buChar char="​"/>
              <a:defRPr sz="2000"/>
            </a:lvl5pPr>
            <a:lvl6pPr marL="0" indent="0" algn="l">
              <a:buFont typeface="Arial" panose="020B0604020202020204" pitchFamily="34" charset="0"/>
              <a:buChar char="​"/>
              <a:defRPr sz="2000"/>
            </a:lvl6pPr>
            <a:lvl7pPr marL="0" indent="0" algn="l">
              <a:buFont typeface="Arial" panose="020B0604020202020204" pitchFamily="34" charset="0"/>
              <a:buChar char="​"/>
              <a:defRPr sz="2000"/>
            </a:lvl7pPr>
            <a:lvl8pPr marL="0" indent="0" algn="l">
              <a:buFont typeface="Arial" panose="020B0604020202020204" pitchFamily="34" charset="0"/>
              <a:buChar char="​"/>
              <a:defRPr sz="2000"/>
            </a:lvl8pPr>
            <a:lvl9pPr marL="0" indent="0" algn="l"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13" name="Text Placeholder 1">
            <a:extLst>
              <a:ext uri="{FF2B5EF4-FFF2-40B4-BE49-F238E27FC236}">
                <a16:creationId xmlns:a16="http://schemas.microsoft.com/office/drawing/2014/main" id="{B045606D-3662-25DD-A100-CD9986AA8471}"/>
              </a:ext>
            </a:extLst>
          </p:cNvPr>
          <p:cNvSpPr>
            <a:spLocks noGrp="1"/>
          </p:cNvSpPr>
          <p:nvPr>
            <p:ph type="body" sz="quarter" idx="103" hasCustomPrompt="1"/>
          </p:nvPr>
        </p:nvSpPr>
        <p:spPr>
          <a:xfrm>
            <a:off x="358962" y="4662000"/>
            <a:ext cx="1613640" cy="223200"/>
          </a:xfrm>
        </p:spPr>
        <p:txBody>
          <a:bodyPr tIns="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latin typeface="+mn-lt"/>
              </a:defRPr>
            </a:lvl3pPr>
            <a:lvl4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latin typeface="+mn-lt"/>
              </a:defRPr>
            </a:lvl4pPr>
            <a:lvl5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>
                <a:latin typeface="+mn-lt"/>
              </a:defRPr>
            </a:lvl9pPr>
          </a:lstStyle>
          <a:p>
            <a:pPr lvl="0"/>
            <a:r>
              <a:rPr lang="en-GB" noProof="0" dirty="0"/>
              <a:t>Click to add text</a:t>
            </a:r>
            <a:endParaRPr lang="en-GB" dirty="0"/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180F5D15-6B93-6530-8161-E95A1587CD07}"/>
              </a:ext>
            </a:extLst>
          </p:cNvPr>
          <p:cNvSpPr>
            <a:spLocks noGrp="1"/>
          </p:cNvSpPr>
          <p:nvPr>
            <p:ph type="body" sz="quarter" idx="104" hasCustomPrompt="1"/>
          </p:nvPr>
        </p:nvSpPr>
        <p:spPr>
          <a:xfrm>
            <a:off x="4304466" y="4662000"/>
            <a:ext cx="1613640" cy="223200"/>
          </a:xfrm>
        </p:spPr>
        <p:txBody>
          <a:bodyPr tIns="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latin typeface="+mn-lt"/>
              </a:defRPr>
            </a:lvl3pPr>
            <a:lvl4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latin typeface="+mn-lt"/>
              </a:defRPr>
            </a:lvl4pPr>
            <a:lvl5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>
                <a:latin typeface="+mn-lt"/>
              </a:defRPr>
            </a:lvl9pPr>
          </a:lstStyle>
          <a:p>
            <a:pPr lvl="0"/>
            <a:r>
              <a:rPr lang="en-GB" noProof="0" dirty="0"/>
              <a:t>Click to add text</a:t>
            </a:r>
            <a:endParaRPr lang="en-GB" dirty="0"/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CD3936CC-DF30-030E-1F6A-5057D1827339}"/>
              </a:ext>
            </a:extLst>
          </p:cNvPr>
          <p:cNvSpPr>
            <a:spLocks noGrp="1"/>
          </p:cNvSpPr>
          <p:nvPr>
            <p:ph type="body" sz="quarter" idx="105" hasCustomPrompt="1"/>
          </p:nvPr>
        </p:nvSpPr>
        <p:spPr>
          <a:xfrm>
            <a:off x="8251458" y="4662000"/>
            <a:ext cx="1613640" cy="223200"/>
          </a:xfrm>
        </p:spPr>
        <p:txBody>
          <a:bodyPr tIns="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latin typeface="+mn-lt"/>
              </a:defRPr>
            </a:lvl3pPr>
            <a:lvl4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latin typeface="+mn-lt"/>
              </a:defRPr>
            </a:lvl4pPr>
            <a:lvl5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>
                <a:latin typeface="+mn-lt"/>
              </a:defRPr>
            </a:lvl9pPr>
          </a:lstStyle>
          <a:p>
            <a:pPr lvl="0"/>
            <a:r>
              <a:rPr lang="en-GB" noProof="0" dirty="0"/>
              <a:t>Click to add text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07C2A6-D681-5520-E227-7A3E04566B3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527A44-AA1D-4BA1-AA93-32475F9E9A8F}" type="datetime4">
              <a:rPr lang="en-GB" smtClean="0"/>
              <a:pPr/>
              <a:t>14 March 2025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88620F9-5813-ACB3-3C4E-C4AEFB22D88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Muuto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2A20AD0-D5C5-99B1-8659-C15A769753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9" name="Text Placeholder 5">
            <a:extLst>
              <a:ext uri="{FF2B5EF4-FFF2-40B4-BE49-F238E27FC236}">
                <a16:creationId xmlns:a16="http://schemas.microsoft.com/office/drawing/2014/main" id="{C51B953D-45D0-39A9-54AF-68923D7640C8}"/>
              </a:ext>
            </a:extLst>
          </p:cNvPr>
          <p:cNvSpPr>
            <a:spLocks noGrp="1"/>
          </p:cNvSpPr>
          <p:nvPr>
            <p:ph type="body" sz="quarter" idx="107" hasCustomPrompt="1"/>
          </p:nvPr>
        </p:nvSpPr>
        <p:spPr>
          <a:xfrm>
            <a:off x="8251359" y="5131837"/>
            <a:ext cx="3586904" cy="1366163"/>
          </a:xfrm>
        </p:spPr>
        <p:txBody>
          <a:bodyPr tIns="0" anchor="b" anchorCtr="0"/>
          <a:lstStyle>
            <a:lvl1pPr marL="0" indent="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200" cap="all">
                <a:latin typeface="+mn-lt"/>
              </a:defRPr>
            </a:lvl1pPr>
            <a:lvl2pPr marL="0" indent="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200" cap="all">
                <a:latin typeface="+mn-lt"/>
              </a:defRPr>
            </a:lvl2pPr>
            <a:lvl3pPr marL="0" indent="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200" cap="all">
                <a:latin typeface="+mn-lt"/>
              </a:defRPr>
            </a:lvl3pPr>
            <a:lvl4pPr marL="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>
                <a:latin typeface="+mn-lt"/>
              </a:defRPr>
            </a:lvl4pPr>
            <a:lvl5pPr marL="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200" cap="all">
                <a:latin typeface="+mn-lt"/>
              </a:defRPr>
            </a:lvl5pPr>
            <a:lvl6pPr marL="0" indent="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200" cap="all">
                <a:latin typeface="+mn-lt"/>
              </a:defRPr>
            </a:lvl6pPr>
            <a:lvl7pPr marL="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>
                <a:latin typeface="+mn-lt"/>
              </a:defRPr>
            </a:lvl7pPr>
            <a:lvl8pPr marL="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200" cap="all">
                <a:latin typeface="+mn-lt"/>
              </a:defRPr>
            </a:lvl8pPr>
            <a:lvl9pPr marL="0" indent="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cap="all">
                <a:latin typeface="+mn-lt"/>
              </a:defRPr>
            </a:lvl9pPr>
          </a:lstStyle>
          <a:p>
            <a:pPr marL="171450" marR="0" lvl="0" indent="-17145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tabLst/>
              <a:defRPr/>
            </a:pPr>
            <a:r>
              <a:rPr lang="en-GB" dirty="0"/>
              <a:t>Click to add Price overview</a:t>
            </a:r>
          </a:p>
        </p:txBody>
      </p:sp>
    </p:spTree>
    <p:extLst>
      <p:ext uri="{BB962C8B-B14F-4D97-AF65-F5344CB8AC3E}">
        <p14:creationId xmlns:p14="http://schemas.microsoft.com/office/powerpoint/2010/main" val="264210564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duct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background">
            <a:extLst>
              <a:ext uri="{FF2B5EF4-FFF2-40B4-BE49-F238E27FC236}">
                <a16:creationId xmlns:a16="http://schemas.microsoft.com/office/drawing/2014/main" id="{3E7A4E14-9343-70D5-7333-816CDBB4BC2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white">
          <a:xfrm>
            <a:off x="0" y="0"/>
            <a:ext cx="12198350" cy="6858000"/>
          </a:xfrm>
          <a:solidFill>
            <a:srgbClr val="ECE8DD"/>
          </a:solidFill>
          <a:ln>
            <a:noFill/>
          </a:ln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8" name="Picture Placeholder 3">
            <a:extLst>
              <a:ext uri="{FF2B5EF4-FFF2-40B4-BE49-F238E27FC236}">
                <a16:creationId xmlns:a16="http://schemas.microsoft.com/office/drawing/2014/main" id="{4588A9F5-D4E3-863A-AD79-4169B0AA3C5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58962" y="1008000"/>
            <a:ext cx="2593350" cy="2592000"/>
          </a:xfrm>
          <a:solidFill>
            <a:schemeClr val="bg1"/>
          </a:solidFill>
        </p:spPr>
        <p:txBody>
          <a:bodyPr lIns="0" tIns="648000" anchor="ctr" anchorCtr="0"/>
          <a:lstStyle>
            <a:lvl1pPr marL="0" indent="0" algn="ctr">
              <a:buNone/>
              <a:defRPr sz="1200"/>
            </a:lvl1pPr>
          </a:lstStyle>
          <a:p>
            <a:r>
              <a:rPr lang="en-GB" noProof="0" dirty="0"/>
              <a:t>Click to add picture</a:t>
            </a:r>
          </a:p>
        </p:txBody>
      </p:sp>
      <p:sp>
        <p:nvSpPr>
          <p:cNvPr id="9" name="Picture Placeholder 5">
            <a:extLst>
              <a:ext uri="{FF2B5EF4-FFF2-40B4-BE49-F238E27FC236}">
                <a16:creationId xmlns:a16="http://schemas.microsoft.com/office/drawing/2014/main" id="{32794DB5-03B7-15EE-23F5-32CD609562A1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6279269" y="1008000"/>
            <a:ext cx="2593350" cy="25920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10" name="Picture Placeholder 13">
            <a:extLst>
              <a:ext uri="{FF2B5EF4-FFF2-40B4-BE49-F238E27FC236}">
                <a16:creationId xmlns:a16="http://schemas.microsoft.com/office/drawing/2014/main" id="{494EA6BC-8AA0-4E12-4312-96E31C14E8D6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3319728" y="1008000"/>
            <a:ext cx="2593350" cy="25920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11" name="Picture Placeholder 5">
            <a:extLst>
              <a:ext uri="{FF2B5EF4-FFF2-40B4-BE49-F238E27FC236}">
                <a16:creationId xmlns:a16="http://schemas.microsoft.com/office/drawing/2014/main" id="{F33A5B6B-6CFA-D154-76D5-CE9D03183DA6}"/>
              </a:ext>
            </a:extLst>
          </p:cNvPr>
          <p:cNvSpPr>
            <a:spLocks noGrp="1"/>
          </p:cNvSpPr>
          <p:nvPr>
            <p:ph type="pic" sz="quarter" idx="102" hasCustomPrompt="1"/>
          </p:nvPr>
        </p:nvSpPr>
        <p:spPr>
          <a:xfrm>
            <a:off x="9238809" y="1008000"/>
            <a:ext cx="2593350" cy="25920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65FF8577-4EB2-E635-DA3B-9A998A4C61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187" y="360000"/>
            <a:ext cx="11475574" cy="262646"/>
          </a:xfrm>
        </p:spPr>
        <p:txBody>
          <a:bodyPr/>
          <a:lstStyle>
            <a:lvl1pPr>
              <a:defRPr sz="1800"/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17" name="Subtitle 2">
            <a:extLst>
              <a:ext uri="{FF2B5EF4-FFF2-40B4-BE49-F238E27FC236}">
                <a16:creationId xmlns:a16="http://schemas.microsoft.com/office/drawing/2014/main" id="{6180523F-83B5-7EA0-2A21-4562B7DD996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0187" y="626324"/>
            <a:ext cx="11475574" cy="216000"/>
          </a:xfrm>
        </p:spPr>
        <p:txBody>
          <a:bodyPr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1200" cap="all" baseline="0"/>
            </a:lvl1pPr>
            <a:lvl2pPr marL="0" indent="0" algn="l">
              <a:buFont typeface="Arial" panose="020B0604020202020204" pitchFamily="34" charset="0"/>
              <a:buChar char="​"/>
              <a:defRPr sz="2000"/>
            </a:lvl2pPr>
            <a:lvl3pPr marL="0" indent="0" algn="l">
              <a:buFont typeface="Arial" panose="020B0604020202020204" pitchFamily="34" charset="0"/>
              <a:buChar char="​"/>
              <a:defRPr sz="2000"/>
            </a:lvl3pPr>
            <a:lvl4pPr marL="0" indent="0" algn="l">
              <a:buFont typeface="Arial" panose="020B0604020202020204" pitchFamily="34" charset="0"/>
              <a:buChar char="​"/>
              <a:defRPr sz="2000"/>
            </a:lvl4pPr>
            <a:lvl5pPr marL="0" indent="0" algn="l">
              <a:buFont typeface="Arial" panose="020B0604020202020204" pitchFamily="34" charset="0"/>
              <a:buChar char="​"/>
              <a:defRPr sz="2000"/>
            </a:lvl5pPr>
            <a:lvl6pPr marL="0" indent="0" algn="l">
              <a:buFont typeface="Arial" panose="020B0604020202020204" pitchFamily="34" charset="0"/>
              <a:buChar char="​"/>
              <a:defRPr sz="2000"/>
            </a:lvl6pPr>
            <a:lvl7pPr marL="0" indent="0" algn="l">
              <a:buFont typeface="Arial" panose="020B0604020202020204" pitchFamily="34" charset="0"/>
              <a:buChar char="​"/>
              <a:defRPr sz="2000"/>
            </a:lvl7pPr>
            <a:lvl8pPr marL="0" indent="0" algn="l">
              <a:buFont typeface="Arial" panose="020B0604020202020204" pitchFamily="34" charset="0"/>
              <a:buChar char="​"/>
              <a:defRPr sz="2000"/>
            </a:lvl8pPr>
            <a:lvl9pPr marL="0" indent="0" algn="l"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13" name="Text Placeholder 1">
            <a:extLst>
              <a:ext uri="{FF2B5EF4-FFF2-40B4-BE49-F238E27FC236}">
                <a16:creationId xmlns:a16="http://schemas.microsoft.com/office/drawing/2014/main" id="{B045606D-3662-25DD-A100-CD9986AA8471}"/>
              </a:ext>
            </a:extLst>
          </p:cNvPr>
          <p:cNvSpPr>
            <a:spLocks noGrp="1"/>
          </p:cNvSpPr>
          <p:nvPr>
            <p:ph type="body" sz="quarter" idx="103" hasCustomPrompt="1"/>
          </p:nvPr>
        </p:nvSpPr>
        <p:spPr>
          <a:xfrm>
            <a:off x="358962" y="3654000"/>
            <a:ext cx="1613640" cy="223200"/>
          </a:xfrm>
        </p:spPr>
        <p:txBody>
          <a:bodyPr tIns="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latin typeface="+mn-lt"/>
              </a:defRPr>
            </a:lvl3pPr>
            <a:lvl4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latin typeface="+mn-lt"/>
              </a:defRPr>
            </a:lvl4pPr>
            <a:lvl5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>
                <a:latin typeface="+mn-lt"/>
              </a:defRPr>
            </a:lvl9pPr>
          </a:lstStyle>
          <a:p>
            <a:pPr lvl="0"/>
            <a:r>
              <a:rPr lang="en-GB" noProof="0" dirty="0"/>
              <a:t>Click to add text</a:t>
            </a:r>
            <a:endParaRPr lang="en-GB" dirty="0"/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180F5D15-6B93-6530-8161-E95A1587CD07}"/>
              </a:ext>
            </a:extLst>
          </p:cNvPr>
          <p:cNvSpPr>
            <a:spLocks noGrp="1"/>
          </p:cNvSpPr>
          <p:nvPr>
            <p:ph type="body" sz="quarter" idx="104" hasCustomPrompt="1"/>
          </p:nvPr>
        </p:nvSpPr>
        <p:spPr>
          <a:xfrm>
            <a:off x="3319728" y="3654000"/>
            <a:ext cx="1613640" cy="223200"/>
          </a:xfrm>
        </p:spPr>
        <p:txBody>
          <a:bodyPr tIns="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latin typeface="+mn-lt"/>
              </a:defRPr>
            </a:lvl3pPr>
            <a:lvl4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latin typeface="+mn-lt"/>
              </a:defRPr>
            </a:lvl4pPr>
            <a:lvl5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>
                <a:latin typeface="+mn-lt"/>
              </a:defRPr>
            </a:lvl9pPr>
          </a:lstStyle>
          <a:p>
            <a:pPr lvl="0"/>
            <a:r>
              <a:rPr lang="en-GB" noProof="0" dirty="0"/>
              <a:t>Click to add text</a:t>
            </a:r>
            <a:endParaRPr lang="en-GB" dirty="0"/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CD3936CC-DF30-030E-1F6A-5057D1827339}"/>
              </a:ext>
            </a:extLst>
          </p:cNvPr>
          <p:cNvSpPr>
            <a:spLocks noGrp="1"/>
          </p:cNvSpPr>
          <p:nvPr>
            <p:ph type="body" sz="quarter" idx="105" hasCustomPrompt="1"/>
          </p:nvPr>
        </p:nvSpPr>
        <p:spPr>
          <a:xfrm>
            <a:off x="6279269" y="3654000"/>
            <a:ext cx="1613640" cy="223200"/>
          </a:xfrm>
        </p:spPr>
        <p:txBody>
          <a:bodyPr tIns="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latin typeface="+mn-lt"/>
              </a:defRPr>
            </a:lvl3pPr>
            <a:lvl4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latin typeface="+mn-lt"/>
              </a:defRPr>
            </a:lvl4pPr>
            <a:lvl5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>
                <a:latin typeface="+mn-lt"/>
              </a:defRPr>
            </a:lvl9pPr>
          </a:lstStyle>
          <a:p>
            <a:pPr lvl="0"/>
            <a:r>
              <a:rPr lang="en-GB" noProof="0" dirty="0"/>
              <a:t>Click to add text</a:t>
            </a:r>
            <a:endParaRPr lang="en-GB" dirty="0"/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4A9C0971-F8C4-868A-CDDD-2D34FF56CBC5}"/>
              </a:ext>
            </a:extLst>
          </p:cNvPr>
          <p:cNvSpPr>
            <a:spLocks noGrp="1"/>
          </p:cNvSpPr>
          <p:nvPr>
            <p:ph type="body" sz="quarter" idx="106" hasCustomPrompt="1"/>
          </p:nvPr>
        </p:nvSpPr>
        <p:spPr>
          <a:xfrm>
            <a:off x="9238809" y="3654000"/>
            <a:ext cx="1613640" cy="223200"/>
          </a:xfrm>
        </p:spPr>
        <p:txBody>
          <a:bodyPr tIns="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latin typeface="+mn-lt"/>
              </a:defRPr>
            </a:lvl3pPr>
            <a:lvl4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latin typeface="+mn-lt"/>
              </a:defRPr>
            </a:lvl4pPr>
            <a:lvl5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>
                <a:latin typeface="+mn-lt"/>
              </a:defRPr>
            </a:lvl9pPr>
          </a:lstStyle>
          <a:p>
            <a:pPr lvl="0"/>
            <a:r>
              <a:rPr lang="en-GB" noProof="0" dirty="0"/>
              <a:t>Click to add text</a:t>
            </a:r>
            <a:endParaRPr lang="en-GB" dirty="0"/>
          </a:p>
        </p:txBody>
      </p:sp>
      <p:sp>
        <p:nvSpPr>
          <p:cNvPr id="18" name="Text Placeholder 5">
            <a:extLst>
              <a:ext uri="{FF2B5EF4-FFF2-40B4-BE49-F238E27FC236}">
                <a16:creationId xmlns:a16="http://schemas.microsoft.com/office/drawing/2014/main" id="{C3227EB3-A57D-DD04-CDC7-1F4B9BBBF05B}"/>
              </a:ext>
            </a:extLst>
          </p:cNvPr>
          <p:cNvSpPr>
            <a:spLocks noGrp="1"/>
          </p:cNvSpPr>
          <p:nvPr>
            <p:ph type="body" sz="quarter" idx="107" hasCustomPrompt="1"/>
          </p:nvPr>
        </p:nvSpPr>
        <p:spPr>
          <a:xfrm>
            <a:off x="9237709" y="4222800"/>
            <a:ext cx="2600554" cy="2275200"/>
          </a:xfrm>
        </p:spPr>
        <p:txBody>
          <a:bodyPr tIns="0" anchor="b" anchorCtr="0"/>
          <a:lstStyle>
            <a:lvl1pPr marL="0" indent="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200" cap="all">
                <a:latin typeface="+mn-lt"/>
              </a:defRPr>
            </a:lvl1pPr>
            <a:lvl2pPr marL="0" indent="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200" cap="all">
                <a:latin typeface="+mn-lt"/>
              </a:defRPr>
            </a:lvl2pPr>
            <a:lvl3pPr marL="0" indent="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200" cap="all">
                <a:latin typeface="+mn-lt"/>
              </a:defRPr>
            </a:lvl3pPr>
            <a:lvl4pPr marL="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>
                <a:latin typeface="+mn-lt"/>
              </a:defRPr>
            </a:lvl4pPr>
            <a:lvl5pPr marL="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200" cap="all">
                <a:latin typeface="+mn-lt"/>
              </a:defRPr>
            </a:lvl5pPr>
            <a:lvl6pPr marL="0" indent="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200" cap="all">
                <a:latin typeface="+mn-lt"/>
              </a:defRPr>
            </a:lvl6pPr>
            <a:lvl7pPr marL="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>
                <a:latin typeface="+mn-lt"/>
              </a:defRPr>
            </a:lvl7pPr>
            <a:lvl8pPr marL="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200" cap="all">
                <a:latin typeface="+mn-lt"/>
              </a:defRPr>
            </a:lvl8pPr>
            <a:lvl9pPr marL="0" indent="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cap="all">
                <a:latin typeface="+mn-lt"/>
              </a:defRPr>
            </a:lvl9pPr>
          </a:lstStyle>
          <a:p>
            <a:pPr marL="171450" marR="0" lvl="0" indent="-17145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tabLst/>
              <a:defRPr/>
            </a:pPr>
            <a:r>
              <a:rPr lang="en-GB" dirty="0"/>
              <a:t>Click to add Price overview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07C2A6-D681-5520-E227-7A3E04566B3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527A44-AA1D-4BA1-AA93-32475F9E9A8F}" type="datetime4">
              <a:rPr lang="en-GB" smtClean="0"/>
              <a:pPr/>
              <a:t>14 March 2025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88620F9-5813-ACB3-3C4E-C4AEFB22D88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Muuto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2A20AD0-D5C5-99B1-8659-C15A769753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80494108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duct 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 hidden="1">
            <a:extLst>
              <a:ext uri="{FF2B5EF4-FFF2-40B4-BE49-F238E27FC236}">
                <a16:creationId xmlns:a16="http://schemas.microsoft.com/office/drawing/2014/main" id="{6366353B-DFD2-4424-9B1E-869E44247238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43"/>
          </p:nvPr>
        </p:nvSpPr>
        <p:spPr/>
        <p:txBody>
          <a:bodyPr/>
          <a:lstStyle/>
          <a:p>
            <a:fld id="{45527A44-AA1D-4BA1-AA93-32475F9E9A8F}" type="datetime4">
              <a:rPr lang="en-GB" smtClean="0"/>
              <a:pPr/>
              <a:t>14 March 2025</a:t>
            </a:fld>
            <a:endParaRPr lang="en-GB" dirty="0"/>
          </a:p>
        </p:txBody>
      </p:sp>
      <p:sp>
        <p:nvSpPr>
          <p:cNvPr id="2" name="Text Placeholder background">
            <a:extLst>
              <a:ext uri="{FF2B5EF4-FFF2-40B4-BE49-F238E27FC236}">
                <a16:creationId xmlns:a16="http://schemas.microsoft.com/office/drawing/2014/main" id="{DB3A8760-8DA6-8B9C-EA61-B9B74F7EB818}"/>
              </a:ext>
            </a:extLst>
          </p:cNvPr>
          <p:cNvSpPr>
            <a:spLocks noGrp="1"/>
          </p:cNvSpPr>
          <p:nvPr>
            <p:ph type="body" sz="quarter" idx="94" hasCustomPrompt="1"/>
          </p:nvPr>
        </p:nvSpPr>
        <p:spPr bwMode="white">
          <a:xfrm>
            <a:off x="0" y="0"/>
            <a:ext cx="12198350" cy="6858000"/>
          </a:xfrm>
          <a:solidFill>
            <a:srgbClr val="ECE8DD"/>
          </a:solidFill>
          <a:ln>
            <a:noFill/>
          </a:ln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21B42F89-A6D2-825B-285E-0EA4A24A662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187" y="360000"/>
            <a:ext cx="11475574" cy="262646"/>
          </a:xfrm>
        </p:spPr>
        <p:txBody>
          <a:bodyPr/>
          <a:lstStyle>
            <a:lvl1pPr>
              <a:defRPr sz="1800"/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43926D94-98B2-AE2F-51B1-7F9EDAF8B21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0187" y="626324"/>
            <a:ext cx="11475574" cy="216000"/>
          </a:xfrm>
        </p:spPr>
        <p:txBody>
          <a:bodyPr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1200" cap="all" baseline="0"/>
            </a:lvl1pPr>
            <a:lvl2pPr marL="0" indent="0" algn="l">
              <a:buFont typeface="Arial" panose="020B0604020202020204" pitchFamily="34" charset="0"/>
              <a:buChar char="​"/>
              <a:defRPr sz="2000"/>
            </a:lvl2pPr>
            <a:lvl3pPr marL="0" indent="0" algn="l">
              <a:buFont typeface="Arial" panose="020B0604020202020204" pitchFamily="34" charset="0"/>
              <a:buChar char="​"/>
              <a:defRPr sz="2000"/>
            </a:lvl3pPr>
            <a:lvl4pPr marL="0" indent="0" algn="l">
              <a:buFont typeface="Arial" panose="020B0604020202020204" pitchFamily="34" charset="0"/>
              <a:buChar char="​"/>
              <a:defRPr sz="2000"/>
            </a:lvl4pPr>
            <a:lvl5pPr marL="0" indent="0" algn="l">
              <a:buFont typeface="Arial" panose="020B0604020202020204" pitchFamily="34" charset="0"/>
              <a:buChar char="​"/>
              <a:defRPr sz="2000"/>
            </a:lvl5pPr>
            <a:lvl6pPr marL="0" indent="0" algn="l">
              <a:buFont typeface="Arial" panose="020B0604020202020204" pitchFamily="34" charset="0"/>
              <a:buChar char="​"/>
              <a:defRPr sz="2000"/>
            </a:lvl6pPr>
            <a:lvl7pPr marL="0" indent="0" algn="l">
              <a:buFont typeface="Arial" panose="020B0604020202020204" pitchFamily="34" charset="0"/>
              <a:buChar char="​"/>
              <a:defRPr sz="2000"/>
            </a:lvl7pPr>
            <a:lvl8pPr marL="0" indent="0" algn="l">
              <a:buFont typeface="Arial" panose="020B0604020202020204" pitchFamily="34" charset="0"/>
              <a:buChar char="​"/>
              <a:defRPr sz="2000"/>
            </a:lvl8pPr>
            <a:lvl9pPr marL="0" indent="0" algn="l"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C3740E63-FE5A-40EF-8F52-2CDC77D09BC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60188" y="1008000"/>
            <a:ext cx="1613640" cy="1620000"/>
          </a:xfrm>
          <a:solidFill>
            <a:schemeClr val="bg1"/>
          </a:solidFill>
        </p:spPr>
        <p:txBody>
          <a:bodyPr lIns="0" tIns="648000" anchor="ctr" anchorCtr="0"/>
          <a:lstStyle>
            <a:lvl1pPr marL="0" indent="0" algn="ctr">
              <a:buNone/>
              <a:defRPr sz="1200"/>
            </a:lvl1pPr>
          </a:lstStyle>
          <a:p>
            <a:r>
              <a:rPr lang="en-GB" noProof="0" dirty="0"/>
              <a:t>Click to add picture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A1EAB557-51FE-4F46-971A-ED4CEBB5AC4C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307843" y="1008000"/>
            <a:ext cx="1613640" cy="16200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397DB119-4C74-4B54-9E2F-163A08938EC5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2331664" y="1008000"/>
            <a:ext cx="1613640" cy="16200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00883700-9020-4EDE-B612-DD8CC8490357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6278656" y="1008000"/>
            <a:ext cx="1613640" cy="16200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37502B56-F0FB-4E62-B8DB-61DFAEDA3ECA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8251359" y="1008000"/>
            <a:ext cx="1613640" cy="16200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E2E08168-0D95-474A-8248-65F90C47763E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10222021" y="1008000"/>
            <a:ext cx="1613640" cy="16200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323B86F2-F615-4D6C-B0EB-807DFCD5D209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358962" y="3114000"/>
            <a:ext cx="1613640" cy="16200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D83C9C8D-63B3-4187-ABE3-0D600C0A681C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2331664" y="3114000"/>
            <a:ext cx="1613640" cy="16200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B52BC476-88D1-4D99-8B6B-007FB91475CF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4307843" y="3114000"/>
            <a:ext cx="1613640" cy="16200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A0A45F02-1DA5-4CBD-B714-97ED3F587BB4}"/>
              </a:ext>
            </a:extLst>
          </p:cNvPr>
          <p:cNvSpPr>
            <a:spLocks noGrp="1"/>
          </p:cNvSpPr>
          <p:nvPr>
            <p:ph type="pic" sz="quarter" idx="37" hasCustomPrompt="1"/>
          </p:nvPr>
        </p:nvSpPr>
        <p:spPr>
          <a:xfrm>
            <a:off x="6278656" y="3114000"/>
            <a:ext cx="1613640" cy="16200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CCE222E9-81E3-4B99-B180-AC199E54016D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8251359" y="3114000"/>
            <a:ext cx="1613640" cy="16200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29556BCE-1AE4-4A63-A3CC-C512840E131E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10222021" y="3114000"/>
            <a:ext cx="1613640" cy="16200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20D34126-ADAD-49F1-84D9-EAF19CAF22AD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58962" y="2682000"/>
            <a:ext cx="1613640" cy="2232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BA049A69-8572-47D3-80CA-F395383C9F2D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2331664" y="2682000"/>
            <a:ext cx="1613640" cy="2232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28" name="Text Placeholder 27">
            <a:extLst>
              <a:ext uri="{FF2B5EF4-FFF2-40B4-BE49-F238E27FC236}">
                <a16:creationId xmlns:a16="http://schemas.microsoft.com/office/drawing/2014/main" id="{89ECD78C-0DB1-4DBD-8749-470548133EF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307843" y="2682000"/>
            <a:ext cx="1613640" cy="2232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30" name="Text Placeholder 29">
            <a:extLst>
              <a:ext uri="{FF2B5EF4-FFF2-40B4-BE49-F238E27FC236}">
                <a16:creationId xmlns:a16="http://schemas.microsoft.com/office/drawing/2014/main" id="{8321FA6D-54DA-4B22-8DA6-70B964939110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273266" y="2682000"/>
            <a:ext cx="1613640" cy="2232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77A2278B-4DED-4AF3-9C8F-60F10B6E3326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252996" y="2682000"/>
            <a:ext cx="1613640" cy="2232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34" name="Text Placeholder 33">
            <a:extLst>
              <a:ext uri="{FF2B5EF4-FFF2-40B4-BE49-F238E27FC236}">
                <a16:creationId xmlns:a16="http://schemas.microsoft.com/office/drawing/2014/main" id="{4F876C36-A36F-4164-8A91-BCACB4709CDF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10222021" y="2682000"/>
            <a:ext cx="1613640" cy="2232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029D200B-A02E-48B0-8249-61209D663E13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358960" y="4788000"/>
            <a:ext cx="1613640" cy="2232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38" name="Text Placeholder 37">
            <a:extLst>
              <a:ext uri="{FF2B5EF4-FFF2-40B4-BE49-F238E27FC236}">
                <a16:creationId xmlns:a16="http://schemas.microsoft.com/office/drawing/2014/main" id="{F9AABC57-906F-455D-9C3E-66ECC2387B48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2331664" y="4788000"/>
            <a:ext cx="1613640" cy="2232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40" name="Text Placeholder 39">
            <a:extLst>
              <a:ext uri="{FF2B5EF4-FFF2-40B4-BE49-F238E27FC236}">
                <a16:creationId xmlns:a16="http://schemas.microsoft.com/office/drawing/2014/main" id="{0E935B62-CA54-4FD0-A765-515DD6E0019D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307843" y="4788000"/>
            <a:ext cx="1613640" cy="2232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23" name="Text Placeholder 41">
            <a:extLst>
              <a:ext uri="{FF2B5EF4-FFF2-40B4-BE49-F238E27FC236}">
                <a16:creationId xmlns:a16="http://schemas.microsoft.com/office/drawing/2014/main" id="{E19EA140-A6FA-4F8C-B247-0A6BD41EA559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6282334" y="4788000"/>
            <a:ext cx="1613640" cy="2232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3pPr>
            <a:lvl4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4pPr>
            <a:lvl5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27" name="Text Placeholder 43">
            <a:extLst>
              <a:ext uri="{FF2B5EF4-FFF2-40B4-BE49-F238E27FC236}">
                <a16:creationId xmlns:a16="http://schemas.microsoft.com/office/drawing/2014/main" id="{2C942555-08EC-4AE6-A2F8-17CE48BBF1A4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8251358" y="4788000"/>
            <a:ext cx="1613640" cy="2232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3pPr>
            <a:lvl4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4pPr>
            <a:lvl5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31" name="Text Placeholder 45">
            <a:extLst>
              <a:ext uri="{FF2B5EF4-FFF2-40B4-BE49-F238E27FC236}">
                <a16:creationId xmlns:a16="http://schemas.microsoft.com/office/drawing/2014/main" id="{408B6464-6BFE-4DC7-91EC-A2DC6E4D2140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10222021" y="4788000"/>
            <a:ext cx="1613640" cy="2232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3pPr>
            <a:lvl4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4pPr>
            <a:lvl5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25" name="Text Placeholder 87">
            <a:extLst>
              <a:ext uri="{FF2B5EF4-FFF2-40B4-BE49-F238E27FC236}">
                <a16:creationId xmlns:a16="http://schemas.microsoft.com/office/drawing/2014/main" id="{3B0E52E7-1FB9-E6CA-23DB-810248F51757}"/>
              </a:ext>
            </a:extLst>
          </p:cNvPr>
          <p:cNvSpPr>
            <a:spLocks noGrp="1"/>
          </p:cNvSpPr>
          <p:nvPr>
            <p:ph type="body" sz="quarter" idx="93" hasCustomPrompt="1"/>
          </p:nvPr>
        </p:nvSpPr>
        <p:spPr>
          <a:xfrm>
            <a:off x="7890808" y="5387009"/>
            <a:ext cx="3946992" cy="1110629"/>
          </a:xfrm>
        </p:spPr>
        <p:txBody>
          <a:bodyPr anchor="b" anchorCtr="0"/>
          <a:lstStyle>
            <a:lvl1pPr marL="0" indent="0" algn="r">
              <a:buFont typeface="Arial" panose="020B0604020202020204" pitchFamily="34" charset="0"/>
              <a:buNone/>
              <a:defRPr sz="1200" b="0" cap="all">
                <a:latin typeface="+mn-lt"/>
              </a:defRPr>
            </a:lvl1pPr>
            <a:lvl2pPr marL="0" indent="0" algn="r">
              <a:buNone/>
              <a:defRPr sz="1200" b="0" cap="all">
                <a:latin typeface="+mn-lt"/>
              </a:defRPr>
            </a:lvl2pPr>
            <a:lvl3pPr marL="0" indent="0" algn="r">
              <a:buNone/>
              <a:defRPr sz="1200" b="0" cap="all">
                <a:latin typeface="+mn-lt"/>
              </a:defRPr>
            </a:lvl3pPr>
            <a:lvl4pPr marL="0" indent="0" algn="r">
              <a:buNone/>
              <a:defRPr sz="1200" b="0" cap="all">
                <a:latin typeface="+mn-lt"/>
              </a:defRPr>
            </a:lvl4pPr>
            <a:lvl5pPr marL="0" indent="0" algn="r">
              <a:buNone/>
              <a:defRPr sz="1200" b="0" cap="all">
                <a:latin typeface="+mn-lt"/>
              </a:defRPr>
            </a:lvl5pPr>
            <a:lvl6pPr marL="0" indent="0" algn="r">
              <a:buNone/>
              <a:defRPr sz="1200" b="0" cap="all">
                <a:latin typeface="+mn-lt"/>
              </a:defRPr>
            </a:lvl6pPr>
            <a:lvl7pPr marL="0" indent="0" algn="r">
              <a:buNone/>
              <a:defRPr sz="1200" b="0" cap="all">
                <a:latin typeface="+mn-lt"/>
              </a:defRPr>
            </a:lvl7pPr>
            <a:lvl8pPr marL="0" indent="0" algn="r">
              <a:buNone/>
              <a:defRPr sz="1200" b="0" cap="all">
                <a:latin typeface="+mn-lt"/>
              </a:defRPr>
            </a:lvl8pPr>
            <a:lvl9pPr marL="0" indent="0" algn="r">
              <a:buFont typeface="Arial" panose="020B0604020202020204" pitchFamily="34" charset="0"/>
              <a:buNone/>
              <a:defRPr sz="1200" b="0" cap="all">
                <a:latin typeface="+mn-lt"/>
              </a:defRPr>
            </a:lvl9pPr>
          </a:lstStyle>
          <a:p>
            <a:pPr marL="171450" marR="0" lvl="0" indent="-17145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tabLst/>
              <a:defRPr/>
            </a:pPr>
            <a:r>
              <a:rPr lang="en-GB" dirty="0"/>
              <a:t>Click to add Price overview</a:t>
            </a:r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F69D7FF2-C16F-4A1D-A5CB-EBB461E36650}"/>
              </a:ext>
            </a:extLst>
          </p:cNvPr>
          <p:cNvSpPr>
            <a:spLocks noGrp="1"/>
          </p:cNvSpPr>
          <p:nvPr>
            <p:ph type="ftr" sz="quarter" idx="44"/>
          </p:nvPr>
        </p:nvSpPr>
        <p:spPr/>
        <p:txBody>
          <a:bodyPr/>
          <a:lstStyle/>
          <a:p>
            <a:r>
              <a:rPr lang="en-GB" dirty="0"/>
              <a:t>Muuto</a:t>
            </a:r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50544C94-0047-40A7-9AEA-67D4455C46A6}"/>
              </a:ext>
            </a:extLst>
          </p:cNvPr>
          <p:cNvSpPr>
            <a:spLocks noGrp="1"/>
          </p:cNvSpPr>
          <p:nvPr>
            <p:ph type="sldNum" sz="quarter" idx="45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30080881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duct 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 hidden="1">
            <a:extLst>
              <a:ext uri="{FF2B5EF4-FFF2-40B4-BE49-F238E27FC236}">
                <a16:creationId xmlns:a16="http://schemas.microsoft.com/office/drawing/2014/main" id="{342E70D2-2F18-459F-B7C2-8B02038BB3C3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55"/>
          </p:nvPr>
        </p:nvSpPr>
        <p:spPr/>
        <p:txBody>
          <a:bodyPr/>
          <a:lstStyle/>
          <a:p>
            <a:fld id="{45527A44-AA1D-4BA1-AA93-32475F9E9A8F}" type="datetime4">
              <a:rPr lang="en-GB" smtClean="0"/>
              <a:pPr/>
              <a:t>14 March 2025</a:t>
            </a:fld>
            <a:endParaRPr lang="en-GB" dirty="0"/>
          </a:p>
        </p:txBody>
      </p:sp>
      <p:sp>
        <p:nvSpPr>
          <p:cNvPr id="2" name="Text Placeholder background">
            <a:extLst>
              <a:ext uri="{FF2B5EF4-FFF2-40B4-BE49-F238E27FC236}">
                <a16:creationId xmlns:a16="http://schemas.microsoft.com/office/drawing/2014/main" id="{CE93D195-2F87-77B0-9824-ED26ED4BC3C6}"/>
              </a:ext>
            </a:extLst>
          </p:cNvPr>
          <p:cNvSpPr>
            <a:spLocks noGrp="1"/>
          </p:cNvSpPr>
          <p:nvPr>
            <p:ph type="body" sz="quarter" idx="94" hasCustomPrompt="1"/>
          </p:nvPr>
        </p:nvSpPr>
        <p:spPr bwMode="white">
          <a:xfrm>
            <a:off x="0" y="0"/>
            <a:ext cx="12198350" cy="6858000"/>
          </a:xfrm>
          <a:solidFill>
            <a:srgbClr val="ECE8DD"/>
          </a:solidFill>
          <a:ln>
            <a:noFill/>
          </a:ln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C3740E63-FE5A-40EF-8F52-2CDC77D09BC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60188" y="1008000"/>
            <a:ext cx="1257054" cy="1263600"/>
          </a:xfrm>
          <a:solidFill>
            <a:schemeClr val="bg1"/>
          </a:solidFill>
        </p:spPr>
        <p:txBody>
          <a:bodyPr lIns="0" tIns="648000" anchor="ctr" anchorCtr="0"/>
          <a:lstStyle>
            <a:lvl1pPr marL="0" indent="0" algn="ctr">
              <a:buNone/>
              <a:defRPr sz="1000"/>
            </a:lvl1pPr>
          </a:lstStyle>
          <a:p>
            <a:r>
              <a:rPr lang="en-GB" noProof="0" dirty="0"/>
              <a:t>Click to add picture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A1EAB557-51FE-4F46-971A-ED4CEBB5AC4C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3558653" y="1008000"/>
            <a:ext cx="1257054" cy="12636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0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397DB119-4C74-4B54-9E2F-163A08938EC5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1977430" y="1008000"/>
            <a:ext cx="1257054" cy="12636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0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00883700-9020-4EDE-B612-DD8CC8490357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5175895" y="1008000"/>
            <a:ext cx="1257054" cy="12636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0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37502B56-F0FB-4E62-B8DB-61DFAEDA3ECA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6793136" y="1008000"/>
            <a:ext cx="1257054" cy="12636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0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E2E08168-0D95-474A-8248-65F90C47763E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8410378" y="1008000"/>
            <a:ext cx="1257054" cy="12636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0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323B86F2-F615-4D6C-B0EB-807DFCD5D209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360188" y="2690250"/>
            <a:ext cx="1257054" cy="12636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0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D83C9C8D-63B3-4187-ABE3-0D600C0A681C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1977430" y="2690250"/>
            <a:ext cx="1257054" cy="12636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0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B52BC476-88D1-4D99-8B6B-007FB91475CF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3558653" y="2690250"/>
            <a:ext cx="1257054" cy="12636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0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A0A45F02-1DA5-4CBD-B714-97ED3F587BB4}"/>
              </a:ext>
            </a:extLst>
          </p:cNvPr>
          <p:cNvSpPr>
            <a:spLocks noGrp="1"/>
          </p:cNvSpPr>
          <p:nvPr>
            <p:ph type="pic" sz="quarter" idx="37" hasCustomPrompt="1"/>
          </p:nvPr>
        </p:nvSpPr>
        <p:spPr>
          <a:xfrm>
            <a:off x="5175895" y="2690250"/>
            <a:ext cx="1257054" cy="12636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0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CCE222E9-81E3-4B99-B180-AC199E54016D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6793136" y="2690250"/>
            <a:ext cx="1257054" cy="12636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0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29556BCE-1AE4-4A63-A3CC-C512840E131E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8410378" y="2690250"/>
            <a:ext cx="1257054" cy="12636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0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33" name="Picture Placeholder 18">
            <a:extLst>
              <a:ext uri="{FF2B5EF4-FFF2-40B4-BE49-F238E27FC236}">
                <a16:creationId xmlns:a16="http://schemas.microsoft.com/office/drawing/2014/main" id="{7A987E97-C3C5-435B-BA8E-6D10D2CFB4EB}"/>
              </a:ext>
            </a:extLst>
          </p:cNvPr>
          <p:cNvSpPr>
            <a:spLocks noGrp="1"/>
          </p:cNvSpPr>
          <p:nvPr>
            <p:ph type="pic" sz="quarter" idx="43" hasCustomPrompt="1"/>
          </p:nvPr>
        </p:nvSpPr>
        <p:spPr>
          <a:xfrm>
            <a:off x="360188" y="4366800"/>
            <a:ext cx="1257054" cy="12636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0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35" name="Picture Placeholder 15">
            <a:extLst>
              <a:ext uri="{FF2B5EF4-FFF2-40B4-BE49-F238E27FC236}">
                <a16:creationId xmlns:a16="http://schemas.microsoft.com/office/drawing/2014/main" id="{CB041983-2439-476B-B5EC-04A98B0A7C37}"/>
              </a:ext>
            </a:extLst>
          </p:cNvPr>
          <p:cNvSpPr>
            <a:spLocks noGrp="1"/>
          </p:cNvSpPr>
          <p:nvPr>
            <p:ph type="pic" sz="quarter" idx="44" hasCustomPrompt="1"/>
          </p:nvPr>
        </p:nvSpPr>
        <p:spPr>
          <a:xfrm>
            <a:off x="1977430" y="4366800"/>
            <a:ext cx="1257054" cy="12636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0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37" name="Picture Placeholder 21">
            <a:extLst>
              <a:ext uri="{FF2B5EF4-FFF2-40B4-BE49-F238E27FC236}">
                <a16:creationId xmlns:a16="http://schemas.microsoft.com/office/drawing/2014/main" id="{F1C136C3-4C3D-4523-B473-CE2E029DB6CC}"/>
              </a:ext>
            </a:extLst>
          </p:cNvPr>
          <p:cNvSpPr>
            <a:spLocks noGrp="1"/>
          </p:cNvSpPr>
          <p:nvPr>
            <p:ph type="pic" sz="quarter" idx="45" hasCustomPrompt="1"/>
          </p:nvPr>
        </p:nvSpPr>
        <p:spPr>
          <a:xfrm>
            <a:off x="3558653" y="4366800"/>
            <a:ext cx="1257054" cy="12636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0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39" name="Picture Placeholder 4">
            <a:extLst>
              <a:ext uri="{FF2B5EF4-FFF2-40B4-BE49-F238E27FC236}">
                <a16:creationId xmlns:a16="http://schemas.microsoft.com/office/drawing/2014/main" id="{04F32540-EA97-4FE8-B8CA-13D0972D3157}"/>
              </a:ext>
            </a:extLst>
          </p:cNvPr>
          <p:cNvSpPr>
            <a:spLocks noGrp="1"/>
          </p:cNvSpPr>
          <p:nvPr>
            <p:ph type="pic" sz="quarter" idx="46" hasCustomPrompt="1"/>
          </p:nvPr>
        </p:nvSpPr>
        <p:spPr>
          <a:xfrm>
            <a:off x="5175895" y="4366800"/>
            <a:ext cx="1257054" cy="12636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0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41" name="Picture Placeholder 11">
            <a:extLst>
              <a:ext uri="{FF2B5EF4-FFF2-40B4-BE49-F238E27FC236}">
                <a16:creationId xmlns:a16="http://schemas.microsoft.com/office/drawing/2014/main" id="{F8F4116C-A311-470B-AB97-D6823AC725BF}"/>
              </a:ext>
            </a:extLst>
          </p:cNvPr>
          <p:cNvSpPr>
            <a:spLocks noGrp="1"/>
          </p:cNvSpPr>
          <p:nvPr>
            <p:ph type="pic" sz="quarter" idx="47" hasCustomPrompt="1"/>
          </p:nvPr>
        </p:nvSpPr>
        <p:spPr>
          <a:xfrm>
            <a:off x="6793136" y="4366800"/>
            <a:ext cx="1257054" cy="12636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0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42" name="Picture Placeholder 19">
            <a:extLst>
              <a:ext uri="{FF2B5EF4-FFF2-40B4-BE49-F238E27FC236}">
                <a16:creationId xmlns:a16="http://schemas.microsoft.com/office/drawing/2014/main" id="{8D5C64DC-1081-49DC-BFD2-4636B925322A}"/>
              </a:ext>
            </a:extLst>
          </p:cNvPr>
          <p:cNvSpPr>
            <a:spLocks noGrp="1"/>
          </p:cNvSpPr>
          <p:nvPr>
            <p:ph type="pic" sz="quarter" idx="48" hasCustomPrompt="1"/>
          </p:nvPr>
        </p:nvSpPr>
        <p:spPr>
          <a:xfrm>
            <a:off x="8410378" y="4366800"/>
            <a:ext cx="1257054" cy="12636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0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A6D1B265-D262-5501-AAFF-E36277EF3C4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187" y="360000"/>
            <a:ext cx="11475574" cy="262646"/>
          </a:xfrm>
        </p:spPr>
        <p:txBody>
          <a:bodyPr/>
          <a:lstStyle>
            <a:lvl1pPr>
              <a:defRPr sz="1800"/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D7C23F85-C69D-7BCE-6A2F-4FDAF8383C7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0187" y="626324"/>
            <a:ext cx="11475574" cy="216000"/>
          </a:xfrm>
        </p:spPr>
        <p:txBody>
          <a:bodyPr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1200" cap="all" baseline="0"/>
            </a:lvl1pPr>
            <a:lvl2pPr marL="0" indent="0" algn="l">
              <a:buFont typeface="Arial" panose="020B0604020202020204" pitchFamily="34" charset="0"/>
              <a:buChar char="​"/>
              <a:defRPr sz="2000"/>
            </a:lvl2pPr>
            <a:lvl3pPr marL="0" indent="0" algn="l">
              <a:buFont typeface="Arial" panose="020B0604020202020204" pitchFamily="34" charset="0"/>
              <a:buChar char="​"/>
              <a:defRPr sz="2000"/>
            </a:lvl3pPr>
            <a:lvl4pPr marL="0" indent="0" algn="l">
              <a:buFont typeface="Arial" panose="020B0604020202020204" pitchFamily="34" charset="0"/>
              <a:buChar char="​"/>
              <a:defRPr sz="2000"/>
            </a:lvl4pPr>
            <a:lvl5pPr marL="0" indent="0" algn="l">
              <a:buFont typeface="Arial" panose="020B0604020202020204" pitchFamily="34" charset="0"/>
              <a:buChar char="​"/>
              <a:defRPr sz="2000"/>
            </a:lvl5pPr>
            <a:lvl6pPr marL="0" indent="0" algn="l">
              <a:buFont typeface="Arial" panose="020B0604020202020204" pitchFamily="34" charset="0"/>
              <a:buChar char="​"/>
              <a:defRPr sz="2000"/>
            </a:lvl6pPr>
            <a:lvl7pPr marL="0" indent="0" algn="l">
              <a:buFont typeface="Arial" panose="020B0604020202020204" pitchFamily="34" charset="0"/>
              <a:buChar char="​"/>
              <a:defRPr sz="2000"/>
            </a:lvl7pPr>
            <a:lvl8pPr marL="0" indent="0" algn="l">
              <a:buFont typeface="Arial" panose="020B0604020202020204" pitchFamily="34" charset="0"/>
              <a:buChar char="​"/>
              <a:defRPr sz="2000"/>
            </a:lvl8pPr>
            <a:lvl9pPr marL="0" indent="0" algn="l"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20D34126-ADAD-49F1-84D9-EAF19CAF22AD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60188" y="2329136"/>
            <a:ext cx="1257054" cy="2232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BA049A69-8572-47D3-80CA-F395383C9F2D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977430" y="2329136"/>
            <a:ext cx="1257054" cy="2232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28" name="Text Placeholder 27">
            <a:extLst>
              <a:ext uri="{FF2B5EF4-FFF2-40B4-BE49-F238E27FC236}">
                <a16:creationId xmlns:a16="http://schemas.microsoft.com/office/drawing/2014/main" id="{89ECD78C-0DB1-4DBD-8749-470548133EF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558653" y="2329200"/>
            <a:ext cx="1257054" cy="2232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30" name="Text Placeholder 29">
            <a:extLst>
              <a:ext uri="{FF2B5EF4-FFF2-40B4-BE49-F238E27FC236}">
                <a16:creationId xmlns:a16="http://schemas.microsoft.com/office/drawing/2014/main" id="{8321FA6D-54DA-4B22-8DA6-70B964939110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5175895" y="2329200"/>
            <a:ext cx="1257054" cy="2232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77A2278B-4DED-4AF3-9C8F-60F10B6E3326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793136" y="2329200"/>
            <a:ext cx="1257054" cy="2232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34" name="Text Placeholder 33">
            <a:extLst>
              <a:ext uri="{FF2B5EF4-FFF2-40B4-BE49-F238E27FC236}">
                <a16:creationId xmlns:a16="http://schemas.microsoft.com/office/drawing/2014/main" id="{4F876C36-A36F-4164-8A91-BCACB4709CDF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8410378" y="2329200"/>
            <a:ext cx="1257054" cy="2232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029D200B-A02E-48B0-8249-61209D663E13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360188" y="4012332"/>
            <a:ext cx="1257054" cy="2232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38" name="Text Placeholder 37">
            <a:extLst>
              <a:ext uri="{FF2B5EF4-FFF2-40B4-BE49-F238E27FC236}">
                <a16:creationId xmlns:a16="http://schemas.microsoft.com/office/drawing/2014/main" id="{F9AABC57-906F-455D-9C3E-66ECC2387B48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1977430" y="4014000"/>
            <a:ext cx="1257054" cy="2232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40" name="Text Placeholder 39">
            <a:extLst>
              <a:ext uri="{FF2B5EF4-FFF2-40B4-BE49-F238E27FC236}">
                <a16:creationId xmlns:a16="http://schemas.microsoft.com/office/drawing/2014/main" id="{0E935B62-CA54-4FD0-A765-515DD6E0019D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558653" y="4014000"/>
            <a:ext cx="1257054" cy="2232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23" name="Text Placeholder 41">
            <a:extLst>
              <a:ext uri="{FF2B5EF4-FFF2-40B4-BE49-F238E27FC236}">
                <a16:creationId xmlns:a16="http://schemas.microsoft.com/office/drawing/2014/main" id="{E19EA140-A6FA-4F8C-B247-0A6BD41EA559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5175895" y="4014000"/>
            <a:ext cx="1257054" cy="2232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3pPr>
            <a:lvl4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4pPr>
            <a:lvl5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27" name="Text Placeholder 43">
            <a:extLst>
              <a:ext uri="{FF2B5EF4-FFF2-40B4-BE49-F238E27FC236}">
                <a16:creationId xmlns:a16="http://schemas.microsoft.com/office/drawing/2014/main" id="{2C942555-08EC-4AE6-A2F8-17CE48BBF1A4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6793136" y="4014000"/>
            <a:ext cx="1257054" cy="2232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3pPr>
            <a:lvl4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4pPr>
            <a:lvl5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31" name="Text Placeholder 45">
            <a:extLst>
              <a:ext uri="{FF2B5EF4-FFF2-40B4-BE49-F238E27FC236}">
                <a16:creationId xmlns:a16="http://schemas.microsoft.com/office/drawing/2014/main" id="{408B6464-6BFE-4DC7-91EC-A2DC6E4D2140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410378" y="4014000"/>
            <a:ext cx="1257054" cy="2232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3pPr>
            <a:lvl4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4pPr>
            <a:lvl5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43" name="Text Placeholder 47">
            <a:extLst>
              <a:ext uri="{FF2B5EF4-FFF2-40B4-BE49-F238E27FC236}">
                <a16:creationId xmlns:a16="http://schemas.microsoft.com/office/drawing/2014/main" id="{8737F831-E7BF-431C-A783-6DB77525B3A2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360188" y="5688000"/>
            <a:ext cx="1257054" cy="2232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44" name="Text Placeholder 49">
            <a:extLst>
              <a:ext uri="{FF2B5EF4-FFF2-40B4-BE49-F238E27FC236}">
                <a16:creationId xmlns:a16="http://schemas.microsoft.com/office/drawing/2014/main" id="{9E3D94BF-34E4-4338-8F6F-361DE3B6FA1B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1977430" y="5688000"/>
            <a:ext cx="1257054" cy="2232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45" name="Text Placeholder 51">
            <a:extLst>
              <a:ext uri="{FF2B5EF4-FFF2-40B4-BE49-F238E27FC236}">
                <a16:creationId xmlns:a16="http://schemas.microsoft.com/office/drawing/2014/main" id="{62161C55-F439-471C-B3B0-A720649B1871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3558653" y="5688000"/>
            <a:ext cx="1257054" cy="2232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46" name="Text Placeholder 53">
            <a:extLst>
              <a:ext uri="{FF2B5EF4-FFF2-40B4-BE49-F238E27FC236}">
                <a16:creationId xmlns:a16="http://schemas.microsoft.com/office/drawing/2014/main" id="{7DFE047B-0788-4473-B4F5-CE949506BCE7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5175895" y="5688000"/>
            <a:ext cx="1257054" cy="2232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3pPr>
            <a:lvl4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4pPr>
            <a:lvl5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47" name="Text Placeholder 55">
            <a:extLst>
              <a:ext uri="{FF2B5EF4-FFF2-40B4-BE49-F238E27FC236}">
                <a16:creationId xmlns:a16="http://schemas.microsoft.com/office/drawing/2014/main" id="{140B104F-C6E0-4A2B-A858-D06AD92AB88E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6793136" y="5688000"/>
            <a:ext cx="1257054" cy="2232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3pPr>
            <a:lvl4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4pPr>
            <a:lvl5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48" name="Text Placeholder 57">
            <a:extLst>
              <a:ext uri="{FF2B5EF4-FFF2-40B4-BE49-F238E27FC236}">
                <a16:creationId xmlns:a16="http://schemas.microsoft.com/office/drawing/2014/main" id="{10309CCA-94D0-402A-A7B1-E67A33EF3C94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8410378" y="5688000"/>
            <a:ext cx="1257054" cy="2232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3pPr>
            <a:lvl4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4pPr>
            <a:lvl5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21" name="Text Placeholder 87">
            <a:extLst>
              <a:ext uri="{FF2B5EF4-FFF2-40B4-BE49-F238E27FC236}">
                <a16:creationId xmlns:a16="http://schemas.microsoft.com/office/drawing/2014/main" id="{81AD4008-3F42-FDF3-C426-7EA848743D44}"/>
              </a:ext>
            </a:extLst>
          </p:cNvPr>
          <p:cNvSpPr>
            <a:spLocks noGrp="1"/>
          </p:cNvSpPr>
          <p:nvPr>
            <p:ph type="body" sz="quarter" idx="93" hasCustomPrompt="1"/>
          </p:nvPr>
        </p:nvSpPr>
        <p:spPr>
          <a:xfrm>
            <a:off x="10224061" y="4780722"/>
            <a:ext cx="1613739" cy="1716916"/>
          </a:xfrm>
        </p:spPr>
        <p:txBody>
          <a:bodyPr anchor="b" anchorCtr="0"/>
          <a:lstStyle>
            <a:lvl1pPr marL="0" indent="0" algn="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latin typeface="+mn-lt"/>
              </a:defRPr>
            </a:lvl1pPr>
            <a:lvl2pPr marL="0" indent="0" algn="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latin typeface="+mn-lt"/>
              </a:defRPr>
            </a:lvl2pPr>
            <a:lvl3pPr marL="0" indent="0" algn="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latin typeface="+mn-lt"/>
              </a:defRPr>
            </a:lvl3pPr>
            <a:lvl4pPr marL="0" indent="0" algn="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latin typeface="+mn-lt"/>
              </a:defRPr>
            </a:lvl4pPr>
            <a:lvl5pPr marL="0" indent="0" algn="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latin typeface="+mn-lt"/>
              </a:defRPr>
            </a:lvl5pPr>
            <a:lvl6pPr marL="0" indent="0" algn="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latin typeface="+mn-lt"/>
              </a:defRPr>
            </a:lvl6pPr>
            <a:lvl7pPr marL="0" indent="0" algn="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latin typeface="+mn-lt"/>
              </a:defRPr>
            </a:lvl7pPr>
            <a:lvl8pPr marL="0" indent="0" algn="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latin typeface="+mn-lt"/>
              </a:defRPr>
            </a:lvl8pPr>
            <a:lvl9pPr marL="0" algn="r">
              <a:defRPr sz="1000" b="0" cap="all">
                <a:latin typeface="+mn-lt"/>
              </a:defRPr>
            </a:lvl9pPr>
          </a:lstStyle>
          <a:p>
            <a:pPr marL="171450" marR="0" lvl="0" indent="-17145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tabLst/>
              <a:defRPr/>
            </a:pPr>
            <a:r>
              <a:rPr lang="en-GB" dirty="0"/>
              <a:t>Click to add Price overview</a:t>
            </a:r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99950FDF-8CAA-4A40-A3B2-20B8E6D24A17}"/>
              </a:ext>
            </a:extLst>
          </p:cNvPr>
          <p:cNvSpPr>
            <a:spLocks noGrp="1"/>
          </p:cNvSpPr>
          <p:nvPr>
            <p:ph type="ftr" sz="quarter" idx="56"/>
          </p:nvPr>
        </p:nvSpPr>
        <p:spPr/>
        <p:txBody>
          <a:bodyPr/>
          <a:lstStyle/>
          <a:p>
            <a:r>
              <a:rPr lang="en-GB" dirty="0"/>
              <a:t>Muuto</a:t>
            </a:r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43AEC48D-7D04-471B-B27A-0484DC18DDE1}"/>
              </a:ext>
            </a:extLst>
          </p:cNvPr>
          <p:cNvSpPr>
            <a:spLocks noGrp="1"/>
          </p:cNvSpPr>
          <p:nvPr>
            <p:ph type="sldNum" sz="quarter" idx="57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50316652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duct 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" name="Date Placeholder 2" hidden="1">
            <a:extLst>
              <a:ext uri="{FF2B5EF4-FFF2-40B4-BE49-F238E27FC236}">
                <a16:creationId xmlns:a16="http://schemas.microsoft.com/office/drawing/2014/main" id="{3C128F33-14E0-B088-3C71-53BDBF6339F7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92"/>
          </p:nvPr>
        </p:nvSpPr>
        <p:spPr>
          <a:xfrm>
            <a:off x="0" y="6858000"/>
            <a:ext cx="0" cy="0"/>
          </a:xfrm>
        </p:spPr>
        <p:txBody>
          <a:bodyPr/>
          <a:lstStyle/>
          <a:p>
            <a:fld id="{45527A44-AA1D-4BA1-AA93-32475F9E9A8F}" type="datetime4">
              <a:rPr lang="en-GB" smtClean="0"/>
              <a:pPr/>
              <a:t>14 March 2025</a:t>
            </a:fld>
            <a:endParaRPr lang="en-GB" dirty="0"/>
          </a:p>
        </p:txBody>
      </p:sp>
      <p:sp>
        <p:nvSpPr>
          <p:cNvPr id="81" name="Footer Placeholder 4" hidden="1">
            <a:extLst>
              <a:ext uri="{FF2B5EF4-FFF2-40B4-BE49-F238E27FC236}">
                <a16:creationId xmlns:a16="http://schemas.microsoft.com/office/drawing/2014/main" id="{7C09FFBB-2F3D-F6A5-8E8D-16F9B4A198C2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1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GB" dirty="0"/>
              <a:t>Muuto</a:t>
            </a:r>
          </a:p>
        </p:txBody>
      </p:sp>
      <p:sp>
        <p:nvSpPr>
          <p:cNvPr id="82" name="Slide Number Placeholder 5" hidden="1">
            <a:extLst>
              <a:ext uri="{FF2B5EF4-FFF2-40B4-BE49-F238E27FC236}">
                <a16:creationId xmlns:a16="http://schemas.microsoft.com/office/drawing/2014/main" id="{67DDBD35-A4CE-1F86-5749-4F8E3A8B7FE1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12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" name="Text Placeholder background">
            <a:extLst>
              <a:ext uri="{FF2B5EF4-FFF2-40B4-BE49-F238E27FC236}">
                <a16:creationId xmlns:a16="http://schemas.microsoft.com/office/drawing/2014/main" id="{1635E464-5EF7-EE1D-6472-4E3B73A97905}"/>
              </a:ext>
            </a:extLst>
          </p:cNvPr>
          <p:cNvSpPr>
            <a:spLocks noGrp="1"/>
          </p:cNvSpPr>
          <p:nvPr>
            <p:ph type="body" sz="quarter" idx="94" hasCustomPrompt="1"/>
          </p:nvPr>
        </p:nvSpPr>
        <p:spPr bwMode="white">
          <a:xfrm>
            <a:off x="0" y="0"/>
            <a:ext cx="12198350" cy="6858000"/>
          </a:xfrm>
          <a:solidFill>
            <a:srgbClr val="ECE8DD"/>
          </a:solidFill>
          <a:ln>
            <a:noFill/>
          </a:ln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18" name="Picture Placeholder 4">
            <a:extLst>
              <a:ext uri="{FF2B5EF4-FFF2-40B4-BE49-F238E27FC236}">
                <a16:creationId xmlns:a16="http://schemas.microsoft.com/office/drawing/2014/main" id="{FADE9EB5-5558-18A7-4E6A-9B0CE4952AC8}"/>
              </a:ext>
            </a:extLst>
          </p:cNvPr>
          <p:cNvSpPr>
            <a:spLocks noGrp="1"/>
          </p:cNvSpPr>
          <p:nvPr>
            <p:ph type="pic" sz="quarter" idx="58" hasCustomPrompt="1"/>
          </p:nvPr>
        </p:nvSpPr>
        <p:spPr>
          <a:xfrm>
            <a:off x="4678836" y="3222000"/>
            <a:ext cx="914876" cy="831600"/>
          </a:xfrm>
          <a:solidFill>
            <a:schemeClr val="bg1"/>
          </a:solidFill>
        </p:spPr>
        <p:txBody>
          <a:bodyPr tIns="576000" anchor="ctr"/>
          <a:lstStyle>
            <a:lvl1pPr marL="0" indent="0" algn="ctr">
              <a:buNone/>
              <a:defRPr sz="8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21" name="Picture Placeholder 11">
            <a:extLst>
              <a:ext uri="{FF2B5EF4-FFF2-40B4-BE49-F238E27FC236}">
                <a16:creationId xmlns:a16="http://schemas.microsoft.com/office/drawing/2014/main" id="{E52D76F3-FA3E-F6FB-9152-D71C0843357B}"/>
              </a:ext>
            </a:extLst>
          </p:cNvPr>
          <p:cNvSpPr>
            <a:spLocks noGrp="1"/>
          </p:cNvSpPr>
          <p:nvPr>
            <p:ph type="pic" sz="quarter" idx="59" hasCustomPrompt="1"/>
          </p:nvPr>
        </p:nvSpPr>
        <p:spPr>
          <a:xfrm>
            <a:off x="5759398" y="3222000"/>
            <a:ext cx="914876" cy="831600"/>
          </a:xfrm>
          <a:solidFill>
            <a:schemeClr val="bg1"/>
          </a:solidFill>
        </p:spPr>
        <p:txBody>
          <a:bodyPr tIns="576000" anchor="ctr"/>
          <a:lstStyle>
            <a:lvl1pPr marL="0" indent="0" algn="ctr">
              <a:buNone/>
              <a:defRPr sz="8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25" name="Picture Placeholder 19">
            <a:extLst>
              <a:ext uri="{FF2B5EF4-FFF2-40B4-BE49-F238E27FC236}">
                <a16:creationId xmlns:a16="http://schemas.microsoft.com/office/drawing/2014/main" id="{56A10970-076E-64B5-554C-598478C23DA7}"/>
              </a:ext>
            </a:extLst>
          </p:cNvPr>
          <p:cNvSpPr>
            <a:spLocks noGrp="1"/>
          </p:cNvSpPr>
          <p:nvPr>
            <p:ph type="pic" sz="quarter" idx="60" hasCustomPrompt="1"/>
          </p:nvPr>
        </p:nvSpPr>
        <p:spPr>
          <a:xfrm>
            <a:off x="6861572" y="3222000"/>
            <a:ext cx="914876" cy="831600"/>
          </a:xfrm>
          <a:solidFill>
            <a:schemeClr val="bg1"/>
          </a:solidFill>
        </p:spPr>
        <p:txBody>
          <a:bodyPr tIns="576000" anchor="ctr"/>
          <a:lstStyle>
            <a:lvl1pPr marL="0" indent="0" algn="ctr">
              <a:buNone/>
              <a:defRPr sz="8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51" name="Picture Placeholder 21">
            <a:extLst>
              <a:ext uri="{FF2B5EF4-FFF2-40B4-BE49-F238E27FC236}">
                <a16:creationId xmlns:a16="http://schemas.microsoft.com/office/drawing/2014/main" id="{F7C28511-B3D8-D717-F6DE-E3B91D87C755}"/>
              </a:ext>
            </a:extLst>
          </p:cNvPr>
          <p:cNvSpPr>
            <a:spLocks noGrp="1"/>
          </p:cNvSpPr>
          <p:nvPr>
            <p:ph type="pic" sz="quarter" idx="64" hasCustomPrompt="1"/>
          </p:nvPr>
        </p:nvSpPr>
        <p:spPr>
          <a:xfrm>
            <a:off x="360188" y="4374000"/>
            <a:ext cx="914876" cy="831600"/>
          </a:xfrm>
          <a:solidFill>
            <a:schemeClr val="bg1"/>
          </a:solidFill>
        </p:spPr>
        <p:txBody>
          <a:bodyPr tIns="576000" anchor="ctr"/>
          <a:lstStyle>
            <a:lvl1pPr marL="0" indent="0" algn="ctr">
              <a:buNone/>
              <a:defRPr sz="8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52" name="Picture Placeholder 4">
            <a:extLst>
              <a:ext uri="{FF2B5EF4-FFF2-40B4-BE49-F238E27FC236}">
                <a16:creationId xmlns:a16="http://schemas.microsoft.com/office/drawing/2014/main" id="{378F13C0-B92D-9F70-A9D2-78CA83F7DF9A}"/>
              </a:ext>
            </a:extLst>
          </p:cNvPr>
          <p:cNvSpPr>
            <a:spLocks noGrp="1"/>
          </p:cNvSpPr>
          <p:nvPr>
            <p:ph type="pic" sz="quarter" idx="65" hasCustomPrompt="1"/>
          </p:nvPr>
        </p:nvSpPr>
        <p:spPr>
          <a:xfrm>
            <a:off x="1437148" y="4374000"/>
            <a:ext cx="914876" cy="831600"/>
          </a:xfrm>
          <a:solidFill>
            <a:schemeClr val="bg1"/>
          </a:solidFill>
        </p:spPr>
        <p:txBody>
          <a:bodyPr tIns="576000" anchor="ctr"/>
          <a:lstStyle>
            <a:lvl1pPr marL="0" indent="0" algn="ctr">
              <a:buNone/>
              <a:defRPr sz="8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53" name="Picture Placeholder 11">
            <a:extLst>
              <a:ext uri="{FF2B5EF4-FFF2-40B4-BE49-F238E27FC236}">
                <a16:creationId xmlns:a16="http://schemas.microsoft.com/office/drawing/2014/main" id="{169B1178-A4ED-E16F-4569-C875AF4E487F}"/>
              </a:ext>
            </a:extLst>
          </p:cNvPr>
          <p:cNvSpPr>
            <a:spLocks noGrp="1"/>
          </p:cNvSpPr>
          <p:nvPr>
            <p:ph type="pic" sz="quarter" idx="66" hasCustomPrompt="1"/>
          </p:nvPr>
        </p:nvSpPr>
        <p:spPr>
          <a:xfrm>
            <a:off x="2514109" y="4374000"/>
            <a:ext cx="914876" cy="831600"/>
          </a:xfrm>
          <a:solidFill>
            <a:schemeClr val="bg1"/>
          </a:solidFill>
        </p:spPr>
        <p:txBody>
          <a:bodyPr tIns="576000" anchor="ctr"/>
          <a:lstStyle>
            <a:lvl1pPr marL="0" indent="0" algn="ctr">
              <a:buNone/>
              <a:defRPr sz="8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54" name="Picture Placeholder 19">
            <a:extLst>
              <a:ext uri="{FF2B5EF4-FFF2-40B4-BE49-F238E27FC236}">
                <a16:creationId xmlns:a16="http://schemas.microsoft.com/office/drawing/2014/main" id="{285FD946-A346-12FA-88C7-5C79858C5189}"/>
              </a:ext>
            </a:extLst>
          </p:cNvPr>
          <p:cNvSpPr>
            <a:spLocks noGrp="1"/>
          </p:cNvSpPr>
          <p:nvPr>
            <p:ph type="pic" sz="quarter" idx="67" hasCustomPrompt="1"/>
          </p:nvPr>
        </p:nvSpPr>
        <p:spPr>
          <a:xfrm>
            <a:off x="3598273" y="4374000"/>
            <a:ext cx="914876" cy="831600"/>
          </a:xfrm>
          <a:solidFill>
            <a:schemeClr val="bg1"/>
          </a:solidFill>
        </p:spPr>
        <p:txBody>
          <a:bodyPr tIns="576000" anchor="ctr"/>
          <a:lstStyle>
            <a:lvl1pPr marL="0" indent="0" algn="ctr">
              <a:buNone/>
              <a:defRPr sz="8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59" name="Picture Placeholder 4">
            <a:extLst>
              <a:ext uri="{FF2B5EF4-FFF2-40B4-BE49-F238E27FC236}">
                <a16:creationId xmlns:a16="http://schemas.microsoft.com/office/drawing/2014/main" id="{1499496D-3091-2206-27D1-709A6BB78890}"/>
              </a:ext>
            </a:extLst>
          </p:cNvPr>
          <p:cNvSpPr>
            <a:spLocks noGrp="1"/>
          </p:cNvSpPr>
          <p:nvPr>
            <p:ph type="pic" sz="quarter" idx="72" hasCustomPrompt="1"/>
          </p:nvPr>
        </p:nvSpPr>
        <p:spPr>
          <a:xfrm>
            <a:off x="4678836" y="4374000"/>
            <a:ext cx="914876" cy="831600"/>
          </a:xfrm>
          <a:solidFill>
            <a:schemeClr val="bg1"/>
          </a:solidFill>
        </p:spPr>
        <p:txBody>
          <a:bodyPr tIns="576000" anchor="ctr"/>
          <a:lstStyle>
            <a:lvl1pPr marL="0" indent="0" algn="ctr">
              <a:buNone/>
              <a:defRPr sz="8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60" name="Picture Placeholder 11">
            <a:extLst>
              <a:ext uri="{FF2B5EF4-FFF2-40B4-BE49-F238E27FC236}">
                <a16:creationId xmlns:a16="http://schemas.microsoft.com/office/drawing/2014/main" id="{F7F1AAF3-136F-7ABD-39BE-32E98634D56F}"/>
              </a:ext>
            </a:extLst>
          </p:cNvPr>
          <p:cNvSpPr>
            <a:spLocks noGrp="1"/>
          </p:cNvSpPr>
          <p:nvPr>
            <p:ph type="pic" sz="quarter" idx="73" hasCustomPrompt="1"/>
          </p:nvPr>
        </p:nvSpPr>
        <p:spPr>
          <a:xfrm>
            <a:off x="5759398" y="4374000"/>
            <a:ext cx="914876" cy="831600"/>
          </a:xfrm>
          <a:solidFill>
            <a:schemeClr val="bg1"/>
          </a:solidFill>
        </p:spPr>
        <p:txBody>
          <a:bodyPr tIns="576000" anchor="ctr"/>
          <a:lstStyle>
            <a:lvl1pPr marL="0" indent="0" algn="ctr">
              <a:buNone/>
              <a:defRPr sz="8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61" name="Picture Placeholder 19">
            <a:extLst>
              <a:ext uri="{FF2B5EF4-FFF2-40B4-BE49-F238E27FC236}">
                <a16:creationId xmlns:a16="http://schemas.microsoft.com/office/drawing/2014/main" id="{FC639898-3289-5BAD-5A90-90A8555658F0}"/>
              </a:ext>
            </a:extLst>
          </p:cNvPr>
          <p:cNvSpPr>
            <a:spLocks noGrp="1"/>
          </p:cNvSpPr>
          <p:nvPr>
            <p:ph type="pic" sz="quarter" idx="74" hasCustomPrompt="1"/>
          </p:nvPr>
        </p:nvSpPr>
        <p:spPr>
          <a:xfrm>
            <a:off x="6861572" y="4374000"/>
            <a:ext cx="914876" cy="831600"/>
          </a:xfrm>
          <a:solidFill>
            <a:schemeClr val="bg1"/>
          </a:solidFill>
        </p:spPr>
        <p:txBody>
          <a:bodyPr tIns="576000" anchor="ctr"/>
          <a:lstStyle>
            <a:lvl1pPr marL="0" indent="0" algn="ctr">
              <a:buNone/>
              <a:defRPr sz="8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65" name="Picture Placeholder 21">
            <a:extLst>
              <a:ext uri="{FF2B5EF4-FFF2-40B4-BE49-F238E27FC236}">
                <a16:creationId xmlns:a16="http://schemas.microsoft.com/office/drawing/2014/main" id="{764B6CFC-C8DF-82AD-261F-52EBA3EA416B}"/>
              </a:ext>
            </a:extLst>
          </p:cNvPr>
          <p:cNvSpPr>
            <a:spLocks noGrp="1"/>
          </p:cNvSpPr>
          <p:nvPr>
            <p:ph type="pic" sz="quarter" idx="78" hasCustomPrompt="1"/>
          </p:nvPr>
        </p:nvSpPr>
        <p:spPr>
          <a:xfrm>
            <a:off x="360188" y="5565600"/>
            <a:ext cx="914876" cy="831600"/>
          </a:xfrm>
          <a:solidFill>
            <a:schemeClr val="bg1"/>
          </a:solidFill>
        </p:spPr>
        <p:txBody>
          <a:bodyPr tIns="576000" anchor="ctr"/>
          <a:lstStyle>
            <a:lvl1pPr marL="0" indent="0" algn="ctr">
              <a:buNone/>
              <a:defRPr sz="8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66" name="Picture Placeholder 4">
            <a:extLst>
              <a:ext uri="{FF2B5EF4-FFF2-40B4-BE49-F238E27FC236}">
                <a16:creationId xmlns:a16="http://schemas.microsoft.com/office/drawing/2014/main" id="{0F246C70-7EC1-32E8-DB88-C5DCDF6CDFEA}"/>
              </a:ext>
            </a:extLst>
          </p:cNvPr>
          <p:cNvSpPr>
            <a:spLocks noGrp="1"/>
          </p:cNvSpPr>
          <p:nvPr>
            <p:ph type="pic" sz="quarter" idx="79" hasCustomPrompt="1"/>
          </p:nvPr>
        </p:nvSpPr>
        <p:spPr>
          <a:xfrm>
            <a:off x="1437148" y="5565600"/>
            <a:ext cx="914876" cy="831600"/>
          </a:xfrm>
          <a:solidFill>
            <a:schemeClr val="bg1"/>
          </a:solidFill>
        </p:spPr>
        <p:txBody>
          <a:bodyPr tIns="576000" anchor="ctr"/>
          <a:lstStyle>
            <a:lvl1pPr marL="0" indent="0" algn="ctr">
              <a:buNone/>
              <a:defRPr sz="8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67" name="Picture Placeholder 11">
            <a:extLst>
              <a:ext uri="{FF2B5EF4-FFF2-40B4-BE49-F238E27FC236}">
                <a16:creationId xmlns:a16="http://schemas.microsoft.com/office/drawing/2014/main" id="{F74AECBD-8D02-EAE7-8090-B81DA79FC00A}"/>
              </a:ext>
            </a:extLst>
          </p:cNvPr>
          <p:cNvSpPr>
            <a:spLocks noGrp="1"/>
          </p:cNvSpPr>
          <p:nvPr>
            <p:ph type="pic" sz="quarter" idx="80" hasCustomPrompt="1"/>
          </p:nvPr>
        </p:nvSpPr>
        <p:spPr>
          <a:xfrm>
            <a:off x="2514109" y="5565600"/>
            <a:ext cx="914876" cy="831600"/>
          </a:xfrm>
          <a:solidFill>
            <a:schemeClr val="bg1"/>
          </a:solidFill>
        </p:spPr>
        <p:txBody>
          <a:bodyPr tIns="576000" anchor="ctr"/>
          <a:lstStyle>
            <a:lvl1pPr marL="0" indent="0" algn="ctr">
              <a:buNone/>
              <a:defRPr sz="8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68" name="Picture Placeholder 19">
            <a:extLst>
              <a:ext uri="{FF2B5EF4-FFF2-40B4-BE49-F238E27FC236}">
                <a16:creationId xmlns:a16="http://schemas.microsoft.com/office/drawing/2014/main" id="{410D4379-4883-90D1-4BB3-C46D1A2CF112}"/>
              </a:ext>
            </a:extLst>
          </p:cNvPr>
          <p:cNvSpPr>
            <a:spLocks noGrp="1"/>
          </p:cNvSpPr>
          <p:nvPr>
            <p:ph type="pic" sz="quarter" idx="81" hasCustomPrompt="1"/>
          </p:nvPr>
        </p:nvSpPr>
        <p:spPr>
          <a:xfrm>
            <a:off x="3598273" y="5565600"/>
            <a:ext cx="914876" cy="831600"/>
          </a:xfrm>
          <a:solidFill>
            <a:schemeClr val="bg1"/>
          </a:solidFill>
        </p:spPr>
        <p:txBody>
          <a:bodyPr tIns="576000" anchor="ctr"/>
          <a:lstStyle>
            <a:lvl1pPr marL="0" indent="0" algn="ctr">
              <a:buNone/>
              <a:defRPr sz="8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73" name="Picture Placeholder 4">
            <a:extLst>
              <a:ext uri="{FF2B5EF4-FFF2-40B4-BE49-F238E27FC236}">
                <a16:creationId xmlns:a16="http://schemas.microsoft.com/office/drawing/2014/main" id="{C01CB954-FEDB-D8F6-2E76-F6FF98D2334F}"/>
              </a:ext>
            </a:extLst>
          </p:cNvPr>
          <p:cNvSpPr>
            <a:spLocks noGrp="1"/>
          </p:cNvSpPr>
          <p:nvPr>
            <p:ph type="pic" sz="quarter" idx="86" hasCustomPrompt="1"/>
          </p:nvPr>
        </p:nvSpPr>
        <p:spPr>
          <a:xfrm>
            <a:off x="4678836" y="5565600"/>
            <a:ext cx="914876" cy="831600"/>
          </a:xfrm>
          <a:solidFill>
            <a:schemeClr val="bg1"/>
          </a:solidFill>
        </p:spPr>
        <p:txBody>
          <a:bodyPr tIns="576000" anchor="ctr"/>
          <a:lstStyle>
            <a:lvl1pPr marL="0" indent="0" algn="ctr">
              <a:buNone/>
              <a:defRPr sz="8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74" name="Picture Placeholder 11">
            <a:extLst>
              <a:ext uri="{FF2B5EF4-FFF2-40B4-BE49-F238E27FC236}">
                <a16:creationId xmlns:a16="http://schemas.microsoft.com/office/drawing/2014/main" id="{379AE0BF-C404-12C8-EDB2-38C16C679D08}"/>
              </a:ext>
            </a:extLst>
          </p:cNvPr>
          <p:cNvSpPr>
            <a:spLocks noGrp="1"/>
          </p:cNvSpPr>
          <p:nvPr>
            <p:ph type="pic" sz="quarter" idx="87" hasCustomPrompt="1"/>
          </p:nvPr>
        </p:nvSpPr>
        <p:spPr>
          <a:xfrm>
            <a:off x="5759398" y="5565600"/>
            <a:ext cx="914876" cy="831600"/>
          </a:xfrm>
          <a:solidFill>
            <a:schemeClr val="bg1"/>
          </a:solidFill>
        </p:spPr>
        <p:txBody>
          <a:bodyPr tIns="576000" anchor="ctr"/>
          <a:lstStyle>
            <a:lvl1pPr marL="0" indent="0" algn="ctr">
              <a:buNone/>
              <a:defRPr sz="8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75" name="Picture Placeholder 19">
            <a:extLst>
              <a:ext uri="{FF2B5EF4-FFF2-40B4-BE49-F238E27FC236}">
                <a16:creationId xmlns:a16="http://schemas.microsoft.com/office/drawing/2014/main" id="{D91254CA-1369-B5A0-A807-4A38A1044767}"/>
              </a:ext>
            </a:extLst>
          </p:cNvPr>
          <p:cNvSpPr>
            <a:spLocks noGrp="1"/>
          </p:cNvSpPr>
          <p:nvPr>
            <p:ph type="pic" sz="quarter" idx="88" hasCustomPrompt="1"/>
          </p:nvPr>
        </p:nvSpPr>
        <p:spPr>
          <a:xfrm>
            <a:off x="6861572" y="5565600"/>
            <a:ext cx="914876" cy="831600"/>
          </a:xfrm>
          <a:solidFill>
            <a:schemeClr val="bg1"/>
          </a:solidFill>
        </p:spPr>
        <p:txBody>
          <a:bodyPr tIns="576000" anchor="ctr"/>
          <a:lstStyle>
            <a:lvl1pPr marL="0" indent="0" algn="ctr">
              <a:buNone/>
              <a:defRPr sz="8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A1EAB557-51FE-4F46-971A-ED4CEBB5AC4C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2527316" y="910800"/>
            <a:ext cx="914876" cy="831600"/>
          </a:xfrm>
          <a:solidFill>
            <a:schemeClr val="bg1"/>
          </a:solidFill>
        </p:spPr>
        <p:txBody>
          <a:bodyPr tIns="576000" anchor="ctr"/>
          <a:lstStyle>
            <a:lvl1pPr marL="0" indent="0" algn="ctr">
              <a:buNone/>
              <a:defRPr sz="8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397DB119-4C74-4B54-9E2F-163A08938EC5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1443752" y="910800"/>
            <a:ext cx="914876" cy="831600"/>
          </a:xfrm>
          <a:solidFill>
            <a:schemeClr val="bg1"/>
          </a:solidFill>
        </p:spPr>
        <p:txBody>
          <a:bodyPr tIns="576000" anchor="ctr"/>
          <a:lstStyle>
            <a:lvl1pPr marL="0" indent="0" algn="ctr">
              <a:buNone/>
              <a:defRPr sz="8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00883700-9020-4EDE-B612-DD8CC8490357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3610880" y="910800"/>
            <a:ext cx="914876" cy="831600"/>
          </a:xfrm>
          <a:solidFill>
            <a:schemeClr val="bg1"/>
          </a:solidFill>
        </p:spPr>
        <p:txBody>
          <a:bodyPr tIns="576000" anchor="ctr"/>
          <a:lstStyle>
            <a:lvl1pPr marL="0" indent="0" algn="ctr">
              <a:buNone/>
              <a:defRPr sz="8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37502B56-F0FB-4E62-B8DB-61DFAEDA3ECA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4694444" y="910800"/>
            <a:ext cx="914876" cy="831600"/>
          </a:xfrm>
          <a:solidFill>
            <a:schemeClr val="bg1"/>
          </a:solidFill>
        </p:spPr>
        <p:txBody>
          <a:bodyPr tIns="576000" anchor="ctr"/>
          <a:lstStyle>
            <a:lvl1pPr marL="0" indent="0" algn="ctr">
              <a:buNone/>
              <a:defRPr sz="8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E2E08168-0D95-474A-8248-65F90C47763E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5778008" y="910800"/>
            <a:ext cx="914876" cy="831600"/>
          </a:xfrm>
          <a:solidFill>
            <a:schemeClr val="bg1"/>
          </a:solidFill>
        </p:spPr>
        <p:txBody>
          <a:bodyPr tIns="576000" anchor="ctr"/>
          <a:lstStyle>
            <a:lvl1pPr marL="0" indent="0" algn="ctr">
              <a:buNone/>
              <a:defRPr sz="8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323B86F2-F615-4D6C-B0EB-807DFCD5D209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6861572" y="910800"/>
            <a:ext cx="914876" cy="831600"/>
          </a:xfrm>
          <a:solidFill>
            <a:schemeClr val="bg1"/>
          </a:solidFill>
        </p:spPr>
        <p:txBody>
          <a:bodyPr tIns="576000" anchor="ctr"/>
          <a:lstStyle>
            <a:lvl1pPr marL="0" indent="0" algn="ctr">
              <a:buNone/>
              <a:defRPr sz="8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D83C9C8D-63B3-4187-ABE3-0D600C0A681C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360188" y="2066400"/>
            <a:ext cx="914876" cy="831600"/>
          </a:xfrm>
          <a:solidFill>
            <a:schemeClr val="bg1"/>
          </a:solidFill>
        </p:spPr>
        <p:txBody>
          <a:bodyPr tIns="576000" anchor="ctr"/>
          <a:lstStyle>
            <a:lvl1pPr marL="0" indent="0" algn="ctr">
              <a:buNone/>
              <a:defRPr sz="8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B52BC476-88D1-4D99-8B6B-007FB91475CF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1437148" y="2066400"/>
            <a:ext cx="914876" cy="831600"/>
          </a:xfrm>
          <a:solidFill>
            <a:schemeClr val="bg1"/>
          </a:solidFill>
        </p:spPr>
        <p:txBody>
          <a:bodyPr tIns="576000" anchor="ctr"/>
          <a:lstStyle>
            <a:lvl1pPr marL="0" indent="0" algn="ctr">
              <a:buNone/>
              <a:defRPr sz="8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A0A45F02-1DA5-4CBD-B714-97ED3F587BB4}"/>
              </a:ext>
            </a:extLst>
          </p:cNvPr>
          <p:cNvSpPr>
            <a:spLocks noGrp="1"/>
          </p:cNvSpPr>
          <p:nvPr>
            <p:ph type="pic" sz="quarter" idx="37" hasCustomPrompt="1"/>
          </p:nvPr>
        </p:nvSpPr>
        <p:spPr>
          <a:xfrm>
            <a:off x="2514109" y="2066400"/>
            <a:ext cx="914876" cy="831600"/>
          </a:xfrm>
          <a:solidFill>
            <a:schemeClr val="bg1"/>
          </a:solidFill>
        </p:spPr>
        <p:txBody>
          <a:bodyPr tIns="576000" anchor="ctr"/>
          <a:lstStyle>
            <a:lvl1pPr marL="0" indent="0" algn="ctr">
              <a:buNone/>
              <a:defRPr sz="8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CCE222E9-81E3-4B99-B180-AC199E54016D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3598273" y="2066400"/>
            <a:ext cx="914876" cy="831600"/>
          </a:xfrm>
          <a:solidFill>
            <a:schemeClr val="bg1"/>
          </a:solidFill>
        </p:spPr>
        <p:txBody>
          <a:bodyPr tIns="576000" anchor="ctr"/>
          <a:lstStyle>
            <a:lvl1pPr marL="0" indent="0" algn="ctr">
              <a:buNone/>
              <a:defRPr sz="8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29556BCE-1AE4-4A63-A3CC-C512840E131E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4678836" y="2066400"/>
            <a:ext cx="914876" cy="831600"/>
          </a:xfrm>
          <a:solidFill>
            <a:schemeClr val="bg1"/>
          </a:solidFill>
        </p:spPr>
        <p:txBody>
          <a:bodyPr tIns="576000" anchor="ctr"/>
          <a:lstStyle>
            <a:lvl1pPr marL="0" indent="0" algn="ctr">
              <a:buNone/>
              <a:defRPr sz="8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33" name="Picture Placeholder 18">
            <a:extLst>
              <a:ext uri="{FF2B5EF4-FFF2-40B4-BE49-F238E27FC236}">
                <a16:creationId xmlns:a16="http://schemas.microsoft.com/office/drawing/2014/main" id="{7A987E97-C3C5-435B-BA8E-6D10D2CFB4EB}"/>
              </a:ext>
            </a:extLst>
          </p:cNvPr>
          <p:cNvSpPr>
            <a:spLocks noGrp="1"/>
          </p:cNvSpPr>
          <p:nvPr>
            <p:ph type="pic" sz="quarter" idx="43" hasCustomPrompt="1"/>
          </p:nvPr>
        </p:nvSpPr>
        <p:spPr>
          <a:xfrm>
            <a:off x="5759398" y="2066400"/>
            <a:ext cx="914876" cy="831600"/>
          </a:xfrm>
          <a:solidFill>
            <a:schemeClr val="bg1"/>
          </a:solidFill>
        </p:spPr>
        <p:txBody>
          <a:bodyPr tIns="576000" anchor="ctr"/>
          <a:lstStyle>
            <a:lvl1pPr marL="0" indent="0" algn="ctr">
              <a:buNone/>
              <a:defRPr sz="8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35" name="Picture Placeholder 15">
            <a:extLst>
              <a:ext uri="{FF2B5EF4-FFF2-40B4-BE49-F238E27FC236}">
                <a16:creationId xmlns:a16="http://schemas.microsoft.com/office/drawing/2014/main" id="{CB041983-2439-476B-B5EC-04A98B0A7C37}"/>
              </a:ext>
            </a:extLst>
          </p:cNvPr>
          <p:cNvSpPr>
            <a:spLocks noGrp="1"/>
          </p:cNvSpPr>
          <p:nvPr>
            <p:ph type="pic" sz="quarter" idx="44" hasCustomPrompt="1"/>
          </p:nvPr>
        </p:nvSpPr>
        <p:spPr>
          <a:xfrm>
            <a:off x="6861572" y="2066400"/>
            <a:ext cx="914876" cy="831600"/>
          </a:xfrm>
          <a:solidFill>
            <a:schemeClr val="bg1"/>
          </a:solidFill>
        </p:spPr>
        <p:txBody>
          <a:bodyPr tIns="576000" anchor="ctr"/>
          <a:lstStyle>
            <a:lvl1pPr marL="0" indent="0" algn="ctr">
              <a:buNone/>
              <a:defRPr sz="8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37" name="Picture Placeholder 21">
            <a:extLst>
              <a:ext uri="{FF2B5EF4-FFF2-40B4-BE49-F238E27FC236}">
                <a16:creationId xmlns:a16="http://schemas.microsoft.com/office/drawing/2014/main" id="{F1C136C3-4C3D-4523-B473-CE2E029DB6CC}"/>
              </a:ext>
            </a:extLst>
          </p:cNvPr>
          <p:cNvSpPr>
            <a:spLocks noGrp="1"/>
          </p:cNvSpPr>
          <p:nvPr>
            <p:ph type="pic" sz="quarter" idx="45" hasCustomPrompt="1"/>
          </p:nvPr>
        </p:nvSpPr>
        <p:spPr>
          <a:xfrm>
            <a:off x="360188" y="3222000"/>
            <a:ext cx="914876" cy="831600"/>
          </a:xfrm>
          <a:solidFill>
            <a:schemeClr val="bg1"/>
          </a:solidFill>
        </p:spPr>
        <p:txBody>
          <a:bodyPr tIns="576000" anchor="ctr"/>
          <a:lstStyle>
            <a:lvl1pPr marL="0" indent="0" algn="ctr">
              <a:buNone/>
              <a:defRPr sz="8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39" name="Picture Placeholder 4">
            <a:extLst>
              <a:ext uri="{FF2B5EF4-FFF2-40B4-BE49-F238E27FC236}">
                <a16:creationId xmlns:a16="http://schemas.microsoft.com/office/drawing/2014/main" id="{04F32540-EA97-4FE8-B8CA-13D0972D3157}"/>
              </a:ext>
            </a:extLst>
          </p:cNvPr>
          <p:cNvSpPr>
            <a:spLocks noGrp="1"/>
          </p:cNvSpPr>
          <p:nvPr>
            <p:ph type="pic" sz="quarter" idx="46" hasCustomPrompt="1"/>
          </p:nvPr>
        </p:nvSpPr>
        <p:spPr>
          <a:xfrm>
            <a:off x="1437148" y="3222000"/>
            <a:ext cx="914876" cy="831600"/>
          </a:xfrm>
          <a:solidFill>
            <a:schemeClr val="bg1"/>
          </a:solidFill>
        </p:spPr>
        <p:txBody>
          <a:bodyPr tIns="576000" anchor="ctr"/>
          <a:lstStyle>
            <a:lvl1pPr marL="0" indent="0" algn="ctr">
              <a:buNone/>
              <a:defRPr sz="8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41" name="Picture Placeholder 11">
            <a:extLst>
              <a:ext uri="{FF2B5EF4-FFF2-40B4-BE49-F238E27FC236}">
                <a16:creationId xmlns:a16="http://schemas.microsoft.com/office/drawing/2014/main" id="{F8F4116C-A311-470B-AB97-D6823AC725BF}"/>
              </a:ext>
            </a:extLst>
          </p:cNvPr>
          <p:cNvSpPr>
            <a:spLocks noGrp="1"/>
          </p:cNvSpPr>
          <p:nvPr>
            <p:ph type="pic" sz="quarter" idx="47" hasCustomPrompt="1"/>
          </p:nvPr>
        </p:nvSpPr>
        <p:spPr>
          <a:xfrm>
            <a:off x="2514109" y="3222000"/>
            <a:ext cx="914876" cy="831600"/>
          </a:xfrm>
          <a:solidFill>
            <a:schemeClr val="bg1"/>
          </a:solidFill>
        </p:spPr>
        <p:txBody>
          <a:bodyPr tIns="576000" anchor="ctr"/>
          <a:lstStyle>
            <a:lvl1pPr marL="0" indent="0" algn="ctr">
              <a:buNone/>
              <a:defRPr sz="8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C3740E63-FE5A-40EF-8F52-2CDC77D09BC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60188" y="910800"/>
            <a:ext cx="914876" cy="831600"/>
          </a:xfrm>
          <a:solidFill>
            <a:schemeClr val="bg1"/>
          </a:solidFill>
        </p:spPr>
        <p:txBody>
          <a:bodyPr lIns="0" tIns="576000" anchor="ctr" anchorCtr="0"/>
          <a:lstStyle>
            <a:lvl1pPr marL="0" indent="0" algn="ctr">
              <a:buNone/>
              <a:defRPr sz="800"/>
            </a:lvl1pPr>
          </a:lstStyle>
          <a:p>
            <a:r>
              <a:rPr lang="en-GB" noProof="0" dirty="0"/>
              <a:t>Click to add picture</a:t>
            </a:r>
          </a:p>
        </p:txBody>
      </p:sp>
      <p:sp>
        <p:nvSpPr>
          <p:cNvPr id="42" name="Picture Placeholder 19">
            <a:extLst>
              <a:ext uri="{FF2B5EF4-FFF2-40B4-BE49-F238E27FC236}">
                <a16:creationId xmlns:a16="http://schemas.microsoft.com/office/drawing/2014/main" id="{8D5C64DC-1081-49DC-BFD2-4636B925322A}"/>
              </a:ext>
            </a:extLst>
          </p:cNvPr>
          <p:cNvSpPr>
            <a:spLocks noGrp="1"/>
          </p:cNvSpPr>
          <p:nvPr>
            <p:ph type="pic" sz="quarter" idx="48" hasCustomPrompt="1"/>
          </p:nvPr>
        </p:nvSpPr>
        <p:spPr>
          <a:xfrm>
            <a:off x="3598273" y="3222000"/>
            <a:ext cx="914876" cy="831600"/>
          </a:xfrm>
          <a:solidFill>
            <a:schemeClr val="bg1"/>
          </a:solidFill>
        </p:spPr>
        <p:txBody>
          <a:bodyPr tIns="576000" anchor="ctr"/>
          <a:lstStyle>
            <a:lvl1pPr marL="0" indent="0" algn="ctr">
              <a:buNone/>
              <a:defRPr sz="8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A6D1B265-D262-5501-AAFF-E36277EF3C4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187" y="360000"/>
            <a:ext cx="11475574" cy="262646"/>
          </a:xfrm>
        </p:spPr>
        <p:txBody>
          <a:bodyPr/>
          <a:lstStyle>
            <a:lvl1pPr>
              <a:defRPr sz="1800"/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D7C23F85-C69D-7BCE-6A2F-4FDAF8383C7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0187" y="626324"/>
            <a:ext cx="11475574" cy="216000"/>
          </a:xfrm>
        </p:spPr>
        <p:txBody>
          <a:bodyPr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1200" cap="all" baseline="0"/>
            </a:lvl1pPr>
            <a:lvl2pPr marL="0" indent="0" algn="l">
              <a:buFont typeface="Arial" panose="020B0604020202020204" pitchFamily="34" charset="0"/>
              <a:buChar char="​"/>
              <a:defRPr sz="2000"/>
            </a:lvl2pPr>
            <a:lvl3pPr marL="0" indent="0" algn="l">
              <a:buFont typeface="Arial" panose="020B0604020202020204" pitchFamily="34" charset="0"/>
              <a:buChar char="​"/>
              <a:defRPr sz="2000"/>
            </a:lvl3pPr>
            <a:lvl4pPr marL="0" indent="0" algn="l">
              <a:buFont typeface="Arial" panose="020B0604020202020204" pitchFamily="34" charset="0"/>
              <a:buChar char="​"/>
              <a:defRPr sz="2000"/>
            </a:lvl4pPr>
            <a:lvl5pPr marL="0" indent="0" algn="l">
              <a:buFont typeface="Arial" panose="020B0604020202020204" pitchFamily="34" charset="0"/>
              <a:buChar char="​"/>
              <a:defRPr sz="2000"/>
            </a:lvl5pPr>
            <a:lvl6pPr marL="0" indent="0" algn="l">
              <a:buFont typeface="Arial" panose="020B0604020202020204" pitchFamily="34" charset="0"/>
              <a:buChar char="​"/>
              <a:defRPr sz="2000"/>
            </a:lvl6pPr>
            <a:lvl7pPr marL="0" indent="0" algn="l">
              <a:buFont typeface="Arial" panose="020B0604020202020204" pitchFamily="34" charset="0"/>
              <a:buChar char="​"/>
              <a:defRPr sz="2000"/>
            </a:lvl7pPr>
            <a:lvl8pPr marL="0" indent="0" algn="l">
              <a:buFont typeface="Arial" panose="020B0604020202020204" pitchFamily="34" charset="0"/>
              <a:buChar char="​"/>
              <a:defRPr sz="2000"/>
            </a:lvl8pPr>
            <a:lvl9pPr marL="0" indent="0" algn="l"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20D34126-ADAD-49F1-84D9-EAF19CAF22AD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60188" y="1796400"/>
            <a:ext cx="914876" cy="2232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BA049A69-8572-47D3-80CA-F395383C9F2D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443752" y="1796400"/>
            <a:ext cx="914876" cy="2232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28" name="Text Placeholder 27">
            <a:extLst>
              <a:ext uri="{FF2B5EF4-FFF2-40B4-BE49-F238E27FC236}">
                <a16:creationId xmlns:a16="http://schemas.microsoft.com/office/drawing/2014/main" id="{89ECD78C-0DB1-4DBD-8749-470548133EF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2527316" y="1796400"/>
            <a:ext cx="914876" cy="2232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30" name="Text Placeholder 29">
            <a:extLst>
              <a:ext uri="{FF2B5EF4-FFF2-40B4-BE49-F238E27FC236}">
                <a16:creationId xmlns:a16="http://schemas.microsoft.com/office/drawing/2014/main" id="{8321FA6D-54DA-4B22-8DA6-70B964939110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610880" y="1796400"/>
            <a:ext cx="914876" cy="2232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77A2278B-4DED-4AF3-9C8F-60F10B6E3326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694444" y="1796400"/>
            <a:ext cx="914876" cy="2232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34" name="Text Placeholder 33">
            <a:extLst>
              <a:ext uri="{FF2B5EF4-FFF2-40B4-BE49-F238E27FC236}">
                <a16:creationId xmlns:a16="http://schemas.microsoft.com/office/drawing/2014/main" id="{4F876C36-A36F-4164-8A91-BCACB4709CDF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778008" y="1796400"/>
            <a:ext cx="914876" cy="2232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029D200B-A02E-48B0-8249-61209D663E13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861572" y="1796400"/>
            <a:ext cx="914876" cy="2232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38" name="Text Placeholder 37">
            <a:extLst>
              <a:ext uri="{FF2B5EF4-FFF2-40B4-BE49-F238E27FC236}">
                <a16:creationId xmlns:a16="http://schemas.microsoft.com/office/drawing/2014/main" id="{F9AABC57-906F-455D-9C3E-66ECC2387B48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360188" y="2952000"/>
            <a:ext cx="914876" cy="2232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40" name="Text Placeholder 39">
            <a:extLst>
              <a:ext uri="{FF2B5EF4-FFF2-40B4-BE49-F238E27FC236}">
                <a16:creationId xmlns:a16="http://schemas.microsoft.com/office/drawing/2014/main" id="{0E935B62-CA54-4FD0-A765-515DD6E0019D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437148" y="2952000"/>
            <a:ext cx="914876" cy="2232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23" name="Text Placeholder 41">
            <a:extLst>
              <a:ext uri="{FF2B5EF4-FFF2-40B4-BE49-F238E27FC236}">
                <a16:creationId xmlns:a16="http://schemas.microsoft.com/office/drawing/2014/main" id="{E19EA140-A6FA-4F8C-B247-0A6BD41EA559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2514109" y="2952000"/>
            <a:ext cx="914876" cy="2232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3pPr>
            <a:lvl4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4pPr>
            <a:lvl5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27" name="Text Placeholder 43">
            <a:extLst>
              <a:ext uri="{FF2B5EF4-FFF2-40B4-BE49-F238E27FC236}">
                <a16:creationId xmlns:a16="http://schemas.microsoft.com/office/drawing/2014/main" id="{2C942555-08EC-4AE6-A2F8-17CE48BBF1A4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3598273" y="2952000"/>
            <a:ext cx="914876" cy="2232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3pPr>
            <a:lvl4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4pPr>
            <a:lvl5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31" name="Text Placeholder 45">
            <a:extLst>
              <a:ext uri="{FF2B5EF4-FFF2-40B4-BE49-F238E27FC236}">
                <a16:creationId xmlns:a16="http://schemas.microsoft.com/office/drawing/2014/main" id="{408B6464-6BFE-4DC7-91EC-A2DC6E4D2140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678836" y="2952000"/>
            <a:ext cx="914876" cy="2232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3pPr>
            <a:lvl4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4pPr>
            <a:lvl5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43" name="Text Placeholder 47">
            <a:extLst>
              <a:ext uri="{FF2B5EF4-FFF2-40B4-BE49-F238E27FC236}">
                <a16:creationId xmlns:a16="http://schemas.microsoft.com/office/drawing/2014/main" id="{8737F831-E7BF-431C-A783-6DB77525B3A2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5759398" y="2952000"/>
            <a:ext cx="914876" cy="2232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44" name="Text Placeholder 49">
            <a:extLst>
              <a:ext uri="{FF2B5EF4-FFF2-40B4-BE49-F238E27FC236}">
                <a16:creationId xmlns:a16="http://schemas.microsoft.com/office/drawing/2014/main" id="{9E3D94BF-34E4-4338-8F6F-361DE3B6FA1B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6861572" y="2952000"/>
            <a:ext cx="914876" cy="2232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45" name="Text Placeholder 51">
            <a:extLst>
              <a:ext uri="{FF2B5EF4-FFF2-40B4-BE49-F238E27FC236}">
                <a16:creationId xmlns:a16="http://schemas.microsoft.com/office/drawing/2014/main" id="{62161C55-F439-471C-B3B0-A720649B1871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360188" y="4107600"/>
            <a:ext cx="914876" cy="2232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46" name="Text Placeholder 53">
            <a:extLst>
              <a:ext uri="{FF2B5EF4-FFF2-40B4-BE49-F238E27FC236}">
                <a16:creationId xmlns:a16="http://schemas.microsoft.com/office/drawing/2014/main" id="{7DFE047B-0788-4473-B4F5-CE949506BCE7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1437148" y="4107600"/>
            <a:ext cx="914876" cy="2232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3pPr>
            <a:lvl4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4pPr>
            <a:lvl5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47" name="Text Placeholder 55">
            <a:extLst>
              <a:ext uri="{FF2B5EF4-FFF2-40B4-BE49-F238E27FC236}">
                <a16:creationId xmlns:a16="http://schemas.microsoft.com/office/drawing/2014/main" id="{140B104F-C6E0-4A2B-A858-D06AD92AB88E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2514109" y="4107600"/>
            <a:ext cx="914876" cy="2232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3pPr>
            <a:lvl4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4pPr>
            <a:lvl5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48" name="Text Placeholder 57">
            <a:extLst>
              <a:ext uri="{FF2B5EF4-FFF2-40B4-BE49-F238E27FC236}">
                <a16:creationId xmlns:a16="http://schemas.microsoft.com/office/drawing/2014/main" id="{10309CCA-94D0-402A-A7B1-E67A33EF3C94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3598273" y="4107600"/>
            <a:ext cx="914876" cy="2232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3pPr>
            <a:lvl4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4pPr>
            <a:lvl5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29" name="Text Placeholder 53">
            <a:extLst>
              <a:ext uri="{FF2B5EF4-FFF2-40B4-BE49-F238E27FC236}">
                <a16:creationId xmlns:a16="http://schemas.microsoft.com/office/drawing/2014/main" id="{083A4388-0528-E01B-4DB8-7B30A4AC62FC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678836" y="4107600"/>
            <a:ext cx="914876" cy="2232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3pPr>
            <a:lvl4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4pPr>
            <a:lvl5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49" name="Text Placeholder 55">
            <a:extLst>
              <a:ext uri="{FF2B5EF4-FFF2-40B4-BE49-F238E27FC236}">
                <a16:creationId xmlns:a16="http://schemas.microsoft.com/office/drawing/2014/main" id="{4AC6EBA8-3617-9D1C-DFDC-52B62F857EBB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5759398" y="4107600"/>
            <a:ext cx="914876" cy="2232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3pPr>
            <a:lvl4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4pPr>
            <a:lvl5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50" name="Text Placeholder 57">
            <a:extLst>
              <a:ext uri="{FF2B5EF4-FFF2-40B4-BE49-F238E27FC236}">
                <a16:creationId xmlns:a16="http://schemas.microsoft.com/office/drawing/2014/main" id="{FF6E8665-0472-04B2-48C4-3AFCA867ABE0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6861572" y="4107600"/>
            <a:ext cx="914876" cy="2232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3pPr>
            <a:lvl4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4pPr>
            <a:lvl5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55" name="Text Placeholder 51">
            <a:extLst>
              <a:ext uri="{FF2B5EF4-FFF2-40B4-BE49-F238E27FC236}">
                <a16:creationId xmlns:a16="http://schemas.microsoft.com/office/drawing/2014/main" id="{E23DD107-8FE9-8B68-AF70-8A0DD8CEC1B2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360188" y="5259600"/>
            <a:ext cx="914876" cy="2232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56" name="Text Placeholder 53">
            <a:extLst>
              <a:ext uri="{FF2B5EF4-FFF2-40B4-BE49-F238E27FC236}">
                <a16:creationId xmlns:a16="http://schemas.microsoft.com/office/drawing/2014/main" id="{557CA5AE-94CC-00B6-D329-8FA897E98626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1437148" y="5259600"/>
            <a:ext cx="914876" cy="2232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3pPr>
            <a:lvl4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4pPr>
            <a:lvl5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57" name="Text Placeholder 55">
            <a:extLst>
              <a:ext uri="{FF2B5EF4-FFF2-40B4-BE49-F238E27FC236}">
                <a16:creationId xmlns:a16="http://schemas.microsoft.com/office/drawing/2014/main" id="{82058904-DFF1-EB56-D022-783189B7FAA8}"/>
              </a:ext>
            </a:extLst>
          </p:cNvPr>
          <p:cNvSpPr>
            <a:spLocks noGrp="1"/>
          </p:cNvSpPr>
          <p:nvPr>
            <p:ph type="body" sz="quarter" idx="70" hasCustomPrompt="1"/>
          </p:nvPr>
        </p:nvSpPr>
        <p:spPr>
          <a:xfrm>
            <a:off x="2514109" y="5259600"/>
            <a:ext cx="914876" cy="2232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3pPr>
            <a:lvl4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4pPr>
            <a:lvl5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58" name="Text Placeholder 57">
            <a:extLst>
              <a:ext uri="{FF2B5EF4-FFF2-40B4-BE49-F238E27FC236}">
                <a16:creationId xmlns:a16="http://schemas.microsoft.com/office/drawing/2014/main" id="{B05E6D32-49BA-B9D9-008E-62CAD14C92C6}"/>
              </a:ext>
            </a:extLst>
          </p:cNvPr>
          <p:cNvSpPr>
            <a:spLocks noGrp="1"/>
          </p:cNvSpPr>
          <p:nvPr>
            <p:ph type="body" sz="quarter" idx="71" hasCustomPrompt="1"/>
          </p:nvPr>
        </p:nvSpPr>
        <p:spPr>
          <a:xfrm>
            <a:off x="3598273" y="5259600"/>
            <a:ext cx="914876" cy="2232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3pPr>
            <a:lvl4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4pPr>
            <a:lvl5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62" name="Text Placeholder 53">
            <a:extLst>
              <a:ext uri="{FF2B5EF4-FFF2-40B4-BE49-F238E27FC236}">
                <a16:creationId xmlns:a16="http://schemas.microsoft.com/office/drawing/2014/main" id="{52F4EBD7-880B-E2DB-B8F4-B851B774CA3C}"/>
              </a:ext>
            </a:extLst>
          </p:cNvPr>
          <p:cNvSpPr>
            <a:spLocks noGrp="1"/>
          </p:cNvSpPr>
          <p:nvPr>
            <p:ph type="body" sz="quarter" idx="75" hasCustomPrompt="1"/>
          </p:nvPr>
        </p:nvSpPr>
        <p:spPr>
          <a:xfrm>
            <a:off x="4678836" y="5259600"/>
            <a:ext cx="914876" cy="2232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3pPr>
            <a:lvl4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4pPr>
            <a:lvl5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63" name="Text Placeholder 55">
            <a:extLst>
              <a:ext uri="{FF2B5EF4-FFF2-40B4-BE49-F238E27FC236}">
                <a16:creationId xmlns:a16="http://schemas.microsoft.com/office/drawing/2014/main" id="{7CCBA9B6-8B90-E9CA-1A6A-C4C473F9D4CB}"/>
              </a:ext>
            </a:extLst>
          </p:cNvPr>
          <p:cNvSpPr>
            <a:spLocks noGrp="1"/>
          </p:cNvSpPr>
          <p:nvPr>
            <p:ph type="body" sz="quarter" idx="76" hasCustomPrompt="1"/>
          </p:nvPr>
        </p:nvSpPr>
        <p:spPr>
          <a:xfrm>
            <a:off x="5759398" y="5259600"/>
            <a:ext cx="914876" cy="2232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3pPr>
            <a:lvl4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4pPr>
            <a:lvl5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64" name="Text Placeholder 57">
            <a:extLst>
              <a:ext uri="{FF2B5EF4-FFF2-40B4-BE49-F238E27FC236}">
                <a16:creationId xmlns:a16="http://schemas.microsoft.com/office/drawing/2014/main" id="{4B01F6AE-527D-56A4-C903-9EA490816403}"/>
              </a:ext>
            </a:extLst>
          </p:cNvPr>
          <p:cNvSpPr>
            <a:spLocks noGrp="1"/>
          </p:cNvSpPr>
          <p:nvPr>
            <p:ph type="body" sz="quarter" idx="77" hasCustomPrompt="1"/>
          </p:nvPr>
        </p:nvSpPr>
        <p:spPr>
          <a:xfrm>
            <a:off x="6861572" y="5259600"/>
            <a:ext cx="914876" cy="2232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3pPr>
            <a:lvl4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4pPr>
            <a:lvl5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69" name="Text Placeholder 51">
            <a:extLst>
              <a:ext uri="{FF2B5EF4-FFF2-40B4-BE49-F238E27FC236}">
                <a16:creationId xmlns:a16="http://schemas.microsoft.com/office/drawing/2014/main" id="{EE6B74B7-6165-7B5D-1B73-437EA43C7CE1}"/>
              </a:ext>
            </a:extLst>
          </p:cNvPr>
          <p:cNvSpPr>
            <a:spLocks noGrp="1"/>
          </p:cNvSpPr>
          <p:nvPr>
            <p:ph type="body" sz="quarter" idx="82" hasCustomPrompt="1"/>
          </p:nvPr>
        </p:nvSpPr>
        <p:spPr>
          <a:xfrm>
            <a:off x="360188" y="6451200"/>
            <a:ext cx="914876" cy="2232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70" name="Text Placeholder 53">
            <a:extLst>
              <a:ext uri="{FF2B5EF4-FFF2-40B4-BE49-F238E27FC236}">
                <a16:creationId xmlns:a16="http://schemas.microsoft.com/office/drawing/2014/main" id="{364C69A9-6C4C-D58C-D086-20254B52E7AC}"/>
              </a:ext>
            </a:extLst>
          </p:cNvPr>
          <p:cNvSpPr>
            <a:spLocks noGrp="1"/>
          </p:cNvSpPr>
          <p:nvPr>
            <p:ph type="body" sz="quarter" idx="83" hasCustomPrompt="1"/>
          </p:nvPr>
        </p:nvSpPr>
        <p:spPr>
          <a:xfrm>
            <a:off x="1437148" y="6451200"/>
            <a:ext cx="914876" cy="2232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3pPr>
            <a:lvl4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4pPr>
            <a:lvl5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71" name="Text Placeholder 55">
            <a:extLst>
              <a:ext uri="{FF2B5EF4-FFF2-40B4-BE49-F238E27FC236}">
                <a16:creationId xmlns:a16="http://schemas.microsoft.com/office/drawing/2014/main" id="{4BE77CC7-8CF4-CF59-2328-9EBE4B72853D}"/>
              </a:ext>
            </a:extLst>
          </p:cNvPr>
          <p:cNvSpPr>
            <a:spLocks noGrp="1"/>
          </p:cNvSpPr>
          <p:nvPr>
            <p:ph type="body" sz="quarter" idx="84" hasCustomPrompt="1"/>
          </p:nvPr>
        </p:nvSpPr>
        <p:spPr>
          <a:xfrm>
            <a:off x="2514109" y="6451200"/>
            <a:ext cx="914876" cy="2232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3pPr>
            <a:lvl4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4pPr>
            <a:lvl5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72" name="Text Placeholder 57">
            <a:extLst>
              <a:ext uri="{FF2B5EF4-FFF2-40B4-BE49-F238E27FC236}">
                <a16:creationId xmlns:a16="http://schemas.microsoft.com/office/drawing/2014/main" id="{5783C6D4-A8B0-1816-B715-519700F6E4C9}"/>
              </a:ext>
            </a:extLst>
          </p:cNvPr>
          <p:cNvSpPr>
            <a:spLocks noGrp="1"/>
          </p:cNvSpPr>
          <p:nvPr>
            <p:ph type="body" sz="quarter" idx="85" hasCustomPrompt="1"/>
          </p:nvPr>
        </p:nvSpPr>
        <p:spPr>
          <a:xfrm>
            <a:off x="3598273" y="6451200"/>
            <a:ext cx="914876" cy="2232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3pPr>
            <a:lvl4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4pPr>
            <a:lvl5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76" name="Text Placeholder 53">
            <a:extLst>
              <a:ext uri="{FF2B5EF4-FFF2-40B4-BE49-F238E27FC236}">
                <a16:creationId xmlns:a16="http://schemas.microsoft.com/office/drawing/2014/main" id="{566295A4-C37F-960F-307E-7F80885E4CBF}"/>
              </a:ext>
            </a:extLst>
          </p:cNvPr>
          <p:cNvSpPr>
            <a:spLocks noGrp="1"/>
          </p:cNvSpPr>
          <p:nvPr>
            <p:ph type="body" sz="quarter" idx="89" hasCustomPrompt="1"/>
          </p:nvPr>
        </p:nvSpPr>
        <p:spPr>
          <a:xfrm>
            <a:off x="4678836" y="6451200"/>
            <a:ext cx="914876" cy="2232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3pPr>
            <a:lvl4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4pPr>
            <a:lvl5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77" name="Text Placeholder 55">
            <a:extLst>
              <a:ext uri="{FF2B5EF4-FFF2-40B4-BE49-F238E27FC236}">
                <a16:creationId xmlns:a16="http://schemas.microsoft.com/office/drawing/2014/main" id="{F09A6CBD-205C-DF1C-78C4-BF084B11A583}"/>
              </a:ext>
            </a:extLst>
          </p:cNvPr>
          <p:cNvSpPr>
            <a:spLocks noGrp="1"/>
          </p:cNvSpPr>
          <p:nvPr>
            <p:ph type="body" sz="quarter" idx="90" hasCustomPrompt="1"/>
          </p:nvPr>
        </p:nvSpPr>
        <p:spPr>
          <a:xfrm>
            <a:off x="5759398" y="6451200"/>
            <a:ext cx="914876" cy="2232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3pPr>
            <a:lvl4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4pPr>
            <a:lvl5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78" name="Text Placeholder 57">
            <a:extLst>
              <a:ext uri="{FF2B5EF4-FFF2-40B4-BE49-F238E27FC236}">
                <a16:creationId xmlns:a16="http://schemas.microsoft.com/office/drawing/2014/main" id="{1A424125-2838-2B60-13D5-B2BAD86C4624}"/>
              </a:ext>
            </a:extLst>
          </p:cNvPr>
          <p:cNvSpPr>
            <a:spLocks noGrp="1"/>
          </p:cNvSpPr>
          <p:nvPr>
            <p:ph type="body" sz="quarter" idx="91" hasCustomPrompt="1"/>
          </p:nvPr>
        </p:nvSpPr>
        <p:spPr>
          <a:xfrm>
            <a:off x="6861572" y="6451200"/>
            <a:ext cx="914876" cy="2232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3pPr>
            <a:lvl4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4pPr>
            <a:lvl5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88" name="Text Placeholder 87">
            <a:extLst>
              <a:ext uri="{FF2B5EF4-FFF2-40B4-BE49-F238E27FC236}">
                <a16:creationId xmlns:a16="http://schemas.microsoft.com/office/drawing/2014/main" id="{ACEA83A2-01BA-8AE4-C2D3-10B6CDA37065}"/>
              </a:ext>
            </a:extLst>
          </p:cNvPr>
          <p:cNvSpPr>
            <a:spLocks noGrp="1"/>
          </p:cNvSpPr>
          <p:nvPr>
            <p:ph type="body" sz="quarter" idx="93" hasCustomPrompt="1"/>
          </p:nvPr>
        </p:nvSpPr>
        <p:spPr>
          <a:xfrm>
            <a:off x="8877160" y="4780722"/>
            <a:ext cx="2960640" cy="1716916"/>
          </a:xfrm>
        </p:spPr>
        <p:txBody>
          <a:bodyPr anchor="b" anchorCtr="0"/>
          <a:lstStyle>
            <a:lvl1pPr marL="0" indent="0" algn="r">
              <a:buFont typeface="Arial" panose="020B0604020202020204" pitchFamily="34" charset="0"/>
              <a:buNone/>
              <a:defRPr sz="1200" b="0" cap="all">
                <a:latin typeface="+mn-lt"/>
              </a:defRPr>
            </a:lvl1pPr>
            <a:lvl2pPr marL="0" indent="0" algn="r">
              <a:buNone/>
              <a:defRPr sz="1200" b="0" cap="all">
                <a:latin typeface="+mn-lt"/>
              </a:defRPr>
            </a:lvl2pPr>
            <a:lvl3pPr marL="0" indent="0" algn="r">
              <a:buNone/>
              <a:defRPr sz="1200" b="0" cap="all">
                <a:latin typeface="+mn-lt"/>
              </a:defRPr>
            </a:lvl3pPr>
            <a:lvl4pPr marL="0" indent="0" algn="r">
              <a:buNone/>
              <a:defRPr sz="1200" b="0" cap="all">
                <a:latin typeface="+mn-lt"/>
              </a:defRPr>
            </a:lvl4pPr>
            <a:lvl5pPr marL="0" indent="0" algn="r">
              <a:buNone/>
              <a:defRPr sz="1200" b="0" cap="all">
                <a:latin typeface="+mn-lt"/>
              </a:defRPr>
            </a:lvl5pPr>
            <a:lvl6pPr marL="0" indent="0" algn="r">
              <a:buNone/>
              <a:defRPr sz="1200" b="0" cap="all">
                <a:latin typeface="+mn-lt"/>
              </a:defRPr>
            </a:lvl6pPr>
            <a:lvl7pPr marL="0" indent="0" algn="r">
              <a:buNone/>
              <a:defRPr sz="1200" b="0" cap="all">
                <a:latin typeface="+mn-lt"/>
              </a:defRPr>
            </a:lvl7pPr>
            <a:lvl8pPr marL="0" indent="0" algn="r">
              <a:buNone/>
              <a:defRPr sz="1200" b="0" cap="all">
                <a:latin typeface="+mn-lt"/>
              </a:defRPr>
            </a:lvl8pPr>
            <a:lvl9pPr marL="0" indent="0" algn="r">
              <a:buNone/>
              <a:defRPr sz="1200" b="0" cap="all">
                <a:latin typeface="+mn-lt"/>
              </a:defRPr>
            </a:lvl9pPr>
          </a:lstStyle>
          <a:p>
            <a:pPr marL="171450" marR="0" lvl="0" indent="-17145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tabLst/>
              <a:defRPr/>
            </a:pPr>
            <a:r>
              <a:rPr lang="en-GB" dirty="0"/>
              <a:t>Click to add Price overview</a:t>
            </a:r>
          </a:p>
        </p:txBody>
      </p:sp>
    </p:spTree>
    <p:extLst>
      <p:ext uri="{BB962C8B-B14F-4D97-AF65-F5344CB8AC3E}">
        <p14:creationId xmlns:p14="http://schemas.microsoft.com/office/powerpoint/2010/main" val="3721186078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duct 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34B8E136-E117-42A9-A6F2-2470AA39F0E8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15"/>
          </p:nvPr>
        </p:nvSpPr>
        <p:spPr/>
        <p:txBody>
          <a:bodyPr/>
          <a:lstStyle/>
          <a:p>
            <a:fld id="{45527A44-AA1D-4BA1-AA93-32475F9E9A8F}" type="datetime4">
              <a:rPr lang="en-GB" smtClean="0"/>
              <a:pPr/>
              <a:t>14 March 2025</a:t>
            </a:fld>
            <a:endParaRPr lang="en-GB" dirty="0"/>
          </a:p>
        </p:txBody>
      </p:sp>
      <p:sp>
        <p:nvSpPr>
          <p:cNvPr id="8" name="Text Placeholder background">
            <a:extLst>
              <a:ext uri="{FF2B5EF4-FFF2-40B4-BE49-F238E27FC236}">
                <a16:creationId xmlns:a16="http://schemas.microsoft.com/office/drawing/2014/main" id="{49B3B134-22E1-EC53-EE96-2F1DA1AEE9A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white">
          <a:xfrm>
            <a:off x="0" y="0"/>
            <a:ext cx="12198350" cy="6858000"/>
          </a:xfrm>
          <a:solidFill>
            <a:srgbClr val="ECE8DD"/>
          </a:solidFill>
          <a:ln>
            <a:noFill/>
          </a:ln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C3740E63-FE5A-40EF-8F52-2CDC77D09BC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60187" y="358776"/>
            <a:ext cx="4571568" cy="6138863"/>
          </a:xfrm>
          <a:solidFill>
            <a:schemeClr val="bg1">
              <a:lumMod val="95000"/>
            </a:schemeClr>
          </a:solidFill>
        </p:spPr>
        <p:txBody>
          <a:bodyPr lIns="0" tIns="648000" anchor="ctr" anchorCtr="0"/>
          <a:lstStyle>
            <a:lvl1pPr marL="0" indent="0" algn="ctr">
              <a:buNone/>
              <a:defRPr sz="1200"/>
            </a:lvl1pPr>
          </a:lstStyle>
          <a:p>
            <a:r>
              <a:rPr lang="en-GB" noProof="0" dirty="0"/>
              <a:t>Click to add picture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DFAB5AB8-2A3A-EC43-3BF2-8727B842F08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92305" y="360000"/>
            <a:ext cx="6543456" cy="262646"/>
          </a:xfrm>
        </p:spPr>
        <p:txBody>
          <a:bodyPr/>
          <a:lstStyle>
            <a:lvl1pPr>
              <a:defRPr sz="1800"/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8F8C1A55-5FBE-CBAC-78EC-59311AB4A6A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292305" y="626324"/>
            <a:ext cx="6543456" cy="216000"/>
          </a:xfrm>
        </p:spPr>
        <p:txBody>
          <a:bodyPr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1200" cap="all" baseline="0"/>
            </a:lvl1pPr>
            <a:lvl2pPr marL="0" indent="0" algn="l">
              <a:buFont typeface="Arial" panose="020B0604020202020204" pitchFamily="34" charset="0"/>
              <a:buChar char="​"/>
              <a:defRPr sz="2000"/>
            </a:lvl2pPr>
            <a:lvl3pPr marL="0" indent="0" algn="l">
              <a:buFont typeface="Arial" panose="020B0604020202020204" pitchFamily="34" charset="0"/>
              <a:buChar char="​"/>
              <a:defRPr sz="2000"/>
            </a:lvl3pPr>
            <a:lvl4pPr marL="0" indent="0" algn="l">
              <a:buFont typeface="Arial" panose="020B0604020202020204" pitchFamily="34" charset="0"/>
              <a:buChar char="​"/>
              <a:defRPr sz="2000"/>
            </a:lvl4pPr>
            <a:lvl5pPr marL="0" indent="0" algn="l">
              <a:buFont typeface="Arial" panose="020B0604020202020204" pitchFamily="34" charset="0"/>
              <a:buChar char="​"/>
              <a:defRPr sz="2000"/>
            </a:lvl5pPr>
            <a:lvl6pPr marL="0" indent="0" algn="l">
              <a:buFont typeface="Arial" panose="020B0604020202020204" pitchFamily="34" charset="0"/>
              <a:buChar char="​"/>
              <a:defRPr sz="2000"/>
            </a:lvl6pPr>
            <a:lvl7pPr marL="0" indent="0" algn="l">
              <a:buFont typeface="Arial" panose="020B0604020202020204" pitchFamily="34" charset="0"/>
              <a:buChar char="​"/>
              <a:defRPr sz="2000"/>
            </a:lvl7pPr>
            <a:lvl8pPr marL="0" indent="0" algn="l">
              <a:buFont typeface="Arial" panose="020B0604020202020204" pitchFamily="34" charset="0"/>
              <a:buChar char="​"/>
              <a:defRPr sz="2000"/>
            </a:lvl8pPr>
            <a:lvl9pPr marL="0" indent="0" algn="l"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7D6E9B2-1AF2-4449-B871-54E998FD434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GB" dirty="0"/>
              <a:t>Muuto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719CC4C-6365-40AD-A887-1A7E4A902DF0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12153098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duct 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 hidden="1">
            <a:extLst>
              <a:ext uri="{FF2B5EF4-FFF2-40B4-BE49-F238E27FC236}">
                <a16:creationId xmlns:a16="http://schemas.microsoft.com/office/drawing/2014/main" id="{B97C17C9-B9C5-47D1-9050-2FA6A12BC46E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37"/>
          </p:nvPr>
        </p:nvSpPr>
        <p:spPr/>
        <p:txBody>
          <a:bodyPr/>
          <a:lstStyle/>
          <a:p>
            <a:fld id="{45527A44-AA1D-4BA1-AA93-32475F9E9A8F}" type="datetime4">
              <a:rPr lang="en-GB" smtClean="0"/>
              <a:pPr/>
              <a:t>14 March 2025</a:t>
            </a:fld>
            <a:endParaRPr lang="en-GB" dirty="0"/>
          </a:p>
        </p:txBody>
      </p:sp>
      <p:sp>
        <p:nvSpPr>
          <p:cNvPr id="2" name="Text Placeholder background">
            <a:extLst>
              <a:ext uri="{FF2B5EF4-FFF2-40B4-BE49-F238E27FC236}">
                <a16:creationId xmlns:a16="http://schemas.microsoft.com/office/drawing/2014/main" id="{8E16EF3E-8BB6-0359-C4C3-87BDB8F545F8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 bwMode="white">
          <a:xfrm>
            <a:off x="0" y="0"/>
            <a:ext cx="12198350" cy="6858000"/>
          </a:xfrm>
          <a:solidFill>
            <a:srgbClr val="ECE8DD"/>
          </a:solidFill>
          <a:ln>
            <a:noFill/>
          </a:ln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A1EAB557-51FE-4F46-971A-ED4CEBB5AC4C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6278656" y="1008000"/>
            <a:ext cx="1613640" cy="1177200"/>
          </a:xfrm>
          <a:solidFill>
            <a:schemeClr val="bg1">
              <a:lumMod val="95000"/>
            </a:schemeClr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397DB119-4C74-4B54-9E2F-163A08938EC5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4305728" y="1008000"/>
            <a:ext cx="1613640" cy="1177200"/>
          </a:xfrm>
          <a:solidFill>
            <a:schemeClr val="bg1">
              <a:lumMod val="95000"/>
            </a:schemeClr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00883700-9020-4EDE-B612-DD8CC8490357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8251896" y="1008000"/>
            <a:ext cx="1613640" cy="1177200"/>
          </a:xfrm>
          <a:solidFill>
            <a:schemeClr val="bg1">
              <a:lumMod val="95000"/>
            </a:schemeClr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37502B56-F0FB-4E62-B8DB-61DFAEDA3ECA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10225723" y="1008000"/>
            <a:ext cx="1613640" cy="1177200"/>
          </a:xfrm>
          <a:solidFill>
            <a:schemeClr val="bg1">
              <a:lumMod val="95000"/>
            </a:schemeClr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E2E08168-0D95-474A-8248-65F90C47763E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4305727" y="2638800"/>
            <a:ext cx="1613640" cy="1177200"/>
          </a:xfrm>
          <a:solidFill>
            <a:schemeClr val="bg1">
              <a:lumMod val="95000"/>
            </a:schemeClr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323B86F2-F615-4D6C-B0EB-807DFCD5D209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6278656" y="2638800"/>
            <a:ext cx="1613640" cy="1177200"/>
          </a:xfrm>
          <a:solidFill>
            <a:schemeClr val="bg1">
              <a:lumMod val="95000"/>
            </a:schemeClr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D83C9C8D-63B3-4187-ABE3-0D600C0A681C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8251896" y="2638800"/>
            <a:ext cx="1613640" cy="1177200"/>
          </a:xfrm>
          <a:solidFill>
            <a:schemeClr val="bg1">
              <a:lumMod val="95000"/>
            </a:schemeClr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B52BC476-88D1-4D99-8B6B-007FB91475CF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10225723" y="2638800"/>
            <a:ext cx="1613640" cy="1177200"/>
          </a:xfrm>
          <a:solidFill>
            <a:schemeClr val="bg1">
              <a:lumMod val="95000"/>
            </a:schemeClr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06C06DA1-EBA2-4DF7-A638-5294A1981C9D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4305727" y="4330800"/>
            <a:ext cx="1613640" cy="1177200"/>
          </a:xfrm>
          <a:solidFill>
            <a:schemeClr val="bg1">
              <a:lumMod val="95000"/>
            </a:schemeClr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A5C6329C-D607-4C42-9D1E-1E788B0921AB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>
          <a:xfrm>
            <a:off x="6278656" y="4330800"/>
            <a:ext cx="1613640" cy="1177200"/>
          </a:xfrm>
          <a:solidFill>
            <a:schemeClr val="bg1">
              <a:lumMod val="95000"/>
            </a:schemeClr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Euclid Flex" panose="020B0500030000000000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23" name="Picture Placeholder 22">
            <a:extLst>
              <a:ext uri="{FF2B5EF4-FFF2-40B4-BE49-F238E27FC236}">
                <a16:creationId xmlns:a16="http://schemas.microsoft.com/office/drawing/2014/main" id="{5227146C-1DC7-4E6D-A60B-1529631888C2}"/>
              </a:ext>
            </a:extLst>
          </p:cNvPr>
          <p:cNvSpPr>
            <a:spLocks noGrp="1"/>
          </p:cNvSpPr>
          <p:nvPr>
            <p:ph type="pic" sz="quarter" idx="43" hasCustomPrompt="1"/>
          </p:nvPr>
        </p:nvSpPr>
        <p:spPr>
          <a:xfrm>
            <a:off x="8251896" y="4330800"/>
            <a:ext cx="1613640" cy="1177200"/>
          </a:xfrm>
          <a:solidFill>
            <a:schemeClr val="bg1">
              <a:lumMod val="95000"/>
            </a:schemeClr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27" name="Picture Placeholder 26">
            <a:extLst>
              <a:ext uri="{FF2B5EF4-FFF2-40B4-BE49-F238E27FC236}">
                <a16:creationId xmlns:a16="http://schemas.microsoft.com/office/drawing/2014/main" id="{102631CC-B615-4AE0-A5C0-000D2A0113E5}"/>
              </a:ext>
            </a:extLst>
          </p:cNvPr>
          <p:cNvSpPr>
            <a:spLocks noGrp="1"/>
          </p:cNvSpPr>
          <p:nvPr>
            <p:ph type="pic" sz="quarter" idx="44" hasCustomPrompt="1"/>
          </p:nvPr>
        </p:nvSpPr>
        <p:spPr>
          <a:xfrm>
            <a:off x="10225723" y="4330800"/>
            <a:ext cx="1613640" cy="1177200"/>
          </a:xfrm>
          <a:solidFill>
            <a:schemeClr val="bg1">
              <a:lumMod val="95000"/>
            </a:schemeClr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C3740E63-FE5A-40EF-8F52-2CDC77D09BC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60187" y="1008000"/>
            <a:ext cx="3583866" cy="2005200"/>
          </a:xfrm>
          <a:solidFill>
            <a:schemeClr val="bg1">
              <a:lumMod val="95000"/>
            </a:schemeClr>
          </a:solidFill>
        </p:spPr>
        <p:txBody>
          <a:bodyPr lIns="0" tIns="648000" anchor="ctr" anchorCtr="0"/>
          <a:lstStyle>
            <a:lvl1pPr marL="0" indent="0" algn="ctr">
              <a:buNone/>
              <a:defRPr sz="1200"/>
            </a:lvl1pPr>
          </a:lstStyle>
          <a:p>
            <a:r>
              <a:rPr lang="en-GB" noProof="0" dirty="0"/>
              <a:t>Click to add picture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E4CE11A7-B286-4542-A784-29F433156854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360187" y="3171600"/>
            <a:ext cx="3583866" cy="3326400"/>
          </a:xfrm>
          <a:solidFill>
            <a:schemeClr val="bg1">
              <a:lumMod val="95000"/>
            </a:schemeClr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r>
              <a:rPr lang="en-GB" dirty="0"/>
              <a:t>Click to add picture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3E250783-0C4B-5757-BA56-75008FA5F8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187" y="360000"/>
            <a:ext cx="11475574" cy="262646"/>
          </a:xfrm>
        </p:spPr>
        <p:txBody>
          <a:bodyPr/>
          <a:lstStyle>
            <a:lvl1pPr>
              <a:defRPr sz="1800"/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20B5B867-9E06-5FA2-8FAF-9DC191575E6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0187" y="626324"/>
            <a:ext cx="11475574" cy="216000"/>
          </a:xfrm>
        </p:spPr>
        <p:txBody>
          <a:bodyPr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1200" cap="all" baseline="0"/>
            </a:lvl1pPr>
            <a:lvl2pPr marL="0" indent="0" algn="l">
              <a:buFont typeface="Arial" panose="020B0604020202020204" pitchFamily="34" charset="0"/>
              <a:buChar char="​"/>
              <a:defRPr sz="2000"/>
            </a:lvl2pPr>
            <a:lvl3pPr marL="0" indent="0" algn="l">
              <a:buFont typeface="Arial" panose="020B0604020202020204" pitchFamily="34" charset="0"/>
              <a:buChar char="​"/>
              <a:defRPr sz="2000"/>
            </a:lvl3pPr>
            <a:lvl4pPr marL="0" indent="0" algn="l">
              <a:buFont typeface="Arial" panose="020B0604020202020204" pitchFamily="34" charset="0"/>
              <a:buChar char="​"/>
              <a:defRPr sz="2000"/>
            </a:lvl4pPr>
            <a:lvl5pPr marL="0" indent="0" algn="l">
              <a:buFont typeface="Arial" panose="020B0604020202020204" pitchFamily="34" charset="0"/>
              <a:buChar char="​"/>
              <a:defRPr sz="2000"/>
            </a:lvl5pPr>
            <a:lvl6pPr marL="0" indent="0" algn="l">
              <a:buFont typeface="Arial" panose="020B0604020202020204" pitchFamily="34" charset="0"/>
              <a:buChar char="​"/>
              <a:defRPr sz="2000"/>
            </a:lvl6pPr>
            <a:lvl7pPr marL="0" indent="0" algn="l">
              <a:buFont typeface="Arial" panose="020B0604020202020204" pitchFamily="34" charset="0"/>
              <a:buChar char="​"/>
              <a:defRPr sz="2000"/>
            </a:lvl7pPr>
            <a:lvl8pPr marL="0" indent="0" algn="l">
              <a:buFont typeface="Arial" panose="020B0604020202020204" pitchFamily="34" charset="0"/>
              <a:buChar char="​"/>
              <a:defRPr sz="2000"/>
            </a:lvl8pPr>
            <a:lvl9pPr marL="0" indent="0" algn="l"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20D34126-ADAD-49F1-84D9-EAF19CAF22AD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305728" y="5590800"/>
            <a:ext cx="1606436" cy="223200"/>
          </a:xfrm>
          <a:noFill/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XXXX/XXXX</a:t>
            </a:r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BA049A69-8572-47D3-80CA-F395383C9F2D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305727" y="2271600"/>
            <a:ext cx="1613640" cy="2232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XXXX/XXXX</a:t>
            </a:r>
          </a:p>
        </p:txBody>
      </p:sp>
      <p:sp>
        <p:nvSpPr>
          <p:cNvPr id="28" name="Text Placeholder 27">
            <a:extLst>
              <a:ext uri="{FF2B5EF4-FFF2-40B4-BE49-F238E27FC236}">
                <a16:creationId xmlns:a16="http://schemas.microsoft.com/office/drawing/2014/main" id="{89ECD78C-0DB1-4DBD-8749-470548133EF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278656" y="2271600"/>
            <a:ext cx="1613640" cy="2232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XXXX/XXXX</a:t>
            </a:r>
          </a:p>
        </p:txBody>
      </p:sp>
      <p:sp>
        <p:nvSpPr>
          <p:cNvPr id="30" name="Text Placeholder 29">
            <a:extLst>
              <a:ext uri="{FF2B5EF4-FFF2-40B4-BE49-F238E27FC236}">
                <a16:creationId xmlns:a16="http://schemas.microsoft.com/office/drawing/2014/main" id="{8321FA6D-54DA-4B22-8DA6-70B964939110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8251896" y="2271600"/>
            <a:ext cx="1613640" cy="2232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XXXX/XXXX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77A2278B-4DED-4AF3-9C8F-60F10B6E3326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10225723" y="2271600"/>
            <a:ext cx="1613640" cy="2232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XXXX/XXXX</a:t>
            </a:r>
          </a:p>
        </p:txBody>
      </p:sp>
      <p:sp>
        <p:nvSpPr>
          <p:cNvPr id="34" name="Text Placeholder 33">
            <a:extLst>
              <a:ext uri="{FF2B5EF4-FFF2-40B4-BE49-F238E27FC236}">
                <a16:creationId xmlns:a16="http://schemas.microsoft.com/office/drawing/2014/main" id="{4F876C36-A36F-4164-8A91-BCACB4709CDF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305727" y="3934800"/>
            <a:ext cx="1613640" cy="2232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XXXX/XXXX</a:t>
            </a:r>
          </a:p>
        </p:txBody>
      </p: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029D200B-A02E-48B0-8249-61209D663E13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278656" y="3934800"/>
            <a:ext cx="1613640" cy="2232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XXXX/XXXX</a:t>
            </a:r>
          </a:p>
        </p:txBody>
      </p:sp>
      <p:sp>
        <p:nvSpPr>
          <p:cNvPr id="38" name="Text Placeholder 37">
            <a:extLst>
              <a:ext uri="{FF2B5EF4-FFF2-40B4-BE49-F238E27FC236}">
                <a16:creationId xmlns:a16="http://schemas.microsoft.com/office/drawing/2014/main" id="{F9AABC57-906F-455D-9C3E-66ECC2387B48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251896" y="3934800"/>
            <a:ext cx="1613640" cy="2232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XXXX/XXXX</a:t>
            </a:r>
          </a:p>
        </p:txBody>
      </p:sp>
      <p:sp>
        <p:nvSpPr>
          <p:cNvPr id="40" name="Text Placeholder 39">
            <a:extLst>
              <a:ext uri="{FF2B5EF4-FFF2-40B4-BE49-F238E27FC236}">
                <a16:creationId xmlns:a16="http://schemas.microsoft.com/office/drawing/2014/main" id="{0E935B62-CA54-4FD0-A765-515DD6E0019D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0225723" y="3934800"/>
            <a:ext cx="1613640" cy="2232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XXXX/XXXX</a:t>
            </a:r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8A7BC760-8878-4DB1-881F-BC8752FB2520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6278656" y="5590800"/>
            <a:ext cx="1613640" cy="223200"/>
          </a:xfrm>
          <a:noFill/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3pPr>
            <a:lvl4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4pPr>
            <a:lvl5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XXXX/XXXX</a:t>
            </a:r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B9FB1784-22FE-47B7-A48D-CFAE14618390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8251896" y="5590800"/>
            <a:ext cx="1613640" cy="223200"/>
          </a:xfrm>
          <a:noFill/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3pPr>
            <a:lvl4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4pPr>
            <a:lvl5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XXXX/XXXX</a:t>
            </a:r>
          </a:p>
        </p:txBody>
      </p:sp>
      <p:sp>
        <p:nvSpPr>
          <p:cNvPr id="39" name="Text Placeholder 38">
            <a:extLst>
              <a:ext uri="{FF2B5EF4-FFF2-40B4-BE49-F238E27FC236}">
                <a16:creationId xmlns:a16="http://schemas.microsoft.com/office/drawing/2014/main" id="{86D7AE2E-1EA8-4CEF-9930-D28D84060176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10225723" y="5590800"/>
            <a:ext cx="1613640" cy="223200"/>
          </a:xfrm>
          <a:noFill/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3pPr>
            <a:lvl4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4pPr>
            <a:lvl5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XXXX/XXXX</a:t>
            </a:r>
          </a:p>
        </p:txBody>
      </p:sp>
      <p:sp>
        <p:nvSpPr>
          <p:cNvPr id="42" name="Picture Placeholder 41">
            <a:extLst>
              <a:ext uri="{FF2B5EF4-FFF2-40B4-BE49-F238E27FC236}">
                <a16:creationId xmlns:a16="http://schemas.microsoft.com/office/drawing/2014/main" id="{27FF3BF3-D4DC-4BCD-8CA3-D011CD15EFA0}"/>
              </a:ext>
            </a:extLst>
          </p:cNvPr>
          <p:cNvSpPr>
            <a:spLocks noGrp="1"/>
          </p:cNvSpPr>
          <p:nvPr>
            <p:ph type="pic" sz="quarter" idx="48" hasCustomPrompt="1"/>
          </p:nvPr>
        </p:nvSpPr>
        <p:spPr>
          <a:xfrm>
            <a:off x="4310718" y="5979600"/>
            <a:ext cx="626726" cy="518400"/>
          </a:xfrm>
          <a:noFill/>
        </p:spPr>
        <p:txBody>
          <a:bodyPr anchor="b"/>
          <a:lstStyle>
            <a:lvl1pPr marL="0" indent="0" algn="ctr">
              <a:buNone/>
              <a:defRPr sz="800"/>
            </a:lvl1pPr>
          </a:lstStyle>
          <a:p>
            <a:r>
              <a:rPr lang="en-GB" dirty="0"/>
              <a:t>Picture transparent background</a:t>
            </a:r>
          </a:p>
        </p:txBody>
      </p:sp>
      <p:sp>
        <p:nvSpPr>
          <p:cNvPr id="44" name="Picture Placeholder 43">
            <a:extLst>
              <a:ext uri="{FF2B5EF4-FFF2-40B4-BE49-F238E27FC236}">
                <a16:creationId xmlns:a16="http://schemas.microsoft.com/office/drawing/2014/main" id="{D8B3DCD2-610C-49D5-ACAD-CCD6009D5C49}"/>
              </a:ext>
            </a:extLst>
          </p:cNvPr>
          <p:cNvSpPr>
            <a:spLocks noGrp="1"/>
          </p:cNvSpPr>
          <p:nvPr>
            <p:ph type="pic" sz="quarter" idx="49" hasCustomPrompt="1"/>
          </p:nvPr>
        </p:nvSpPr>
        <p:spPr>
          <a:xfrm>
            <a:off x="5296483" y="5979600"/>
            <a:ext cx="626726" cy="518400"/>
          </a:xfrm>
          <a:noFill/>
        </p:spPr>
        <p:txBody>
          <a:bodyPr anchor="b"/>
          <a:lstStyle>
            <a:lvl1pPr marL="0" indent="0" algn="ctr">
              <a:buNone/>
              <a:defRPr sz="800"/>
            </a:lvl1pPr>
          </a:lstStyle>
          <a:p>
            <a:r>
              <a:rPr lang="en-GB" dirty="0"/>
              <a:t>Picture transparent background</a:t>
            </a:r>
          </a:p>
        </p:txBody>
      </p:sp>
      <p:sp>
        <p:nvSpPr>
          <p:cNvPr id="46" name="Picture Placeholder 45">
            <a:extLst>
              <a:ext uri="{FF2B5EF4-FFF2-40B4-BE49-F238E27FC236}">
                <a16:creationId xmlns:a16="http://schemas.microsoft.com/office/drawing/2014/main" id="{7F5470A3-6EBA-4E3C-B4B8-465BC1F85346}"/>
              </a:ext>
            </a:extLst>
          </p:cNvPr>
          <p:cNvSpPr>
            <a:spLocks noGrp="1"/>
          </p:cNvSpPr>
          <p:nvPr>
            <p:ph type="pic" sz="quarter" idx="50" hasCustomPrompt="1"/>
          </p:nvPr>
        </p:nvSpPr>
        <p:spPr>
          <a:xfrm>
            <a:off x="6282248" y="5979600"/>
            <a:ext cx="626726" cy="518400"/>
          </a:xfrm>
          <a:noFill/>
        </p:spPr>
        <p:txBody>
          <a:bodyPr anchor="b"/>
          <a:lstStyle>
            <a:lvl1pPr marL="0" indent="0" algn="ctr">
              <a:buNone/>
              <a:defRPr sz="800"/>
            </a:lvl1pPr>
          </a:lstStyle>
          <a:p>
            <a:r>
              <a:rPr lang="en-GB" dirty="0"/>
              <a:t>Picture transparent background</a:t>
            </a:r>
          </a:p>
        </p:txBody>
      </p:sp>
      <p:sp>
        <p:nvSpPr>
          <p:cNvPr id="48" name="Picture Placeholder 47">
            <a:extLst>
              <a:ext uri="{FF2B5EF4-FFF2-40B4-BE49-F238E27FC236}">
                <a16:creationId xmlns:a16="http://schemas.microsoft.com/office/drawing/2014/main" id="{C25E9830-971B-4E49-9FEF-0523525F131C}"/>
              </a:ext>
            </a:extLst>
          </p:cNvPr>
          <p:cNvSpPr>
            <a:spLocks noGrp="1"/>
          </p:cNvSpPr>
          <p:nvPr>
            <p:ph type="pic" sz="quarter" idx="51" hasCustomPrompt="1"/>
          </p:nvPr>
        </p:nvSpPr>
        <p:spPr>
          <a:xfrm>
            <a:off x="7268014" y="5979600"/>
            <a:ext cx="626726" cy="518400"/>
          </a:xfrm>
          <a:noFill/>
        </p:spPr>
        <p:txBody>
          <a:bodyPr anchor="b"/>
          <a:lstStyle>
            <a:lvl1pPr marL="0" indent="0" algn="ctr">
              <a:buNone/>
              <a:defRPr sz="800"/>
            </a:lvl1pPr>
          </a:lstStyle>
          <a:p>
            <a:r>
              <a:rPr lang="en-GB" dirty="0"/>
              <a:t>Picture transparent background</a:t>
            </a:r>
          </a:p>
        </p:txBody>
      </p:sp>
      <p:sp>
        <p:nvSpPr>
          <p:cNvPr id="50" name="Picture Placeholder 49">
            <a:extLst>
              <a:ext uri="{FF2B5EF4-FFF2-40B4-BE49-F238E27FC236}">
                <a16:creationId xmlns:a16="http://schemas.microsoft.com/office/drawing/2014/main" id="{B9122BBF-DF04-444F-8C61-3F2AB79BEEDB}"/>
              </a:ext>
            </a:extLst>
          </p:cNvPr>
          <p:cNvSpPr>
            <a:spLocks noGrp="1"/>
          </p:cNvSpPr>
          <p:nvPr>
            <p:ph type="pic" sz="quarter" idx="52" hasCustomPrompt="1"/>
          </p:nvPr>
        </p:nvSpPr>
        <p:spPr>
          <a:xfrm>
            <a:off x="8253779" y="5979600"/>
            <a:ext cx="626726" cy="518400"/>
          </a:xfrm>
          <a:noFill/>
        </p:spPr>
        <p:txBody>
          <a:bodyPr anchor="b"/>
          <a:lstStyle>
            <a:lvl1pPr marL="0" indent="0" algn="ctr">
              <a:buNone/>
              <a:defRPr sz="800"/>
            </a:lvl1pPr>
          </a:lstStyle>
          <a:p>
            <a:r>
              <a:rPr lang="en-GB" dirty="0"/>
              <a:t>Picture transparent background</a:t>
            </a:r>
          </a:p>
        </p:txBody>
      </p:sp>
      <p:sp>
        <p:nvSpPr>
          <p:cNvPr id="52" name="Picture Placeholder 51">
            <a:extLst>
              <a:ext uri="{FF2B5EF4-FFF2-40B4-BE49-F238E27FC236}">
                <a16:creationId xmlns:a16="http://schemas.microsoft.com/office/drawing/2014/main" id="{5225CEBC-6600-4E5E-A555-AFC956A4CE86}"/>
              </a:ext>
            </a:extLst>
          </p:cNvPr>
          <p:cNvSpPr>
            <a:spLocks noGrp="1"/>
          </p:cNvSpPr>
          <p:nvPr>
            <p:ph type="pic" sz="quarter" idx="53" hasCustomPrompt="1"/>
          </p:nvPr>
        </p:nvSpPr>
        <p:spPr>
          <a:xfrm>
            <a:off x="9239544" y="5979600"/>
            <a:ext cx="626726" cy="518400"/>
          </a:xfrm>
          <a:noFill/>
        </p:spPr>
        <p:txBody>
          <a:bodyPr anchor="b"/>
          <a:lstStyle>
            <a:lvl1pPr marL="0" indent="0" algn="ctr">
              <a:buNone/>
              <a:defRPr sz="800"/>
            </a:lvl1pPr>
          </a:lstStyle>
          <a:p>
            <a:r>
              <a:rPr lang="en-GB" dirty="0"/>
              <a:t>Picture transparent background</a:t>
            </a:r>
          </a:p>
        </p:txBody>
      </p:sp>
      <p:sp>
        <p:nvSpPr>
          <p:cNvPr id="54" name="Picture Placeholder 53">
            <a:extLst>
              <a:ext uri="{FF2B5EF4-FFF2-40B4-BE49-F238E27FC236}">
                <a16:creationId xmlns:a16="http://schemas.microsoft.com/office/drawing/2014/main" id="{A847747F-7A75-42FD-BEC2-A8BF30F8BCE3}"/>
              </a:ext>
            </a:extLst>
          </p:cNvPr>
          <p:cNvSpPr>
            <a:spLocks noGrp="1"/>
          </p:cNvSpPr>
          <p:nvPr>
            <p:ph type="pic" sz="quarter" idx="54" hasCustomPrompt="1"/>
          </p:nvPr>
        </p:nvSpPr>
        <p:spPr>
          <a:xfrm>
            <a:off x="10225309" y="5979600"/>
            <a:ext cx="626726" cy="518400"/>
          </a:xfrm>
          <a:noFill/>
        </p:spPr>
        <p:txBody>
          <a:bodyPr anchor="b"/>
          <a:lstStyle>
            <a:lvl1pPr marL="0" indent="0" algn="ctr">
              <a:buNone/>
              <a:defRPr sz="800"/>
            </a:lvl1pPr>
          </a:lstStyle>
          <a:p>
            <a:r>
              <a:rPr lang="en-GB" dirty="0"/>
              <a:t>Picture transparent background</a:t>
            </a:r>
          </a:p>
        </p:txBody>
      </p:sp>
      <p:sp>
        <p:nvSpPr>
          <p:cNvPr id="56" name="Picture Placeholder 55">
            <a:extLst>
              <a:ext uri="{FF2B5EF4-FFF2-40B4-BE49-F238E27FC236}">
                <a16:creationId xmlns:a16="http://schemas.microsoft.com/office/drawing/2014/main" id="{983B2226-2C48-4281-8DE3-30436CACF7FA}"/>
              </a:ext>
            </a:extLst>
          </p:cNvPr>
          <p:cNvSpPr>
            <a:spLocks noGrp="1"/>
          </p:cNvSpPr>
          <p:nvPr>
            <p:ph type="pic" sz="quarter" idx="55" hasCustomPrompt="1"/>
          </p:nvPr>
        </p:nvSpPr>
        <p:spPr>
          <a:xfrm>
            <a:off x="11211074" y="5979600"/>
            <a:ext cx="626726" cy="518400"/>
          </a:xfrm>
          <a:noFill/>
        </p:spPr>
        <p:txBody>
          <a:bodyPr anchor="b"/>
          <a:lstStyle>
            <a:lvl1pPr marL="0" indent="0" algn="ctr">
              <a:buNone/>
              <a:defRPr sz="800"/>
            </a:lvl1pPr>
          </a:lstStyle>
          <a:p>
            <a:r>
              <a:rPr lang="en-GB" dirty="0"/>
              <a:t>Picture transparent background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BEC4280-9055-4D01-8685-E96AEBC615B9}"/>
              </a:ext>
            </a:extLst>
          </p:cNvPr>
          <p:cNvSpPr>
            <a:spLocks noGrp="1"/>
          </p:cNvSpPr>
          <p:nvPr>
            <p:ph type="ftr" sz="quarter" idx="38"/>
          </p:nvPr>
        </p:nvSpPr>
        <p:spPr/>
        <p:txBody>
          <a:bodyPr/>
          <a:lstStyle/>
          <a:p>
            <a:r>
              <a:rPr lang="en-GB" dirty="0"/>
              <a:t>Muuto</a:t>
            </a: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C2220486-C0CB-4641-B05B-D8D7A53F85CB}"/>
              </a:ext>
            </a:extLst>
          </p:cNvPr>
          <p:cNvSpPr>
            <a:spLocks noGrp="1"/>
          </p:cNvSpPr>
          <p:nvPr>
            <p:ph type="sldNum" sz="quarter" idx="39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87854378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duct 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111B381A-1631-4B71-A09B-A4EEAB35A5FC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15"/>
          </p:nvPr>
        </p:nvSpPr>
        <p:spPr/>
        <p:txBody>
          <a:bodyPr/>
          <a:lstStyle/>
          <a:p>
            <a:fld id="{45527A44-AA1D-4BA1-AA93-32475F9E9A8F}" type="datetime4">
              <a:rPr lang="en-GB" smtClean="0"/>
              <a:pPr/>
              <a:t>14 March 2025</a:t>
            </a:fld>
            <a:endParaRPr lang="en-GB" dirty="0"/>
          </a:p>
        </p:txBody>
      </p:sp>
      <p:sp>
        <p:nvSpPr>
          <p:cNvPr id="5" name="Text Placeholder background">
            <a:extLst>
              <a:ext uri="{FF2B5EF4-FFF2-40B4-BE49-F238E27FC236}">
                <a16:creationId xmlns:a16="http://schemas.microsoft.com/office/drawing/2014/main" id="{07AC3D9A-9F03-6797-7305-A169DE138F0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white">
          <a:xfrm>
            <a:off x="0" y="0"/>
            <a:ext cx="12198350" cy="6858000"/>
          </a:xfrm>
          <a:solidFill>
            <a:srgbClr val="ECE8DD"/>
          </a:solidFill>
          <a:ln>
            <a:noFill/>
          </a:ln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C3740E63-FE5A-40EF-8F52-2CDC77D09BC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60188" y="358777"/>
            <a:ext cx="10491261" cy="5278814"/>
          </a:xfrm>
          <a:solidFill>
            <a:schemeClr val="bg1">
              <a:lumMod val="95000"/>
            </a:schemeClr>
          </a:solidFill>
        </p:spPr>
        <p:txBody>
          <a:bodyPr lIns="0" tIns="648000" anchor="ctr" anchorCtr="0"/>
          <a:lstStyle>
            <a:lvl1pPr marL="0" indent="0" algn="ctr">
              <a:buNone/>
              <a:defRPr sz="1200"/>
            </a:lvl1pPr>
          </a:lstStyle>
          <a:p>
            <a:r>
              <a:rPr lang="en-GB" noProof="0" dirty="0"/>
              <a:t>Click to add picture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A1BE6428-EB11-4BB9-E549-50F082ECA74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187" y="5743573"/>
            <a:ext cx="11475574" cy="262646"/>
          </a:xfrm>
        </p:spPr>
        <p:txBody>
          <a:bodyPr/>
          <a:lstStyle>
            <a:lvl1pPr>
              <a:defRPr sz="1800"/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66E5E939-36A0-F1A1-4955-E31A12CCEF0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0187" y="6009897"/>
            <a:ext cx="11475574" cy="216000"/>
          </a:xfrm>
        </p:spPr>
        <p:txBody>
          <a:bodyPr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1200" cap="all" baseline="0"/>
            </a:lvl1pPr>
            <a:lvl2pPr marL="0" indent="0" algn="l">
              <a:buFont typeface="Arial" panose="020B0604020202020204" pitchFamily="34" charset="0"/>
              <a:buChar char="​"/>
              <a:defRPr sz="2000"/>
            </a:lvl2pPr>
            <a:lvl3pPr marL="0" indent="0" algn="l">
              <a:buFont typeface="Arial" panose="020B0604020202020204" pitchFamily="34" charset="0"/>
              <a:buChar char="​"/>
              <a:defRPr sz="2000"/>
            </a:lvl3pPr>
            <a:lvl4pPr marL="0" indent="0" algn="l">
              <a:buFont typeface="Arial" panose="020B0604020202020204" pitchFamily="34" charset="0"/>
              <a:buChar char="​"/>
              <a:defRPr sz="2000"/>
            </a:lvl4pPr>
            <a:lvl5pPr marL="0" indent="0" algn="l">
              <a:buFont typeface="Arial" panose="020B0604020202020204" pitchFamily="34" charset="0"/>
              <a:buChar char="​"/>
              <a:defRPr sz="2000"/>
            </a:lvl5pPr>
            <a:lvl6pPr marL="0" indent="0" algn="l">
              <a:buFont typeface="Arial" panose="020B0604020202020204" pitchFamily="34" charset="0"/>
              <a:buChar char="​"/>
              <a:defRPr sz="2000"/>
            </a:lvl6pPr>
            <a:lvl7pPr marL="0" indent="0" algn="l">
              <a:buFont typeface="Arial" panose="020B0604020202020204" pitchFamily="34" charset="0"/>
              <a:buChar char="​"/>
              <a:defRPr sz="2000"/>
            </a:lvl7pPr>
            <a:lvl8pPr marL="0" indent="0" algn="l">
              <a:buFont typeface="Arial" panose="020B0604020202020204" pitchFamily="34" charset="0"/>
              <a:buChar char="​"/>
              <a:defRPr sz="2000"/>
            </a:lvl8pPr>
            <a:lvl9pPr marL="0" indent="0" algn="l"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619B156-1D4A-47DC-B3B4-1CCBBAA13F73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GB" dirty="0"/>
              <a:t>Muuto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448272D-C334-4330-8191-FFAD7C92BFD3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19036659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act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 hidden="1">
            <a:extLst>
              <a:ext uri="{FF2B5EF4-FFF2-40B4-BE49-F238E27FC236}">
                <a16:creationId xmlns:a16="http://schemas.microsoft.com/office/drawing/2014/main" id="{27DB31A3-D8B1-4156-B96D-21BCB01397A6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33"/>
          </p:nvPr>
        </p:nvSpPr>
        <p:spPr/>
        <p:txBody>
          <a:bodyPr/>
          <a:lstStyle/>
          <a:p>
            <a:fld id="{45527A44-AA1D-4BA1-AA93-32475F9E9A8F}" type="datetime4">
              <a:rPr lang="en-GB" smtClean="0"/>
              <a:pPr/>
              <a:t>14 March 2025</a:t>
            </a:fld>
            <a:endParaRPr lang="en-GB" dirty="0"/>
          </a:p>
        </p:txBody>
      </p:sp>
      <p:sp>
        <p:nvSpPr>
          <p:cNvPr id="33" name="Rectangle 4">
            <a:extLst>
              <a:ext uri="{FF2B5EF4-FFF2-40B4-BE49-F238E27FC236}">
                <a16:creationId xmlns:a16="http://schemas.microsoft.com/office/drawing/2014/main" id="{E62016EB-5545-4D6B-85ED-331102ED9F0E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8251358" y="360000"/>
            <a:ext cx="3586804" cy="6137638"/>
          </a:xfrm>
          <a:prstGeom prst="rect">
            <a:avLst/>
          </a:prstGeom>
          <a:solidFill>
            <a:srgbClr val="ECE8D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dirty="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76770F7F-EFE4-345B-95E0-A9E1839DB3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187" y="360000"/>
            <a:ext cx="7531521" cy="262646"/>
          </a:xfrm>
        </p:spPr>
        <p:txBody>
          <a:bodyPr/>
          <a:lstStyle>
            <a:lvl1pPr>
              <a:defRPr sz="1800"/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AE8D7483-88B0-7361-79BE-8D1AF059F92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0187" y="626324"/>
            <a:ext cx="7531521" cy="216000"/>
          </a:xfrm>
        </p:spPr>
        <p:txBody>
          <a:bodyPr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1200" cap="all" baseline="0"/>
            </a:lvl1pPr>
            <a:lvl2pPr marL="0" indent="0" algn="l">
              <a:buFont typeface="Arial" panose="020B0604020202020204" pitchFamily="34" charset="0"/>
              <a:buChar char="​"/>
              <a:defRPr sz="2000"/>
            </a:lvl2pPr>
            <a:lvl3pPr marL="0" indent="0" algn="l">
              <a:buFont typeface="Arial" panose="020B0604020202020204" pitchFamily="34" charset="0"/>
              <a:buChar char="​"/>
              <a:defRPr sz="2000"/>
            </a:lvl3pPr>
            <a:lvl4pPr marL="0" indent="0" algn="l">
              <a:buFont typeface="Arial" panose="020B0604020202020204" pitchFamily="34" charset="0"/>
              <a:buChar char="​"/>
              <a:defRPr sz="2000"/>
            </a:lvl4pPr>
            <a:lvl5pPr marL="0" indent="0" algn="l">
              <a:buFont typeface="Arial" panose="020B0604020202020204" pitchFamily="34" charset="0"/>
              <a:buChar char="​"/>
              <a:defRPr sz="2000"/>
            </a:lvl5pPr>
            <a:lvl6pPr marL="0" indent="0" algn="l">
              <a:buFont typeface="Arial" panose="020B0604020202020204" pitchFamily="34" charset="0"/>
              <a:buChar char="​"/>
              <a:defRPr sz="2000"/>
            </a:lvl6pPr>
            <a:lvl7pPr marL="0" indent="0" algn="l">
              <a:buFont typeface="Arial" panose="020B0604020202020204" pitchFamily="34" charset="0"/>
              <a:buChar char="​"/>
              <a:defRPr sz="2000"/>
            </a:lvl7pPr>
            <a:lvl8pPr marL="0" indent="0" algn="l">
              <a:buFont typeface="Arial" panose="020B0604020202020204" pitchFamily="34" charset="0"/>
              <a:buChar char="​"/>
              <a:defRPr sz="2000"/>
            </a:lvl8pPr>
            <a:lvl9pPr marL="0" indent="0" algn="l"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C3740E63-FE5A-40EF-8F52-2CDC77D09BC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60188" y="1008000"/>
            <a:ext cx="1612514" cy="1620000"/>
          </a:xfrm>
          <a:solidFill>
            <a:schemeClr val="bg1">
              <a:lumMod val="95000"/>
            </a:schemeClr>
          </a:solidFill>
        </p:spPr>
        <p:txBody>
          <a:bodyPr lIns="0" tIns="648000" anchor="ctr" anchorCtr="0"/>
          <a:lstStyle>
            <a:lvl1pPr marL="0" indent="0" algn="ctr">
              <a:buNone/>
              <a:defRPr sz="1200"/>
            </a:lvl1pPr>
          </a:lstStyle>
          <a:p>
            <a:r>
              <a:rPr lang="en-GB" noProof="0" dirty="0"/>
              <a:t>Click to add picture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A1EAB557-51FE-4F46-971A-ED4CEBB5AC4C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305956" y="1008000"/>
            <a:ext cx="1612151" cy="1620000"/>
          </a:xfrm>
          <a:solidFill>
            <a:schemeClr val="bg1">
              <a:lumMod val="95000"/>
            </a:schemeClr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397DB119-4C74-4B54-9E2F-163A08938EC5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2331664" y="1008000"/>
            <a:ext cx="1613640" cy="1620000"/>
          </a:xfrm>
          <a:solidFill>
            <a:schemeClr val="bg1">
              <a:lumMod val="95000"/>
            </a:schemeClr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00883700-9020-4EDE-B612-DD8CC8490357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6278657" y="1008000"/>
            <a:ext cx="1612151" cy="1620000"/>
          </a:xfrm>
          <a:solidFill>
            <a:schemeClr val="bg1">
              <a:lumMod val="95000"/>
            </a:schemeClr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20D34126-ADAD-49F1-84D9-EAF19CAF22AD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58962" y="2682000"/>
            <a:ext cx="1613740" cy="26280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0"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>
                <a:latin typeface="+mn-lt"/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>
                <a:latin typeface="+mn-lt"/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400" b="0"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400" b="0"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400" b="0"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400" b="0">
                <a:latin typeface="+mn-lt"/>
              </a:defRPr>
            </a:lvl9pPr>
          </a:lstStyle>
          <a:p>
            <a:pPr lvl="0"/>
            <a:r>
              <a:rPr lang="en-GB" dirty="0"/>
              <a:t>Insert text</a:t>
            </a:r>
          </a:p>
          <a:p>
            <a:pPr lvl="8"/>
            <a:endParaRPr lang="en-GB" dirty="0"/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BA049A69-8572-47D3-80CA-F395383C9F2D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2331664" y="2682000"/>
            <a:ext cx="1620844" cy="26280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4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4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4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4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Insert text</a:t>
            </a:r>
          </a:p>
          <a:p>
            <a:pPr lvl="8"/>
            <a:endParaRPr lang="en-GB" dirty="0"/>
          </a:p>
        </p:txBody>
      </p:sp>
      <p:sp>
        <p:nvSpPr>
          <p:cNvPr id="28" name="Text Placeholder 27">
            <a:extLst>
              <a:ext uri="{FF2B5EF4-FFF2-40B4-BE49-F238E27FC236}">
                <a16:creationId xmlns:a16="http://schemas.microsoft.com/office/drawing/2014/main" id="{89ECD78C-0DB1-4DBD-8749-470548133EF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305954" y="2682000"/>
            <a:ext cx="1612152" cy="26280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4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4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4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4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Insert text</a:t>
            </a:r>
          </a:p>
          <a:p>
            <a:pPr lvl="8"/>
            <a:endParaRPr lang="en-GB" dirty="0"/>
          </a:p>
        </p:txBody>
      </p:sp>
      <p:sp>
        <p:nvSpPr>
          <p:cNvPr id="30" name="Text Placeholder 29">
            <a:extLst>
              <a:ext uri="{FF2B5EF4-FFF2-40B4-BE49-F238E27FC236}">
                <a16:creationId xmlns:a16="http://schemas.microsoft.com/office/drawing/2014/main" id="{8321FA6D-54DA-4B22-8DA6-70B964939110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278657" y="2682000"/>
            <a:ext cx="1612151" cy="26280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4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4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4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4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Insert text</a:t>
            </a:r>
          </a:p>
          <a:p>
            <a:pPr lvl="8"/>
            <a:endParaRPr lang="en-GB" dirty="0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77A2278B-4DED-4AF3-9C8F-60F10B6E3326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428388" y="540000"/>
            <a:ext cx="3223678" cy="30600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4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4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4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4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Insert text</a:t>
            </a:r>
          </a:p>
          <a:p>
            <a:pPr lvl="8"/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FFF45A0-874C-4819-BA43-1B829C76055F}"/>
              </a:ext>
            </a:extLst>
          </p:cNvPr>
          <p:cNvSpPr>
            <a:spLocks noGrp="1"/>
          </p:cNvSpPr>
          <p:nvPr>
            <p:ph type="ftr" sz="quarter" idx="34"/>
          </p:nvPr>
        </p:nvSpPr>
        <p:spPr/>
        <p:txBody>
          <a:bodyPr/>
          <a:lstStyle/>
          <a:p>
            <a:r>
              <a:rPr lang="en-GB" dirty="0"/>
              <a:t>Muuto</a:t>
            </a: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0D821679-20B4-4E27-A404-4324EF2438F4}"/>
              </a:ext>
            </a:extLst>
          </p:cNvPr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57532400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act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8CE8CDAC-C599-45B2-80E0-17BD532CB437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29"/>
          </p:nvPr>
        </p:nvSpPr>
        <p:spPr/>
        <p:txBody>
          <a:bodyPr/>
          <a:lstStyle/>
          <a:p>
            <a:fld id="{45527A44-AA1D-4BA1-AA93-32475F9E9A8F}" type="datetime4">
              <a:rPr lang="en-GB" smtClean="0"/>
              <a:pPr/>
              <a:t>14 March 2025</a:t>
            </a:fld>
            <a:endParaRPr lang="en-GB" dirty="0"/>
          </a:p>
        </p:txBody>
      </p:sp>
      <p:sp>
        <p:nvSpPr>
          <p:cNvPr id="17" name="Rectangle 4">
            <a:extLst>
              <a:ext uri="{FF2B5EF4-FFF2-40B4-BE49-F238E27FC236}">
                <a16:creationId xmlns:a16="http://schemas.microsoft.com/office/drawing/2014/main" id="{CDF2ECDE-646E-4C1D-ACC1-2F8B51936EE2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 userDrawn="1"/>
        </p:nvSpPr>
        <p:spPr bwMode="white">
          <a:xfrm>
            <a:off x="358962" y="358776"/>
            <a:ext cx="5564898" cy="5569939"/>
          </a:xfrm>
          <a:prstGeom prst="rect">
            <a:avLst/>
          </a:prstGeom>
          <a:solidFill>
            <a:srgbClr val="ECE8D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dirty="0"/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C3740E63-FE5A-40EF-8F52-2CDC77D09BC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285272" y="360000"/>
            <a:ext cx="5564897" cy="5562000"/>
          </a:xfrm>
          <a:solidFill>
            <a:schemeClr val="bg1">
              <a:lumMod val="95000"/>
            </a:schemeClr>
          </a:solidFill>
        </p:spPr>
        <p:txBody>
          <a:bodyPr lIns="0" tIns="648000" anchor="ctr" anchorCtr="0"/>
          <a:lstStyle>
            <a:lvl1pPr marL="0" indent="0" algn="ctr">
              <a:buNone/>
              <a:defRPr sz="1200"/>
            </a:lvl1pPr>
          </a:lstStyle>
          <a:p>
            <a:r>
              <a:rPr lang="en-GB" noProof="0" dirty="0"/>
              <a:t>Click to add picture</a:t>
            </a:r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20D34126-ADAD-49F1-84D9-EAF19CAF22AD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39056" y="540668"/>
            <a:ext cx="5204710" cy="2861332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>
                <a:latin typeface="+mn-lt"/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>
                <a:latin typeface="+mn-lt"/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400" b="0"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400" b="0"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400" b="0"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400" b="0">
                <a:latin typeface="+mn-lt"/>
              </a:defRPr>
            </a:lvl9pPr>
          </a:lstStyle>
          <a:p>
            <a:pPr lvl="0"/>
            <a:r>
              <a:rPr lang="en-GB" dirty="0"/>
              <a:t>Insert text</a:t>
            </a:r>
          </a:p>
          <a:p>
            <a:pPr lvl="8"/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08ADFE0-F56C-43E5-973F-8B7523DC5CCA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r>
              <a:rPr lang="en-GB" dirty="0"/>
              <a:t>Muuto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4214033-692F-4053-BC88-BBA5954EA081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4379571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628F8CDB-776D-4811-AE2C-217236ECDEC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227180" y="0"/>
            <a:ext cx="5971170" cy="6858000"/>
          </a:xfrm>
        </p:spPr>
        <p:txBody>
          <a:bodyPr/>
          <a:lstStyle/>
          <a:p>
            <a:endParaRPr lang="en-IN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26E96BA-E9E4-496B-8CA5-6DA27B8AD7E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69706" y="2578743"/>
            <a:ext cx="4537959" cy="1055708"/>
          </a:xfrm>
        </p:spPr>
        <p:txBody>
          <a:bodyPr/>
          <a:lstStyle>
            <a:lvl1pPr marL="0" indent="0">
              <a:buNone/>
              <a:defRPr sz="2999"/>
            </a:lvl1pPr>
          </a:lstStyle>
          <a:p>
            <a:pPr lvl="0"/>
            <a:r>
              <a:rPr lang="en-IN"/>
              <a:t>Chapter Title</a:t>
            </a:r>
          </a:p>
          <a:p>
            <a:pPr lvl="0"/>
            <a:r>
              <a:rPr lang="en-IN"/>
              <a:t>EY Interstate Light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1173C8A3-BA2F-497B-A214-45B02D73AF2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9706" y="3840384"/>
            <a:ext cx="4537959" cy="1055708"/>
          </a:xfrm>
        </p:spPr>
        <p:txBody>
          <a:bodyPr/>
          <a:lstStyle>
            <a:lvl1pPr marL="0" indent="0">
              <a:buNone/>
              <a:defRPr sz="1599"/>
            </a:lvl1pPr>
          </a:lstStyle>
          <a:p>
            <a:pPr lvl="0"/>
            <a:r>
              <a:rPr lang="en-IN"/>
              <a:t>text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7C562FF-E912-4424-B259-AED677C026AF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Presentation tit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82C1B82-1A85-4CFD-98C3-C21698A96B67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986717563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utro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21">
            <a:extLst>
              <a:ext uri="{FF2B5EF4-FFF2-40B4-BE49-F238E27FC236}">
                <a16:creationId xmlns:a16="http://schemas.microsoft.com/office/drawing/2014/main" id="{823037C1-7C4C-4F45-8C52-D9BC522463C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white">
          <a:xfrm>
            <a:off x="0" y="0"/>
            <a:ext cx="12198350" cy="6858000"/>
          </a:xfrm>
          <a:solidFill>
            <a:srgbClr val="143E3D"/>
          </a:solidFill>
          <a:ln>
            <a:noFill/>
          </a:ln>
        </p:spPr>
        <p:txBody>
          <a:bodyPr/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7D26C765-6258-460F-A7F9-288459D0DE2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 bwMode="invGray">
          <a:xfrm>
            <a:off x="9864936" y="1092145"/>
            <a:ext cx="1247849" cy="237703"/>
          </a:xfrm>
          <a:custGeom>
            <a:avLst/>
            <a:gdLst>
              <a:gd name="connsiteX0" fmla="*/ 40212 h 835195"/>
              <a:gd name="connsiteY0" fmla="*/ 40212 h 835195"/>
              <a:gd name="connsiteX1" fmla="*/ 40212 h 835195"/>
              <a:gd name="connsiteY1" fmla="*/ 40212 h 835195"/>
              <a:gd name="connsiteX2" fmla="*/ 40212 h 835195"/>
              <a:gd name="connsiteY2" fmla="*/ 40212 h 835195"/>
              <a:gd name="connsiteX3" fmla="*/ 40212 h 835195"/>
              <a:gd name="connsiteY3" fmla="*/ 40212 h 835195"/>
              <a:gd name="connsiteX4" fmla="*/ 40212 h 835195"/>
              <a:gd name="connsiteY4" fmla="*/ 40212 h 835195"/>
              <a:gd name="connsiteX5" fmla="*/ 40212 h 835195"/>
              <a:gd name="connsiteY5" fmla="*/ 40212 h 835195"/>
              <a:gd name="connsiteX6" fmla="*/ 40212 h 835195"/>
              <a:gd name="connsiteY6" fmla="*/ 40212 h 835195"/>
              <a:gd name="connsiteX7" fmla="*/ 40212 h 835195"/>
              <a:gd name="connsiteY7" fmla="*/ 40212 h 835195"/>
              <a:gd name="connsiteX8" fmla="*/ 40212 h 835195"/>
              <a:gd name="connsiteY8" fmla="*/ 40212 h 835195"/>
              <a:gd name="connsiteX9" fmla="*/ 40212 h 835195"/>
              <a:gd name="connsiteY9" fmla="*/ 40212 h 835195"/>
              <a:gd name="connsiteX10" fmla="*/ 40212 h 835195"/>
              <a:gd name="connsiteY10" fmla="*/ 40212 h 835195"/>
              <a:gd name="connsiteX11" fmla="*/ 40212 h 835195"/>
              <a:gd name="connsiteY11" fmla="*/ 40212 h 835195"/>
              <a:gd name="connsiteX12" fmla="*/ 40212 h 835195"/>
              <a:gd name="connsiteY12" fmla="*/ 40212 h 835195"/>
              <a:gd name="connsiteX13" fmla="*/ 40212 h 835195"/>
              <a:gd name="connsiteY13" fmla="*/ 40212 h 835195"/>
              <a:gd name="connsiteX14" fmla="*/ 40212 h 835195"/>
              <a:gd name="connsiteY14" fmla="*/ 40212 h 835195"/>
              <a:gd name="connsiteX15" fmla="*/ 40212 h 835195"/>
              <a:gd name="connsiteY15" fmla="*/ 40212 h 835195"/>
              <a:gd name="connsiteX16" fmla="*/ 40212 h 835195"/>
              <a:gd name="connsiteY16" fmla="*/ 40212 h 835195"/>
              <a:gd name="connsiteX17" fmla="*/ 40212 h 835195"/>
              <a:gd name="connsiteY17" fmla="*/ 40212 h 835195"/>
              <a:gd name="connsiteX18" fmla="*/ 40212 h 835195"/>
              <a:gd name="connsiteY18" fmla="*/ 40212 h 835195"/>
              <a:gd name="connsiteX19" fmla="*/ 40212 h 835195"/>
              <a:gd name="connsiteY19" fmla="*/ 40212 h 835195"/>
              <a:gd name="connsiteX20" fmla="*/ 40212 h 835195"/>
              <a:gd name="connsiteY20" fmla="*/ 40212 h 835195"/>
              <a:gd name="connsiteX21" fmla="*/ 40212 h 835195"/>
              <a:gd name="connsiteY21" fmla="*/ 40212 h 835195"/>
              <a:gd name="connsiteX22" fmla="*/ 40212 h 835195"/>
              <a:gd name="connsiteY22" fmla="*/ 40212 h 835195"/>
              <a:gd name="connsiteX23" fmla="*/ 40212 h 835195"/>
              <a:gd name="connsiteY23" fmla="*/ 40212 h 835195"/>
              <a:gd name="connsiteX24" fmla="*/ 40212 h 835195"/>
              <a:gd name="connsiteY24" fmla="*/ 40212 h 835195"/>
              <a:gd name="connsiteX25" fmla="*/ 40212 h 835195"/>
              <a:gd name="connsiteY25" fmla="*/ 40212 h 835195"/>
              <a:gd name="connsiteX26" fmla="*/ 40212 h 835195"/>
              <a:gd name="connsiteY26" fmla="*/ 40212 h 835195"/>
              <a:gd name="connsiteX27" fmla="*/ 40212 h 835195"/>
              <a:gd name="connsiteY27" fmla="*/ 40212 h 835195"/>
              <a:gd name="connsiteX28" fmla="*/ 40212 h 835195"/>
              <a:gd name="connsiteY28" fmla="*/ 40212 h 835195"/>
              <a:gd name="connsiteX29" fmla="*/ 40212 h 835195"/>
              <a:gd name="connsiteY29" fmla="*/ 40212 h 835195"/>
              <a:gd name="connsiteX30" fmla="*/ 40212 h 835195"/>
              <a:gd name="connsiteY30" fmla="*/ 40212 h 835195"/>
              <a:gd name="connsiteX31" fmla="*/ 40212 h 835195"/>
              <a:gd name="connsiteY31" fmla="*/ 40212 h 835195"/>
              <a:gd name="connsiteX32" fmla="*/ 40212 h 835195"/>
              <a:gd name="connsiteY32" fmla="*/ 40212 h 835195"/>
              <a:gd name="connsiteX33" fmla="*/ 40212 h 835195"/>
              <a:gd name="connsiteY33" fmla="*/ 40212 h 835195"/>
              <a:gd name="connsiteX34" fmla="*/ 40212 h 835195"/>
              <a:gd name="connsiteY34" fmla="*/ 40212 h 835195"/>
              <a:gd name="connsiteX35" fmla="*/ 40212 h 835195"/>
              <a:gd name="connsiteY35" fmla="*/ 40212 h 835195"/>
              <a:gd name="connsiteX36" fmla="*/ 40212 h 835195"/>
              <a:gd name="connsiteY36" fmla="*/ 40212 h 835195"/>
              <a:gd name="connsiteX37" fmla="*/ 40212 h 835195"/>
              <a:gd name="connsiteY37" fmla="*/ 40212 h 835195"/>
              <a:gd name="connsiteX38" fmla="*/ 40212 h 835195"/>
              <a:gd name="connsiteY38" fmla="*/ 40212 h 835195"/>
              <a:gd name="connsiteX39" fmla="*/ 40212 h 835195"/>
              <a:gd name="connsiteY39" fmla="*/ 40212 h 835195"/>
              <a:gd name="connsiteX40" fmla="*/ 40212 h 835195"/>
              <a:gd name="connsiteY40" fmla="*/ 40212 h 835195"/>
              <a:gd name="connsiteX41" fmla="*/ 40212 h 835195"/>
              <a:gd name="connsiteY41" fmla="*/ 40212 h 835195"/>
              <a:gd name="connsiteX42" fmla="*/ 40212 h 835195"/>
              <a:gd name="connsiteY42" fmla="*/ 40212 h 835195"/>
              <a:gd name="connsiteX43" fmla="*/ 40212 h 835195"/>
              <a:gd name="connsiteY43" fmla="*/ 40212 h 835195"/>
              <a:gd name="connsiteX44" fmla="*/ 40212 h 835195"/>
              <a:gd name="connsiteY44" fmla="*/ 40212 h 835195"/>
              <a:gd name="connsiteX45" fmla="*/ 40212 h 835195"/>
              <a:gd name="connsiteY45" fmla="*/ 40212 h 835195"/>
              <a:gd name="connsiteX46" fmla="*/ 40212 h 835195"/>
              <a:gd name="connsiteY46" fmla="*/ 40212 h 835195"/>
              <a:gd name="connsiteX47" fmla="*/ 40212 h 835195"/>
              <a:gd name="connsiteY47" fmla="*/ 40212 h 835195"/>
              <a:gd name="connsiteX48" fmla="*/ 40212 h 835195"/>
              <a:gd name="connsiteY48" fmla="*/ 40212 h 835195"/>
              <a:gd name="connsiteX49" fmla="*/ 40212 h 835195"/>
              <a:gd name="connsiteY49" fmla="*/ 40212 h 835195"/>
              <a:gd name="connsiteX50" fmla="*/ 40212 h 835195"/>
              <a:gd name="connsiteY50" fmla="*/ 40212 h 835195"/>
              <a:gd name="connsiteX51" fmla="*/ 40212 h 835195"/>
              <a:gd name="connsiteY51" fmla="*/ 40212 h 835195"/>
              <a:gd name="connsiteX52" fmla="*/ 40212 h 835195"/>
              <a:gd name="connsiteY52" fmla="*/ 40212 h 835195"/>
              <a:gd name="connsiteX53" fmla="*/ 40212 h 835195"/>
              <a:gd name="connsiteY53" fmla="*/ 40212 h 835195"/>
              <a:gd name="connsiteX54" fmla="*/ 40212 h 835195"/>
              <a:gd name="connsiteY54" fmla="*/ 40212 h 835195"/>
              <a:gd name="connsiteX55" fmla="*/ 40212 h 835195"/>
              <a:gd name="connsiteY55" fmla="*/ 40212 h 835195"/>
              <a:gd name="connsiteX56" fmla="*/ 40212 h 835195"/>
              <a:gd name="connsiteY56" fmla="*/ 40212 h 835195"/>
              <a:gd name="connsiteX57" fmla="*/ 40212 h 835195"/>
              <a:gd name="connsiteY57" fmla="*/ 40212 h 835195"/>
              <a:gd name="connsiteX58" fmla="*/ 40212 h 835195"/>
              <a:gd name="connsiteY58" fmla="*/ 40212 h 835195"/>
              <a:gd name="connsiteX59" fmla="*/ 40212 h 835195"/>
              <a:gd name="connsiteY59" fmla="*/ 40212 h 835195"/>
              <a:gd name="connsiteX60" fmla="*/ 40212 h 835195"/>
              <a:gd name="connsiteY60" fmla="*/ 40212 h 835195"/>
              <a:gd name="connsiteX61" fmla="*/ 40212 h 835195"/>
              <a:gd name="connsiteY61" fmla="*/ 40212 h 835195"/>
              <a:gd name="connsiteX62" fmla="*/ 40212 h 835195"/>
              <a:gd name="connsiteY62" fmla="*/ 40212 h 835195"/>
              <a:gd name="connsiteX63" fmla="*/ 40212 h 835195"/>
              <a:gd name="connsiteY63" fmla="*/ 40212 h 835195"/>
              <a:gd name="connsiteX64" fmla="*/ 40212 h 835195"/>
              <a:gd name="connsiteY64" fmla="*/ 40212 h 835195"/>
              <a:gd name="connsiteX65" fmla="*/ 40212 h 835195"/>
              <a:gd name="connsiteY65" fmla="*/ 40212 h 835195"/>
              <a:gd name="connsiteX66" fmla="*/ 40212 h 835195"/>
              <a:gd name="connsiteY66" fmla="*/ 40212 h 835195"/>
              <a:gd name="connsiteX67" fmla="*/ 40212 h 835195"/>
              <a:gd name="connsiteY67" fmla="*/ 40212 h 835195"/>
              <a:gd name="connsiteX68" fmla="*/ 40212 h 835195"/>
              <a:gd name="connsiteY68" fmla="*/ 40212 h 835195"/>
              <a:gd name="connsiteX69" fmla="*/ 40212 h 835195"/>
              <a:gd name="connsiteY69" fmla="*/ 40212 h 835195"/>
              <a:gd name="connsiteX70" fmla="*/ 40212 h 835195"/>
              <a:gd name="connsiteY70" fmla="*/ 40212 h 835195"/>
              <a:gd name="connsiteX71" fmla="*/ 40212 h 835195"/>
              <a:gd name="connsiteY71" fmla="*/ 40212 h 835195"/>
              <a:gd name="connsiteX72" fmla="*/ 40212 h 835195"/>
              <a:gd name="connsiteY72" fmla="*/ 40212 h 835195"/>
              <a:gd name="connsiteX73" fmla="*/ 40212 h 835195"/>
              <a:gd name="connsiteY73" fmla="*/ 40212 h 835195"/>
              <a:gd name="connsiteX74" fmla="*/ 40212 h 835195"/>
              <a:gd name="connsiteY74" fmla="*/ 40212 h 835195"/>
              <a:gd name="connsiteX75" fmla="*/ 40212 h 835195"/>
              <a:gd name="connsiteY75" fmla="*/ 40212 h 835195"/>
              <a:gd name="connsiteX76" fmla="*/ 40212 h 835195"/>
              <a:gd name="connsiteY76" fmla="*/ 40212 h 835195"/>
              <a:gd name="connsiteX77" fmla="*/ 40212 h 835195"/>
              <a:gd name="connsiteY77" fmla="*/ 40212 h 835195"/>
              <a:gd name="connsiteX78" fmla="*/ 40212 h 835195"/>
              <a:gd name="connsiteY78" fmla="*/ 40212 h 835195"/>
              <a:gd name="connsiteX79" fmla="*/ 40212 h 835195"/>
              <a:gd name="connsiteY79" fmla="*/ 40212 h 8351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</a:cxnLst>
            <a:rect l="l" t="t" r="r" b="b"/>
            <a:pathLst>
              <a:path w="1247199" h="237703">
                <a:moveTo>
                  <a:pt x="1132153" y="56553"/>
                </a:moveTo>
                <a:cubicBezTo>
                  <a:pt x="1114366" y="56553"/>
                  <a:pt x="1087028" y="68303"/>
                  <a:pt x="1087028" y="118841"/>
                </a:cubicBezTo>
                <a:cubicBezTo>
                  <a:pt x="1087028" y="169378"/>
                  <a:pt x="1114366" y="181107"/>
                  <a:pt x="1132153" y="181107"/>
                </a:cubicBezTo>
                <a:cubicBezTo>
                  <a:pt x="1149941" y="181107"/>
                  <a:pt x="1177193" y="169314"/>
                  <a:pt x="1177193" y="118798"/>
                </a:cubicBezTo>
                <a:cubicBezTo>
                  <a:pt x="1177193" y="68282"/>
                  <a:pt x="1149941" y="56553"/>
                  <a:pt x="1132153" y="56553"/>
                </a:cubicBezTo>
                <a:close/>
                <a:moveTo>
                  <a:pt x="822461" y="4312"/>
                </a:moveTo>
                <a:lnTo>
                  <a:pt x="1005616" y="4312"/>
                </a:lnTo>
                <a:cubicBezTo>
                  <a:pt x="1009688" y="4312"/>
                  <a:pt x="1012989" y="7613"/>
                  <a:pt x="1012989" y="11686"/>
                </a:cubicBezTo>
                <a:lnTo>
                  <a:pt x="1012989" y="55324"/>
                </a:lnTo>
                <a:cubicBezTo>
                  <a:pt x="1012989" y="59397"/>
                  <a:pt x="1009688" y="62697"/>
                  <a:pt x="1005616" y="62697"/>
                </a:cubicBezTo>
                <a:lnTo>
                  <a:pt x="949171" y="62697"/>
                </a:lnTo>
                <a:lnTo>
                  <a:pt x="949171" y="225931"/>
                </a:lnTo>
                <a:cubicBezTo>
                  <a:pt x="949158" y="230019"/>
                  <a:pt x="945842" y="233326"/>
                  <a:pt x="941754" y="233326"/>
                </a:cubicBezTo>
                <a:lnTo>
                  <a:pt x="886301" y="233326"/>
                </a:lnTo>
                <a:cubicBezTo>
                  <a:pt x="882226" y="233315"/>
                  <a:pt x="878927" y="230006"/>
                  <a:pt x="878927" y="225931"/>
                </a:cubicBezTo>
                <a:lnTo>
                  <a:pt x="878927" y="62697"/>
                </a:lnTo>
                <a:lnTo>
                  <a:pt x="822461" y="62697"/>
                </a:lnTo>
                <a:cubicBezTo>
                  <a:pt x="818388" y="62697"/>
                  <a:pt x="815087" y="59397"/>
                  <a:pt x="815087" y="55324"/>
                </a:cubicBezTo>
                <a:lnTo>
                  <a:pt x="815087" y="11686"/>
                </a:lnTo>
                <a:cubicBezTo>
                  <a:pt x="815087" y="7613"/>
                  <a:pt x="818388" y="4312"/>
                  <a:pt x="822461" y="4312"/>
                </a:cubicBezTo>
                <a:close/>
                <a:moveTo>
                  <a:pt x="598557" y="4312"/>
                </a:moveTo>
                <a:lnTo>
                  <a:pt x="653989" y="4312"/>
                </a:lnTo>
                <a:cubicBezTo>
                  <a:pt x="653995" y="4312"/>
                  <a:pt x="654004" y="4312"/>
                  <a:pt x="654010" y="4312"/>
                </a:cubicBezTo>
                <a:cubicBezTo>
                  <a:pt x="658083" y="4312"/>
                  <a:pt x="661384" y="7613"/>
                  <a:pt x="661384" y="11686"/>
                </a:cubicBezTo>
                <a:lnTo>
                  <a:pt x="661384" y="128457"/>
                </a:lnTo>
                <a:cubicBezTo>
                  <a:pt x="661384" y="151763"/>
                  <a:pt x="661384" y="180827"/>
                  <a:pt x="695536" y="180827"/>
                </a:cubicBezTo>
                <a:cubicBezTo>
                  <a:pt x="728738" y="180827"/>
                  <a:pt x="728738" y="151763"/>
                  <a:pt x="728738" y="128457"/>
                </a:cubicBezTo>
                <a:lnTo>
                  <a:pt x="728738" y="11686"/>
                </a:lnTo>
                <a:cubicBezTo>
                  <a:pt x="728749" y="7611"/>
                  <a:pt x="732059" y="4312"/>
                  <a:pt x="736134" y="4312"/>
                </a:cubicBezTo>
                <a:lnTo>
                  <a:pt x="791587" y="4312"/>
                </a:lnTo>
                <a:cubicBezTo>
                  <a:pt x="795660" y="4312"/>
                  <a:pt x="798960" y="7613"/>
                  <a:pt x="798960" y="11686"/>
                </a:cubicBezTo>
                <a:lnTo>
                  <a:pt x="798960" y="144109"/>
                </a:lnTo>
                <a:cubicBezTo>
                  <a:pt x="798960" y="207324"/>
                  <a:pt x="764809" y="237638"/>
                  <a:pt x="695234" y="237638"/>
                </a:cubicBezTo>
                <a:cubicBezTo>
                  <a:pt x="625659" y="237638"/>
                  <a:pt x="591162" y="207324"/>
                  <a:pt x="591162" y="144109"/>
                </a:cubicBezTo>
                <a:lnTo>
                  <a:pt x="591162" y="11686"/>
                </a:lnTo>
                <a:cubicBezTo>
                  <a:pt x="591173" y="7611"/>
                  <a:pt x="594482" y="4312"/>
                  <a:pt x="598557" y="4312"/>
                </a:cubicBezTo>
                <a:close/>
                <a:moveTo>
                  <a:pt x="371979" y="4312"/>
                </a:moveTo>
                <a:lnTo>
                  <a:pt x="427411" y="4312"/>
                </a:lnTo>
                <a:cubicBezTo>
                  <a:pt x="431494" y="4301"/>
                  <a:pt x="434815" y="7602"/>
                  <a:pt x="434828" y="11686"/>
                </a:cubicBezTo>
                <a:lnTo>
                  <a:pt x="434828" y="128457"/>
                </a:lnTo>
                <a:cubicBezTo>
                  <a:pt x="434828" y="151763"/>
                  <a:pt x="434828" y="180827"/>
                  <a:pt x="468979" y="180827"/>
                </a:cubicBezTo>
                <a:cubicBezTo>
                  <a:pt x="502160" y="180827"/>
                  <a:pt x="502160" y="151763"/>
                  <a:pt x="502160" y="128457"/>
                </a:cubicBezTo>
                <a:lnTo>
                  <a:pt x="502160" y="11686"/>
                </a:lnTo>
                <a:cubicBezTo>
                  <a:pt x="502171" y="7611"/>
                  <a:pt x="505481" y="4312"/>
                  <a:pt x="509556" y="4312"/>
                </a:cubicBezTo>
                <a:lnTo>
                  <a:pt x="565009" y="4312"/>
                </a:lnTo>
                <a:cubicBezTo>
                  <a:pt x="569084" y="4312"/>
                  <a:pt x="572391" y="7611"/>
                  <a:pt x="572404" y="11686"/>
                </a:cubicBezTo>
                <a:lnTo>
                  <a:pt x="572404" y="144109"/>
                </a:lnTo>
                <a:cubicBezTo>
                  <a:pt x="572404" y="207324"/>
                  <a:pt x="538231" y="237638"/>
                  <a:pt x="468656" y="237638"/>
                </a:cubicBezTo>
                <a:cubicBezTo>
                  <a:pt x="399081" y="237638"/>
                  <a:pt x="364584" y="207324"/>
                  <a:pt x="364584" y="144109"/>
                </a:cubicBezTo>
                <a:lnTo>
                  <a:pt x="364584" y="11686"/>
                </a:lnTo>
                <a:cubicBezTo>
                  <a:pt x="364595" y="7611"/>
                  <a:pt x="367904" y="4312"/>
                  <a:pt x="371979" y="4312"/>
                </a:cubicBezTo>
                <a:close/>
                <a:moveTo>
                  <a:pt x="1132153" y="0"/>
                </a:moveTo>
                <a:cubicBezTo>
                  <a:pt x="1201125" y="0"/>
                  <a:pt x="1247199" y="49610"/>
                  <a:pt x="1247199" y="118862"/>
                </a:cubicBezTo>
                <a:cubicBezTo>
                  <a:pt x="1247199" y="188114"/>
                  <a:pt x="1201103" y="237703"/>
                  <a:pt x="1132153" y="237703"/>
                </a:cubicBezTo>
                <a:cubicBezTo>
                  <a:pt x="1063203" y="237703"/>
                  <a:pt x="1017129" y="188136"/>
                  <a:pt x="1017129" y="118862"/>
                </a:cubicBezTo>
                <a:cubicBezTo>
                  <a:pt x="1017129" y="49589"/>
                  <a:pt x="1063160" y="0"/>
                  <a:pt x="1132153" y="0"/>
                </a:cubicBezTo>
                <a:close/>
                <a:moveTo>
                  <a:pt x="103705" y="0"/>
                </a:moveTo>
                <a:cubicBezTo>
                  <a:pt x="132790" y="0"/>
                  <a:pt x="155687" y="5304"/>
                  <a:pt x="172569" y="16084"/>
                </a:cubicBezTo>
                <a:cubicBezTo>
                  <a:pt x="189343" y="5304"/>
                  <a:pt x="212240" y="0"/>
                  <a:pt x="241282" y="0"/>
                </a:cubicBezTo>
                <a:cubicBezTo>
                  <a:pt x="310878" y="0"/>
                  <a:pt x="345353" y="30185"/>
                  <a:pt x="345375" y="93443"/>
                </a:cubicBezTo>
                <a:lnTo>
                  <a:pt x="345375" y="225866"/>
                </a:lnTo>
                <a:cubicBezTo>
                  <a:pt x="345375" y="229941"/>
                  <a:pt x="342076" y="233249"/>
                  <a:pt x="338001" y="233262"/>
                </a:cubicBezTo>
                <a:lnTo>
                  <a:pt x="282548" y="233262"/>
                </a:lnTo>
                <a:cubicBezTo>
                  <a:pt x="278465" y="233262"/>
                  <a:pt x="275153" y="229950"/>
                  <a:pt x="275153" y="225866"/>
                </a:cubicBezTo>
                <a:lnTo>
                  <a:pt x="275153" y="109095"/>
                </a:lnTo>
                <a:cubicBezTo>
                  <a:pt x="275153" y="85789"/>
                  <a:pt x="275153" y="56768"/>
                  <a:pt x="241001" y="56768"/>
                </a:cubicBezTo>
                <a:cubicBezTo>
                  <a:pt x="207798" y="56768"/>
                  <a:pt x="207798" y="85789"/>
                  <a:pt x="207798" y="109095"/>
                </a:cubicBezTo>
                <a:lnTo>
                  <a:pt x="207798" y="225866"/>
                </a:lnTo>
                <a:cubicBezTo>
                  <a:pt x="207798" y="229950"/>
                  <a:pt x="204487" y="233262"/>
                  <a:pt x="200403" y="233262"/>
                </a:cubicBezTo>
                <a:lnTo>
                  <a:pt x="144950" y="233262"/>
                </a:lnTo>
                <a:cubicBezTo>
                  <a:pt x="140875" y="233251"/>
                  <a:pt x="137576" y="229941"/>
                  <a:pt x="137576" y="225866"/>
                </a:cubicBezTo>
                <a:lnTo>
                  <a:pt x="137576" y="109095"/>
                </a:lnTo>
                <a:cubicBezTo>
                  <a:pt x="137576" y="85789"/>
                  <a:pt x="137576" y="56768"/>
                  <a:pt x="103403" y="56768"/>
                </a:cubicBezTo>
                <a:cubicBezTo>
                  <a:pt x="70222" y="56768"/>
                  <a:pt x="70222" y="85789"/>
                  <a:pt x="70222" y="109095"/>
                </a:cubicBezTo>
                <a:lnTo>
                  <a:pt x="70222" y="225866"/>
                </a:lnTo>
                <a:cubicBezTo>
                  <a:pt x="70211" y="229946"/>
                  <a:pt x="66906" y="233251"/>
                  <a:pt x="62827" y="233262"/>
                </a:cubicBezTo>
                <a:lnTo>
                  <a:pt x="7374" y="233262"/>
                </a:lnTo>
                <a:cubicBezTo>
                  <a:pt x="3299" y="233251"/>
                  <a:pt x="0" y="229941"/>
                  <a:pt x="0" y="225866"/>
                </a:cubicBezTo>
                <a:lnTo>
                  <a:pt x="0" y="93443"/>
                </a:lnTo>
                <a:cubicBezTo>
                  <a:pt x="0" y="30185"/>
                  <a:pt x="34130" y="0"/>
                  <a:pt x="103705" y="0"/>
                </a:cubicBezTo>
                <a:close/>
              </a:path>
            </a:pathLst>
          </a:custGeom>
          <a:solidFill>
            <a:srgbClr val="ECE8DD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72326" y="1440000"/>
            <a:ext cx="7579032" cy="3924000"/>
          </a:xfrm>
        </p:spPr>
        <p:txBody>
          <a:bodyPr anchor="b"/>
          <a:lstStyle>
            <a:lvl1pPr algn="l">
              <a:defRPr sz="8000" cap="all" baseline="0">
                <a:solidFill>
                  <a:srgbClr val="ECE8DD"/>
                </a:solidFill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3" name="Date Placeholder 2" hidden="1">
            <a:extLst>
              <a:ext uri="{FF2B5EF4-FFF2-40B4-BE49-F238E27FC236}">
                <a16:creationId xmlns:a16="http://schemas.microsoft.com/office/drawing/2014/main" id="{C4C5C5E4-C258-4842-B101-41EEADF75795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28"/>
          </p:nvPr>
        </p:nvSpPr>
        <p:spPr/>
        <p:txBody>
          <a:bodyPr/>
          <a:lstStyle/>
          <a:p>
            <a:fld id="{45527A44-AA1D-4BA1-AA93-32475F9E9A8F}" type="datetime4">
              <a:rPr lang="en-GB" smtClean="0"/>
              <a:pPr/>
              <a:t>14 March 2025</a:t>
            </a:fld>
            <a:endParaRPr lang="en-GB" dirty="0"/>
          </a:p>
        </p:txBody>
      </p:sp>
      <p:sp>
        <p:nvSpPr>
          <p:cNvPr id="6" name="Footer Placeholder 5" hidden="1">
            <a:extLst>
              <a:ext uri="{FF2B5EF4-FFF2-40B4-BE49-F238E27FC236}">
                <a16:creationId xmlns:a16="http://schemas.microsoft.com/office/drawing/2014/main" id="{C972DD42-D995-4F34-9E73-20902254444F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29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GB" dirty="0"/>
              <a:t>Muuto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A4D8BCB-23D7-447E-8AB2-200A7D1528E3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>
            <a:lvl1pPr>
              <a:defRPr>
                <a:solidFill>
                  <a:srgbClr val="ECE8DD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87016008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utro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7DD7877B-2D86-4DB9-A09B-EA0956E1DF2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0" y="0"/>
            <a:ext cx="12198350" cy="6858000"/>
          </a:xfrm>
          <a:solidFill>
            <a:schemeClr val="bg1">
              <a:lumMod val="85000"/>
            </a:schemeClr>
          </a:solidFill>
        </p:spPr>
        <p:txBody>
          <a:bodyPr lIns="72000" tIns="72000"/>
          <a:lstStyle>
            <a:lvl1pPr marL="0" indent="0">
              <a:buNone/>
              <a:defRPr sz="1200"/>
            </a:lvl1pPr>
          </a:lstStyle>
          <a:p>
            <a:r>
              <a:rPr lang="en-GB" dirty="0"/>
              <a:t>Click here and insert picture via Insert &gt; Pictures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72326" y="1440000"/>
            <a:ext cx="7579032" cy="3924000"/>
          </a:xfrm>
        </p:spPr>
        <p:txBody>
          <a:bodyPr anchor="b"/>
          <a:lstStyle>
            <a:lvl1pPr algn="l">
              <a:defRPr sz="8000" cap="all" baseline="0">
                <a:solidFill>
                  <a:srgbClr val="143E3D"/>
                </a:solidFill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2C7917E2-A5A0-47DE-9383-D0C8E700CE29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864936" y="1092145"/>
            <a:ext cx="1247849" cy="237703"/>
          </a:xfrm>
          <a:custGeom>
            <a:avLst/>
            <a:gdLst>
              <a:gd name="connsiteX0" fmla="*/ 1132153 w 1247199"/>
              <a:gd name="connsiteY0" fmla="*/ 56553 h 237703"/>
              <a:gd name="connsiteX1" fmla="*/ 1087028 w 1247199"/>
              <a:gd name="connsiteY1" fmla="*/ 118841 h 237703"/>
              <a:gd name="connsiteX2" fmla="*/ 1132153 w 1247199"/>
              <a:gd name="connsiteY2" fmla="*/ 181107 h 237703"/>
              <a:gd name="connsiteX3" fmla="*/ 1177193 w 1247199"/>
              <a:gd name="connsiteY3" fmla="*/ 118798 h 237703"/>
              <a:gd name="connsiteX4" fmla="*/ 1132153 w 1247199"/>
              <a:gd name="connsiteY4" fmla="*/ 56553 h 237703"/>
              <a:gd name="connsiteX5" fmla="*/ 822461 w 1247199"/>
              <a:gd name="connsiteY5" fmla="*/ 4312 h 237703"/>
              <a:gd name="connsiteX6" fmla="*/ 1005616 w 1247199"/>
              <a:gd name="connsiteY6" fmla="*/ 4312 h 237703"/>
              <a:gd name="connsiteX7" fmla="*/ 1012989 w 1247199"/>
              <a:gd name="connsiteY7" fmla="*/ 11686 h 237703"/>
              <a:gd name="connsiteX8" fmla="*/ 1012989 w 1247199"/>
              <a:gd name="connsiteY8" fmla="*/ 55324 h 237703"/>
              <a:gd name="connsiteX9" fmla="*/ 1005616 w 1247199"/>
              <a:gd name="connsiteY9" fmla="*/ 62697 h 237703"/>
              <a:gd name="connsiteX10" fmla="*/ 949171 w 1247199"/>
              <a:gd name="connsiteY10" fmla="*/ 62697 h 237703"/>
              <a:gd name="connsiteX11" fmla="*/ 949171 w 1247199"/>
              <a:gd name="connsiteY11" fmla="*/ 225931 h 237703"/>
              <a:gd name="connsiteX12" fmla="*/ 941754 w 1247199"/>
              <a:gd name="connsiteY12" fmla="*/ 233326 h 237703"/>
              <a:gd name="connsiteX13" fmla="*/ 886301 w 1247199"/>
              <a:gd name="connsiteY13" fmla="*/ 233326 h 237703"/>
              <a:gd name="connsiteX14" fmla="*/ 878927 w 1247199"/>
              <a:gd name="connsiteY14" fmla="*/ 225931 h 237703"/>
              <a:gd name="connsiteX15" fmla="*/ 878927 w 1247199"/>
              <a:gd name="connsiteY15" fmla="*/ 62697 h 237703"/>
              <a:gd name="connsiteX16" fmla="*/ 822461 w 1247199"/>
              <a:gd name="connsiteY16" fmla="*/ 62697 h 237703"/>
              <a:gd name="connsiteX17" fmla="*/ 815087 w 1247199"/>
              <a:gd name="connsiteY17" fmla="*/ 55324 h 237703"/>
              <a:gd name="connsiteX18" fmla="*/ 815087 w 1247199"/>
              <a:gd name="connsiteY18" fmla="*/ 11686 h 237703"/>
              <a:gd name="connsiteX19" fmla="*/ 822461 w 1247199"/>
              <a:gd name="connsiteY19" fmla="*/ 4312 h 237703"/>
              <a:gd name="connsiteX20" fmla="*/ 598557 w 1247199"/>
              <a:gd name="connsiteY20" fmla="*/ 4312 h 237703"/>
              <a:gd name="connsiteX21" fmla="*/ 653989 w 1247199"/>
              <a:gd name="connsiteY21" fmla="*/ 4312 h 237703"/>
              <a:gd name="connsiteX22" fmla="*/ 654010 w 1247199"/>
              <a:gd name="connsiteY22" fmla="*/ 4312 h 237703"/>
              <a:gd name="connsiteX23" fmla="*/ 661384 w 1247199"/>
              <a:gd name="connsiteY23" fmla="*/ 11686 h 237703"/>
              <a:gd name="connsiteX24" fmla="*/ 661384 w 1247199"/>
              <a:gd name="connsiteY24" fmla="*/ 128457 h 237703"/>
              <a:gd name="connsiteX25" fmla="*/ 695536 w 1247199"/>
              <a:gd name="connsiteY25" fmla="*/ 180827 h 237703"/>
              <a:gd name="connsiteX26" fmla="*/ 728738 w 1247199"/>
              <a:gd name="connsiteY26" fmla="*/ 128457 h 237703"/>
              <a:gd name="connsiteX27" fmla="*/ 728738 w 1247199"/>
              <a:gd name="connsiteY27" fmla="*/ 11686 h 237703"/>
              <a:gd name="connsiteX28" fmla="*/ 736134 w 1247199"/>
              <a:gd name="connsiteY28" fmla="*/ 4312 h 237703"/>
              <a:gd name="connsiteX29" fmla="*/ 791587 w 1247199"/>
              <a:gd name="connsiteY29" fmla="*/ 4312 h 237703"/>
              <a:gd name="connsiteX30" fmla="*/ 798960 w 1247199"/>
              <a:gd name="connsiteY30" fmla="*/ 11686 h 237703"/>
              <a:gd name="connsiteX31" fmla="*/ 798960 w 1247199"/>
              <a:gd name="connsiteY31" fmla="*/ 144109 h 237703"/>
              <a:gd name="connsiteX32" fmla="*/ 695234 w 1247199"/>
              <a:gd name="connsiteY32" fmla="*/ 237638 h 237703"/>
              <a:gd name="connsiteX33" fmla="*/ 591162 w 1247199"/>
              <a:gd name="connsiteY33" fmla="*/ 144109 h 237703"/>
              <a:gd name="connsiteX34" fmla="*/ 591162 w 1247199"/>
              <a:gd name="connsiteY34" fmla="*/ 11686 h 237703"/>
              <a:gd name="connsiteX35" fmla="*/ 598557 w 1247199"/>
              <a:gd name="connsiteY35" fmla="*/ 4312 h 237703"/>
              <a:gd name="connsiteX36" fmla="*/ 371979 w 1247199"/>
              <a:gd name="connsiteY36" fmla="*/ 4312 h 237703"/>
              <a:gd name="connsiteX37" fmla="*/ 427411 w 1247199"/>
              <a:gd name="connsiteY37" fmla="*/ 4312 h 237703"/>
              <a:gd name="connsiteX38" fmla="*/ 434828 w 1247199"/>
              <a:gd name="connsiteY38" fmla="*/ 11686 h 237703"/>
              <a:gd name="connsiteX39" fmla="*/ 434828 w 1247199"/>
              <a:gd name="connsiteY39" fmla="*/ 128457 h 237703"/>
              <a:gd name="connsiteX40" fmla="*/ 468979 w 1247199"/>
              <a:gd name="connsiteY40" fmla="*/ 180827 h 237703"/>
              <a:gd name="connsiteX41" fmla="*/ 502160 w 1247199"/>
              <a:gd name="connsiteY41" fmla="*/ 128457 h 237703"/>
              <a:gd name="connsiteX42" fmla="*/ 502160 w 1247199"/>
              <a:gd name="connsiteY42" fmla="*/ 11686 h 237703"/>
              <a:gd name="connsiteX43" fmla="*/ 509556 w 1247199"/>
              <a:gd name="connsiteY43" fmla="*/ 4312 h 237703"/>
              <a:gd name="connsiteX44" fmla="*/ 565009 w 1247199"/>
              <a:gd name="connsiteY44" fmla="*/ 4312 h 237703"/>
              <a:gd name="connsiteX45" fmla="*/ 572404 w 1247199"/>
              <a:gd name="connsiteY45" fmla="*/ 11686 h 237703"/>
              <a:gd name="connsiteX46" fmla="*/ 572404 w 1247199"/>
              <a:gd name="connsiteY46" fmla="*/ 144109 h 237703"/>
              <a:gd name="connsiteX47" fmla="*/ 468656 w 1247199"/>
              <a:gd name="connsiteY47" fmla="*/ 237638 h 237703"/>
              <a:gd name="connsiteX48" fmla="*/ 364584 w 1247199"/>
              <a:gd name="connsiteY48" fmla="*/ 144109 h 237703"/>
              <a:gd name="connsiteX49" fmla="*/ 364584 w 1247199"/>
              <a:gd name="connsiteY49" fmla="*/ 11686 h 237703"/>
              <a:gd name="connsiteX50" fmla="*/ 371979 w 1247199"/>
              <a:gd name="connsiteY50" fmla="*/ 4312 h 237703"/>
              <a:gd name="connsiteX51" fmla="*/ 1132153 w 1247199"/>
              <a:gd name="connsiteY51" fmla="*/ 0 h 237703"/>
              <a:gd name="connsiteX52" fmla="*/ 1247199 w 1247199"/>
              <a:gd name="connsiteY52" fmla="*/ 118862 h 237703"/>
              <a:gd name="connsiteX53" fmla="*/ 1132153 w 1247199"/>
              <a:gd name="connsiteY53" fmla="*/ 237703 h 237703"/>
              <a:gd name="connsiteX54" fmla="*/ 1017129 w 1247199"/>
              <a:gd name="connsiteY54" fmla="*/ 118862 h 237703"/>
              <a:gd name="connsiteX55" fmla="*/ 1132153 w 1247199"/>
              <a:gd name="connsiteY55" fmla="*/ 0 h 237703"/>
              <a:gd name="connsiteX56" fmla="*/ 103705 w 1247199"/>
              <a:gd name="connsiteY56" fmla="*/ 0 h 237703"/>
              <a:gd name="connsiteX57" fmla="*/ 172569 w 1247199"/>
              <a:gd name="connsiteY57" fmla="*/ 16084 h 237703"/>
              <a:gd name="connsiteX58" fmla="*/ 241282 w 1247199"/>
              <a:gd name="connsiteY58" fmla="*/ 0 h 237703"/>
              <a:gd name="connsiteX59" fmla="*/ 345375 w 1247199"/>
              <a:gd name="connsiteY59" fmla="*/ 93443 h 237703"/>
              <a:gd name="connsiteX60" fmla="*/ 345375 w 1247199"/>
              <a:gd name="connsiteY60" fmla="*/ 225866 h 237703"/>
              <a:gd name="connsiteX61" fmla="*/ 338001 w 1247199"/>
              <a:gd name="connsiteY61" fmla="*/ 233262 h 237703"/>
              <a:gd name="connsiteX62" fmla="*/ 282548 w 1247199"/>
              <a:gd name="connsiteY62" fmla="*/ 233262 h 237703"/>
              <a:gd name="connsiteX63" fmla="*/ 275153 w 1247199"/>
              <a:gd name="connsiteY63" fmla="*/ 225866 h 237703"/>
              <a:gd name="connsiteX64" fmla="*/ 275153 w 1247199"/>
              <a:gd name="connsiteY64" fmla="*/ 109095 h 237703"/>
              <a:gd name="connsiteX65" fmla="*/ 241001 w 1247199"/>
              <a:gd name="connsiteY65" fmla="*/ 56768 h 237703"/>
              <a:gd name="connsiteX66" fmla="*/ 207798 w 1247199"/>
              <a:gd name="connsiteY66" fmla="*/ 109095 h 237703"/>
              <a:gd name="connsiteX67" fmla="*/ 207798 w 1247199"/>
              <a:gd name="connsiteY67" fmla="*/ 225866 h 237703"/>
              <a:gd name="connsiteX68" fmla="*/ 200403 w 1247199"/>
              <a:gd name="connsiteY68" fmla="*/ 233262 h 237703"/>
              <a:gd name="connsiteX69" fmla="*/ 144950 w 1247199"/>
              <a:gd name="connsiteY69" fmla="*/ 233262 h 237703"/>
              <a:gd name="connsiteX70" fmla="*/ 137576 w 1247199"/>
              <a:gd name="connsiteY70" fmla="*/ 225866 h 237703"/>
              <a:gd name="connsiteX71" fmla="*/ 137576 w 1247199"/>
              <a:gd name="connsiteY71" fmla="*/ 109095 h 237703"/>
              <a:gd name="connsiteX72" fmla="*/ 103403 w 1247199"/>
              <a:gd name="connsiteY72" fmla="*/ 56768 h 237703"/>
              <a:gd name="connsiteX73" fmla="*/ 70222 w 1247199"/>
              <a:gd name="connsiteY73" fmla="*/ 109095 h 237703"/>
              <a:gd name="connsiteX74" fmla="*/ 70222 w 1247199"/>
              <a:gd name="connsiteY74" fmla="*/ 225866 h 237703"/>
              <a:gd name="connsiteX75" fmla="*/ 62827 w 1247199"/>
              <a:gd name="connsiteY75" fmla="*/ 233262 h 237703"/>
              <a:gd name="connsiteX76" fmla="*/ 7374 w 1247199"/>
              <a:gd name="connsiteY76" fmla="*/ 233262 h 237703"/>
              <a:gd name="connsiteX77" fmla="*/ 0 w 1247199"/>
              <a:gd name="connsiteY77" fmla="*/ 225866 h 237703"/>
              <a:gd name="connsiteX78" fmla="*/ 0 w 1247199"/>
              <a:gd name="connsiteY78" fmla="*/ 93443 h 237703"/>
              <a:gd name="connsiteX79" fmla="*/ 103705 w 1247199"/>
              <a:gd name="connsiteY79" fmla="*/ 0 h 2377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</a:cxnLst>
            <a:rect l="l" t="t" r="r" b="b"/>
            <a:pathLst>
              <a:path w="1247199" h="237703">
                <a:moveTo>
                  <a:pt x="1132153" y="56553"/>
                </a:moveTo>
                <a:cubicBezTo>
                  <a:pt x="1114366" y="56553"/>
                  <a:pt x="1087028" y="68303"/>
                  <a:pt x="1087028" y="118841"/>
                </a:cubicBezTo>
                <a:cubicBezTo>
                  <a:pt x="1087028" y="169378"/>
                  <a:pt x="1114366" y="181107"/>
                  <a:pt x="1132153" y="181107"/>
                </a:cubicBezTo>
                <a:cubicBezTo>
                  <a:pt x="1149941" y="181107"/>
                  <a:pt x="1177193" y="169314"/>
                  <a:pt x="1177193" y="118798"/>
                </a:cubicBezTo>
                <a:cubicBezTo>
                  <a:pt x="1177193" y="68282"/>
                  <a:pt x="1149941" y="56553"/>
                  <a:pt x="1132153" y="56553"/>
                </a:cubicBezTo>
                <a:close/>
                <a:moveTo>
                  <a:pt x="822461" y="4312"/>
                </a:moveTo>
                <a:lnTo>
                  <a:pt x="1005616" y="4312"/>
                </a:lnTo>
                <a:cubicBezTo>
                  <a:pt x="1009688" y="4312"/>
                  <a:pt x="1012989" y="7613"/>
                  <a:pt x="1012989" y="11686"/>
                </a:cubicBezTo>
                <a:lnTo>
                  <a:pt x="1012989" y="55324"/>
                </a:lnTo>
                <a:cubicBezTo>
                  <a:pt x="1012989" y="59397"/>
                  <a:pt x="1009688" y="62697"/>
                  <a:pt x="1005616" y="62697"/>
                </a:cubicBezTo>
                <a:lnTo>
                  <a:pt x="949171" y="62697"/>
                </a:lnTo>
                <a:lnTo>
                  <a:pt x="949171" y="225931"/>
                </a:lnTo>
                <a:cubicBezTo>
                  <a:pt x="949158" y="230019"/>
                  <a:pt x="945842" y="233326"/>
                  <a:pt x="941754" y="233326"/>
                </a:cubicBezTo>
                <a:lnTo>
                  <a:pt x="886301" y="233326"/>
                </a:lnTo>
                <a:cubicBezTo>
                  <a:pt x="882226" y="233315"/>
                  <a:pt x="878927" y="230006"/>
                  <a:pt x="878927" y="225931"/>
                </a:cubicBezTo>
                <a:lnTo>
                  <a:pt x="878927" y="62697"/>
                </a:lnTo>
                <a:lnTo>
                  <a:pt x="822461" y="62697"/>
                </a:lnTo>
                <a:cubicBezTo>
                  <a:pt x="818388" y="62697"/>
                  <a:pt x="815087" y="59397"/>
                  <a:pt x="815087" y="55324"/>
                </a:cubicBezTo>
                <a:lnTo>
                  <a:pt x="815087" y="11686"/>
                </a:lnTo>
                <a:cubicBezTo>
                  <a:pt x="815087" y="7613"/>
                  <a:pt x="818388" y="4312"/>
                  <a:pt x="822461" y="4312"/>
                </a:cubicBezTo>
                <a:close/>
                <a:moveTo>
                  <a:pt x="598557" y="4312"/>
                </a:moveTo>
                <a:lnTo>
                  <a:pt x="653989" y="4312"/>
                </a:lnTo>
                <a:cubicBezTo>
                  <a:pt x="653995" y="4312"/>
                  <a:pt x="654004" y="4312"/>
                  <a:pt x="654010" y="4312"/>
                </a:cubicBezTo>
                <a:cubicBezTo>
                  <a:pt x="658083" y="4312"/>
                  <a:pt x="661384" y="7613"/>
                  <a:pt x="661384" y="11686"/>
                </a:cubicBezTo>
                <a:lnTo>
                  <a:pt x="661384" y="128457"/>
                </a:lnTo>
                <a:cubicBezTo>
                  <a:pt x="661384" y="151763"/>
                  <a:pt x="661384" y="180827"/>
                  <a:pt x="695536" y="180827"/>
                </a:cubicBezTo>
                <a:cubicBezTo>
                  <a:pt x="728738" y="180827"/>
                  <a:pt x="728738" y="151763"/>
                  <a:pt x="728738" y="128457"/>
                </a:cubicBezTo>
                <a:lnTo>
                  <a:pt x="728738" y="11686"/>
                </a:lnTo>
                <a:cubicBezTo>
                  <a:pt x="728749" y="7611"/>
                  <a:pt x="732059" y="4312"/>
                  <a:pt x="736134" y="4312"/>
                </a:cubicBezTo>
                <a:lnTo>
                  <a:pt x="791587" y="4312"/>
                </a:lnTo>
                <a:cubicBezTo>
                  <a:pt x="795660" y="4312"/>
                  <a:pt x="798960" y="7613"/>
                  <a:pt x="798960" y="11686"/>
                </a:cubicBezTo>
                <a:lnTo>
                  <a:pt x="798960" y="144109"/>
                </a:lnTo>
                <a:cubicBezTo>
                  <a:pt x="798960" y="207324"/>
                  <a:pt x="764809" y="237638"/>
                  <a:pt x="695234" y="237638"/>
                </a:cubicBezTo>
                <a:cubicBezTo>
                  <a:pt x="625659" y="237638"/>
                  <a:pt x="591162" y="207324"/>
                  <a:pt x="591162" y="144109"/>
                </a:cubicBezTo>
                <a:lnTo>
                  <a:pt x="591162" y="11686"/>
                </a:lnTo>
                <a:cubicBezTo>
                  <a:pt x="591173" y="7611"/>
                  <a:pt x="594482" y="4312"/>
                  <a:pt x="598557" y="4312"/>
                </a:cubicBezTo>
                <a:close/>
                <a:moveTo>
                  <a:pt x="371979" y="4312"/>
                </a:moveTo>
                <a:lnTo>
                  <a:pt x="427411" y="4312"/>
                </a:lnTo>
                <a:cubicBezTo>
                  <a:pt x="431494" y="4301"/>
                  <a:pt x="434815" y="7602"/>
                  <a:pt x="434828" y="11686"/>
                </a:cubicBezTo>
                <a:lnTo>
                  <a:pt x="434828" y="128457"/>
                </a:lnTo>
                <a:cubicBezTo>
                  <a:pt x="434828" y="151763"/>
                  <a:pt x="434828" y="180827"/>
                  <a:pt x="468979" y="180827"/>
                </a:cubicBezTo>
                <a:cubicBezTo>
                  <a:pt x="502160" y="180827"/>
                  <a:pt x="502160" y="151763"/>
                  <a:pt x="502160" y="128457"/>
                </a:cubicBezTo>
                <a:lnTo>
                  <a:pt x="502160" y="11686"/>
                </a:lnTo>
                <a:cubicBezTo>
                  <a:pt x="502171" y="7611"/>
                  <a:pt x="505481" y="4312"/>
                  <a:pt x="509556" y="4312"/>
                </a:cubicBezTo>
                <a:lnTo>
                  <a:pt x="565009" y="4312"/>
                </a:lnTo>
                <a:cubicBezTo>
                  <a:pt x="569084" y="4312"/>
                  <a:pt x="572391" y="7611"/>
                  <a:pt x="572404" y="11686"/>
                </a:cubicBezTo>
                <a:lnTo>
                  <a:pt x="572404" y="144109"/>
                </a:lnTo>
                <a:cubicBezTo>
                  <a:pt x="572404" y="207324"/>
                  <a:pt x="538231" y="237638"/>
                  <a:pt x="468656" y="237638"/>
                </a:cubicBezTo>
                <a:cubicBezTo>
                  <a:pt x="399081" y="237638"/>
                  <a:pt x="364584" y="207324"/>
                  <a:pt x="364584" y="144109"/>
                </a:cubicBezTo>
                <a:lnTo>
                  <a:pt x="364584" y="11686"/>
                </a:lnTo>
                <a:cubicBezTo>
                  <a:pt x="364595" y="7611"/>
                  <a:pt x="367904" y="4312"/>
                  <a:pt x="371979" y="4312"/>
                </a:cubicBezTo>
                <a:close/>
                <a:moveTo>
                  <a:pt x="1132153" y="0"/>
                </a:moveTo>
                <a:cubicBezTo>
                  <a:pt x="1201125" y="0"/>
                  <a:pt x="1247199" y="49610"/>
                  <a:pt x="1247199" y="118862"/>
                </a:cubicBezTo>
                <a:cubicBezTo>
                  <a:pt x="1247199" y="188114"/>
                  <a:pt x="1201103" y="237703"/>
                  <a:pt x="1132153" y="237703"/>
                </a:cubicBezTo>
                <a:cubicBezTo>
                  <a:pt x="1063203" y="237703"/>
                  <a:pt x="1017129" y="188136"/>
                  <a:pt x="1017129" y="118862"/>
                </a:cubicBezTo>
                <a:cubicBezTo>
                  <a:pt x="1017129" y="49589"/>
                  <a:pt x="1063160" y="0"/>
                  <a:pt x="1132153" y="0"/>
                </a:cubicBezTo>
                <a:close/>
                <a:moveTo>
                  <a:pt x="103705" y="0"/>
                </a:moveTo>
                <a:cubicBezTo>
                  <a:pt x="132790" y="0"/>
                  <a:pt x="155687" y="5304"/>
                  <a:pt x="172569" y="16084"/>
                </a:cubicBezTo>
                <a:cubicBezTo>
                  <a:pt x="189343" y="5304"/>
                  <a:pt x="212240" y="0"/>
                  <a:pt x="241282" y="0"/>
                </a:cubicBezTo>
                <a:cubicBezTo>
                  <a:pt x="310878" y="0"/>
                  <a:pt x="345353" y="30185"/>
                  <a:pt x="345375" y="93443"/>
                </a:cubicBezTo>
                <a:lnTo>
                  <a:pt x="345375" y="225866"/>
                </a:lnTo>
                <a:cubicBezTo>
                  <a:pt x="345375" y="229941"/>
                  <a:pt x="342076" y="233249"/>
                  <a:pt x="338001" y="233262"/>
                </a:cubicBezTo>
                <a:lnTo>
                  <a:pt x="282548" y="233262"/>
                </a:lnTo>
                <a:cubicBezTo>
                  <a:pt x="278465" y="233262"/>
                  <a:pt x="275153" y="229950"/>
                  <a:pt x="275153" y="225866"/>
                </a:cubicBezTo>
                <a:lnTo>
                  <a:pt x="275153" y="109095"/>
                </a:lnTo>
                <a:cubicBezTo>
                  <a:pt x="275153" y="85789"/>
                  <a:pt x="275153" y="56768"/>
                  <a:pt x="241001" y="56768"/>
                </a:cubicBezTo>
                <a:cubicBezTo>
                  <a:pt x="207798" y="56768"/>
                  <a:pt x="207798" y="85789"/>
                  <a:pt x="207798" y="109095"/>
                </a:cubicBezTo>
                <a:lnTo>
                  <a:pt x="207798" y="225866"/>
                </a:lnTo>
                <a:cubicBezTo>
                  <a:pt x="207798" y="229950"/>
                  <a:pt x="204487" y="233262"/>
                  <a:pt x="200403" y="233262"/>
                </a:cubicBezTo>
                <a:lnTo>
                  <a:pt x="144950" y="233262"/>
                </a:lnTo>
                <a:cubicBezTo>
                  <a:pt x="140875" y="233251"/>
                  <a:pt x="137576" y="229941"/>
                  <a:pt x="137576" y="225866"/>
                </a:cubicBezTo>
                <a:lnTo>
                  <a:pt x="137576" y="109095"/>
                </a:lnTo>
                <a:cubicBezTo>
                  <a:pt x="137576" y="85789"/>
                  <a:pt x="137576" y="56768"/>
                  <a:pt x="103403" y="56768"/>
                </a:cubicBezTo>
                <a:cubicBezTo>
                  <a:pt x="70222" y="56768"/>
                  <a:pt x="70222" y="85789"/>
                  <a:pt x="70222" y="109095"/>
                </a:cubicBezTo>
                <a:lnTo>
                  <a:pt x="70222" y="225866"/>
                </a:lnTo>
                <a:cubicBezTo>
                  <a:pt x="70211" y="229946"/>
                  <a:pt x="66906" y="233251"/>
                  <a:pt x="62827" y="233262"/>
                </a:cubicBezTo>
                <a:lnTo>
                  <a:pt x="7374" y="233262"/>
                </a:lnTo>
                <a:cubicBezTo>
                  <a:pt x="3299" y="233251"/>
                  <a:pt x="0" y="229941"/>
                  <a:pt x="0" y="225866"/>
                </a:cubicBezTo>
                <a:lnTo>
                  <a:pt x="0" y="93443"/>
                </a:lnTo>
                <a:cubicBezTo>
                  <a:pt x="0" y="30185"/>
                  <a:pt x="34130" y="0"/>
                  <a:pt x="103705" y="0"/>
                </a:cubicBezTo>
                <a:close/>
              </a:path>
            </a:pathLst>
          </a:custGeom>
          <a:solidFill>
            <a:srgbClr val="143E3D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14" name="Slide Number Placeholder 9">
            <a:extLst>
              <a:ext uri="{FF2B5EF4-FFF2-40B4-BE49-F238E27FC236}">
                <a16:creationId xmlns:a16="http://schemas.microsoft.com/office/drawing/2014/main" id="{FEF2D4FE-8A7B-4290-8E1F-68256183792B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360187" y="6314430"/>
            <a:ext cx="626164" cy="180000"/>
          </a:xfrm>
        </p:spPr>
        <p:txBody>
          <a:bodyPr/>
          <a:lstStyle>
            <a:lvl1pPr>
              <a:defRPr>
                <a:solidFill>
                  <a:srgbClr val="143E3D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6" name="Date Placeholder 3" hidden="1">
            <a:extLst>
              <a:ext uri="{FF2B5EF4-FFF2-40B4-BE49-F238E27FC236}">
                <a16:creationId xmlns:a16="http://schemas.microsoft.com/office/drawing/2014/main" id="{08573845-DB94-4812-968D-0D39D81776BA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10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fld id="{44294AA0-8AAB-4C9A-BC47-6B1807F9A0F7}" type="datetime4">
              <a:rPr lang="en-GB" smtClean="0"/>
              <a:t>14 March 2025</a:t>
            </a:fld>
            <a:endParaRPr lang="en-GB" dirty="0"/>
          </a:p>
        </p:txBody>
      </p:sp>
      <p:sp>
        <p:nvSpPr>
          <p:cNvPr id="17" name="Footer Placeholder 4" hidden="1">
            <a:extLst>
              <a:ext uri="{FF2B5EF4-FFF2-40B4-BE49-F238E27FC236}">
                <a16:creationId xmlns:a16="http://schemas.microsoft.com/office/drawing/2014/main" id="{AAACB3DB-CBD9-48DB-B8B8-1629F8A20AC4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1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GB" dirty="0"/>
              <a:t>Muuto</a:t>
            </a:r>
          </a:p>
        </p:txBody>
      </p:sp>
    </p:spTree>
    <p:extLst>
      <p:ext uri="{BB962C8B-B14F-4D97-AF65-F5344CB8AC3E}">
        <p14:creationId xmlns:p14="http://schemas.microsoft.com/office/powerpoint/2010/main" val="1005852943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5" hidden="1">
            <a:extLst>
              <a:ext uri="{FF2B5EF4-FFF2-40B4-BE49-F238E27FC236}">
                <a16:creationId xmlns:a16="http://schemas.microsoft.com/office/drawing/2014/main" id="{3758D4B7-DB29-4851-8B6F-9AEA488BF2E9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10"/>
          </p:nvPr>
        </p:nvSpPr>
        <p:spPr/>
        <p:txBody>
          <a:bodyPr/>
          <a:lstStyle/>
          <a:p>
            <a:fld id="{299D29C0-6C3A-4160-ADF8-39801DDF763F}" type="datetime4">
              <a:rPr lang="en-GB" smtClean="0"/>
              <a:t>14 March 2025</a:t>
            </a:fld>
            <a:endParaRPr lang="en-GB" dirty="0"/>
          </a:p>
        </p:txBody>
      </p:sp>
      <p:sp>
        <p:nvSpPr>
          <p:cNvPr id="2" name="Text Placeholder background">
            <a:extLst>
              <a:ext uri="{FF2B5EF4-FFF2-40B4-BE49-F238E27FC236}">
                <a16:creationId xmlns:a16="http://schemas.microsoft.com/office/drawing/2014/main" id="{349C651E-6388-4B77-B226-76B24743F0D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white">
          <a:xfrm>
            <a:off x="0" y="0"/>
            <a:ext cx="12198350" cy="6858000"/>
          </a:xfrm>
          <a:solidFill>
            <a:srgbClr val="ECE8DD"/>
          </a:solidFill>
          <a:ln>
            <a:noFill/>
          </a:ln>
        </p:spPr>
        <p:txBody>
          <a:bodyPr/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D642F200-5DE4-5535-077A-772FAAB5A9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187" y="360000"/>
            <a:ext cx="11475574" cy="1080000"/>
          </a:xfrm>
        </p:spPr>
        <p:txBody>
          <a:bodyPr/>
          <a:lstStyle/>
          <a:p>
            <a:r>
              <a:rPr lang="en-GB" noProof="0" dirty="0"/>
              <a:t>Click to add title</a:t>
            </a:r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6B6ABB7C-9C13-2A33-7FCF-82DC3EB2988C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358962" y="742223"/>
            <a:ext cx="11475574" cy="701344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1400" cap="all" baseline="0"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A7124B8D-7B7B-4CF9-84AE-2006AE41D7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Muuto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48959CA-0F9C-4708-8B36-D780C78420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80318659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 hidden="1">
            <a:extLst>
              <a:ext uri="{FF2B5EF4-FFF2-40B4-BE49-F238E27FC236}">
                <a16:creationId xmlns:a16="http://schemas.microsoft.com/office/drawing/2014/main" id="{77D8C8AC-D7F4-48E6-8A75-16B72CDA21FD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10"/>
          </p:nvPr>
        </p:nvSpPr>
        <p:spPr/>
        <p:txBody>
          <a:bodyPr/>
          <a:lstStyle/>
          <a:p>
            <a:fld id="{21DFA9FE-E169-4D62-BAC6-BAB58052C390}" type="datetime4">
              <a:rPr lang="en-GB" smtClean="0"/>
              <a:t>14 March 2025</a:t>
            </a:fld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9884040-6C21-4D2F-892C-A8539807D2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Muuto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EEC7212-EA29-4457-BF7C-36D3DE20BD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" name="Text Placeholder background">
            <a:extLst>
              <a:ext uri="{FF2B5EF4-FFF2-40B4-BE49-F238E27FC236}">
                <a16:creationId xmlns:a16="http://schemas.microsoft.com/office/drawing/2014/main" id="{7037CF33-7216-C874-DFCC-8753E8221A4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white">
          <a:xfrm>
            <a:off x="0" y="0"/>
            <a:ext cx="12198350" cy="6858000"/>
          </a:xfrm>
          <a:solidFill>
            <a:srgbClr val="ECE8DD"/>
          </a:solidFill>
          <a:ln>
            <a:noFill/>
          </a:ln>
        </p:spPr>
        <p:txBody>
          <a:bodyPr/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151519134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User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9504ED54-33D0-0190-977D-FD5A7FB85A5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b="32799"/>
          <a:stretch/>
        </p:blipFill>
        <p:spPr>
          <a:xfrm>
            <a:off x="10701033" y="3875906"/>
            <a:ext cx="1151366" cy="1702213"/>
          </a:xfrm>
          <a:prstGeom prst="rect">
            <a:avLst/>
          </a:prstGeom>
        </p:spPr>
      </p:pic>
      <p:sp>
        <p:nvSpPr>
          <p:cNvPr id="20" name="Date Placeholder 6" hidden="1">
            <a:extLst>
              <a:ext uri="{FF2B5EF4-FFF2-40B4-BE49-F238E27FC236}">
                <a16:creationId xmlns:a16="http://schemas.microsoft.com/office/drawing/2014/main" id="{C8F77785-DAC9-4046-8A82-0AC407341173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15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D169BB1C-E4D3-48F7-8306-92A6834C3646}" type="datetime4">
              <a:rPr lang="en-GB" smtClean="0"/>
              <a:t>14 March 2025</a:t>
            </a:fld>
            <a:endParaRPr lang="en-GB" dirty="0"/>
          </a:p>
        </p:txBody>
      </p:sp>
      <p:sp>
        <p:nvSpPr>
          <p:cNvPr id="21" name="Footer Placeholder 8" hidden="1">
            <a:extLst>
              <a:ext uri="{FF2B5EF4-FFF2-40B4-BE49-F238E27FC236}">
                <a16:creationId xmlns:a16="http://schemas.microsoft.com/office/drawing/2014/main" id="{9675D1FD-FB10-4317-AAF4-BDCB2224F107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GB" dirty="0"/>
              <a:t>Muuto</a:t>
            </a:r>
          </a:p>
        </p:txBody>
      </p:sp>
      <p:sp>
        <p:nvSpPr>
          <p:cNvPr id="23" name="Slide Number Placeholder 10" hidden="1">
            <a:extLst>
              <a:ext uri="{FF2B5EF4-FFF2-40B4-BE49-F238E27FC236}">
                <a16:creationId xmlns:a16="http://schemas.microsoft.com/office/drawing/2014/main" id="{BBF7E881-962B-4385-8C0A-994D3D7717F3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Fast overskrift"/>
          <p:cNvSpPr txBox="1"/>
          <p:nvPr userDrawn="1"/>
        </p:nvSpPr>
        <p:spPr>
          <a:xfrm>
            <a:off x="358962" y="358776"/>
            <a:ext cx="11115107" cy="687461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r>
              <a:rPr lang="en-GB" sz="3200" b="0" noProof="1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TIPS &amp; TRICKS - YOUR USER GUIDE</a:t>
            </a:r>
          </a:p>
        </p:txBody>
      </p:sp>
      <p:sp>
        <p:nvSpPr>
          <p:cNvPr id="13" name="Text Box 2">
            <a:extLst>
              <a:ext uri="{FF2B5EF4-FFF2-40B4-BE49-F238E27FC236}">
                <a16:creationId xmlns:a16="http://schemas.microsoft.com/office/drawing/2014/main" id="{0BB3B459-CDFE-44C8-879C-511BDE5A64B2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372451" y="1279979"/>
            <a:ext cx="2449275" cy="49090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sz="1600" dirty="0">
                <a:latin typeface="+mn-lt"/>
                <a:cs typeface="Arial" panose="020B0604020202020204" pitchFamily="34" charset="0"/>
              </a:rPr>
              <a:t>TEXT STYLES</a:t>
            </a:r>
            <a:endParaRPr lang="en-GB" altLang="da-DK" sz="1600" b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Use the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AB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-key</a:t>
            </a:r>
            <a: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o jump through </a:t>
            </a:r>
            <a:b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levels. Click </a:t>
            </a:r>
            <a:r>
              <a:rPr lang="en-GB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ENTER</a:t>
            </a:r>
            <a: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, then </a:t>
            </a:r>
            <a:r>
              <a:rPr lang="en-GB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AB</a:t>
            </a:r>
            <a: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o switch from one level to the next level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o go back in levels use </a:t>
            </a:r>
            <a:r>
              <a:rPr lang="en-GB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HIFT-TAB</a:t>
            </a:r>
            <a:endParaRPr lang="en-GB" sz="900" b="1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Alternatively, </a:t>
            </a:r>
            <a:r>
              <a:rPr lang="en-GB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crease</a:t>
            </a:r>
            <a:r>
              <a:rPr lang="en-GB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and</a:t>
            </a:r>
            <a:br>
              <a:rPr lang="en-GB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Decrease </a:t>
            </a:r>
            <a:r>
              <a:rPr lang="en-GB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list level can be used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Reset slide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None/>
              <a:tabLst/>
              <a:defRPr/>
            </a:pPr>
            <a:r>
              <a:rPr lang="en-GB" altLang="da-DK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the </a:t>
            </a:r>
            <a:r>
              <a:rPr lang="en-GB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Reset </a:t>
            </a:r>
            <a:r>
              <a:rPr lang="en-GB" altLang="da-DK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menu to reset position, size</a:t>
            </a:r>
            <a:r>
              <a:rPr lang="en-GB" altLang="da-DK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and formatting of the slide placeholders to their default setting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sz="1600" dirty="0">
                <a:latin typeface="+mn-lt"/>
                <a:cs typeface="Arial" panose="020B0604020202020204" pitchFamily="34" charset="0"/>
              </a:rPr>
              <a:t>SLIDES &amp; LAYOUT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on the menu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New Slide 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 the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ome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ab to insert a new slide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hange layout</a:t>
            </a:r>
            <a:endParaRPr lang="en-GB" altLang="da-DK" sz="900" b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marL="0" indent="0">
              <a:spcAft>
                <a:spcPts val="600"/>
              </a:spcAft>
              <a:buFont typeface="+mj-lt"/>
              <a:buNone/>
            </a:pPr>
            <a:r>
              <a:rPr lang="en-GB" sz="900" dirty="0">
                <a:solidFill>
                  <a:srgbClr val="000000"/>
                </a:solidFill>
                <a:latin typeface="+mn-lt"/>
                <a:ea typeface="Arial" panose="020B0604020202020204" pitchFamily="34" charset="0"/>
              </a:rPr>
              <a:t>Click on the arrow next to </a:t>
            </a:r>
            <a:r>
              <a:rPr lang="en-GB" sz="900" b="1" dirty="0">
                <a:solidFill>
                  <a:srgbClr val="000000"/>
                </a:solidFill>
                <a:latin typeface="+mn-lt"/>
                <a:ea typeface="Arial" panose="020B0604020202020204" pitchFamily="34" charset="0"/>
              </a:rPr>
              <a:t>Layout</a:t>
            </a:r>
            <a:br>
              <a:rPr lang="en-GB" sz="900" b="1" dirty="0">
                <a:solidFill>
                  <a:srgbClr val="000000"/>
                </a:solidFill>
                <a:latin typeface="+mn-lt"/>
                <a:ea typeface="Arial" panose="020B0604020202020204" pitchFamily="34" charset="0"/>
              </a:rPr>
            </a:br>
            <a:r>
              <a:rPr lang="en-GB" sz="900" dirty="0">
                <a:solidFill>
                  <a:srgbClr val="000000"/>
                </a:solidFill>
                <a:latin typeface="+mn-lt"/>
                <a:ea typeface="Arial" panose="020B0604020202020204" pitchFamily="34" charset="0"/>
              </a:rPr>
              <a:t>to view a dropdown menu of possible slide layouts</a:t>
            </a:r>
          </a:p>
          <a:p>
            <a:pPr marL="0" indent="0">
              <a:spcAft>
                <a:spcPts val="600"/>
              </a:spcAft>
              <a:buFont typeface="+mj-lt"/>
              <a:buNone/>
            </a:pPr>
            <a:endParaRPr lang="en-GB" sz="900" dirty="0">
              <a:solidFill>
                <a:srgbClr val="000000"/>
              </a:solidFill>
              <a:latin typeface="+mn-lt"/>
              <a:ea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sz="1600" dirty="0">
                <a:latin typeface="+mn-lt"/>
                <a:cs typeface="Arial" panose="020B0604020202020204" pitchFamily="34" charset="0"/>
              </a:rPr>
              <a:t>GUIDES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the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View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ab and set tick mark next to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Guides</a:t>
            </a:r>
            <a:endParaRPr lang="en-GB" altLang="da-DK" sz="900" b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INT: Alt + F9 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for quick view of guides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Mac: </a:t>
            </a:r>
            <a:r>
              <a:rPr lang="en-GB" sz="900" b="0" i="0" dirty="0">
                <a:solidFill>
                  <a:srgbClr val="333333"/>
                </a:solidFill>
                <a:effectLst/>
                <a:latin typeface="Euclid Flex"/>
              </a:rPr>
              <a:t>⌘ 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+ option + ctrl + G</a:t>
            </a:r>
            <a:endParaRPr lang="en-GB" sz="900" dirty="0">
              <a:latin typeface="+mn-lt"/>
              <a:ea typeface="Arial" panose="020B0604020202020204" pitchFamily="34" charset="0"/>
            </a:endParaRPr>
          </a:p>
        </p:txBody>
      </p:sp>
      <p:sp>
        <p:nvSpPr>
          <p:cNvPr id="14" name="Text Box 3">
            <a:extLst>
              <a:ext uri="{FF2B5EF4-FFF2-40B4-BE49-F238E27FC236}">
                <a16:creationId xmlns:a16="http://schemas.microsoft.com/office/drawing/2014/main" id="{66B3FBB4-61DE-493B-8F38-CB78E008D9BE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312065" y="1289330"/>
            <a:ext cx="2449275" cy="44627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sz="1600" dirty="0">
                <a:latin typeface="+mn-lt"/>
                <a:cs typeface="Arial" panose="020B0604020202020204" pitchFamily="34" charset="0"/>
              </a:rPr>
              <a:t>PICTURES</a:t>
            </a:r>
            <a:endParaRPr lang="en-GB" sz="1600" b="1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On slides with pictureplaceholder, click on the icon and choose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</a:t>
            </a:r>
          </a:p>
          <a:p>
            <a:pPr eaLnBrk="1" hangingPunct="1">
              <a:spcBef>
                <a:spcPts val="1200"/>
              </a:spcBef>
              <a:spcAft>
                <a:spcPts val="600"/>
              </a:spcAft>
              <a:defRPr/>
            </a:pPr>
            <a:r>
              <a:rPr lang="en-GB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rop pictur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1. 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rop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o change size or 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focus of the pictur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2. 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f you want to scale the picture, 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old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HIFT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-key down while 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dragging the corners of the picture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endParaRPr lang="en-GB" altLang="da-DK" sz="900" b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INT: 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f you delete the picture and 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 a new one, the picture may 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lie in front of the text or graphic.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f this happens, select the picture, 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right-click and choose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end to Back</a:t>
            </a:r>
          </a:p>
          <a:p>
            <a:pPr eaLnBrk="1" hangingPunct="1">
              <a:spcAft>
                <a:spcPts val="600"/>
              </a:spcAft>
              <a:defRPr/>
            </a:pPr>
            <a:endParaRPr lang="en-GB" altLang="da-DK" sz="900" b="1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sz="1600" dirty="0">
                <a:latin typeface="+mn-lt"/>
                <a:cs typeface="Arial" panose="020B0604020202020204" pitchFamily="34" charset="0"/>
              </a:rPr>
              <a:t>HEADER &amp; FOOTER</a:t>
            </a:r>
            <a:endParaRPr lang="en-GB" altLang="da-DK" sz="1600" b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Do this at the very end to apply the changes on all slides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on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eader and Footer 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 the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ab (write the desired text)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Apply to All 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or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Apply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if only used on one slide</a:t>
            </a:r>
          </a:p>
        </p:txBody>
      </p:sp>
      <p:sp>
        <p:nvSpPr>
          <p:cNvPr id="15" name="Text Box 4">
            <a:extLst>
              <a:ext uri="{FF2B5EF4-FFF2-40B4-BE49-F238E27FC236}">
                <a16:creationId xmlns:a16="http://schemas.microsoft.com/office/drawing/2014/main" id="{17EA80A0-F605-4897-AE2A-18933CAB6DBB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251358" y="1279979"/>
            <a:ext cx="2449275" cy="33855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Aft>
                <a:spcPts val="600"/>
              </a:spcAft>
              <a:defRPr/>
            </a:pPr>
            <a:r>
              <a:rPr lang="en-GB" altLang="da-DK" sz="16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OPY/PASTE CONTENT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When copying old content to your new presentation, 2 options are available: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1. Best practice: 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reate a slide in your new presentation and copy </a:t>
            </a:r>
            <a:r>
              <a:rPr lang="en-GB" altLang="da-DK" sz="900" b="0" i="0" u="sng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one</a:t>
            </a:r>
            <a:r>
              <a:rPr lang="en-GB" altLang="da-DK" sz="900" b="0" i="0" u="none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piece of content at a time (e.g. copy all text from </a:t>
            </a:r>
            <a:r>
              <a:rPr lang="en-GB" altLang="da-DK" sz="900" b="0" i="0" u="sng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one</a:t>
            </a:r>
            <a:r>
              <a:rPr lang="en-GB" altLang="da-DK" sz="900" b="0" i="0" u="none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extbox)</a:t>
            </a:r>
            <a:endParaRPr lang="en-GB" altLang="da-DK" sz="900" b="1" i="0" u="sng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2. 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Or copy an entire slide into your new presentation and then choose a fitting layout. Remember to delete the old, wrong layouts (go to View &gt; Slidemaster and delete them)</a:t>
            </a:r>
          </a:p>
          <a:p>
            <a:pPr eaLnBrk="1" hangingPunct="1">
              <a:spcAft>
                <a:spcPts val="600"/>
              </a:spcAft>
              <a:defRPr/>
            </a:pPr>
            <a:endParaRPr lang="en-GB" altLang="da-DK" sz="900" b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16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OLOR COMBINATIONS 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hange the background and/or logo color by clicking on the background/logo and choose a color from the Custom Colors: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For inspirational color combinations please visit 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  <a:hlinkClick r:id="rId3"/>
              </a:rPr>
              <a:t>www.muuto.com/color-list</a:t>
            </a:r>
            <a:endParaRPr lang="en-GB" altLang="da-DK" sz="900" b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0722642E-922E-4D3E-9481-C027E3A93CD0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2766672" y="4617093"/>
            <a:ext cx="475676" cy="176762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F37E3D92-3923-49A5-9D66-A01D052984C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l="3901" t="45142" r="62601" b="9046"/>
          <a:stretch/>
        </p:blipFill>
        <p:spPr>
          <a:xfrm>
            <a:off x="6541281" y="1572369"/>
            <a:ext cx="341382" cy="321707"/>
          </a:xfrm>
          <a:prstGeom prst="rect">
            <a:avLst/>
          </a:prstGeom>
        </p:spPr>
      </p:pic>
      <p:pic>
        <p:nvPicPr>
          <p:cNvPr id="24" name="Picture 16">
            <a:extLst>
              <a:ext uri="{FF2B5EF4-FFF2-40B4-BE49-F238E27FC236}">
                <a16:creationId xmlns:a16="http://schemas.microsoft.com/office/drawing/2014/main" id="{EE4BD888-DAA9-4A3B-ADD9-0ACB9540A63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2766673" y="3800099"/>
            <a:ext cx="329052" cy="505501"/>
          </a:xfrm>
          <a:prstGeom prst="rect">
            <a:avLst/>
          </a:prstGeom>
        </p:spPr>
      </p:pic>
      <p:pic>
        <p:nvPicPr>
          <p:cNvPr id="26" name="Picture 20">
            <a:extLst>
              <a:ext uri="{FF2B5EF4-FFF2-40B4-BE49-F238E27FC236}">
                <a16:creationId xmlns:a16="http://schemas.microsoft.com/office/drawing/2014/main" id="{ADF46DFB-ABDB-43BA-AD93-FDEE2D7642D0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2769372" y="3066944"/>
            <a:ext cx="538745" cy="172841"/>
          </a:xfrm>
          <a:prstGeom prst="rect">
            <a:avLst/>
          </a:prstGeom>
        </p:spPr>
      </p:pic>
      <p:pic>
        <p:nvPicPr>
          <p:cNvPr id="27" name="Picture 19">
            <a:extLst>
              <a:ext uri="{FF2B5EF4-FFF2-40B4-BE49-F238E27FC236}">
                <a16:creationId xmlns:a16="http://schemas.microsoft.com/office/drawing/2014/main" id="{CF6F40E1-EF2A-4675-A88E-429AD3ADD347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6617465" y="2290848"/>
            <a:ext cx="313951" cy="543900"/>
          </a:xfrm>
          <a:prstGeom prst="rect">
            <a:avLst/>
          </a:prstGeom>
        </p:spPr>
      </p:pic>
      <p:pic>
        <p:nvPicPr>
          <p:cNvPr id="18" name="Picture 12">
            <a:extLst>
              <a:ext uri="{FF2B5EF4-FFF2-40B4-BE49-F238E27FC236}">
                <a16:creationId xmlns:a16="http://schemas.microsoft.com/office/drawing/2014/main" id="{1EEB59ED-856C-4646-8080-8164D2973D0E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6611457" y="4249640"/>
            <a:ext cx="378490" cy="543366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718B3BD4-04BC-40A0-B801-FB79B0884023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2766673" y="2355654"/>
            <a:ext cx="457381" cy="257143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A18B42AA-C5F6-07BD-6881-0C515FE128FC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10686540" y="3590750"/>
            <a:ext cx="698533" cy="2191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7013192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&gt;Do not use layouts after this &gt;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0F124504-36FD-4753-851D-5B7D02D4A2D1}"/>
              </a:ext>
            </a:extLst>
          </p:cNvPr>
          <p:cNvSpPr/>
          <p:nvPr userDrawn="1"/>
        </p:nvSpPr>
        <p:spPr bwMode="white">
          <a:xfrm>
            <a:off x="0" y="0"/>
            <a:ext cx="12198350" cy="6858000"/>
          </a:xfrm>
          <a:prstGeom prst="rect">
            <a:avLst/>
          </a:prstGeom>
          <a:solidFill>
            <a:schemeClr val="tx1"/>
          </a:solidFill>
          <a:ln w="635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  <a:buClr>
                <a:srgbClr val="003755"/>
              </a:buClr>
            </a:pPr>
            <a:endParaRPr lang="en-GB" sz="1400" dirty="0" err="1">
              <a:solidFill>
                <a:schemeClr val="tx1"/>
              </a:solidFill>
            </a:endParaRPr>
          </a:p>
        </p:txBody>
      </p:sp>
      <p:sp>
        <p:nvSpPr>
          <p:cNvPr id="5" name="Do not use"/>
          <p:cNvSpPr txBox="1"/>
          <p:nvPr userDrawn="1"/>
        </p:nvSpPr>
        <p:spPr>
          <a:xfrm>
            <a:off x="430438" y="656823"/>
            <a:ext cx="11362892" cy="28931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ctr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3755"/>
              </a:buClr>
              <a:buSzTx/>
              <a:buFontTx/>
              <a:buNone/>
              <a:tabLst/>
            </a:pPr>
            <a:r>
              <a:rPr lang="en-GB" sz="4400" b="0" noProof="0" dirty="0">
                <a:solidFill>
                  <a:schemeClr val="bg1"/>
                </a:solidFill>
              </a:rPr>
              <a:t>If you see any </a:t>
            </a:r>
            <a:r>
              <a:rPr lang="en-GB" sz="4400" b="1" i="0" noProof="0" dirty="0">
                <a:solidFill>
                  <a:schemeClr val="bg1"/>
                </a:solidFill>
              </a:rPr>
              <a:t>layouts after this </a:t>
            </a:r>
            <a:r>
              <a:rPr lang="en-GB" sz="4400" b="0" i="0" noProof="0" dirty="0">
                <a:solidFill>
                  <a:schemeClr val="bg1"/>
                </a:solidFill>
              </a:rPr>
              <a:t>one</a:t>
            </a:r>
            <a:r>
              <a:rPr lang="en-GB" sz="4400" b="1" i="1" noProof="0" dirty="0">
                <a:solidFill>
                  <a:schemeClr val="bg1"/>
                </a:solidFill>
              </a:rPr>
              <a:t>,</a:t>
            </a:r>
            <a:br>
              <a:rPr lang="en-GB" sz="4400" b="0" i="0" noProof="0" dirty="0">
                <a:solidFill>
                  <a:schemeClr val="bg1"/>
                </a:solidFill>
              </a:rPr>
            </a:br>
            <a:r>
              <a:rPr lang="en-GB" sz="4400" b="0" noProof="0" dirty="0">
                <a:solidFill>
                  <a:schemeClr val="bg1"/>
                </a:solidFill>
              </a:rPr>
              <a:t>do not use them. These layouts </a:t>
            </a:r>
            <a:r>
              <a:rPr lang="en-GB" sz="4400" b="1" i="0" u="none" noProof="0" dirty="0">
                <a:solidFill>
                  <a:schemeClr val="bg1"/>
                </a:solidFill>
              </a:rPr>
              <a:t>are not </a:t>
            </a:r>
            <a:r>
              <a:rPr lang="en-GB" sz="4400" b="0" noProof="0" dirty="0">
                <a:solidFill>
                  <a:schemeClr val="bg1"/>
                </a:solidFill>
              </a:rPr>
              <a:t>part of our corporate template.</a:t>
            </a:r>
            <a:br>
              <a:rPr lang="en-GB" sz="2800" b="0" noProof="0" dirty="0">
                <a:solidFill>
                  <a:schemeClr val="bg1"/>
                </a:solidFill>
              </a:rPr>
            </a:br>
            <a:br>
              <a:rPr lang="en-GB" sz="2800" b="0" noProof="0" dirty="0">
                <a:solidFill>
                  <a:schemeClr val="bg1"/>
                </a:solidFill>
              </a:rPr>
            </a:br>
            <a:endParaRPr lang="en-GB" sz="2800" b="0" noProof="0" dirty="0">
              <a:solidFill>
                <a:schemeClr val="bg1"/>
              </a:solidFill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2BEB5E5A-DA85-4D5B-80B9-F94482F55D76}"/>
              </a:ext>
            </a:extLst>
          </p:cNvPr>
          <p:cNvGrpSpPr/>
          <p:nvPr userDrawn="1"/>
        </p:nvGrpSpPr>
        <p:grpSpPr bwMode="black">
          <a:xfrm rot="8100000">
            <a:off x="10410293" y="3325226"/>
            <a:ext cx="1037328" cy="1036788"/>
            <a:chOff x="6096000" y="4963130"/>
            <a:chExt cx="1456719" cy="1456719"/>
          </a:xfrm>
          <a:solidFill>
            <a:schemeClr val="bg1"/>
          </a:solidFill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C823227E-A862-4A7F-BC20-0D107430AB2C}"/>
                </a:ext>
              </a:extLst>
            </p:cNvPr>
            <p:cNvSpPr/>
            <p:nvPr userDrawn="1"/>
          </p:nvSpPr>
          <p:spPr bwMode="black">
            <a:xfrm rot="5400000">
              <a:off x="5534135" y="5524995"/>
              <a:ext cx="1456719" cy="332990"/>
            </a:xfrm>
            <a:prstGeom prst="rect">
              <a:avLst/>
            </a:pr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600"/>
                </a:spcBef>
                <a:buClr>
                  <a:srgbClr val="003755"/>
                </a:buClr>
              </a:pPr>
              <a:endParaRPr lang="en-GB" sz="1400" dirty="0" err="1">
                <a:solidFill>
                  <a:schemeClr val="tx1"/>
                </a:solidFill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08501AE6-6504-4184-9443-E89AFACF769D}"/>
                </a:ext>
              </a:extLst>
            </p:cNvPr>
            <p:cNvSpPr/>
            <p:nvPr userDrawn="1"/>
          </p:nvSpPr>
          <p:spPr bwMode="black">
            <a:xfrm rot="10800000">
              <a:off x="6096000" y="4963130"/>
              <a:ext cx="1456719" cy="332990"/>
            </a:xfrm>
            <a:prstGeom prst="rect">
              <a:avLst/>
            </a:pr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600"/>
                </a:spcBef>
                <a:buClr>
                  <a:srgbClr val="003755"/>
                </a:buClr>
              </a:pPr>
              <a:endParaRPr lang="en-GB" sz="1400" dirty="0" err="1">
                <a:solidFill>
                  <a:schemeClr val="tx1"/>
                </a:solidFill>
              </a:endParaRPr>
            </a:p>
          </p:txBody>
        </p:sp>
      </p:grpSp>
      <p:sp>
        <p:nvSpPr>
          <p:cNvPr id="12" name="Rectangle 11">
            <a:extLst>
              <a:ext uri="{FF2B5EF4-FFF2-40B4-BE49-F238E27FC236}">
                <a16:creationId xmlns:a16="http://schemas.microsoft.com/office/drawing/2014/main" id="{67CEE09B-6EE1-4BF2-85A3-DE69E91BC4C6}"/>
              </a:ext>
            </a:extLst>
          </p:cNvPr>
          <p:cNvSpPr/>
          <p:nvPr userDrawn="1"/>
        </p:nvSpPr>
        <p:spPr>
          <a:xfrm>
            <a:off x="430437" y="2588374"/>
            <a:ext cx="10157634" cy="221599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GB" sz="13800" b="1" i="0" noProof="0" dirty="0">
                <a:solidFill>
                  <a:schemeClr val="bg1"/>
                </a:solidFill>
              </a:rPr>
              <a:t>Do not use </a:t>
            </a:r>
            <a:endParaRPr lang="en-GB" sz="2400" b="1" i="0" dirty="0"/>
          </a:p>
        </p:txBody>
      </p:sp>
      <p:sp>
        <p:nvSpPr>
          <p:cNvPr id="16" name="Do not use">
            <a:extLst>
              <a:ext uri="{FF2B5EF4-FFF2-40B4-BE49-F238E27FC236}">
                <a16:creationId xmlns:a16="http://schemas.microsoft.com/office/drawing/2014/main" id="{A8FA78FA-4D94-4717-B7C6-6F86378D6B01}"/>
              </a:ext>
            </a:extLst>
          </p:cNvPr>
          <p:cNvSpPr txBox="1"/>
          <p:nvPr userDrawn="1"/>
        </p:nvSpPr>
        <p:spPr>
          <a:xfrm>
            <a:off x="430438" y="5186455"/>
            <a:ext cx="11362889" cy="9694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ctr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3755"/>
              </a:buClr>
              <a:buSzTx/>
              <a:buFontTx/>
              <a:buNone/>
              <a:tabLst/>
            </a:pPr>
            <a:r>
              <a:rPr lang="en-GB" sz="2000" b="0" noProof="0" dirty="0">
                <a:solidFill>
                  <a:schemeClr val="bg1"/>
                </a:solidFill>
              </a:rPr>
              <a:t>Due to PowerPoint’s standard Copy/Paste functionality extra undesirable layouts can appear.</a:t>
            </a:r>
          </a:p>
          <a:p>
            <a:pPr marL="0" marR="0" indent="0" algn="ctr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3755"/>
              </a:buClr>
              <a:buSzTx/>
              <a:buFontTx/>
              <a:buNone/>
              <a:tabLst/>
            </a:pPr>
            <a:r>
              <a:rPr lang="en-GB" sz="2000" b="0" noProof="0" dirty="0">
                <a:solidFill>
                  <a:schemeClr val="bg1"/>
                </a:solidFill>
              </a:rPr>
              <a:t>Also notice: Layouts after this might contain potential confidential information.</a:t>
            </a:r>
            <a:br>
              <a:rPr lang="en-GB" sz="1800" b="0" noProof="0" dirty="0">
                <a:solidFill>
                  <a:schemeClr val="bg1"/>
                </a:solidFill>
              </a:rPr>
            </a:br>
            <a:endParaRPr lang="en-GB" sz="1800" b="0" noProof="0" dirty="0">
              <a:solidFill>
                <a:schemeClr val="bg1"/>
              </a:solidFill>
            </a:endParaRPr>
          </a:p>
        </p:txBody>
      </p:sp>
      <p:sp>
        <p:nvSpPr>
          <p:cNvPr id="13" name="Date Placeholder 6" hidden="1">
            <a:extLst>
              <a:ext uri="{FF2B5EF4-FFF2-40B4-BE49-F238E27FC236}">
                <a16:creationId xmlns:a16="http://schemas.microsoft.com/office/drawing/2014/main" id="{706505A8-87EA-4BA0-B698-35156BC765D0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4A2CBC6B-B7D7-4692-BC0C-F137770B9571}" type="datetime4">
              <a:rPr lang="en-GB" smtClean="0"/>
              <a:t>14 March 2025</a:t>
            </a:fld>
            <a:endParaRPr lang="en-GB" dirty="0"/>
          </a:p>
        </p:txBody>
      </p:sp>
      <p:sp>
        <p:nvSpPr>
          <p:cNvPr id="14" name="Footer Placeholder 8" hidden="1">
            <a:extLst>
              <a:ext uri="{FF2B5EF4-FFF2-40B4-BE49-F238E27FC236}">
                <a16:creationId xmlns:a16="http://schemas.microsoft.com/office/drawing/2014/main" id="{AB150C2C-2030-498B-8262-6BD5BCCBB345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GB" dirty="0"/>
              <a:t>Muuto</a:t>
            </a:r>
          </a:p>
        </p:txBody>
      </p:sp>
      <p:sp>
        <p:nvSpPr>
          <p:cNvPr id="15" name="Slide Number Placeholder 10" hidden="1">
            <a:extLst>
              <a:ext uri="{FF2B5EF4-FFF2-40B4-BE49-F238E27FC236}">
                <a16:creationId xmlns:a16="http://schemas.microsoft.com/office/drawing/2014/main" id="{E81B246F-92C7-4EF8-ACD0-05F73C7095BE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4576788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9" y="294200"/>
            <a:ext cx="10978515" cy="590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Table Placeholder 4">
            <a:extLst>
              <a:ext uri="{FF2B5EF4-FFF2-40B4-BE49-F238E27FC236}">
                <a16:creationId xmlns:a16="http://schemas.microsoft.com/office/drawing/2014/main" id="{95A2BE92-ABF7-4A82-BC35-00F28F500FED}"/>
              </a:ext>
            </a:extLst>
          </p:cNvPr>
          <p:cNvSpPr>
            <a:spLocks noGrp="1"/>
          </p:cNvSpPr>
          <p:nvPr>
            <p:ph type="tbl" sz="quarter" idx="10"/>
          </p:nvPr>
        </p:nvSpPr>
        <p:spPr>
          <a:xfrm>
            <a:off x="609917" y="1137922"/>
            <a:ext cx="4957505" cy="4267457"/>
          </a:xfrm>
        </p:spPr>
        <p:txBody>
          <a:bodyPr/>
          <a:lstStyle/>
          <a:p>
            <a:endParaRPr lang="en-IN"/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DA81FCAA-64D2-4A9C-B16E-9C4E3BB431B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133462" y="3813288"/>
            <a:ext cx="3089275" cy="180000"/>
          </a:xfrm>
        </p:spPr>
        <p:txBody>
          <a:bodyPr/>
          <a:lstStyle>
            <a:lvl1pPr marL="0" indent="0">
              <a:buNone/>
              <a:defRPr sz="1199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Name Surname</a:t>
            </a:r>
            <a:endParaRPr lang="en-GB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03CDC117-35F2-47B2-85B2-29CB8EE7E09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133462" y="4055931"/>
            <a:ext cx="3089275" cy="180000"/>
          </a:xfrm>
        </p:spPr>
        <p:txBody>
          <a:bodyPr/>
          <a:lstStyle>
            <a:lvl1pPr marL="0" indent="0">
              <a:buNone/>
              <a:defRPr sz="1199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Job Title to go here</a:t>
            </a:r>
            <a:endParaRPr lang="en-GB"/>
          </a:p>
        </p:txBody>
      </p:sp>
      <p:sp>
        <p:nvSpPr>
          <p:cNvPr id="14" name="Picture Placeholder 19">
            <a:extLst>
              <a:ext uri="{FF2B5EF4-FFF2-40B4-BE49-F238E27FC236}">
                <a16:creationId xmlns:a16="http://schemas.microsoft.com/office/drawing/2014/main" id="{00A15EA9-2372-4E06-83C2-1E13AB1FA62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23008" y="3578084"/>
            <a:ext cx="778959" cy="778959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900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DB83DAE-9FEB-4E9C-85BA-A34BD239275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23008" y="1137922"/>
            <a:ext cx="5465425" cy="37380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Key Takeaways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C1ABE303-7041-4312-AD03-0E872AEF99B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123008" y="1635009"/>
            <a:ext cx="5465425" cy="1611554"/>
          </a:xfrm>
        </p:spPr>
        <p:txBody>
          <a:bodyPr/>
          <a:lstStyle>
            <a:lvl1pPr marL="0" indent="0">
              <a:buNone/>
              <a:defRPr sz="1599"/>
            </a:lvl1pPr>
          </a:lstStyle>
          <a:p>
            <a:pPr lvl="0"/>
            <a:r>
              <a:rPr lang="en-US"/>
              <a:t>Content EY Interstate Light, 16pt, Lorem ipsum dolor, 12pt, </a:t>
            </a:r>
            <a:r>
              <a:rPr lang="en-US" err="1"/>
              <a:t>Utinam</a:t>
            </a:r>
            <a:r>
              <a:rPr lang="en-US"/>
              <a:t>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abhorreant</a:t>
            </a:r>
            <a:r>
              <a:rPr lang="en-US"/>
              <a:t> </a:t>
            </a:r>
            <a:r>
              <a:rPr lang="en-US" err="1"/>
              <a:t>sead</a:t>
            </a:r>
            <a:r>
              <a:rPr lang="en-US"/>
              <a:t>. </a:t>
            </a:r>
            <a:r>
              <a:rPr lang="en-US" err="1"/>
              <a:t>Putant</a:t>
            </a:r>
            <a:r>
              <a:rPr lang="en-US"/>
              <a:t> </a:t>
            </a:r>
            <a:r>
              <a:rPr lang="en-US" err="1"/>
              <a:t>probatus</a:t>
            </a:r>
            <a:r>
              <a:rPr lang="en-US"/>
              <a:t> id vis, ad his </a:t>
            </a:r>
            <a:r>
              <a:rPr lang="en-US" err="1"/>
              <a:t>meis</a:t>
            </a:r>
            <a:r>
              <a:rPr lang="en-US"/>
              <a:t> </a:t>
            </a:r>
            <a:r>
              <a:rPr lang="en-US" err="1"/>
              <a:t>habemus</a:t>
            </a:r>
            <a:r>
              <a:rPr lang="en-US"/>
              <a:t> </a:t>
            </a:r>
            <a:r>
              <a:rPr lang="en-US" err="1"/>
              <a:t>repudiare</a:t>
            </a:r>
            <a:r>
              <a:rPr lang="en-US"/>
              <a:t>, has an </a:t>
            </a:r>
            <a:r>
              <a:rPr lang="en-US" err="1"/>
              <a:t>pericula</a:t>
            </a:r>
            <a:r>
              <a:rPr lang="en-US"/>
              <a:t> </a:t>
            </a:r>
            <a:r>
              <a:rPr lang="en-US" err="1"/>
              <a:t>tractatos</a:t>
            </a:r>
            <a:r>
              <a:rPr lang="en-US"/>
              <a:t>. </a:t>
            </a:r>
            <a:r>
              <a:rPr lang="en-US" err="1"/>
              <a:t>Nec</a:t>
            </a:r>
            <a:r>
              <a:rPr lang="en-US"/>
              <a:t> </a:t>
            </a:r>
            <a:r>
              <a:rPr lang="en-US" err="1"/>
              <a:t>debitis</a:t>
            </a:r>
            <a:r>
              <a:rPr lang="en-US"/>
              <a:t> </a:t>
            </a:r>
            <a:r>
              <a:rPr lang="en-US" err="1"/>
              <a:t>dissentias</a:t>
            </a:r>
            <a:r>
              <a:rPr lang="en-US"/>
              <a:t> ad. </a:t>
            </a:r>
            <a:r>
              <a:rPr lang="en-US" err="1"/>
              <a:t>Patrioque</a:t>
            </a:r>
            <a:r>
              <a:rPr lang="en-US"/>
              <a:t> </a:t>
            </a:r>
            <a:r>
              <a:rPr lang="en-US" err="1"/>
              <a:t>voluptatum</a:t>
            </a:r>
            <a:r>
              <a:rPr lang="en-US"/>
              <a:t> </a:t>
            </a:r>
            <a:r>
              <a:rPr lang="en-US" err="1"/>
              <a:t>sed</a:t>
            </a:r>
            <a:r>
              <a:rPr lang="en-US"/>
              <a:t> ex, id </a:t>
            </a:r>
            <a:r>
              <a:rPr lang="en-US" err="1"/>
              <a:t>admodum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20" name="Line 10">
            <a:extLst>
              <a:ext uri="{FF2B5EF4-FFF2-40B4-BE49-F238E27FC236}">
                <a16:creationId xmlns:a16="http://schemas.microsoft.com/office/drawing/2014/main" id="{B69EB865-6B86-419B-923C-F7DDC68C9C66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865E1CD-A05B-41DC-B488-E4BA204E7AE5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Presentation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716ABDB-CF45-4001-9487-F3BA3DD8DACD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24366082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C1F4AD2-0FC3-4A7D-B553-FC19C918C1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tit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7E89B92-9E6D-4E4B-A5F6-7BC8B1612D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54015439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E28D7EA5-A532-4D8B-9984-8F3D1FEA98D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453176" y="2060235"/>
            <a:ext cx="5292000" cy="3025522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lang="en-US" sz="2799" dirty="0" smtClean="0">
                <a:latin typeface="Georgia" panose="02040502050405020303" pitchFamily="18" charset="0"/>
              </a:defRPr>
            </a:lvl1pPr>
          </a:lstStyle>
          <a:p>
            <a:pPr marL="356438" lvl="0" indent="-356438" algn="ctr">
              <a:spcBef>
                <a:spcPts val="0"/>
              </a:spcBef>
            </a:pPr>
            <a:r>
              <a:rPr lang="en-US"/>
              <a:t>Edit Master text styles</a:t>
            </a:r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9F9B9C3C-16F2-40B2-A460-0480520ECF8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453176" y="5506678"/>
            <a:ext cx="5292000" cy="316838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lang="en-US" sz="1599" dirty="0" smtClean="0">
                <a:solidFill>
                  <a:srgbClr val="FFE600"/>
                </a:solidFill>
                <a:latin typeface="+mn-lt"/>
              </a:defRPr>
            </a:lvl1pPr>
          </a:lstStyle>
          <a:p>
            <a:pPr marL="356438" lvl="0" indent="-356438" algn="ctr">
              <a:spcBef>
                <a:spcPts val="0"/>
              </a:spcBef>
              <a:spcAft>
                <a:spcPts val="600"/>
              </a:spcAft>
            </a:pPr>
            <a:r>
              <a:rPr lang="en-US"/>
              <a:t>Name Surname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8E04541C-CC5D-4455-8271-73223AE0A88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453176" y="5818717"/>
            <a:ext cx="5292000" cy="316838"/>
          </a:xfrm>
        </p:spPr>
        <p:txBody>
          <a:bodyPr vert="horz" lIns="0" tIns="0" rIns="0" bIns="0" rtlCol="0" anchor="t" anchorCtr="0">
            <a:noAutofit/>
          </a:bodyPr>
          <a:lstStyle>
            <a:lvl1pPr marL="0" indent="0" algn="ctr">
              <a:buNone/>
              <a:defRPr lang="en-US" sz="1599" dirty="0" smtClean="0">
                <a:latin typeface="+mn-lt"/>
              </a:defRPr>
            </a:lvl1pPr>
          </a:lstStyle>
          <a:p>
            <a:pPr marL="356438" lvl="0" indent="-356438" algn="ctr">
              <a:spcBef>
                <a:spcPts val="0"/>
              </a:spcBef>
              <a:spcAft>
                <a:spcPts val="600"/>
              </a:spcAft>
            </a:pPr>
            <a:r>
              <a:rPr lang="en-US"/>
              <a:t>Job Title</a:t>
            </a:r>
          </a:p>
        </p:txBody>
      </p:sp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FBD672D3-B116-471A-8511-D80D5D920D93}"/>
              </a:ext>
            </a:extLst>
          </p:cNvPr>
          <p:cNvSpPr txBox="1">
            <a:spLocks/>
          </p:cNvSpPr>
          <p:nvPr userDrawn="1"/>
        </p:nvSpPr>
        <p:spPr>
          <a:xfrm>
            <a:off x="4929982" y="979789"/>
            <a:ext cx="2338388" cy="8826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GB" sz="11194">
                <a:solidFill>
                  <a:schemeClr val="tx2"/>
                </a:solidFill>
                <a:latin typeface="Georgia" panose="02040502050405020303" pitchFamily="18" charset="0"/>
              </a:rPr>
              <a:t>“ </a:t>
            </a:r>
          </a:p>
        </p:txBody>
      </p:sp>
    </p:spTree>
    <p:extLst>
      <p:ext uri="{BB962C8B-B14F-4D97-AF65-F5344CB8AC3E}">
        <p14:creationId xmlns:p14="http://schemas.microsoft.com/office/powerpoint/2010/main" val="103349241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11">
            <a:extLst>
              <a:ext uri="{FF2B5EF4-FFF2-40B4-BE49-F238E27FC236}">
                <a16:creationId xmlns:a16="http://schemas.microsoft.com/office/drawing/2014/main" id="{8F291EB0-15F5-4E9A-A38B-CE3AC1452E21}"/>
              </a:ext>
            </a:extLst>
          </p:cNvPr>
          <p:cNvSpPr txBox="1">
            <a:spLocks/>
          </p:cNvSpPr>
          <p:nvPr userDrawn="1"/>
        </p:nvSpPr>
        <p:spPr>
          <a:xfrm>
            <a:off x="477351" y="1488927"/>
            <a:ext cx="2338388" cy="858838"/>
          </a:xfrm>
          <a:prstGeom prst="rect">
            <a:avLst/>
          </a:prstGeom>
        </p:spPr>
        <p:txBody>
          <a:bodyPr/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11194">
                <a:solidFill>
                  <a:schemeClr val="tx2"/>
                </a:solidFill>
                <a:latin typeface="Georgia" panose="02040502050405020303" pitchFamily="18" charset="0"/>
              </a:rPr>
              <a:t>“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B5D2AC0-B4F7-4455-9AE0-201966050A6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13351" y="2526765"/>
            <a:ext cx="5292000" cy="1800000"/>
          </a:xfrm>
        </p:spPr>
        <p:txBody>
          <a:bodyPr lIns="90000" tIns="46800" rIns="90000" bIns="46800"/>
          <a:lstStyle>
            <a:lvl1pPr marL="0" indent="0">
              <a:buNone/>
              <a:defRPr lang="en-US" sz="2799" dirty="0" smtClean="0">
                <a:latin typeface="Georgia" panose="02040502050405020303" pitchFamily="18" charset="0"/>
              </a:defRPr>
            </a:lvl1pPr>
          </a:lstStyle>
          <a:p>
            <a:pPr marL="356438" lvl="0" indent="-356438">
              <a:spcBef>
                <a:spcPts val="0"/>
              </a:spcBef>
            </a:pPr>
            <a:r>
              <a:rPr lang="en-US"/>
              <a:t>Edit Master text styles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F1BA83A2-78F0-4F7E-836B-9B4B87820F9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3351" y="4632765"/>
            <a:ext cx="5292000" cy="316838"/>
          </a:xfrm>
        </p:spPr>
        <p:txBody>
          <a:bodyPr lIns="90000" tIns="46800" rIns="90000" bIns="46800"/>
          <a:lstStyle>
            <a:lvl1pPr marL="0" indent="0" algn="l" defTabSz="913943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70000"/>
              <a:buFont typeface="Arial" pitchFamily="34" charset="0"/>
              <a:buNone/>
              <a:defRPr lang="en-US" sz="1599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56438" indent="0">
              <a:buNone/>
              <a:defRPr lang="en-US" sz="1999" smtClean="0">
                <a:latin typeface="+mn-lt"/>
              </a:defRPr>
            </a:lvl2pPr>
            <a:lvl3pPr>
              <a:defRPr lang="en-US" sz="1799" smtClean="0">
                <a:latin typeface="+mn-lt"/>
              </a:defRPr>
            </a:lvl3pPr>
            <a:lvl4pPr>
              <a:defRPr lang="en-US" sz="1599" smtClean="0">
                <a:latin typeface="+mn-lt"/>
              </a:defRPr>
            </a:lvl4pPr>
            <a:lvl5pPr>
              <a:defRPr lang="en-IN" sz="1599">
                <a:latin typeface="+mn-lt"/>
              </a:defRPr>
            </a:lvl5pPr>
          </a:lstStyle>
          <a:p>
            <a:pPr marL="0" lvl="0" indent="0">
              <a:spcBef>
                <a:spcPts val="0"/>
              </a:spcBef>
              <a:buNone/>
            </a:pPr>
            <a:r>
              <a:rPr lang="en-US"/>
              <a:t>Name Surname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034CE9DD-CE12-4D9F-8FD6-A2522F36C8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13351" y="4971442"/>
            <a:ext cx="5292000" cy="316838"/>
          </a:xfrm>
        </p:spPr>
        <p:txBody>
          <a:bodyPr lIns="90000" tIns="46800" rIns="90000" bIns="46800"/>
          <a:lstStyle>
            <a:lvl1pPr marL="0" indent="0" algn="l" defTabSz="913943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70000"/>
              <a:buFont typeface="Arial" pitchFamily="34" charset="0"/>
              <a:buNone/>
              <a:defRPr lang="en-US" sz="1599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56438" indent="0">
              <a:buNone/>
              <a:defRPr lang="en-US" sz="1999" smtClean="0">
                <a:latin typeface="+mn-lt"/>
              </a:defRPr>
            </a:lvl2pPr>
            <a:lvl3pPr>
              <a:defRPr lang="en-US" sz="1799" smtClean="0">
                <a:latin typeface="+mn-lt"/>
              </a:defRPr>
            </a:lvl3pPr>
            <a:lvl4pPr>
              <a:defRPr lang="en-US" sz="1599" smtClean="0">
                <a:latin typeface="+mn-lt"/>
              </a:defRPr>
            </a:lvl4pPr>
            <a:lvl5pPr>
              <a:defRPr lang="en-IN" sz="1599">
                <a:latin typeface="+mn-lt"/>
              </a:defRPr>
            </a:lvl5pPr>
          </a:lstStyle>
          <a:p>
            <a:pPr marL="0" lvl="0" indent="0">
              <a:spcBef>
                <a:spcPts val="0"/>
              </a:spcBef>
              <a:buNone/>
            </a:pPr>
            <a:r>
              <a:rPr lang="en-US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309148664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andard slide_no_first_level_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9" y="294200"/>
            <a:ext cx="10978515" cy="590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919" y="1137920"/>
            <a:ext cx="8238744" cy="483480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356438">
              <a:defRPr>
                <a:solidFill>
                  <a:schemeClr val="bg1"/>
                </a:solidFill>
              </a:defRPr>
            </a:lvl2pPr>
            <a:lvl3pPr marL="712875">
              <a:defRPr>
                <a:solidFill>
                  <a:schemeClr val="bg1"/>
                </a:solidFill>
              </a:defRPr>
            </a:lvl3pPr>
            <a:lvl4pPr marL="1069313">
              <a:defRPr>
                <a:solidFill>
                  <a:schemeClr val="bg1"/>
                </a:solidFill>
              </a:defRPr>
            </a:lvl4pPr>
            <a:lvl5pPr marL="1425751"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Line 10">
            <a:extLst>
              <a:ext uri="{FF2B5EF4-FFF2-40B4-BE49-F238E27FC236}">
                <a16:creationId xmlns:a16="http://schemas.microsoft.com/office/drawing/2014/main" id="{8D4CA674-C969-4C5C-9EA4-6D41FE961DE2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6528C68-2511-4745-B448-A5AA41E7BFE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B5C8157-0191-4E69-819F-DB44376867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55374254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11">
            <a:extLst>
              <a:ext uri="{FF2B5EF4-FFF2-40B4-BE49-F238E27FC236}">
                <a16:creationId xmlns:a16="http://schemas.microsoft.com/office/drawing/2014/main" id="{8F291EB0-15F5-4E9A-A38B-CE3AC1452E21}"/>
              </a:ext>
            </a:extLst>
          </p:cNvPr>
          <p:cNvSpPr txBox="1">
            <a:spLocks/>
          </p:cNvSpPr>
          <p:nvPr userDrawn="1"/>
        </p:nvSpPr>
        <p:spPr>
          <a:xfrm>
            <a:off x="477351" y="1488927"/>
            <a:ext cx="2338388" cy="858838"/>
          </a:xfrm>
          <a:prstGeom prst="rect">
            <a:avLst/>
          </a:prstGeom>
        </p:spPr>
        <p:txBody>
          <a:bodyPr/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11200">
                <a:solidFill>
                  <a:schemeClr val="tx2"/>
                </a:solidFill>
                <a:latin typeface="Georgia" panose="02040502050405020303" pitchFamily="18" charset="0"/>
              </a:rPr>
              <a:t>“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B5D2AC0-B4F7-4455-9AE0-201966050A6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13350" y="2526765"/>
            <a:ext cx="5292000" cy="1800000"/>
          </a:xfrm>
          <a:prstGeom prst="rect">
            <a:avLst/>
          </a:prstGeom>
        </p:spPr>
        <p:txBody>
          <a:bodyPr lIns="90000" tIns="46800" rIns="90000" bIns="46800"/>
          <a:lstStyle>
            <a:lvl1pPr marL="0" indent="0">
              <a:buNone/>
              <a:defRPr lang="en-US" sz="2800" dirty="0" smtClean="0">
                <a:solidFill>
                  <a:schemeClr val="tx1"/>
                </a:solidFill>
                <a:latin typeface="Georgia" panose="02040502050405020303" pitchFamily="18" charset="0"/>
              </a:defRPr>
            </a:lvl1pPr>
          </a:lstStyle>
          <a:p>
            <a:pPr marL="356616" lvl="0" indent="-356616">
              <a:spcBef>
                <a:spcPts val="0"/>
              </a:spcBef>
            </a:pPr>
            <a:r>
              <a:rPr lang="en-US"/>
              <a:t>Edit Master text styles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F1BA83A2-78F0-4F7E-836B-9B4B87820F9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3350" y="4632765"/>
            <a:ext cx="5292000" cy="316838"/>
          </a:xfrm>
          <a:prstGeom prst="rect">
            <a:avLst/>
          </a:prstGeom>
        </p:spPr>
        <p:txBody>
          <a:bodyPr lIns="90000" tIns="46800" rIns="90000" bIns="46800"/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70000"/>
              <a:buFont typeface="Arial" pitchFamily="34" charset="0"/>
              <a:buNone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6616" indent="0">
              <a:buNone/>
              <a:defRPr lang="en-US" sz="2000" smtClean="0">
                <a:latin typeface="+mn-lt"/>
              </a:defRPr>
            </a:lvl2pPr>
            <a:lvl3pPr>
              <a:defRPr lang="en-US" sz="1800" smtClean="0">
                <a:latin typeface="+mn-lt"/>
              </a:defRPr>
            </a:lvl3pPr>
            <a:lvl4pPr>
              <a:defRPr lang="en-US" sz="1600" smtClean="0">
                <a:latin typeface="+mn-lt"/>
              </a:defRPr>
            </a:lvl4pPr>
            <a:lvl5pPr>
              <a:defRPr lang="en-IN" sz="1600">
                <a:latin typeface="+mn-lt"/>
              </a:defRPr>
            </a:lvl5pPr>
          </a:lstStyle>
          <a:p>
            <a:pPr marL="0" lvl="0" indent="0">
              <a:spcBef>
                <a:spcPts val="0"/>
              </a:spcBef>
              <a:buNone/>
            </a:pPr>
            <a:r>
              <a:rPr lang="en-US"/>
              <a:t>Name Surname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034CE9DD-CE12-4D9F-8FD6-A2522F36C8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13350" y="4971442"/>
            <a:ext cx="5292000" cy="316838"/>
          </a:xfrm>
          <a:prstGeom prst="rect">
            <a:avLst/>
          </a:prstGeom>
        </p:spPr>
        <p:txBody>
          <a:bodyPr lIns="90000" tIns="46800" rIns="90000" bIns="46800"/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70000"/>
              <a:buFont typeface="Arial" pitchFamily="34" charset="0"/>
              <a:buNone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6616" indent="0">
              <a:buNone/>
              <a:defRPr lang="en-US" sz="2000" smtClean="0">
                <a:latin typeface="+mn-lt"/>
              </a:defRPr>
            </a:lvl2pPr>
            <a:lvl3pPr>
              <a:defRPr lang="en-US" sz="1800" smtClean="0">
                <a:latin typeface="+mn-lt"/>
              </a:defRPr>
            </a:lvl3pPr>
            <a:lvl4pPr>
              <a:defRPr lang="en-US" sz="1600" smtClean="0">
                <a:latin typeface="+mn-lt"/>
              </a:defRPr>
            </a:lvl4pPr>
            <a:lvl5pPr>
              <a:defRPr lang="en-IN" sz="1600">
                <a:latin typeface="+mn-lt"/>
              </a:defRPr>
            </a:lvl5pPr>
          </a:lstStyle>
          <a:p>
            <a:pPr marL="0" lvl="0" indent="0">
              <a:spcBef>
                <a:spcPts val="0"/>
              </a:spcBef>
              <a:buNone/>
            </a:pPr>
            <a:r>
              <a:rPr lang="en-US"/>
              <a:t>Job Title</a:t>
            </a:r>
          </a:p>
        </p:txBody>
      </p:sp>
      <p:sp>
        <p:nvSpPr>
          <p:cNvPr id="10" name="Footer Placeholder 2">
            <a:extLst>
              <a:ext uri="{FF2B5EF4-FFF2-40B4-BE49-F238E27FC236}">
                <a16:creationId xmlns:a16="http://schemas.microsoft.com/office/drawing/2014/main" id="{5EB0F7F7-C918-4EDD-A8A4-FB06D05389DE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273378" y="6471243"/>
            <a:ext cx="2342723" cy="221971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N" b="1">
                <a:solidFill>
                  <a:schemeClr val="tx2"/>
                </a:solidFill>
                <a:latin typeface="EYInterstate" panose="02000503020000020004" pitchFamily="2" charset="0"/>
              </a:rPr>
              <a:t>| </a:t>
            </a:r>
            <a:r>
              <a:rPr lang="en-US"/>
              <a:t>EY@Work Small Projects Guide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22173724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, no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9" y="294200"/>
            <a:ext cx="10978515" cy="59088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Line 10">
            <a:extLst>
              <a:ext uri="{FF2B5EF4-FFF2-40B4-BE49-F238E27FC236}">
                <a16:creationId xmlns:a16="http://schemas.microsoft.com/office/drawing/2014/main" id="{97A26880-8DD7-4A78-ADAF-91ED2E744A7C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36FB98F-FBCE-4F2C-978B-A5576B5774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tit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1A95690-F0A7-4101-82DB-B17CE6B7A4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1206299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lumns, no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9" y="294200"/>
            <a:ext cx="10978515" cy="59088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918" y="1137919"/>
            <a:ext cx="5387605" cy="4834800"/>
          </a:xfrm>
        </p:spPr>
        <p:txBody>
          <a:bodyPr/>
          <a:lstStyle>
            <a:lvl1pPr>
              <a:defRPr sz="1999">
                <a:solidFill>
                  <a:schemeClr val="bg1"/>
                </a:solidFill>
              </a:defRPr>
            </a:lvl1pPr>
            <a:lvl2pPr>
              <a:defRPr sz="1799">
                <a:solidFill>
                  <a:schemeClr val="bg1"/>
                </a:solidFill>
              </a:defRPr>
            </a:lvl2pPr>
            <a:lvl3pPr>
              <a:defRPr sz="1599">
                <a:solidFill>
                  <a:schemeClr val="bg1"/>
                </a:solidFill>
              </a:defRPr>
            </a:lvl3pPr>
            <a:lvl4pPr>
              <a:defRPr sz="1399">
                <a:solidFill>
                  <a:schemeClr val="bg1"/>
                </a:solidFill>
              </a:defRPr>
            </a:lvl4pPr>
            <a:lvl5pPr>
              <a:defRPr sz="1199">
                <a:solidFill>
                  <a:schemeClr val="bg1"/>
                </a:solidFill>
              </a:defRPr>
            </a:lvl5pPr>
            <a:lvl6pPr>
              <a:defRPr sz="1799"/>
            </a:lvl6pPr>
            <a:lvl7pPr>
              <a:defRPr sz="1799"/>
            </a:lvl7pPr>
            <a:lvl8pPr>
              <a:defRPr sz="1799"/>
            </a:lvl8pPr>
            <a:lvl9pPr>
              <a:defRPr sz="1799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00829" y="1137919"/>
            <a:ext cx="5387605" cy="4834800"/>
          </a:xfrm>
        </p:spPr>
        <p:txBody>
          <a:bodyPr/>
          <a:lstStyle>
            <a:lvl1pPr>
              <a:defRPr sz="1999">
                <a:solidFill>
                  <a:schemeClr val="bg1"/>
                </a:solidFill>
              </a:defRPr>
            </a:lvl1pPr>
            <a:lvl2pPr>
              <a:defRPr sz="1799">
                <a:solidFill>
                  <a:schemeClr val="bg1"/>
                </a:solidFill>
              </a:defRPr>
            </a:lvl2pPr>
            <a:lvl3pPr>
              <a:defRPr sz="1599">
                <a:solidFill>
                  <a:schemeClr val="bg1"/>
                </a:solidFill>
              </a:defRPr>
            </a:lvl3pPr>
            <a:lvl4pPr>
              <a:defRPr sz="1399">
                <a:solidFill>
                  <a:schemeClr val="bg1"/>
                </a:solidFill>
              </a:defRPr>
            </a:lvl4pPr>
            <a:lvl5pPr>
              <a:defRPr sz="1199">
                <a:solidFill>
                  <a:schemeClr val="bg1"/>
                </a:solidFill>
              </a:defRPr>
            </a:lvl5pPr>
            <a:lvl6pPr>
              <a:defRPr sz="1799"/>
            </a:lvl6pPr>
            <a:lvl7pPr>
              <a:defRPr sz="1799"/>
            </a:lvl7pPr>
            <a:lvl8pPr>
              <a:defRPr sz="1799"/>
            </a:lvl8pPr>
            <a:lvl9pPr>
              <a:defRPr sz="1799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Line 10">
            <a:extLst>
              <a:ext uri="{FF2B5EF4-FFF2-40B4-BE49-F238E27FC236}">
                <a16:creationId xmlns:a16="http://schemas.microsoft.com/office/drawing/2014/main" id="{9B070B28-7AAC-47E5-9EB5-96B8B8B88057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D7373D8-2AB5-4625-822C-B1F2B5CDC39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titl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76E3B4B-D68B-4AFA-A20D-2ECE69120F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28865765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with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12648" y="1869442"/>
            <a:ext cx="5393208" cy="4256075"/>
          </a:xfrm>
        </p:spPr>
        <p:txBody>
          <a:bodyPr/>
          <a:lstStyle>
            <a:lvl1pPr>
              <a:defRPr sz="1999">
                <a:solidFill>
                  <a:schemeClr val="bg1"/>
                </a:solidFill>
              </a:defRPr>
            </a:lvl1pPr>
            <a:lvl2pPr>
              <a:defRPr sz="1799">
                <a:solidFill>
                  <a:schemeClr val="bg1"/>
                </a:solidFill>
              </a:defRPr>
            </a:lvl2pPr>
            <a:lvl3pPr>
              <a:defRPr sz="1599">
                <a:solidFill>
                  <a:schemeClr val="bg1"/>
                </a:solidFill>
              </a:defRPr>
            </a:lvl3pPr>
            <a:lvl4pPr>
              <a:defRPr sz="1399">
                <a:solidFill>
                  <a:schemeClr val="bg1"/>
                </a:solidFill>
              </a:defRPr>
            </a:lvl4pPr>
            <a:lvl5pPr>
              <a:defRPr sz="1199">
                <a:solidFill>
                  <a:schemeClr val="bg1"/>
                </a:solidFill>
              </a:defRPr>
            </a:lvl5pPr>
            <a:lvl6pPr>
              <a:defRPr sz="1799"/>
            </a:lvl6pPr>
            <a:lvl7pPr>
              <a:defRPr sz="1799"/>
            </a:lvl7pPr>
            <a:lvl8pPr>
              <a:defRPr sz="1799"/>
            </a:lvl8pPr>
            <a:lvl9pPr>
              <a:defRPr sz="1799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9632" y="1869442"/>
            <a:ext cx="5393208" cy="4256075"/>
          </a:xfrm>
        </p:spPr>
        <p:txBody>
          <a:bodyPr/>
          <a:lstStyle>
            <a:lvl1pPr>
              <a:defRPr sz="1999">
                <a:solidFill>
                  <a:schemeClr val="bg1"/>
                </a:solidFill>
              </a:defRPr>
            </a:lvl1pPr>
            <a:lvl2pPr>
              <a:defRPr sz="1799">
                <a:solidFill>
                  <a:schemeClr val="bg1"/>
                </a:solidFill>
              </a:defRPr>
            </a:lvl2pPr>
            <a:lvl3pPr>
              <a:defRPr sz="1599">
                <a:solidFill>
                  <a:schemeClr val="bg1"/>
                </a:solidFill>
              </a:defRPr>
            </a:lvl3pPr>
            <a:lvl4pPr>
              <a:defRPr sz="1399">
                <a:solidFill>
                  <a:schemeClr val="bg1"/>
                </a:solidFill>
              </a:defRPr>
            </a:lvl4pPr>
            <a:lvl5pPr>
              <a:defRPr sz="1199">
                <a:solidFill>
                  <a:schemeClr val="bg1"/>
                </a:solidFill>
              </a:defRPr>
            </a:lvl5pPr>
            <a:lvl6pPr>
              <a:defRPr sz="1799"/>
            </a:lvl6pPr>
            <a:lvl7pPr>
              <a:defRPr sz="1799"/>
            </a:lvl7pPr>
            <a:lvl8pPr>
              <a:defRPr sz="1799"/>
            </a:lvl8pPr>
            <a:lvl9pPr>
              <a:defRPr sz="1799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609918" y="1137920"/>
            <a:ext cx="5393208" cy="640800"/>
          </a:xfrm>
        </p:spPr>
        <p:txBody>
          <a:bodyPr anchor="t" anchorCtr="0"/>
          <a:lstStyle>
            <a:lvl1pPr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199632" y="1137920"/>
            <a:ext cx="5393208" cy="640800"/>
          </a:xfrm>
        </p:spPr>
        <p:txBody>
          <a:bodyPr anchor="t" anchorCtr="0"/>
          <a:lstStyle>
            <a:lvl1pPr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9" y="294200"/>
            <a:ext cx="10978515" cy="59088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Line 10">
            <a:extLst>
              <a:ext uri="{FF2B5EF4-FFF2-40B4-BE49-F238E27FC236}">
                <a16:creationId xmlns:a16="http://schemas.microsoft.com/office/drawing/2014/main" id="{9773E7D9-2434-4381-A00D-27B62C086733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2B54F7E-BDC4-4386-B2E2-1FC66609D14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Presentation titl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94FBF9A-EC9A-41E4-A24C-ECB5DC15CCD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03430750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678256F-B716-4FA1-B0CC-85D20C72FC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tit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2344F6A-D6D0-4CE3-8495-873C004D38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86562918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7468186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56">
            <a:extLst>
              <a:ext uri="{FF2B5EF4-FFF2-40B4-BE49-F238E27FC236}">
                <a16:creationId xmlns:a16="http://schemas.microsoft.com/office/drawing/2014/main" id="{13A7AC18-CF42-4EC5-8D40-441EAE30A06C}"/>
              </a:ext>
            </a:extLst>
          </p:cNvPr>
          <p:cNvSpPr/>
          <p:nvPr userDrawn="1"/>
        </p:nvSpPr>
        <p:spPr>
          <a:xfrm>
            <a:off x="498116" y="795662"/>
            <a:ext cx="4930412" cy="3581484"/>
          </a:xfrm>
          <a:custGeom>
            <a:avLst/>
            <a:gdLst>
              <a:gd name="connsiteX0" fmla="*/ 4238387 w 4257675"/>
              <a:gd name="connsiteY0" fmla="*/ 0 h 3092804"/>
              <a:gd name="connsiteX1" fmla="*/ 4257675 w 4257675"/>
              <a:gd name="connsiteY1" fmla="*/ 0 h 3092804"/>
              <a:gd name="connsiteX2" fmla="*/ 4257675 w 4257675"/>
              <a:gd name="connsiteY2" fmla="*/ 3092804 h 3092804"/>
              <a:gd name="connsiteX3" fmla="*/ 0 w 4257675"/>
              <a:gd name="connsiteY3" fmla="*/ 3092804 h 3092804"/>
              <a:gd name="connsiteX4" fmla="*/ 0 w 4257675"/>
              <a:gd name="connsiteY4" fmla="*/ 747342 h 30928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7675" h="3092804">
                <a:moveTo>
                  <a:pt x="4238387" y="0"/>
                </a:moveTo>
                <a:lnTo>
                  <a:pt x="4257675" y="0"/>
                </a:lnTo>
                <a:lnTo>
                  <a:pt x="4257675" y="3092804"/>
                </a:lnTo>
                <a:lnTo>
                  <a:pt x="0" y="3092804"/>
                </a:lnTo>
                <a:lnTo>
                  <a:pt x="0" y="747342"/>
                </a:lnTo>
                <a:close/>
              </a:path>
            </a:pathLst>
          </a:custGeom>
          <a:solidFill>
            <a:srgbClr val="FFE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775504" y="1954221"/>
            <a:ext cx="4328932" cy="979702"/>
          </a:xfrm>
        </p:spPr>
        <p:txBody>
          <a:bodyPr/>
          <a:lstStyle>
            <a:lvl1pPr>
              <a:defRPr sz="2999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2" name="Subtitle 2"/>
          <p:cNvSpPr>
            <a:spLocks noGrp="1"/>
          </p:cNvSpPr>
          <p:nvPr>
            <p:ph type="subTitle" idx="1"/>
          </p:nvPr>
        </p:nvSpPr>
        <p:spPr>
          <a:xfrm>
            <a:off x="775504" y="3046160"/>
            <a:ext cx="4328932" cy="1046323"/>
          </a:xfrm>
        </p:spPr>
        <p:txBody>
          <a:bodyPr/>
          <a:lstStyle>
            <a:lvl1pPr marL="0" indent="0" algn="l">
              <a:spcAft>
                <a:spcPts val="1199"/>
              </a:spcAft>
              <a:buNone/>
              <a:defRPr sz="1999">
                <a:solidFill>
                  <a:schemeClr val="bg1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599" b="1">
                <a:solidFill>
                  <a:srgbClr val="404040"/>
                </a:solidFill>
              </a:defRPr>
            </a:lvl2pPr>
            <a:lvl3pPr marL="913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9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8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8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7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GB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F93BD223-2224-476C-AB5C-300C248C1618}"/>
              </a:ext>
            </a:extLst>
          </p:cNvPr>
          <p:cNvCxnSpPr>
            <a:cxnSpLocks/>
          </p:cNvCxnSpPr>
          <p:nvPr userDrawn="1"/>
        </p:nvCxnSpPr>
        <p:spPr>
          <a:xfrm>
            <a:off x="1333185" y="5709060"/>
            <a:ext cx="8122101" cy="0"/>
          </a:xfrm>
          <a:prstGeom prst="line">
            <a:avLst/>
          </a:prstGeom>
          <a:ln>
            <a:solidFill>
              <a:srgbClr val="82829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651B4C43-E5F8-400E-A971-58A3766B1BF0}"/>
              </a:ext>
            </a:extLst>
          </p:cNvPr>
          <p:cNvSpPr txBox="1"/>
          <p:nvPr userDrawn="1"/>
        </p:nvSpPr>
        <p:spPr>
          <a:xfrm>
            <a:off x="461985" y="5605202"/>
            <a:ext cx="1045073" cy="197581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r>
              <a:rPr lang="en-GB" sz="1199">
                <a:solidFill>
                  <a:srgbClr val="828290"/>
                </a:solidFill>
                <a:latin typeface="EYInterstate Light" panose="02000506000000020004" pitchFamily="2" charset="0"/>
              </a:rPr>
              <a:t>Written by</a:t>
            </a:r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A9465B6B-DFD4-4E0C-9ACE-E88CA22204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333185" y="6019189"/>
            <a:ext cx="3089275" cy="180000"/>
          </a:xfrm>
        </p:spPr>
        <p:txBody>
          <a:bodyPr/>
          <a:lstStyle>
            <a:lvl1pPr marL="0" indent="0">
              <a:buNone/>
              <a:defRPr sz="1199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Name Surname</a:t>
            </a:r>
            <a:endParaRPr lang="en-GB"/>
          </a:p>
        </p:txBody>
      </p:sp>
      <p:sp>
        <p:nvSpPr>
          <p:cNvPr id="13" name="Text Placeholder 16">
            <a:extLst>
              <a:ext uri="{FF2B5EF4-FFF2-40B4-BE49-F238E27FC236}">
                <a16:creationId xmlns:a16="http://schemas.microsoft.com/office/drawing/2014/main" id="{A1F2ED22-5637-4AB8-ABD8-3693A6EA55F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333185" y="6216807"/>
            <a:ext cx="3089275" cy="180000"/>
          </a:xfrm>
        </p:spPr>
        <p:txBody>
          <a:bodyPr/>
          <a:lstStyle>
            <a:lvl1pPr marL="0" indent="0">
              <a:buNone/>
              <a:defRPr sz="1199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Job Title</a:t>
            </a:r>
            <a:endParaRPr lang="en-GB"/>
          </a:p>
        </p:txBody>
      </p:sp>
      <p:sp>
        <p:nvSpPr>
          <p:cNvPr id="14" name="Picture Placeholder 19">
            <a:extLst>
              <a:ext uri="{FF2B5EF4-FFF2-40B4-BE49-F238E27FC236}">
                <a16:creationId xmlns:a16="http://schemas.microsoft.com/office/drawing/2014/main" id="{29A5E1BC-8F6B-43EF-9FF6-8242E7708BD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61983" y="5914642"/>
            <a:ext cx="576000" cy="576000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900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grpSp>
        <p:nvGrpSpPr>
          <p:cNvPr id="2" name="Group 4">
            <a:extLst>
              <a:ext uri="{FF2B5EF4-FFF2-40B4-BE49-F238E27FC236}">
                <a16:creationId xmlns:a16="http://schemas.microsoft.com/office/drawing/2014/main" id="{63F02F42-4916-4588-807F-4BB7367EB0EC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64788" y="4960938"/>
            <a:ext cx="1225550" cy="1435100"/>
            <a:chOff x="6529" y="3125"/>
            <a:chExt cx="772" cy="904"/>
          </a:xfrm>
        </p:grpSpPr>
        <p:sp>
          <p:nvSpPr>
            <p:cNvPr id="4" name="Freeform 5">
              <a:extLst>
                <a:ext uri="{FF2B5EF4-FFF2-40B4-BE49-F238E27FC236}">
                  <a16:creationId xmlns:a16="http://schemas.microsoft.com/office/drawing/2014/main" id="{0BD928C5-1C7D-4599-A7E9-8AB1B188C6A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5" name="Freeform 6">
              <a:extLst>
                <a:ext uri="{FF2B5EF4-FFF2-40B4-BE49-F238E27FC236}">
                  <a16:creationId xmlns:a16="http://schemas.microsoft.com/office/drawing/2014/main" id="{37C281E8-2924-471F-A849-26C37A059B4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</p:grpSp>
    </p:spTree>
    <p:extLst>
      <p:ext uri="{BB962C8B-B14F-4D97-AF65-F5344CB8AC3E}">
        <p14:creationId xmlns:p14="http://schemas.microsoft.com/office/powerpoint/2010/main" val="11409458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2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Approved question ta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6" name="Group 185">
            <a:extLst>
              <a:ext uri="{FF2B5EF4-FFF2-40B4-BE49-F238E27FC236}">
                <a16:creationId xmlns:a16="http://schemas.microsoft.com/office/drawing/2014/main" id="{9CDE954B-B280-441B-9B2D-3DC58AAE3926}"/>
              </a:ext>
            </a:extLst>
          </p:cNvPr>
          <p:cNvGrpSpPr/>
          <p:nvPr userDrawn="1"/>
        </p:nvGrpSpPr>
        <p:grpSpPr>
          <a:xfrm>
            <a:off x="498115" y="5826614"/>
            <a:ext cx="3878023" cy="570195"/>
            <a:chOff x="498115" y="5951018"/>
            <a:chExt cx="3878023" cy="570195"/>
          </a:xfrm>
        </p:grpSpPr>
        <p:sp>
          <p:nvSpPr>
            <p:cNvPr id="187" name="Rectangle 186">
              <a:extLst>
                <a:ext uri="{FF2B5EF4-FFF2-40B4-BE49-F238E27FC236}">
                  <a16:creationId xmlns:a16="http://schemas.microsoft.com/office/drawing/2014/main" id="{93D8FAC8-9530-49D4-8284-D35D1B1509D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98115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188" name="Rectangle 6">
              <a:extLst>
                <a:ext uri="{FF2B5EF4-FFF2-40B4-BE49-F238E27FC236}">
                  <a16:creationId xmlns:a16="http://schemas.microsoft.com/office/drawing/2014/main" id="{FD924F44-93C1-4254-B594-53DB14FD995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9341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189" name="Rectangle 7">
              <a:extLst>
                <a:ext uri="{FF2B5EF4-FFF2-40B4-BE49-F238E27FC236}">
                  <a16:creationId xmlns:a16="http://schemas.microsoft.com/office/drawing/2014/main" id="{2A2DA425-7935-45A1-B63F-2D14CF8D5F9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9045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190" name="Freeform 8">
              <a:extLst>
                <a:ext uri="{FF2B5EF4-FFF2-40B4-BE49-F238E27FC236}">
                  <a16:creationId xmlns:a16="http://schemas.microsoft.com/office/drawing/2014/main" id="{91EFF75E-13E7-4E35-B108-D9FD5E9C802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181188"/>
              <a:ext cx="94161" cy="130778"/>
            </a:xfrm>
            <a:custGeom>
              <a:avLst/>
              <a:gdLst>
                <a:gd name="T0" fmla="*/ 32 w 54"/>
                <a:gd name="T1" fmla="*/ 11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1 h 75"/>
                <a:gd name="T8" fmla="*/ 0 w 54"/>
                <a:gd name="T9" fmla="*/ 11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1 h 75"/>
                <a:gd name="T16" fmla="*/ 32 w 54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1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1"/>
                  </a:lnTo>
                  <a:lnTo>
                    <a:pt x="32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1" name="Freeform 9">
              <a:extLst>
                <a:ext uri="{FF2B5EF4-FFF2-40B4-BE49-F238E27FC236}">
                  <a16:creationId xmlns:a16="http://schemas.microsoft.com/office/drawing/2014/main" id="{4411951F-E009-4FE7-B2EC-47771CA8E17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174213"/>
              <a:ext cx="78468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2" name="Freeform 10">
              <a:extLst>
                <a:ext uri="{FF2B5EF4-FFF2-40B4-BE49-F238E27FC236}">
                  <a16:creationId xmlns:a16="http://schemas.microsoft.com/office/drawing/2014/main" id="{B28EE49C-5F5A-49C6-AEB8-6D12DDF344E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3" name="Freeform 11">
              <a:extLst>
                <a:ext uri="{FF2B5EF4-FFF2-40B4-BE49-F238E27FC236}">
                  <a16:creationId xmlns:a16="http://schemas.microsoft.com/office/drawing/2014/main" id="{6E2B7D76-D660-491F-8B04-169C6F138B0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174213"/>
              <a:ext cx="83698" cy="139497"/>
            </a:xfrm>
            <a:custGeom>
              <a:avLst/>
              <a:gdLst>
                <a:gd name="T0" fmla="*/ 33 w 33"/>
                <a:gd name="T1" fmla="*/ 35 h 55"/>
                <a:gd name="T2" fmla="*/ 31 w 33"/>
                <a:gd name="T3" fmla="*/ 44 h 55"/>
                <a:gd name="T4" fmla="*/ 28 w 33"/>
                <a:gd name="T5" fmla="*/ 50 h 55"/>
                <a:gd name="T6" fmla="*/ 23 w 33"/>
                <a:gd name="T7" fmla="*/ 53 h 55"/>
                <a:gd name="T8" fmla="*/ 17 w 33"/>
                <a:gd name="T9" fmla="*/ 55 h 55"/>
                <a:gd name="T10" fmla="*/ 12 w 33"/>
                <a:gd name="T11" fmla="*/ 53 h 55"/>
                <a:gd name="T12" fmla="*/ 8 w 33"/>
                <a:gd name="T13" fmla="*/ 50 h 55"/>
                <a:gd name="T14" fmla="*/ 8 w 33"/>
                <a:gd name="T15" fmla="*/ 54 h 55"/>
                <a:gd name="T16" fmla="*/ 0 w 33"/>
                <a:gd name="T17" fmla="*/ 54 h 55"/>
                <a:gd name="T18" fmla="*/ 0 w 33"/>
                <a:gd name="T19" fmla="*/ 4 h 55"/>
                <a:gd name="T20" fmla="*/ 8 w 33"/>
                <a:gd name="T21" fmla="*/ 0 h 55"/>
                <a:gd name="T22" fmla="*/ 8 w 33"/>
                <a:gd name="T23" fmla="*/ 19 h 55"/>
                <a:gd name="T24" fmla="*/ 10 w 33"/>
                <a:gd name="T25" fmla="*/ 17 h 55"/>
                <a:gd name="T26" fmla="*/ 12 w 33"/>
                <a:gd name="T27" fmla="*/ 16 h 55"/>
                <a:gd name="T28" fmla="*/ 14 w 33"/>
                <a:gd name="T29" fmla="*/ 15 h 55"/>
                <a:gd name="T30" fmla="*/ 18 w 33"/>
                <a:gd name="T31" fmla="*/ 15 h 55"/>
                <a:gd name="T32" fmla="*/ 24 w 33"/>
                <a:gd name="T33" fmla="*/ 16 h 55"/>
                <a:gd name="T34" fmla="*/ 28 w 33"/>
                <a:gd name="T35" fmla="*/ 19 h 55"/>
                <a:gd name="T36" fmla="*/ 31 w 33"/>
                <a:gd name="T37" fmla="*/ 26 h 55"/>
                <a:gd name="T38" fmla="*/ 33 w 33"/>
                <a:gd name="T39" fmla="*/ 35 h 55"/>
                <a:gd name="T40" fmla="*/ 25 w 33"/>
                <a:gd name="T41" fmla="*/ 35 h 55"/>
                <a:gd name="T42" fmla="*/ 23 w 33"/>
                <a:gd name="T43" fmla="*/ 25 h 55"/>
                <a:gd name="T44" fmla="*/ 16 w 33"/>
                <a:gd name="T45" fmla="*/ 22 h 55"/>
                <a:gd name="T46" fmla="*/ 14 w 33"/>
                <a:gd name="T47" fmla="*/ 22 h 55"/>
                <a:gd name="T48" fmla="*/ 11 w 33"/>
                <a:gd name="T49" fmla="*/ 23 h 55"/>
                <a:gd name="T50" fmla="*/ 9 w 33"/>
                <a:gd name="T51" fmla="*/ 25 h 55"/>
                <a:gd name="T52" fmla="*/ 8 w 33"/>
                <a:gd name="T53" fmla="*/ 26 h 55"/>
                <a:gd name="T54" fmla="*/ 8 w 33"/>
                <a:gd name="T55" fmla="*/ 43 h 55"/>
                <a:gd name="T56" fmla="*/ 9 w 33"/>
                <a:gd name="T57" fmla="*/ 44 h 55"/>
                <a:gd name="T58" fmla="*/ 11 w 33"/>
                <a:gd name="T59" fmla="*/ 46 h 55"/>
                <a:gd name="T60" fmla="*/ 14 w 33"/>
                <a:gd name="T61" fmla="*/ 47 h 55"/>
                <a:gd name="T62" fmla="*/ 17 w 33"/>
                <a:gd name="T63" fmla="*/ 48 h 55"/>
                <a:gd name="T64" fmla="*/ 23 w 33"/>
                <a:gd name="T65" fmla="*/ 45 h 55"/>
                <a:gd name="T66" fmla="*/ 25 w 33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5">
                  <a:moveTo>
                    <a:pt x="33" y="35"/>
                  </a:moveTo>
                  <a:cubicBezTo>
                    <a:pt x="33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7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6" y="55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8"/>
                    <a:pt x="10" y="17"/>
                  </a:cubicBezTo>
                  <a:cubicBezTo>
                    <a:pt x="11" y="17"/>
                    <a:pt x="11" y="16"/>
                    <a:pt x="12" y="16"/>
                  </a:cubicBezTo>
                  <a:cubicBezTo>
                    <a:pt x="13" y="16"/>
                    <a:pt x="13" y="15"/>
                    <a:pt x="14" y="15"/>
                  </a:cubicBezTo>
                  <a:cubicBezTo>
                    <a:pt x="15" y="15"/>
                    <a:pt x="16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30" y="21"/>
                    <a:pt x="31" y="23"/>
                    <a:pt x="31" y="26"/>
                  </a:cubicBezTo>
                  <a:cubicBezTo>
                    <a:pt x="32" y="28"/>
                    <a:pt x="33" y="32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5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1" y="23"/>
                    <a:pt x="10" y="24"/>
                    <a:pt x="9" y="25"/>
                  </a:cubicBezTo>
                  <a:cubicBezTo>
                    <a:pt x="9" y="25"/>
                    <a:pt x="8" y="26"/>
                    <a:pt x="8" y="26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8" y="43"/>
                    <a:pt x="9" y="44"/>
                    <a:pt x="9" y="44"/>
                  </a:cubicBezTo>
                  <a:cubicBezTo>
                    <a:pt x="10" y="45"/>
                    <a:pt x="11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6" y="48"/>
                    <a:pt x="17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4" name="Freeform 12">
              <a:extLst>
                <a:ext uri="{FF2B5EF4-FFF2-40B4-BE49-F238E27FC236}">
                  <a16:creationId xmlns:a16="http://schemas.microsoft.com/office/drawing/2014/main" id="{41BE51DE-402B-48B5-99C8-D8BB9A32DF3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5" name="Freeform 13">
              <a:extLst>
                <a:ext uri="{FF2B5EF4-FFF2-40B4-BE49-F238E27FC236}">
                  <a16:creationId xmlns:a16="http://schemas.microsoft.com/office/drawing/2014/main" id="{8D5E878B-8859-44FA-A69D-DCE630AAB0D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1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2" y="54"/>
                    <a:pt x="11" y="54"/>
                  </a:cubicBezTo>
                  <a:cubicBezTo>
                    <a:pt x="10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2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6" name="Freeform 14">
              <a:extLst>
                <a:ext uri="{FF2B5EF4-FFF2-40B4-BE49-F238E27FC236}">
                  <a16:creationId xmlns:a16="http://schemas.microsoft.com/office/drawing/2014/main" id="{08D55808-ECDC-4E9B-84ED-7301E9E716C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7" name="Freeform 15">
              <a:extLst>
                <a:ext uri="{FF2B5EF4-FFF2-40B4-BE49-F238E27FC236}">
                  <a16:creationId xmlns:a16="http://schemas.microsoft.com/office/drawing/2014/main" id="{3436B310-313E-4A53-A70D-CA0D0D97FE7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0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2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0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3" y="31"/>
                    <a:pt x="24" y="30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0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7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8" name="Freeform 16">
              <a:extLst>
                <a:ext uri="{FF2B5EF4-FFF2-40B4-BE49-F238E27FC236}">
                  <a16:creationId xmlns:a16="http://schemas.microsoft.com/office/drawing/2014/main" id="{F3CE55A9-AE55-4169-A58D-8171D9916EC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212575"/>
              <a:ext cx="55799" cy="99391"/>
            </a:xfrm>
            <a:custGeom>
              <a:avLst/>
              <a:gdLst>
                <a:gd name="T0" fmla="*/ 20 w 22"/>
                <a:gd name="T1" fmla="*/ 8 h 39"/>
                <a:gd name="T2" fmla="*/ 18 w 22"/>
                <a:gd name="T3" fmla="*/ 7 h 39"/>
                <a:gd name="T4" fmla="*/ 15 w 22"/>
                <a:gd name="T5" fmla="*/ 7 h 39"/>
                <a:gd name="T6" fmla="*/ 9 w 22"/>
                <a:gd name="T7" fmla="*/ 9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0 h 39"/>
                <a:gd name="T16" fmla="*/ 7 w 22"/>
                <a:gd name="T17" fmla="*/ 0 h 39"/>
                <a:gd name="T18" fmla="*/ 7 w 22"/>
                <a:gd name="T19" fmla="*/ 4 h 39"/>
                <a:gd name="T20" fmla="*/ 9 w 22"/>
                <a:gd name="T21" fmla="*/ 2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0 h 39"/>
                <a:gd name="T30" fmla="*/ 22 w 22"/>
                <a:gd name="T31" fmla="*/ 1 h 39"/>
                <a:gd name="T32" fmla="*/ 20 w 22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2" y="7"/>
                    <a:pt x="10" y="8"/>
                    <a:pt x="9" y="9"/>
                  </a:cubicBezTo>
                  <a:cubicBezTo>
                    <a:pt x="8" y="11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9" y="2"/>
                    <a:pt x="10" y="1"/>
                    <a:pt x="11" y="1"/>
                  </a:cubicBezTo>
                  <a:cubicBezTo>
                    <a:pt x="11" y="0"/>
                    <a:pt x="12" y="0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0"/>
                  </a:cubicBezTo>
                  <a:cubicBezTo>
                    <a:pt x="21" y="0"/>
                    <a:pt x="22" y="1"/>
                    <a:pt x="22" y="1"/>
                  </a:cubicBezTo>
                  <a:lnTo>
                    <a:pt x="20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9" name="Freeform 17">
              <a:extLst>
                <a:ext uri="{FF2B5EF4-FFF2-40B4-BE49-F238E27FC236}">
                  <a16:creationId xmlns:a16="http://schemas.microsoft.com/office/drawing/2014/main" id="{FA01BC48-4605-46FC-A7AC-192C7DBCA0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0" name="Freeform 18">
              <a:extLst>
                <a:ext uri="{FF2B5EF4-FFF2-40B4-BE49-F238E27FC236}">
                  <a16:creationId xmlns:a16="http://schemas.microsoft.com/office/drawing/2014/main" id="{870190F3-472B-4296-B88D-D6904B9F30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2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8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9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1" name="Freeform 19">
              <a:extLst>
                <a:ext uri="{FF2B5EF4-FFF2-40B4-BE49-F238E27FC236}">
                  <a16:creationId xmlns:a16="http://schemas.microsoft.com/office/drawing/2014/main" id="{6CEA0F2B-4AAB-4A16-B7F1-CFCB0C0DCEE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2" name="Freeform 20">
              <a:extLst>
                <a:ext uri="{FF2B5EF4-FFF2-40B4-BE49-F238E27FC236}">
                  <a16:creationId xmlns:a16="http://schemas.microsoft.com/office/drawing/2014/main" id="{CD64F657-7EE7-4AF2-ADE4-160C87E64D6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30922" y="6212575"/>
              <a:ext cx="80211" cy="134265"/>
            </a:xfrm>
            <a:custGeom>
              <a:avLst/>
              <a:gdLst>
                <a:gd name="T0" fmla="*/ 25 w 32"/>
                <a:gd name="T1" fmla="*/ 53 h 53"/>
                <a:gd name="T2" fmla="*/ 25 w 32"/>
                <a:gd name="T3" fmla="*/ 35 h 53"/>
                <a:gd name="T4" fmla="*/ 20 w 32"/>
                <a:gd name="T5" fmla="*/ 38 h 53"/>
                <a:gd name="T6" fmla="*/ 15 w 32"/>
                <a:gd name="T7" fmla="*/ 40 h 53"/>
                <a:gd name="T8" fmla="*/ 9 w 32"/>
                <a:gd name="T9" fmla="*/ 38 h 53"/>
                <a:gd name="T10" fmla="*/ 4 w 32"/>
                <a:gd name="T11" fmla="*/ 35 h 53"/>
                <a:gd name="T12" fmla="*/ 1 w 32"/>
                <a:gd name="T13" fmla="*/ 28 h 53"/>
                <a:gd name="T14" fmla="*/ 0 w 32"/>
                <a:gd name="T15" fmla="*/ 19 h 53"/>
                <a:gd name="T16" fmla="*/ 1 w 32"/>
                <a:gd name="T17" fmla="*/ 10 h 53"/>
                <a:gd name="T18" fmla="*/ 4 w 32"/>
                <a:gd name="T19" fmla="*/ 4 h 53"/>
                <a:gd name="T20" fmla="*/ 9 w 32"/>
                <a:gd name="T21" fmla="*/ 1 h 53"/>
                <a:gd name="T22" fmla="*/ 15 w 32"/>
                <a:gd name="T23" fmla="*/ 0 h 53"/>
                <a:gd name="T24" fmla="*/ 18 w 32"/>
                <a:gd name="T25" fmla="*/ 0 h 53"/>
                <a:gd name="T26" fmla="*/ 20 w 32"/>
                <a:gd name="T27" fmla="*/ 1 h 53"/>
                <a:gd name="T28" fmla="*/ 23 w 32"/>
                <a:gd name="T29" fmla="*/ 2 h 53"/>
                <a:gd name="T30" fmla="*/ 25 w 32"/>
                <a:gd name="T31" fmla="*/ 4 h 53"/>
                <a:gd name="T32" fmla="*/ 25 w 32"/>
                <a:gd name="T33" fmla="*/ 0 h 53"/>
                <a:gd name="T34" fmla="*/ 32 w 32"/>
                <a:gd name="T35" fmla="*/ 0 h 53"/>
                <a:gd name="T36" fmla="*/ 32 w 32"/>
                <a:gd name="T37" fmla="*/ 49 h 53"/>
                <a:gd name="T38" fmla="*/ 25 w 32"/>
                <a:gd name="T39" fmla="*/ 53 h 53"/>
                <a:gd name="T40" fmla="*/ 25 w 32"/>
                <a:gd name="T41" fmla="*/ 12 h 53"/>
                <a:gd name="T42" fmla="*/ 23 w 32"/>
                <a:gd name="T43" fmla="*/ 10 h 53"/>
                <a:gd name="T44" fmla="*/ 21 w 32"/>
                <a:gd name="T45" fmla="*/ 8 h 53"/>
                <a:gd name="T46" fmla="*/ 18 w 32"/>
                <a:gd name="T47" fmla="*/ 7 h 53"/>
                <a:gd name="T48" fmla="*/ 16 w 32"/>
                <a:gd name="T49" fmla="*/ 7 h 53"/>
                <a:gd name="T50" fmla="*/ 9 w 32"/>
                <a:gd name="T51" fmla="*/ 10 h 53"/>
                <a:gd name="T52" fmla="*/ 7 w 32"/>
                <a:gd name="T53" fmla="*/ 19 h 53"/>
                <a:gd name="T54" fmla="*/ 10 w 32"/>
                <a:gd name="T55" fmla="*/ 29 h 53"/>
                <a:gd name="T56" fmla="*/ 16 w 32"/>
                <a:gd name="T57" fmla="*/ 33 h 53"/>
                <a:gd name="T58" fmla="*/ 21 w 32"/>
                <a:gd name="T59" fmla="*/ 31 h 53"/>
                <a:gd name="T60" fmla="*/ 25 w 32"/>
                <a:gd name="T61" fmla="*/ 28 h 53"/>
                <a:gd name="T62" fmla="*/ 25 w 32"/>
                <a:gd name="T63" fmla="*/ 1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2" h="53">
                  <a:moveTo>
                    <a:pt x="25" y="53"/>
                  </a:moveTo>
                  <a:cubicBezTo>
                    <a:pt x="25" y="35"/>
                    <a:pt x="25" y="35"/>
                    <a:pt x="25" y="35"/>
                  </a:cubicBezTo>
                  <a:cubicBezTo>
                    <a:pt x="23" y="36"/>
                    <a:pt x="22" y="37"/>
                    <a:pt x="20" y="38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3" y="40"/>
                    <a:pt x="11" y="39"/>
                    <a:pt x="9" y="38"/>
                  </a:cubicBezTo>
                  <a:cubicBezTo>
                    <a:pt x="7" y="38"/>
                    <a:pt x="5" y="36"/>
                    <a:pt x="4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0" y="26"/>
                    <a:pt x="0" y="23"/>
                    <a:pt x="0" y="19"/>
                  </a:cubicBezTo>
                  <a:cubicBezTo>
                    <a:pt x="0" y="16"/>
                    <a:pt x="0" y="13"/>
                    <a:pt x="1" y="10"/>
                  </a:cubicBezTo>
                  <a:cubicBezTo>
                    <a:pt x="2" y="8"/>
                    <a:pt x="3" y="6"/>
                    <a:pt x="4" y="4"/>
                  </a:cubicBezTo>
                  <a:cubicBezTo>
                    <a:pt x="6" y="3"/>
                    <a:pt x="7" y="2"/>
                    <a:pt x="9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6" y="0"/>
                    <a:pt x="17" y="0"/>
                    <a:pt x="18" y="0"/>
                  </a:cubicBezTo>
                  <a:cubicBezTo>
                    <a:pt x="19" y="0"/>
                    <a:pt x="20" y="0"/>
                    <a:pt x="20" y="1"/>
                  </a:cubicBezTo>
                  <a:cubicBezTo>
                    <a:pt x="21" y="1"/>
                    <a:pt x="22" y="2"/>
                    <a:pt x="23" y="2"/>
                  </a:cubicBezTo>
                  <a:cubicBezTo>
                    <a:pt x="23" y="3"/>
                    <a:pt x="24" y="3"/>
                    <a:pt x="25" y="4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49"/>
                    <a:pt x="32" y="49"/>
                    <a:pt x="32" y="49"/>
                  </a:cubicBezTo>
                  <a:lnTo>
                    <a:pt x="25" y="53"/>
                  </a:lnTo>
                  <a:close/>
                  <a:moveTo>
                    <a:pt x="25" y="12"/>
                  </a:moveTo>
                  <a:cubicBezTo>
                    <a:pt x="24" y="11"/>
                    <a:pt x="24" y="10"/>
                    <a:pt x="23" y="10"/>
                  </a:cubicBezTo>
                  <a:cubicBezTo>
                    <a:pt x="23" y="9"/>
                    <a:pt x="22" y="9"/>
                    <a:pt x="21" y="8"/>
                  </a:cubicBezTo>
                  <a:cubicBezTo>
                    <a:pt x="20" y="8"/>
                    <a:pt x="19" y="7"/>
                    <a:pt x="18" y="7"/>
                  </a:cubicBezTo>
                  <a:cubicBezTo>
                    <a:pt x="18" y="7"/>
                    <a:pt x="17" y="7"/>
                    <a:pt x="16" y="7"/>
                  </a:cubicBezTo>
                  <a:cubicBezTo>
                    <a:pt x="13" y="7"/>
                    <a:pt x="11" y="8"/>
                    <a:pt x="9" y="10"/>
                  </a:cubicBezTo>
                  <a:cubicBezTo>
                    <a:pt x="8" y="12"/>
                    <a:pt x="7" y="15"/>
                    <a:pt x="7" y="19"/>
                  </a:cubicBezTo>
                  <a:cubicBezTo>
                    <a:pt x="7" y="23"/>
                    <a:pt x="8" y="27"/>
                    <a:pt x="10" y="29"/>
                  </a:cubicBezTo>
                  <a:cubicBezTo>
                    <a:pt x="11" y="31"/>
                    <a:pt x="13" y="33"/>
                    <a:pt x="16" y="33"/>
                  </a:cubicBezTo>
                  <a:cubicBezTo>
                    <a:pt x="18" y="33"/>
                    <a:pt x="19" y="32"/>
                    <a:pt x="21" y="31"/>
                  </a:cubicBezTo>
                  <a:cubicBezTo>
                    <a:pt x="22" y="30"/>
                    <a:pt x="24" y="29"/>
                    <a:pt x="25" y="28"/>
                  </a:cubicBezTo>
                  <a:lnTo>
                    <a:pt x="25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3" name="Freeform 21">
              <a:extLst>
                <a:ext uri="{FF2B5EF4-FFF2-40B4-BE49-F238E27FC236}">
                  <a16:creationId xmlns:a16="http://schemas.microsoft.com/office/drawing/2014/main" id="{FA80A690-9084-4519-8D88-A01963C0236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35545" y="6212575"/>
              <a:ext cx="78468" cy="101135"/>
            </a:xfrm>
            <a:custGeom>
              <a:avLst/>
              <a:gdLst>
                <a:gd name="T0" fmla="*/ 24 w 31"/>
                <a:gd name="T1" fmla="*/ 39 h 40"/>
                <a:gd name="T2" fmla="*/ 24 w 31"/>
                <a:gd name="T3" fmla="*/ 35 h 40"/>
                <a:gd name="T4" fmla="*/ 20 w 31"/>
                <a:gd name="T5" fmla="*/ 38 h 40"/>
                <a:gd name="T6" fmla="*/ 14 w 31"/>
                <a:gd name="T7" fmla="*/ 40 h 40"/>
                <a:gd name="T8" fmla="*/ 4 w 31"/>
                <a:gd name="T9" fmla="*/ 35 h 40"/>
                <a:gd name="T10" fmla="*/ 0 w 31"/>
                <a:gd name="T11" fmla="*/ 22 h 40"/>
                <a:gd name="T12" fmla="*/ 0 w 31"/>
                <a:gd name="T13" fmla="*/ 0 h 40"/>
                <a:gd name="T14" fmla="*/ 8 w 31"/>
                <a:gd name="T15" fmla="*/ 0 h 40"/>
                <a:gd name="T16" fmla="*/ 8 w 31"/>
                <a:gd name="T17" fmla="*/ 22 h 40"/>
                <a:gd name="T18" fmla="*/ 10 w 31"/>
                <a:gd name="T19" fmla="*/ 30 h 40"/>
                <a:gd name="T20" fmla="*/ 16 w 31"/>
                <a:gd name="T21" fmla="*/ 33 h 40"/>
                <a:gd name="T22" fmla="*/ 22 w 31"/>
                <a:gd name="T23" fmla="*/ 30 h 40"/>
                <a:gd name="T24" fmla="*/ 24 w 31"/>
                <a:gd name="T25" fmla="*/ 23 h 40"/>
                <a:gd name="T26" fmla="*/ 24 w 31"/>
                <a:gd name="T27" fmla="*/ 0 h 40"/>
                <a:gd name="T28" fmla="*/ 31 w 31"/>
                <a:gd name="T29" fmla="*/ 0 h 40"/>
                <a:gd name="T30" fmla="*/ 31 w 31"/>
                <a:gd name="T31" fmla="*/ 39 h 40"/>
                <a:gd name="T32" fmla="*/ 24 w 31"/>
                <a:gd name="T33" fmla="*/ 39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1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2" y="38"/>
                    <a:pt x="20" y="38"/>
                  </a:cubicBezTo>
                  <a:cubicBezTo>
                    <a:pt x="18" y="39"/>
                    <a:pt x="16" y="40"/>
                    <a:pt x="14" y="40"/>
                  </a:cubicBezTo>
                  <a:cubicBezTo>
                    <a:pt x="10" y="40"/>
                    <a:pt x="6" y="38"/>
                    <a:pt x="4" y="35"/>
                  </a:cubicBezTo>
                  <a:cubicBezTo>
                    <a:pt x="2" y="32"/>
                    <a:pt x="0" y="28"/>
                    <a:pt x="0" y="2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6"/>
                    <a:pt x="9" y="28"/>
                    <a:pt x="10" y="30"/>
                  </a:cubicBezTo>
                  <a:cubicBezTo>
                    <a:pt x="11" y="32"/>
                    <a:pt x="13" y="33"/>
                    <a:pt x="16" y="33"/>
                  </a:cubicBezTo>
                  <a:cubicBezTo>
                    <a:pt x="18" y="33"/>
                    <a:pt x="20" y="32"/>
                    <a:pt x="22" y="30"/>
                  </a:cubicBezTo>
                  <a:cubicBezTo>
                    <a:pt x="23" y="28"/>
                    <a:pt x="24" y="26"/>
                    <a:pt x="24" y="23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4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4" name="Freeform 22">
              <a:extLst>
                <a:ext uri="{FF2B5EF4-FFF2-40B4-BE49-F238E27FC236}">
                  <a16:creationId xmlns:a16="http://schemas.microsoft.com/office/drawing/2014/main" id="{E847401D-2482-482A-AC12-D2E83C13546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93493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1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2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5" name="Freeform 23">
              <a:extLst>
                <a:ext uri="{FF2B5EF4-FFF2-40B4-BE49-F238E27FC236}">
                  <a16:creationId xmlns:a16="http://schemas.microsoft.com/office/drawing/2014/main" id="{86054F72-4509-4465-B9A8-8DAE3EFD35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30841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1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4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7 w 29"/>
                <a:gd name="T55" fmla="*/ 24 h 40"/>
                <a:gd name="T56" fmla="*/ 13 w 29"/>
                <a:gd name="T57" fmla="*/ 22 h 40"/>
                <a:gd name="T58" fmla="*/ 8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2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3" y="6"/>
                    <a:pt x="11" y="7"/>
                    <a:pt x="10" y="7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1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9" y="25"/>
                    <a:pt x="18" y="24"/>
                    <a:pt x="17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8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3" y="15"/>
                    <a:pt x="2" y="14"/>
                  </a:cubicBezTo>
                  <a:cubicBezTo>
                    <a:pt x="2" y="13"/>
                    <a:pt x="2" y="12"/>
                    <a:pt x="2" y="10"/>
                  </a:cubicBezTo>
                  <a:cubicBezTo>
                    <a:pt x="2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6" name="Freeform 24">
              <a:extLst>
                <a:ext uri="{FF2B5EF4-FFF2-40B4-BE49-F238E27FC236}">
                  <a16:creationId xmlns:a16="http://schemas.microsoft.com/office/drawing/2014/main" id="{813850E4-4B62-4FDA-ABD6-F5A5AA5E7C2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1802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7" name="Freeform 25">
              <a:extLst>
                <a:ext uri="{FF2B5EF4-FFF2-40B4-BE49-F238E27FC236}">
                  <a16:creationId xmlns:a16="http://schemas.microsoft.com/office/drawing/2014/main" id="{1B4F0124-2FAE-4D54-9ECC-E88A8031BBD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194750" y="6175958"/>
              <a:ext cx="24412" cy="136010"/>
            </a:xfrm>
            <a:custGeom>
              <a:avLst/>
              <a:gdLst>
                <a:gd name="T0" fmla="*/ 10 w 10"/>
                <a:gd name="T1" fmla="*/ 5 h 53"/>
                <a:gd name="T2" fmla="*/ 9 w 10"/>
                <a:gd name="T3" fmla="*/ 6 h 53"/>
                <a:gd name="T4" fmla="*/ 8 w 10"/>
                <a:gd name="T5" fmla="*/ 8 h 53"/>
                <a:gd name="T6" fmla="*/ 7 w 10"/>
                <a:gd name="T7" fmla="*/ 9 h 53"/>
                <a:gd name="T8" fmla="*/ 5 w 10"/>
                <a:gd name="T9" fmla="*/ 9 h 53"/>
                <a:gd name="T10" fmla="*/ 3 w 10"/>
                <a:gd name="T11" fmla="*/ 9 h 53"/>
                <a:gd name="T12" fmla="*/ 1 w 10"/>
                <a:gd name="T13" fmla="*/ 8 h 53"/>
                <a:gd name="T14" fmla="*/ 0 w 10"/>
                <a:gd name="T15" fmla="*/ 6 h 53"/>
                <a:gd name="T16" fmla="*/ 0 w 10"/>
                <a:gd name="T17" fmla="*/ 5 h 53"/>
                <a:gd name="T18" fmla="*/ 0 w 10"/>
                <a:gd name="T19" fmla="*/ 3 h 53"/>
                <a:gd name="T20" fmla="*/ 1 w 10"/>
                <a:gd name="T21" fmla="*/ 1 h 53"/>
                <a:gd name="T22" fmla="*/ 3 w 10"/>
                <a:gd name="T23" fmla="*/ 0 h 53"/>
                <a:gd name="T24" fmla="*/ 5 w 10"/>
                <a:gd name="T25" fmla="*/ 0 h 53"/>
                <a:gd name="T26" fmla="*/ 7 w 10"/>
                <a:gd name="T27" fmla="*/ 0 h 53"/>
                <a:gd name="T28" fmla="*/ 8 w 10"/>
                <a:gd name="T29" fmla="*/ 1 h 53"/>
                <a:gd name="T30" fmla="*/ 9 w 10"/>
                <a:gd name="T31" fmla="*/ 3 h 53"/>
                <a:gd name="T32" fmla="*/ 10 w 10"/>
                <a:gd name="T33" fmla="*/ 5 h 53"/>
                <a:gd name="T34" fmla="*/ 1 w 10"/>
                <a:gd name="T35" fmla="*/ 53 h 53"/>
                <a:gd name="T36" fmla="*/ 1 w 10"/>
                <a:gd name="T37" fmla="*/ 14 h 53"/>
                <a:gd name="T38" fmla="*/ 9 w 10"/>
                <a:gd name="T39" fmla="*/ 14 h 53"/>
                <a:gd name="T40" fmla="*/ 9 w 10"/>
                <a:gd name="T41" fmla="*/ 53 h 53"/>
                <a:gd name="T42" fmla="*/ 1 w 10"/>
                <a:gd name="T43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" h="53">
                  <a:moveTo>
                    <a:pt x="10" y="5"/>
                  </a:moveTo>
                  <a:cubicBezTo>
                    <a:pt x="10" y="5"/>
                    <a:pt x="10" y="6"/>
                    <a:pt x="9" y="6"/>
                  </a:cubicBezTo>
                  <a:cubicBezTo>
                    <a:pt x="9" y="7"/>
                    <a:pt x="9" y="8"/>
                    <a:pt x="8" y="8"/>
                  </a:cubicBezTo>
                  <a:cubicBezTo>
                    <a:pt x="8" y="8"/>
                    <a:pt x="7" y="9"/>
                    <a:pt x="7" y="9"/>
                  </a:cubicBezTo>
                  <a:cubicBezTo>
                    <a:pt x="6" y="9"/>
                    <a:pt x="6" y="9"/>
                    <a:pt x="5" y="9"/>
                  </a:cubicBezTo>
                  <a:cubicBezTo>
                    <a:pt x="4" y="9"/>
                    <a:pt x="4" y="9"/>
                    <a:pt x="3" y="9"/>
                  </a:cubicBezTo>
                  <a:cubicBezTo>
                    <a:pt x="2" y="9"/>
                    <a:pt x="2" y="8"/>
                    <a:pt x="1" y="8"/>
                  </a:cubicBezTo>
                  <a:cubicBezTo>
                    <a:pt x="1" y="8"/>
                    <a:pt x="1" y="7"/>
                    <a:pt x="0" y="6"/>
                  </a:cubicBezTo>
                  <a:cubicBezTo>
                    <a:pt x="0" y="6"/>
                    <a:pt x="0" y="5"/>
                    <a:pt x="0" y="5"/>
                  </a:cubicBezTo>
                  <a:cubicBezTo>
                    <a:pt x="0" y="4"/>
                    <a:pt x="0" y="3"/>
                    <a:pt x="0" y="3"/>
                  </a:cubicBezTo>
                  <a:cubicBezTo>
                    <a:pt x="1" y="2"/>
                    <a:pt x="1" y="2"/>
                    <a:pt x="1" y="1"/>
                  </a:cubicBezTo>
                  <a:cubicBezTo>
                    <a:pt x="2" y="1"/>
                    <a:pt x="2" y="0"/>
                    <a:pt x="3" y="0"/>
                  </a:cubicBezTo>
                  <a:cubicBezTo>
                    <a:pt x="4" y="0"/>
                    <a:pt x="4" y="0"/>
                    <a:pt x="5" y="0"/>
                  </a:cubicBezTo>
                  <a:cubicBezTo>
                    <a:pt x="6" y="0"/>
                    <a:pt x="6" y="0"/>
                    <a:pt x="7" y="0"/>
                  </a:cubicBezTo>
                  <a:cubicBezTo>
                    <a:pt x="7" y="0"/>
                    <a:pt x="8" y="1"/>
                    <a:pt x="8" y="1"/>
                  </a:cubicBezTo>
                  <a:cubicBezTo>
                    <a:pt x="9" y="2"/>
                    <a:pt x="9" y="2"/>
                    <a:pt x="9" y="3"/>
                  </a:cubicBezTo>
                  <a:cubicBezTo>
                    <a:pt x="10" y="3"/>
                    <a:pt x="10" y="4"/>
                    <a:pt x="10" y="5"/>
                  </a:cubicBezTo>
                  <a:close/>
                  <a:moveTo>
                    <a:pt x="1" y="53"/>
                  </a:moveTo>
                  <a:cubicBezTo>
                    <a:pt x="1" y="14"/>
                    <a:pt x="1" y="14"/>
                    <a:pt x="1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53"/>
                    <a:pt x="9" y="53"/>
                    <a:pt x="9" y="53"/>
                  </a:cubicBezTo>
                  <a:lnTo>
                    <a:pt x="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8" name="Freeform 26">
              <a:extLst>
                <a:ext uri="{FF2B5EF4-FFF2-40B4-BE49-F238E27FC236}">
                  <a16:creationId xmlns:a16="http://schemas.microsoft.com/office/drawing/2014/main" id="{2A730E5F-DF9C-488E-B4E0-EE9F501529E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236599" y="6212575"/>
              <a:ext cx="87186" cy="101135"/>
            </a:xfrm>
            <a:custGeom>
              <a:avLst/>
              <a:gdLst>
                <a:gd name="T0" fmla="*/ 34 w 34"/>
                <a:gd name="T1" fmla="*/ 19 h 40"/>
                <a:gd name="T2" fmla="*/ 33 w 34"/>
                <a:gd name="T3" fmla="*/ 28 h 40"/>
                <a:gd name="T4" fmla="*/ 29 w 34"/>
                <a:gd name="T5" fmla="*/ 34 h 40"/>
                <a:gd name="T6" fmla="*/ 24 w 34"/>
                <a:gd name="T7" fmla="*/ 38 h 40"/>
                <a:gd name="T8" fmla="*/ 17 w 34"/>
                <a:gd name="T9" fmla="*/ 40 h 40"/>
                <a:gd name="T10" fmla="*/ 10 w 34"/>
                <a:gd name="T11" fmla="*/ 38 h 40"/>
                <a:gd name="T12" fmla="*/ 5 w 34"/>
                <a:gd name="T13" fmla="*/ 34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1 h 40"/>
                <a:gd name="T20" fmla="*/ 5 w 34"/>
                <a:gd name="T21" fmla="*/ 5 h 40"/>
                <a:gd name="T22" fmla="*/ 10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1 h 40"/>
                <a:gd name="T32" fmla="*/ 34 w 34"/>
                <a:gd name="T33" fmla="*/ 19 h 40"/>
                <a:gd name="T34" fmla="*/ 26 w 34"/>
                <a:gd name="T35" fmla="*/ 20 h 40"/>
                <a:gd name="T36" fmla="*/ 26 w 34"/>
                <a:gd name="T37" fmla="*/ 14 h 40"/>
                <a:gd name="T38" fmla="*/ 24 w 34"/>
                <a:gd name="T39" fmla="*/ 10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0 h 40"/>
                <a:gd name="T48" fmla="*/ 8 w 34"/>
                <a:gd name="T49" fmla="*/ 14 h 40"/>
                <a:gd name="T50" fmla="*/ 7 w 34"/>
                <a:gd name="T51" fmla="*/ 19 h 40"/>
                <a:gd name="T52" fmla="*/ 8 w 34"/>
                <a:gd name="T53" fmla="*/ 25 h 40"/>
                <a:gd name="T54" fmla="*/ 10 w 34"/>
                <a:gd name="T55" fmla="*/ 29 h 40"/>
                <a:gd name="T56" fmla="*/ 13 w 34"/>
                <a:gd name="T57" fmla="*/ 32 h 40"/>
                <a:gd name="T58" fmla="*/ 17 w 34"/>
                <a:gd name="T59" fmla="*/ 32 h 40"/>
                <a:gd name="T60" fmla="*/ 21 w 34"/>
                <a:gd name="T61" fmla="*/ 31 h 40"/>
                <a:gd name="T62" fmla="*/ 24 w 34"/>
                <a:gd name="T63" fmla="*/ 29 h 40"/>
                <a:gd name="T64" fmla="*/ 26 w 34"/>
                <a:gd name="T65" fmla="*/ 25 h 40"/>
                <a:gd name="T66" fmla="*/ 26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19"/>
                  </a:moveTo>
                  <a:cubicBezTo>
                    <a:pt x="34" y="23"/>
                    <a:pt x="34" y="25"/>
                    <a:pt x="33" y="28"/>
                  </a:cubicBezTo>
                  <a:cubicBezTo>
                    <a:pt x="32" y="30"/>
                    <a:pt x="31" y="33"/>
                    <a:pt x="29" y="34"/>
                  </a:cubicBezTo>
                  <a:cubicBezTo>
                    <a:pt x="28" y="36"/>
                    <a:pt x="26" y="37"/>
                    <a:pt x="24" y="38"/>
                  </a:cubicBezTo>
                  <a:cubicBezTo>
                    <a:pt x="21" y="39"/>
                    <a:pt x="19" y="40"/>
                    <a:pt x="17" y="40"/>
                  </a:cubicBezTo>
                  <a:cubicBezTo>
                    <a:pt x="14" y="40"/>
                    <a:pt x="12" y="39"/>
                    <a:pt x="10" y="38"/>
                  </a:cubicBezTo>
                  <a:cubicBezTo>
                    <a:pt x="8" y="37"/>
                    <a:pt x="6" y="36"/>
                    <a:pt x="5" y="34"/>
                  </a:cubicBezTo>
                  <a:cubicBezTo>
                    <a:pt x="3" y="32"/>
                    <a:pt x="2" y="30"/>
                    <a:pt x="1" y="28"/>
                  </a:cubicBezTo>
                  <a:cubicBezTo>
                    <a:pt x="0" y="25"/>
                    <a:pt x="0" y="23"/>
                    <a:pt x="0" y="20"/>
                  </a:cubicBezTo>
                  <a:cubicBezTo>
                    <a:pt x="0" y="16"/>
                    <a:pt x="0" y="14"/>
                    <a:pt x="1" y="11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8" y="3"/>
                    <a:pt x="29" y="5"/>
                  </a:cubicBezTo>
                  <a:cubicBezTo>
                    <a:pt x="31" y="7"/>
                    <a:pt x="32" y="9"/>
                    <a:pt x="33" y="11"/>
                  </a:cubicBezTo>
                  <a:cubicBezTo>
                    <a:pt x="34" y="14"/>
                    <a:pt x="34" y="16"/>
                    <a:pt x="34" y="19"/>
                  </a:cubicBezTo>
                  <a:close/>
                  <a:moveTo>
                    <a:pt x="26" y="20"/>
                  </a:moveTo>
                  <a:cubicBezTo>
                    <a:pt x="26" y="18"/>
                    <a:pt x="26" y="16"/>
                    <a:pt x="26" y="14"/>
                  </a:cubicBezTo>
                  <a:cubicBezTo>
                    <a:pt x="25" y="13"/>
                    <a:pt x="25" y="11"/>
                    <a:pt x="24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19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11"/>
                    <a:pt x="8" y="13"/>
                    <a:pt x="8" y="14"/>
                  </a:cubicBezTo>
                  <a:cubicBezTo>
                    <a:pt x="8" y="16"/>
                    <a:pt x="7" y="17"/>
                    <a:pt x="7" y="19"/>
                  </a:cubicBezTo>
                  <a:cubicBezTo>
                    <a:pt x="7" y="21"/>
                    <a:pt x="8" y="23"/>
                    <a:pt x="8" y="25"/>
                  </a:cubicBezTo>
                  <a:cubicBezTo>
                    <a:pt x="9" y="27"/>
                    <a:pt x="9" y="28"/>
                    <a:pt x="10" y="29"/>
                  </a:cubicBezTo>
                  <a:cubicBezTo>
                    <a:pt x="11" y="30"/>
                    <a:pt x="12" y="31"/>
                    <a:pt x="13" y="32"/>
                  </a:cubicBezTo>
                  <a:cubicBezTo>
                    <a:pt x="14" y="32"/>
                    <a:pt x="16" y="32"/>
                    <a:pt x="17" y="32"/>
                  </a:cubicBezTo>
                  <a:cubicBezTo>
                    <a:pt x="18" y="32"/>
                    <a:pt x="20" y="32"/>
                    <a:pt x="21" y="31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7"/>
                    <a:pt x="25" y="26"/>
                    <a:pt x="26" y="25"/>
                  </a:cubicBezTo>
                  <a:cubicBezTo>
                    <a:pt x="26" y="23"/>
                    <a:pt x="26" y="21"/>
                    <a:pt x="26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9" name="Freeform 27">
              <a:extLst>
                <a:ext uri="{FF2B5EF4-FFF2-40B4-BE49-F238E27FC236}">
                  <a16:creationId xmlns:a16="http://schemas.microsoft.com/office/drawing/2014/main" id="{39861D7E-D8DA-436F-9E2F-5C08A8BFB4D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44710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1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9 w 31"/>
                <a:gd name="T11" fmla="*/ 9 h 39"/>
                <a:gd name="T12" fmla="*/ 8 w 31"/>
                <a:gd name="T13" fmla="*/ 12 h 39"/>
                <a:gd name="T14" fmla="*/ 7 w 31"/>
                <a:gd name="T15" fmla="*/ 16 h 39"/>
                <a:gd name="T16" fmla="*/ 7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7 w 31"/>
                <a:gd name="T23" fmla="*/ 0 h 39"/>
                <a:gd name="T24" fmla="*/ 7 w 31"/>
                <a:gd name="T25" fmla="*/ 4 h 39"/>
                <a:gd name="T26" fmla="*/ 9 w 31"/>
                <a:gd name="T27" fmla="*/ 2 h 39"/>
                <a:gd name="T28" fmla="*/ 11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7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1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9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7" y="15"/>
                    <a:pt x="7" y="16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9" y="0"/>
                    <a:pt x="21" y="0"/>
                    <a:pt x="23" y="1"/>
                  </a:cubicBezTo>
                  <a:cubicBezTo>
                    <a:pt x="25" y="1"/>
                    <a:pt x="26" y="2"/>
                    <a:pt x="27" y="4"/>
                  </a:cubicBezTo>
                  <a:cubicBezTo>
                    <a:pt x="28" y="5"/>
                    <a:pt x="29" y="7"/>
                    <a:pt x="30" y="9"/>
                  </a:cubicBezTo>
                  <a:cubicBezTo>
                    <a:pt x="30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0" name="Freeform 28">
              <a:extLst>
                <a:ext uri="{FF2B5EF4-FFF2-40B4-BE49-F238E27FC236}">
                  <a16:creationId xmlns:a16="http://schemas.microsoft.com/office/drawing/2014/main" id="{8B038F9F-6A9C-4E57-A659-0090AF47059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45845" y="6284068"/>
              <a:ext cx="31387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4 w 12"/>
                <a:gd name="T11" fmla="*/ 11 h 12"/>
                <a:gd name="T12" fmla="*/ 2 w 12"/>
                <a:gd name="T13" fmla="*/ 10 h 12"/>
                <a:gd name="T14" fmla="*/ 1 w 12"/>
                <a:gd name="T15" fmla="*/ 8 h 12"/>
                <a:gd name="T16" fmla="*/ 0 w 12"/>
                <a:gd name="T17" fmla="*/ 6 h 12"/>
                <a:gd name="T18" fmla="*/ 1 w 12"/>
                <a:gd name="T19" fmla="*/ 4 h 12"/>
                <a:gd name="T20" fmla="*/ 2 w 12"/>
                <a:gd name="T21" fmla="*/ 2 h 12"/>
                <a:gd name="T22" fmla="*/ 4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4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1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1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4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1" name="Freeform 29">
              <a:extLst>
                <a:ext uri="{FF2B5EF4-FFF2-40B4-BE49-F238E27FC236}">
                  <a16:creationId xmlns:a16="http://schemas.microsoft.com/office/drawing/2014/main" id="{15E4EB7D-754D-4053-9A23-596C7CFDA98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0006" y="6181188"/>
              <a:ext cx="97648" cy="130778"/>
            </a:xfrm>
            <a:custGeom>
              <a:avLst/>
              <a:gdLst>
                <a:gd name="T0" fmla="*/ 34 w 56"/>
                <a:gd name="T1" fmla="*/ 11 h 75"/>
                <a:gd name="T2" fmla="*/ 34 w 56"/>
                <a:gd name="T3" fmla="*/ 75 h 75"/>
                <a:gd name="T4" fmla="*/ 22 w 56"/>
                <a:gd name="T5" fmla="*/ 75 h 75"/>
                <a:gd name="T6" fmla="*/ 22 w 56"/>
                <a:gd name="T7" fmla="*/ 11 h 75"/>
                <a:gd name="T8" fmla="*/ 0 w 56"/>
                <a:gd name="T9" fmla="*/ 11 h 75"/>
                <a:gd name="T10" fmla="*/ 0 w 56"/>
                <a:gd name="T11" fmla="*/ 0 h 75"/>
                <a:gd name="T12" fmla="*/ 56 w 56"/>
                <a:gd name="T13" fmla="*/ 0 h 75"/>
                <a:gd name="T14" fmla="*/ 56 w 56"/>
                <a:gd name="T15" fmla="*/ 11 h 75"/>
                <a:gd name="T16" fmla="*/ 34 w 56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6" h="75">
                  <a:moveTo>
                    <a:pt x="34" y="11"/>
                  </a:moveTo>
                  <a:lnTo>
                    <a:pt x="34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6" y="0"/>
                  </a:lnTo>
                  <a:lnTo>
                    <a:pt x="56" y="11"/>
                  </a:lnTo>
                  <a:lnTo>
                    <a:pt x="34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2" name="Freeform 30">
              <a:extLst>
                <a:ext uri="{FF2B5EF4-FFF2-40B4-BE49-F238E27FC236}">
                  <a16:creationId xmlns:a16="http://schemas.microsoft.com/office/drawing/2014/main" id="{28E147CB-2B8F-497B-B00B-C25E679DC5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51603" y="6174213"/>
              <a:ext cx="80211" cy="137753"/>
            </a:xfrm>
            <a:custGeom>
              <a:avLst/>
              <a:gdLst>
                <a:gd name="T0" fmla="*/ 24 w 31"/>
                <a:gd name="T1" fmla="*/ 54 h 54"/>
                <a:gd name="T2" fmla="*/ 24 w 31"/>
                <a:gd name="T3" fmla="*/ 32 h 54"/>
                <a:gd name="T4" fmla="*/ 22 w 31"/>
                <a:gd name="T5" fmla="*/ 24 h 54"/>
                <a:gd name="T6" fmla="*/ 16 w 31"/>
                <a:gd name="T7" fmla="*/ 22 h 54"/>
                <a:gd name="T8" fmla="*/ 13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8 w 31"/>
                <a:gd name="T15" fmla="*/ 31 h 54"/>
                <a:gd name="T16" fmla="*/ 8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8 w 31"/>
                <a:gd name="T23" fmla="*/ 0 h 54"/>
                <a:gd name="T24" fmla="*/ 8 w 31"/>
                <a:gd name="T25" fmla="*/ 19 h 54"/>
                <a:gd name="T26" fmla="*/ 10 w 31"/>
                <a:gd name="T27" fmla="*/ 17 h 54"/>
                <a:gd name="T28" fmla="*/ 12 w 31"/>
                <a:gd name="T29" fmla="*/ 16 h 54"/>
                <a:gd name="T30" fmla="*/ 15 w 31"/>
                <a:gd name="T31" fmla="*/ 15 h 54"/>
                <a:gd name="T32" fmla="*/ 18 w 31"/>
                <a:gd name="T33" fmla="*/ 15 h 54"/>
                <a:gd name="T34" fmla="*/ 24 w 31"/>
                <a:gd name="T35" fmla="*/ 16 h 54"/>
                <a:gd name="T36" fmla="*/ 28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4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4" y="54"/>
                  </a:moveTo>
                  <a:cubicBezTo>
                    <a:pt x="24" y="32"/>
                    <a:pt x="24" y="32"/>
                    <a:pt x="24" y="32"/>
                  </a:cubicBezTo>
                  <a:cubicBezTo>
                    <a:pt x="24" y="28"/>
                    <a:pt x="23" y="26"/>
                    <a:pt x="22" y="24"/>
                  </a:cubicBezTo>
                  <a:cubicBezTo>
                    <a:pt x="21" y="22"/>
                    <a:pt x="19" y="22"/>
                    <a:pt x="16" y="22"/>
                  </a:cubicBezTo>
                  <a:cubicBezTo>
                    <a:pt x="15" y="22"/>
                    <a:pt x="14" y="22"/>
                    <a:pt x="13" y="22"/>
                  </a:cubicBezTo>
                  <a:cubicBezTo>
                    <a:pt x="12" y="22"/>
                    <a:pt x="11" y="23"/>
                    <a:pt x="10" y="24"/>
                  </a:cubicBezTo>
                  <a:cubicBezTo>
                    <a:pt x="9" y="25"/>
                    <a:pt x="9" y="26"/>
                    <a:pt x="8" y="27"/>
                  </a:cubicBezTo>
                  <a:cubicBezTo>
                    <a:pt x="8" y="28"/>
                    <a:pt x="8" y="30"/>
                    <a:pt x="8" y="31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3" y="15"/>
                    <a:pt x="14" y="15"/>
                    <a:pt x="15" y="15"/>
                  </a:cubicBezTo>
                  <a:cubicBezTo>
                    <a:pt x="16" y="15"/>
                    <a:pt x="17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29" y="20"/>
                    <a:pt x="30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4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3" name="Freeform 31">
              <a:extLst>
                <a:ext uri="{FF2B5EF4-FFF2-40B4-BE49-F238E27FC236}">
                  <a16:creationId xmlns:a16="http://schemas.microsoft.com/office/drawing/2014/main" id="{E68BC676-C787-429D-B59B-1A5CE062F78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50996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1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4" name="Freeform 32">
              <a:extLst>
                <a:ext uri="{FF2B5EF4-FFF2-40B4-BE49-F238E27FC236}">
                  <a16:creationId xmlns:a16="http://schemas.microsoft.com/office/drawing/2014/main" id="{71266960-73CB-44B9-9A97-81085898914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02698" y="6174213"/>
              <a:ext cx="80211" cy="139497"/>
            </a:xfrm>
            <a:custGeom>
              <a:avLst/>
              <a:gdLst>
                <a:gd name="T0" fmla="*/ 32 w 32"/>
                <a:gd name="T1" fmla="*/ 35 h 55"/>
                <a:gd name="T2" fmla="*/ 31 w 32"/>
                <a:gd name="T3" fmla="*/ 44 h 55"/>
                <a:gd name="T4" fmla="*/ 28 w 32"/>
                <a:gd name="T5" fmla="*/ 50 h 55"/>
                <a:gd name="T6" fmla="*/ 23 w 32"/>
                <a:gd name="T7" fmla="*/ 53 h 55"/>
                <a:gd name="T8" fmla="*/ 17 w 32"/>
                <a:gd name="T9" fmla="*/ 55 h 55"/>
                <a:gd name="T10" fmla="*/ 12 w 32"/>
                <a:gd name="T11" fmla="*/ 53 h 55"/>
                <a:gd name="T12" fmla="*/ 7 w 32"/>
                <a:gd name="T13" fmla="*/ 50 h 55"/>
                <a:gd name="T14" fmla="*/ 7 w 32"/>
                <a:gd name="T15" fmla="*/ 54 h 55"/>
                <a:gd name="T16" fmla="*/ 0 w 32"/>
                <a:gd name="T17" fmla="*/ 54 h 55"/>
                <a:gd name="T18" fmla="*/ 0 w 32"/>
                <a:gd name="T19" fmla="*/ 4 h 55"/>
                <a:gd name="T20" fmla="*/ 7 w 32"/>
                <a:gd name="T21" fmla="*/ 0 h 55"/>
                <a:gd name="T22" fmla="*/ 7 w 32"/>
                <a:gd name="T23" fmla="*/ 19 h 55"/>
                <a:gd name="T24" fmla="*/ 10 w 32"/>
                <a:gd name="T25" fmla="*/ 17 h 55"/>
                <a:gd name="T26" fmla="*/ 12 w 32"/>
                <a:gd name="T27" fmla="*/ 16 h 55"/>
                <a:gd name="T28" fmla="*/ 14 w 32"/>
                <a:gd name="T29" fmla="*/ 15 h 55"/>
                <a:gd name="T30" fmla="*/ 17 w 32"/>
                <a:gd name="T31" fmla="*/ 15 h 55"/>
                <a:gd name="T32" fmla="*/ 23 w 32"/>
                <a:gd name="T33" fmla="*/ 16 h 55"/>
                <a:gd name="T34" fmla="*/ 28 w 32"/>
                <a:gd name="T35" fmla="*/ 19 h 55"/>
                <a:gd name="T36" fmla="*/ 31 w 32"/>
                <a:gd name="T37" fmla="*/ 26 h 55"/>
                <a:gd name="T38" fmla="*/ 32 w 32"/>
                <a:gd name="T39" fmla="*/ 35 h 55"/>
                <a:gd name="T40" fmla="*/ 25 w 32"/>
                <a:gd name="T41" fmla="*/ 35 h 55"/>
                <a:gd name="T42" fmla="*/ 23 w 32"/>
                <a:gd name="T43" fmla="*/ 25 h 55"/>
                <a:gd name="T44" fmla="*/ 16 w 32"/>
                <a:gd name="T45" fmla="*/ 22 h 55"/>
                <a:gd name="T46" fmla="*/ 14 w 32"/>
                <a:gd name="T47" fmla="*/ 22 h 55"/>
                <a:gd name="T48" fmla="*/ 11 w 32"/>
                <a:gd name="T49" fmla="*/ 23 h 55"/>
                <a:gd name="T50" fmla="*/ 9 w 32"/>
                <a:gd name="T51" fmla="*/ 25 h 55"/>
                <a:gd name="T52" fmla="*/ 7 w 32"/>
                <a:gd name="T53" fmla="*/ 26 h 55"/>
                <a:gd name="T54" fmla="*/ 7 w 32"/>
                <a:gd name="T55" fmla="*/ 43 h 55"/>
                <a:gd name="T56" fmla="*/ 9 w 32"/>
                <a:gd name="T57" fmla="*/ 44 h 55"/>
                <a:gd name="T58" fmla="*/ 11 w 32"/>
                <a:gd name="T59" fmla="*/ 46 h 55"/>
                <a:gd name="T60" fmla="*/ 14 w 32"/>
                <a:gd name="T61" fmla="*/ 47 h 55"/>
                <a:gd name="T62" fmla="*/ 16 w 32"/>
                <a:gd name="T63" fmla="*/ 48 h 55"/>
                <a:gd name="T64" fmla="*/ 23 w 32"/>
                <a:gd name="T65" fmla="*/ 45 h 55"/>
                <a:gd name="T66" fmla="*/ 25 w 32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2" h="55">
                  <a:moveTo>
                    <a:pt x="32" y="35"/>
                  </a:moveTo>
                  <a:cubicBezTo>
                    <a:pt x="32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6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5" y="55"/>
                    <a:pt x="13" y="54"/>
                    <a:pt x="12" y="53"/>
                  </a:cubicBezTo>
                  <a:cubicBezTo>
                    <a:pt x="10" y="52"/>
                    <a:pt x="9" y="51"/>
                    <a:pt x="7" y="50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6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20" y="15"/>
                    <a:pt x="21" y="15"/>
                    <a:pt x="23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29" y="21"/>
                    <a:pt x="30" y="23"/>
                    <a:pt x="31" y="26"/>
                  </a:cubicBezTo>
                  <a:cubicBezTo>
                    <a:pt x="32" y="28"/>
                    <a:pt x="32" y="32"/>
                    <a:pt x="32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4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0" y="23"/>
                    <a:pt x="10" y="24"/>
                    <a:pt x="9" y="25"/>
                  </a:cubicBezTo>
                  <a:cubicBezTo>
                    <a:pt x="8" y="25"/>
                    <a:pt x="8" y="26"/>
                    <a:pt x="7" y="26"/>
                  </a:cubicBezTo>
                  <a:cubicBezTo>
                    <a:pt x="7" y="43"/>
                    <a:pt x="7" y="43"/>
                    <a:pt x="7" y="43"/>
                  </a:cubicBezTo>
                  <a:cubicBezTo>
                    <a:pt x="8" y="43"/>
                    <a:pt x="8" y="44"/>
                    <a:pt x="9" y="44"/>
                  </a:cubicBezTo>
                  <a:cubicBezTo>
                    <a:pt x="10" y="45"/>
                    <a:pt x="10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5" y="48"/>
                    <a:pt x="16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5" name="Freeform 33">
              <a:extLst>
                <a:ext uri="{FF2B5EF4-FFF2-40B4-BE49-F238E27FC236}">
                  <a16:creationId xmlns:a16="http://schemas.microsoft.com/office/drawing/2014/main" id="{3FF3AC5A-B742-4B29-8E04-03A71D82B9A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9860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8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8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3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7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6" name="Freeform 34">
              <a:extLst>
                <a:ext uri="{FF2B5EF4-FFF2-40B4-BE49-F238E27FC236}">
                  <a16:creationId xmlns:a16="http://schemas.microsoft.com/office/drawing/2014/main" id="{0C912743-E24B-4E48-8196-5FBD1ECEE9A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625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3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7" name="Freeform 35">
              <a:extLst>
                <a:ext uri="{FF2B5EF4-FFF2-40B4-BE49-F238E27FC236}">
                  <a16:creationId xmlns:a16="http://schemas.microsoft.com/office/drawing/2014/main" id="{6E2F01F4-1410-4FE1-B043-EA97A1541F3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64256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7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6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7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8" name="Freeform 36">
              <a:extLst>
                <a:ext uri="{FF2B5EF4-FFF2-40B4-BE49-F238E27FC236}">
                  <a16:creationId xmlns:a16="http://schemas.microsoft.com/office/drawing/2014/main" id="{58ACFF1C-49F0-414E-B9E3-DE4E9FFAA38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2340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9" name="Freeform 37">
              <a:extLst>
                <a:ext uri="{FF2B5EF4-FFF2-40B4-BE49-F238E27FC236}">
                  <a16:creationId xmlns:a16="http://schemas.microsoft.com/office/drawing/2014/main" id="{DACBD04B-22FF-4A4F-8B29-A2F31A0542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36884" y="6212575"/>
              <a:ext cx="59286" cy="99391"/>
            </a:xfrm>
            <a:custGeom>
              <a:avLst/>
              <a:gdLst>
                <a:gd name="T0" fmla="*/ 21 w 23"/>
                <a:gd name="T1" fmla="*/ 8 h 39"/>
                <a:gd name="T2" fmla="*/ 19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9" y="7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0" name="Freeform 38">
              <a:extLst>
                <a:ext uri="{FF2B5EF4-FFF2-40B4-BE49-F238E27FC236}">
                  <a16:creationId xmlns:a16="http://schemas.microsoft.com/office/drawing/2014/main" id="{A13F6E37-C22B-4FD3-ADFE-9C53ECB446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51969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1" name="Freeform 39">
              <a:extLst>
                <a:ext uri="{FF2B5EF4-FFF2-40B4-BE49-F238E27FC236}">
                  <a16:creationId xmlns:a16="http://schemas.microsoft.com/office/drawing/2014/main" id="{76256F1D-405A-49F9-8592-A899623F2D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30436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2" name="Freeform 40">
              <a:extLst>
                <a:ext uri="{FF2B5EF4-FFF2-40B4-BE49-F238E27FC236}">
                  <a16:creationId xmlns:a16="http://schemas.microsoft.com/office/drawing/2014/main" id="{2F9CAE14-DB05-4B70-867F-3F6164BDB74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62808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3" name="Freeform 41">
              <a:extLst>
                <a:ext uri="{FF2B5EF4-FFF2-40B4-BE49-F238E27FC236}">
                  <a16:creationId xmlns:a16="http://schemas.microsoft.com/office/drawing/2014/main" id="{30C7B10F-7027-41F9-BEE2-F1575CB690D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772813" y="6212575"/>
              <a:ext cx="81955" cy="101135"/>
            </a:xfrm>
            <a:custGeom>
              <a:avLst/>
              <a:gdLst>
                <a:gd name="T0" fmla="*/ 24 w 32"/>
                <a:gd name="T1" fmla="*/ 39 h 40"/>
                <a:gd name="T2" fmla="*/ 24 w 32"/>
                <a:gd name="T3" fmla="*/ 35 h 40"/>
                <a:gd name="T4" fmla="*/ 22 w 32"/>
                <a:gd name="T5" fmla="*/ 37 h 40"/>
                <a:gd name="T6" fmla="*/ 20 w 32"/>
                <a:gd name="T7" fmla="*/ 38 h 40"/>
                <a:gd name="T8" fmla="*/ 17 w 32"/>
                <a:gd name="T9" fmla="*/ 39 h 40"/>
                <a:gd name="T10" fmla="*/ 14 w 32"/>
                <a:gd name="T11" fmla="*/ 40 h 40"/>
                <a:gd name="T12" fmla="*/ 9 w 32"/>
                <a:gd name="T13" fmla="*/ 39 h 40"/>
                <a:gd name="T14" fmla="*/ 5 w 32"/>
                <a:gd name="T15" fmla="*/ 37 h 40"/>
                <a:gd name="T16" fmla="*/ 2 w 32"/>
                <a:gd name="T17" fmla="*/ 33 h 40"/>
                <a:gd name="T18" fmla="*/ 0 w 32"/>
                <a:gd name="T19" fmla="*/ 27 h 40"/>
                <a:gd name="T20" fmla="*/ 2 w 32"/>
                <a:gd name="T21" fmla="*/ 21 h 40"/>
                <a:gd name="T22" fmla="*/ 5 w 32"/>
                <a:gd name="T23" fmla="*/ 17 h 40"/>
                <a:gd name="T24" fmla="*/ 10 w 32"/>
                <a:gd name="T25" fmla="*/ 15 h 40"/>
                <a:gd name="T26" fmla="*/ 16 w 32"/>
                <a:gd name="T27" fmla="*/ 14 h 40"/>
                <a:gd name="T28" fmla="*/ 21 w 32"/>
                <a:gd name="T29" fmla="*/ 15 h 40"/>
                <a:gd name="T30" fmla="*/ 24 w 32"/>
                <a:gd name="T31" fmla="*/ 16 h 40"/>
                <a:gd name="T32" fmla="*/ 24 w 32"/>
                <a:gd name="T33" fmla="*/ 13 h 40"/>
                <a:gd name="T34" fmla="*/ 22 w 32"/>
                <a:gd name="T35" fmla="*/ 8 h 40"/>
                <a:gd name="T36" fmla="*/ 17 w 32"/>
                <a:gd name="T37" fmla="*/ 6 h 40"/>
                <a:gd name="T38" fmla="*/ 12 w 32"/>
                <a:gd name="T39" fmla="*/ 7 h 40"/>
                <a:gd name="T40" fmla="*/ 7 w 32"/>
                <a:gd name="T41" fmla="*/ 9 h 40"/>
                <a:gd name="T42" fmla="*/ 4 w 32"/>
                <a:gd name="T43" fmla="*/ 3 h 40"/>
                <a:gd name="T44" fmla="*/ 10 w 32"/>
                <a:gd name="T45" fmla="*/ 0 h 40"/>
                <a:gd name="T46" fmla="*/ 17 w 32"/>
                <a:gd name="T47" fmla="*/ 0 h 40"/>
                <a:gd name="T48" fmla="*/ 23 w 32"/>
                <a:gd name="T49" fmla="*/ 0 h 40"/>
                <a:gd name="T50" fmla="*/ 28 w 32"/>
                <a:gd name="T51" fmla="*/ 3 h 40"/>
                <a:gd name="T52" fmla="*/ 31 w 32"/>
                <a:gd name="T53" fmla="*/ 7 h 40"/>
                <a:gd name="T54" fmla="*/ 32 w 32"/>
                <a:gd name="T55" fmla="*/ 12 h 40"/>
                <a:gd name="T56" fmla="*/ 32 w 32"/>
                <a:gd name="T57" fmla="*/ 39 h 40"/>
                <a:gd name="T58" fmla="*/ 24 w 32"/>
                <a:gd name="T59" fmla="*/ 39 h 40"/>
                <a:gd name="T60" fmla="*/ 24 w 32"/>
                <a:gd name="T61" fmla="*/ 22 h 40"/>
                <a:gd name="T62" fmla="*/ 22 w 32"/>
                <a:gd name="T63" fmla="*/ 22 h 40"/>
                <a:gd name="T64" fmla="*/ 21 w 32"/>
                <a:gd name="T65" fmla="*/ 21 h 40"/>
                <a:gd name="T66" fmla="*/ 18 w 32"/>
                <a:gd name="T67" fmla="*/ 21 h 40"/>
                <a:gd name="T68" fmla="*/ 16 w 32"/>
                <a:gd name="T69" fmla="*/ 21 h 40"/>
                <a:gd name="T70" fmla="*/ 10 w 32"/>
                <a:gd name="T71" fmla="*/ 22 h 40"/>
                <a:gd name="T72" fmla="*/ 8 w 32"/>
                <a:gd name="T73" fmla="*/ 26 h 40"/>
                <a:gd name="T74" fmla="*/ 8 w 32"/>
                <a:gd name="T75" fmla="*/ 29 h 40"/>
                <a:gd name="T76" fmla="*/ 10 w 32"/>
                <a:gd name="T77" fmla="*/ 31 h 40"/>
                <a:gd name="T78" fmla="*/ 12 w 32"/>
                <a:gd name="T79" fmla="*/ 32 h 40"/>
                <a:gd name="T80" fmla="*/ 15 w 32"/>
                <a:gd name="T81" fmla="*/ 33 h 40"/>
                <a:gd name="T82" fmla="*/ 18 w 32"/>
                <a:gd name="T83" fmla="*/ 32 h 40"/>
                <a:gd name="T84" fmla="*/ 21 w 32"/>
                <a:gd name="T85" fmla="*/ 31 h 40"/>
                <a:gd name="T86" fmla="*/ 23 w 32"/>
                <a:gd name="T87" fmla="*/ 30 h 40"/>
                <a:gd name="T88" fmla="*/ 24 w 32"/>
                <a:gd name="T89" fmla="*/ 28 h 40"/>
                <a:gd name="T90" fmla="*/ 24 w 32"/>
                <a:gd name="T91" fmla="*/ 2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2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3" y="37"/>
                    <a:pt x="22" y="37"/>
                  </a:cubicBezTo>
                  <a:cubicBezTo>
                    <a:pt x="21" y="37"/>
                    <a:pt x="21" y="38"/>
                    <a:pt x="20" y="38"/>
                  </a:cubicBezTo>
                  <a:cubicBezTo>
                    <a:pt x="19" y="39"/>
                    <a:pt x="18" y="39"/>
                    <a:pt x="17" y="39"/>
                  </a:cubicBezTo>
                  <a:cubicBezTo>
                    <a:pt x="16" y="39"/>
                    <a:pt x="15" y="40"/>
                    <a:pt x="14" y="40"/>
                  </a:cubicBezTo>
                  <a:cubicBezTo>
                    <a:pt x="12" y="40"/>
                    <a:pt x="11" y="39"/>
                    <a:pt x="9" y="39"/>
                  </a:cubicBezTo>
                  <a:cubicBezTo>
                    <a:pt x="7" y="38"/>
                    <a:pt x="6" y="38"/>
                    <a:pt x="5" y="37"/>
                  </a:cubicBezTo>
                  <a:cubicBezTo>
                    <a:pt x="3" y="36"/>
                    <a:pt x="2" y="34"/>
                    <a:pt x="2" y="33"/>
                  </a:cubicBezTo>
                  <a:cubicBezTo>
                    <a:pt x="1" y="31"/>
                    <a:pt x="0" y="29"/>
                    <a:pt x="0" y="27"/>
                  </a:cubicBezTo>
                  <a:cubicBezTo>
                    <a:pt x="0" y="24"/>
                    <a:pt x="1" y="23"/>
                    <a:pt x="2" y="21"/>
                  </a:cubicBezTo>
                  <a:cubicBezTo>
                    <a:pt x="2" y="20"/>
                    <a:pt x="3" y="18"/>
                    <a:pt x="5" y="17"/>
                  </a:cubicBezTo>
                  <a:cubicBezTo>
                    <a:pt x="6" y="16"/>
                    <a:pt x="8" y="15"/>
                    <a:pt x="10" y="15"/>
                  </a:cubicBezTo>
                  <a:cubicBezTo>
                    <a:pt x="12" y="14"/>
                    <a:pt x="14" y="14"/>
                    <a:pt x="16" y="14"/>
                  </a:cubicBezTo>
                  <a:cubicBezTo>
                    <a:pt x="18" y="14"/>
                    <a:pt x="19" y="14"/>
                    <a:pt x="21" y="15"/>
                  </a:cubicBezTo>
                  <a:cubicBezTo>
                    <a:pt x="22" y="15"/>
                    <a:pt x="23" y="15"/>
                    <a:pt x="24" y="16"/>
                  </a:cubicBezTo>
                  <a:cubicBezTo>
                    <a:pt x="24" y="13"/>
                    <a:pt x="24" y="13"/>
                    <a:pt x="24" y="13"/>
                  </a:cubicBezTo>
                  <a:cubicBezTo>
                    <a:pt x="24" y="11"/>
                    <a:pt x="24" y="9"/>
                    <a:pt x="22" y="8"/>
                  </a:cubicBezTo>
                  <a:cubicBezTo>
                    <a:pt x="21" y="7"/>
                    <a:pt x="19" y="6"/>
                    <a:pt x="17" y="6"/>
                  </a:cubicBezTo>
                  <a:cubicBezTo>
                    <a:pt x="15" y="6"/>
                    <a:pt x="13" y="6"/>
                    <a:pt x="12" y="7"/>
                  </a:cubicBezTo>
                  <a:cubicBezTo>
                    <a:pt x="10" y="7"/>
                    <a:pt x="9" y="8"/>
                    <a:pt x="7" y="9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6" y="2"/>
                    <a:pt x="8" y="1"/>
                    <a:pt x="10" y="0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19" y="0"/>
                    <a:pt x="21" y="0"/>
                    <a:pt x="23" y="0"/>
                  </a:cubicBezTo>
                  <a:cubicBezTo>
                    <a:pt x="25" y="1"/>
                    <a:pt x="26" y="2"/>
                    <a:pt x="28" y="3"/>
                  </a:cubicBezTo>
                  <a:cubicBezTo>
                    <a:pt x="29" y="4"/>
                    <a:pt x="30" y="5"/>
                    <a:pt x="31" y="7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2" y="39"/>
                    <a:pt x="32" y="39"/>
                    <a:pt x="32" y="39"/>
                  </a:cubicBezTo>
                  <a:lnTo>
                    <a:pt x="24" y="39"/>
                  </a:lnTo>
                  <a:close/>
                  <a:moveTo>
                    <a:pt x="24" y="22"/>
                  </a:moveTo>
                  <a:cubicBezTo>
                    <a:pt x="24" y="22"/>
                    <a:pt x="23" y="22"/>
                    <a:pt x="22" y="22"/>
                  </a:cubicBezTo>
                  <a:cubicBezTo>
                    <a:pt x="22" y="21"/>
                    <a:pt x="21" y="21"/>
                    <a:pt x="21" y="21"/>
                  </a:cubicBezTo>
                  <a:cubicBezTo>
                    <a:pt x="20" y="21"/>
                    <a:pt x="19" y="21"/>
                    <a:pt x="18" y="21"/>
                  </a:cubicBezTo>
                  <a:cubicBezTo>
                    <a:pt x="17" y="21"/>
                    <a:pt x="17" y="21"/>
                    <a:pt x="16" y="21"/>
                  </a:cubicBezTo>
                  <a:cubicBezTo>
                    <a:pt x="13" y="21"/>
                    <a:pt x="11" y="21"/>
                    <a:pt x="10" y="22"/>
                  </a:cubicBezTo>
                  <a:cubicBezTo>
                    <a:pt x="8" y="23"/>
                    <a:pt x="8" y="25"/>
                    <a:pt x="8" y="26"/>
                  </a:cubicBezTo>
                  <a:cubicBezTo>
                    <a:pt x="8" y="28"/>
                    <a:pt x="8" y="29"/>
                    <a:pt x="8" y="29"/>
                  </a:cubicBezTo>
                  <a:cubicBezTo>
                    <a:pt x="9" y="30"/>
                    <a:pt x="9" y="31"/>
                    <a:pt x="10" y="31"/>
                  </a:cubicBezTo>
                  <a:cubicBezTo>
                    <a:pt x="10" y="32"/>
                    <a:pt x="11" y="32"/>
                    <a:pt x="12" y="32"/>
                  </a:cubicBezTo>
                  <a:cubicBezTo>
                    <a:pt x="13" y="33"/>
                    <a:pt x="14" y="33"/>
                    <a:pt x="15" y="33"/>
                  </a:cubicBezTo>
                  <a:cubicBezTo>
                    <a:pt x="16" y="33"/>
                    <a:pt x="17" y="33"/>
                    <a:pt x="18" y="32"/>
                  </a:cubicBezTo>
                  <a:cubicBezTo>
                    <a:pt x="19" y="32"/>
                    <a:pt x="20" y="32"/>
                    <a:pt x="21" y="31"/>
                  </a:cubicBezTo>
                  <a:cubicBezTo>
                    <a:pt x="21" y="31"/>
                    <a:pt x="22" y="30"/>
                    <a:pt x="23" y="30"/>
                  </a:cubicBezTo>
                  <a:cubicBezTo>
                    <a:pt x="23" y="29"/>
                    <a:pt x="24" y="28"/>
                    <a:pt x="24" y="28"/>
                  </a:cubicBezTo>
                  <a:lnTo>
                    <a:pt x="24" y="2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4" name="Freeform 42">
              <a:extLst>
                <a:ext uri="{FF2B5EF4-FFF2-40B4-BE49-F238E27FC236}">
                  <a16:creationId xmlns:a16="http://schemas.microsoft.com/office/drawing/2014/main" id="{16B384B2-A2D9-4CB4-AF87-AF1004852B5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77436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2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10 w 31"/>
                <a:gd name="T11" fmla="*/ 9 h 39"/>
                <a:gd name="T12" fmla="*/ 8 w 31"/>
                <a:gd name="T13" fmla="*/ 12 h 39"/>
                <a:gd name="T14" fmla="*/ 8 w 31"/>
                <a:gd name="T15" fmla="*/ 16 h 39"/>
                <a:gd name="T16" fmla="*/ 8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8 w 31"/>
                <a:gd name="T23" fmla="*/ 0 h 39"/>
                <a:gd name="T24" fmla="*/ 8 w 31"/>
                <a:gd name="T25" fmla="*/ 4 h 39"/>
                <a:gd name="T26" fmla="*/ 9 w 31"/>
                <a:gd name="T27" fmla="*/ 2 h 39"/>
                <a:gd name="T28" fmla="*/ 12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8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2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10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8" y="15"/>
                    <a:pt x="8" y="16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2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20" y="0"/>
                    <a:pt x="22" y="0"/>
                    <a:pt x="23" y="1"/>
                  </a:cubicBezTo>
                  <a:cubicBezTo>
                    <a:pt x="25" y="1"/>
                    <a:pt x="26" y="2"/>
                    <a:pt x="28" y="4"/>
                  </a:cubicBezTo>
                  <a:cubicBezTo>
                    <a:pt x="29" y="5"/>
                    <a:pt x="29" y="7"/>
                    <a:pt x="30" y="9"/>
                  </a:cubicBezTo>
                  <a:cubicBezTo>
                    <a:pt x="31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5" name="Freeform 43">
              <a:extLst>
                <a:ext uri="{FF2B5EF4-FFF2-40B4-BE49-F238E27FC236}">
                  <a16:creationId xmlns:a16="http://schemas.microsoft.com/office/drawing/2014/main" id="{DC309D60-84B9-4652-BEF1-F71EFAD3A40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75084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0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3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6 w 29"/>
                <a:gd name="T55" fmla="*/ 24 h 40"/>
                <a:gd name="T56" fmla="*/ 13 w 29"/>
                <a:gd name="T57" fmla="*/ 22 h 40"/>
                <a:gd name="T58" fmla="*/ 7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1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2" y="6"/>
                    <a:pt x="11" y="7"/>
                    <a:pt x="10" y="7"/>
                  </a:cubicBezTo>
                  <a:cubicBezTo>
                    <a:pt x="9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1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8" y="25"/>
                    <a:pt x="18" y="24"/>
                    <a:pt x="16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7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2" y="15"/>
                    <a:pt x="2" y="14"/>
                  </a:cubicBezTo>
                  <a:cubicBezTo>
                    <a:pt x="2" y="13"/>
                    <a:pt x="1" y="12"/>
                    <a:pt x="1" y="10"/>
                  </a:cubicBezTo>
                  <a:cubicBezTo>
                    <a:pt x="1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6" name="Freeform 44">
              <a:extLst>
                <a:ext uri="{FF2B5EF4-FFF2-40B4-BE49-F238E27FC236}">
                  <a16:creationId xmlns:a16="http://schemas.microsoft.com/office/drawing/2014/main" id="{A4440044-5486-483F-B652-7EE3849461B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58782" y="6212575"/>
              <a:ext cx="122060" cy="99391"/>
            </a:xfrm>
            <a:custGeom>
              <a:avLst/>
              <a:gdLst>
                <a:gd name="T0" fmla="*/ 55 w 70"/>
                <a:gd name="T1" fmla="*/ 57 h 57"/>
                <a:gd name="T2" fmla="*/ 45 w 70"/>
                <a:gd name="T3" fmla="*/ 57 h 57"/>
                <a:gd name="T4" fmla="*/ 35 w 70"/>
                <a:gd name="T5" fmla="*/ 17 h 57"/>
                <a:gd name="T6" fmla="*/ 25 w 70"/>
                <a:gd name="T7" fmla="*/ 57 h 57"/>
                <a:gd name="T8" fmla="*/ 14 w 70"/>
                <a:gd name="T9" fmla="*/ 57 h 57"/>
                <a:gd name="T10" fmla="*/ 0 w 70"/>
                <a:gd name="T11" fmla="*/ 0 h 57"/>
                <a:gd name="T12" fmla="*/ 10 w 70"/>
                <a:gd name="T13" fmla="*/ 0 h 57"/>
                <a:gd name="T14" fmla="*/ 20 w 70"/>
                <a:gd name="T15" fmla="*/ 39 h 57"/>
                <a:gd name="T16" fmla="*/ 30 w 70"/>
                <a:gd name="T17" fmla="*/ 0 h 57"/>
                <a:gd name="T18" fmla="*/ 39 w 70"/>
                <a:gd name="T19" fmla="*/ 0 h 57"/>
                <a:gd name="T20" fmla="*/ 49 w 70"/>
                <a:gd name="T21" fmla="*/ 39 h 57"/>
                <a:gd name="T22" fmla="*/ 60 w 70"/>
                <a:gd name="T23" fmla="*/ 0 h 57"/>
                <a:gd name="T24" fmla="*/ 70 w 70"/>
                <a:gd name="T25" fmla="*/ 0 h 57"/>
                <a:gd name="T26" fmla="*/ 55 w 70"/>
                <a:gd name="T27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7">
                  <a:moveTo>
                    <a:pt x="55" y="57"/>
                  </a:moveTo>
                  <a:lnTo>
                    <a:pt x="45" y="57"/>
                  </a:lnTo>
                  <a:lnTo>
                    <a:pt x="35" y="17"/>
                  </a:lnTo>
                  <a:lnTo>
                    <a:pt x="25" y="57"/>
                  </a:lnTo>
                  <a:lnTo>
                    <a:pt x="14" y="57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0" y="39"/>
                  </a:lnTo>
                  <a:lnTo>
                    <a:pt x="30" y="0"/>
                  </a:lnTo>
                  <a:lnTo>
                    <a:pt x="39" y="0"/>
                  </a:lnTo>
                  <a:lnTo>
                    <a:pt x="49" y="39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7" name="Freeform 45">
              <a:extLst>
                <a:ext uri="{FF2B5EF4-FFF2-40B4-BE49-F238E27FC236}">
                  <a16:creationId xmlns:a16="http://schemas.microsoft.com/office/drawing/2014/main" id="{446771E9-EA09-4256-8955-FE392C07AFC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1913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8" name="Freeform 46">
              <a:extLst>
                <a:ext uri="{FF2B5EF4-FFF2-40B4-BE49-F238E27FC236}">
                  <a16:creationId xmlns:a16="http://schemas.microsoft.com/office/drawing/2014/main" id="{FE985025-CAA5-44F2-9174-87CD1D8BA18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95927" y="6212575"/>
              <a:ext cx="57543" cy="99391"/>
            </a:xfrm>
            <a:custGeom>
              <a:avLst/>
              <a:gdLst>
                <a:gd name="T0" fmla="*/ 21 w 23"/>
                <a:gd name="T1" fmla="*/ 8 h 39"/>
                <a:gd name="T2" fmla="*/ 18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6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0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9" name="Freeform 47">
              <a:extLst>
                <a:ext uri="{FF2B5EF4-FFF2-40B4-BE49-F238E27FC236}">
                  <a16:creationId xmlns:a16="http://schemas.microsoft.com/office/drawing/2014/main" id="{1105FBBE-AD06-4F22-94D8-E2E98185FA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6494" y="6284068"/>
              <a:ext cx="29644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3 w 12"/>
                <a:gd name="T11" fmla="*/ 11 h 12"/>
                <a:gd name="T12" fmla="*/ 2 w 12"/>
                <a:gd name="T13" fmla="*/ 10 h 12"/>
                <a:gd name="T14" fmla="*/ 0 w 12"/>
                <a:gd name="T15" fmla="*/ 8 h 12"/>
                <a:gd name="T16" fmla="*/ 0 w 12"/>
                <a:gd name="T17" fmla="*/ 6 h 12"/>
                <a:gd name="T18" fmla="*/ 0 w 12"/>
                <a:gd name="T19" fmla="*/ 4 h 12"/>
                <a:gd name="T20" fmla="*/ 2 w 12"/>
                <a:gd name="T21" fmla="*/ 2 h 12"/>
                <a:gd name="T22" fmla="*/ 3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3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0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3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0" name="Freeform 48">
              <a:extLst>
                <a:ext uri="{FF2B5EF4-FFF2-40B4-BE49-F238E27FC236}">
                  <a16:creationId xmlns:a16="http://schemas.microsoft.com/office/drawing/2014/main" id="{8141824A-6AD4-4B53-B837-71461DD538C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388691"/>
              <a:ext cx="94161" cy="130778"/>
            </a:xfrm>
            <a:custGeom>
              <a:avLst/>
              <a:gdLst>
                <a:gd name="T0" fmla="*/ 32 w 54"/>
                <a:gd name="T1" fmla="*/ 12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2 h 75"/>
                <a:gd name="T8" fmla="*/ 0 w 54"/>
                <a:gd name="T9" fmla="*/ 12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2 h 75"/>
                <a:gd name="T16" fmla="*/ 32 w 54"/>
                <a:gd name="T17" fmla="*/ 12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2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2"/>
                  </a:lnTo>
                  <a:lnTo>
                    <a:pt x="0" y="12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2"/>
                  </a:lnTo>
                  <a:lnTo>
                    <a:pt x="32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1" name="Freeform 49">
              <a:extLst>
                <a:ext uri="{FF2B5EF4-FFF2-40B4-BE49-F238E27FC236}">
                  <a16:creationId xmlns:a16="http://schemas.microsoft.com/office/drawing/2014/main" id="{1CEF1D95-CD6C-417A-9539-CB4DBAA5E07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383459"/>
              <a:ext cx="78468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9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1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7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7"/>
                    <a:pt x="9" y="17"/>
                  </a:cubicBezTo>
                  <a:cubicBezTo>
                    <a:pt x="10" y="16"/>
                    <a:pt x="10" y="16"/>
                    <a:pt x="11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2" name="Freeform 50">
              <a:extLst>
                <a:ext uri="{FF2B5EF4-FFF2-40B4-BE49-F238E27FC236}">
                  <a16:creationId xmlns:a16="http://schemas.microsoft.com/office/drawing/2014/main" id="{BF6CB5D3-9648-4D73-AB7C-5374814E5BA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418333"/>
              <a:ext cx="85443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7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3 w 33"/>
                <a:gd name="T73" fmla="*/ 8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9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2" y="32"/>
                    <a:pt x="23" y="32"/>
                    <a:pt x="23" y="32"/>
                  </a:cubicBezTo>
                  <a:cubicBezTo>
                    <a:pt x="24" y="31"/>
                    <a:pt x="25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1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5" y="13"/>
                  </a:cubicBezTo>
                  <a:cubicBezTo>
                    <a:pt x="24" y="12"/>
                    <a:pt x="24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3" name="Freeform 51">
              <a:extLst>
                <a:ext uri="{FF2B5EF4-FFF2-40B4-BE49-F238E27FC236}">
                  <a16:creationId xmlns:a16="http://schemas.microsoft.com/office/drawing/2014/main" id="{55F0E322-3AEE-482E-8E59-9FB04FACA93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383459"/>
              <a:ext cx="83698" cy="137753"/>
            </a:xfrm>
            <a:custGeom>
              <a:avLst/>
              <a:gdLst>
                <a:gd name="T0" fmla="*/ 33 w 33"/>
                <a:gd name="T1" fmla="*/ 35 h 54"/>
                <a:gd name="T2" fmla="*/ 31 w 33"/>
                <a:gd name="T3" fmla="*/ 43 h 54"/>
                <a:gd name="T4" fmla="*/ 28 w 33"/>
                <a:gd name="T5" fmla="*/ 49 h 54"/>
                <a:gd name="T6" fmla="*/ 23 w 33"/>
                <a:gd name="T7" fmla="*/ 53 h 54"/>
                <a:gd name="T8" fmla="*/ 17 w 33"/>
                <a:gd name="T9" fmla="*/ 54 h 54"/>
                <a:gd name="T10" fmla="*/ 12 w 33"/>
                <a:gd name="T11" fmla="*/ 53 h 54"/>
                <a:gd name="T12" fmla="*/ 8 w 33"/>
                <a:gd name="T13" fmla="*/ 50 h 54"/>
                <a:gd name="T14" fmla="*/ 8 w 33"/>
                <a:gd name="T15" fmla="*/ 53 h 54"/>
                <a:gd name="T16" fmla="*/ 0 w 33"/>
                <a:gd name="T17" fmla="*/ 53 h 54"/>
                <a:gd name="T18" fmla="*/ 0 w 33"/>
                <a:gd name="T19" fmla="*/ 4 h 54"/>
                <a:gd name="T20" fmla="*/ 8 w 33"/>
                <a:gd name="T21" fmla="*/ 0 h 54"/>
                <a:gd name="T22" fmla="*/ 8 w 33"/>
                <a:gd name="T23" fmla="*/ 19 h 54"/>
                <a:gd name="T24" fmla="*/ 10 w 33"/>
                <a:gd name="T25" fmla="*/ 17 h 54"/>
                <a:gd name="T26" fmla="*/ 12 w 33"/>
                <a:gd name="T27" fmla="*/ 16 h 54"/>
                <a:gd name="T28" fmla="*/ 14 w 33"/>
                <a:gd name="T29" fmla="*/ 14 h 54"/>
                <a:gd name="T30" fmla="*/ 18 w 33"/>
                <a:gd name="T31" fmla="*/ 14 h 54"/>
                <a:gd name="T32" fmla="*/ 24 w 33"/>
                <a:gd name="T33" fmla="*/ 15 h 54"/>
                <a:gd name="T34" fmla="*/ 28 w 33"/>
                <a:gd name="T35" fmla="*/ 19 h 54"/>
                <a:gd name="T36" fmla="*/ 31 w 33"/>
                <a:gd name="T37" fmla="*/ 25 h 54"/>
                <a:gd name="T38" fmla="*/ 33 w 33"/>
                <a:gd name="T39" fmla="*/ 35 h 54"/>
                <a:gd name="T40" fmla="*/ 25 w 33"/>
                <a:gd name="T41" fmla="*/ 35 h 54"/>
                <a:gd name="T42" fmla="*/ 23 w 33"/>
                <a:gd name="T43" fmla="*/ 24 h 54"/>
                <a:gd name="T44" fmla="*/ 16 w 33"/>
                <a:gd name="T45" fmla="*/ 21 h 54"/>
                <a:gd name="T46" fmla="*/ 14 w 33"/>
                <a:gd name="T47" fmla="*/ 21 h 54"/>
                <a:gd name="T48" fmla="*/ 11 w 33"/>
                <a:gd name="T49" fmla="*/ 23 h 54"/>
                <a:gd name="T50" fmla="*/ 9 w 33"/>
                <a:gd name="T51" fmla="*/ 24 h 54"/>
                <a:gd name="T52" fmla="*/ 8 w 33"/>
                <a:gd name="T53" fmla="*/ 26 h 54"/>
                <a:gd name="T54" fmla="*/ 8 w 33"/>
                <a:gd name="T55" fmla="*/ 42 h 54"/>
                <a:gd name="T56" fmla="*/ 9 w 33"/>
                <a:gd name="T57" fmla="*/ 44 h 54"/>
                <a:gd name="T58" fmla="*/ 11 w 33"/>
                <a:gd name="T59" fmla="*/ 45 h 54"/>
                <a:gd name="T60" fmla="*/ 14 w 33"/>
                <a:gd name="T61" fmla="*/ 47 h 54"/>
                <a:gd name="T62" fmla="*/ 17 w 33"/>
                <a:gd name="T63" fmla="*/ 47 h 54"/>
                <a:gd name="T64" fmla="*/ 23 w 33"/>
                <a:gd name="T65" fmla="*/ 44 h 54"/>
                <a:gd name="T66" fmla="*/ 25 w 33"/>
                <a:gd name="T67" fmla="*/ 35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4">
                  <a:moveTo>
                    <a:pt x="33" y="35"/>
                  </a:moveTo>
                  <a:cubicBezTo>
                    <a:pt x="33" y="38"/>
                    <a:pt x="32" y="41"/>
                    <a:pt x="31" y="43"/>
                  </a:cubicBezTo>
                  <a:cubicBezTo>
                    <a:pt x="30" y="46"/>
                    <a:pt x="29" y="48"/>
                    <a:pt x="28" y="49"/>
                  </a:cubicBezTo>
                  <a:cubicBezTo>
                    <a:pt x="27" y="51"/>
                    <a:pt x="25" y="52"/>
                    <a:pt x="23" y="53"/>
                  </a:cubicBezTo>
                  <a:cubicBezTo>
                    <a:pt x="21" y="54"/>
                    <a:pt x="19" y="54"/>
                    <a:pt x="17" y="54"/>
                  </a:cubicBezTo>
                  <a:cubicBezTo>
                    <a:pt x="16" y="54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7"/>
                    <a:pt x="10" y="17"/>
                  </a:cubicBezTo>
                  <a:cubicBezTo>
                    <a:pt x="11" y="16"/>
                    <a:pt x="11" y="16"/>
                    <a:pt x="12" y="16"/>
                  </a:cubicBezTo>
                  <a:cubicBezTo>
                    <a:pt x="13" y="15"/>
                    <a:pt x="13" y="15"/>
                    <a:pt x="14" y="14"/>
                  </a:cubicBezTo>
                  <a:cubicBezTo>
                    <a:pt x="15" y="14"/>
                    <a:pt x="16" y="14"/>
                    <a:pt x="18" y="14"/>
                  </a:cubicBezTo>
                  <a:cubicBezTo>
                    <a:pt x="20" y="14"/>
                    <a:pt x="22" y="14"/>
                    <a:pt x="24" y="15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30" y="21"/>
                    <a:pt x="31" y="23"/>
                    <a:pt x="31" y="25"/>
                  </a:cubicBezTo>
                  <a:cubicBezTo>
                    <a:pt x="32" y="28"/>
                    <a:pt x="33" y="31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0"/>
                    <a:pt x="24" y="27"/>
                    <a:pt x="23" y="24"/>
                  </a:cubicBezTo>
                  <a:cubicBezTo>
                    <a:pt x="21" y="22"/>
                    <a:pt x="19" y="21"/>
                    <a:pt x="16" y="21"/>
                  </a:cubicBezTo>
                  <a:cubicBezTo>
                    <a:pt x="15" y="21"/>
                    <a:pt x="15" y="21"/>
                    <a:pt x="14" y="21"/>
                  </a:cubicBezTo>
                  <a:cubicBezTo>
                    <a:pt x="13" y="22"/>
                    <a:pt x="12" y="22"/>
                    <a:pt x="11" y="23"/>
                  </a:cubicBezTo>
                  <a:cubicBezTo>
                    <a:pt x="11" y="23"/>
                    <a:pt x="10" y="24"/>
                    <a:pt x="9" y="24"/>
                  </a:cubicBezTo>
                  <a:cubicBezTo>
                    <a:pt x="9" y="25"/>
                    <a:pt x="8" y="25"/>
                    <a:pt x="8" y="26"/>
                  </a:cubicBezTo>
                  <a:cubicBezTo>
                    <a:pt x="8" y="42"/>
                    <a:pt x="8" y="42"/>
                    <a:pt x="8" y="42"/>
                  </a:cubicBezTo>
                  <a:cubicBezTo>
                    <a:pt x="8" y="43"/>
                    <a:pt x="9" y="43"/>
                    <a:pt x="9" y="44"/>
                  </a:cubicBezTo>
                  <a:cubicBezTo>
                    <a:pt x="10" y="44"/>
                    <a:pt x="11" y="45"/>
                    <a:pt x="11" y="45"/>
                  </a:cubicBezTo>
                  <a:cubicBezTo>
                    <a:pt x="12" y="46"/>
                    <a:pt x="13" y="46"/>
                    <a:pt x="14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9" y="47"/>
                    <a:pt x="21" y="46"/>
                    <a:pt x="23" y="44"/>
                  </a:cubicBezTo>
                  <a:cubicBezTo>
                    <a:pt x="24" y="42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4" name="Freeform 52">
              <a:extLst>
                <a:ext uri="{FF2B5EF4-FFF2-40B4-BE49-F238E27FC236}">
                  <a16:creationId xmlns:a16="http://schemas.microsoft.com/office/drawing/2014/main" id="{0D3C59AD-7CCF-4166-9D21-3C348488931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1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4" y="31"/>
                    <a:pt x="24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5" name="Freeform 53">
              <a:extLst>
                <a:ext uri="{FF2B5EF4-FFF2-40B4-BE49-F238E27FC236}">
                  <a16:creationId xmlns:a16="http://schemas.microsoft.com/office/drawing/2014/main" id="{9C9DA4CE-7B4D-42AE-9264-92B7D7757DD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1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2" y="54"/>
                    <a:pt x="11" y="54"/>
                  </a:cubicBezTo>
                  <a:cubicBezTo>
                    <a:pt x="10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2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6" name="Freeform 54">
              <a:extLst>
                <a:ext uri="{FF2B5EF4-FFF2-40B4-BE49-F238E27FC236}">
                  <a16:creationId xmlns:a16="http://schemas.microsoft.com/office/drawing/2014/main" id="{DBCBD0D2-5C9C-4B12-8CF8-9CA320825ED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7" name="Freeform 55">
              <a:extLst>
                <a:ext uri="{FF2B5EF4-FFF2-40B4-BE49-F238E27FC236}">
                  <a16:creationId xmlns:a16="http://schemas.microsoft.com/office/drawing/2014/main" id="{CDCFBD31-7961-4587-876E-1FAFC4E74AB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0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2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0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3" y="31"/>
                    <a:pt x="24" y="31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0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7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8" name="Freeform 56">
              <a:extLst>
                <a:ext uri="{FF2B5EF4-FFF2-40B4-BE49-F238E27FC236}">
                  <a16:creationId xmlns:a16="http://schemas.microsoft.com/office/drawing/2014/main" id="{52482C08-723A-4738-9787-3516B3C1714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418333"/>
              <a:ext cx="55799" cy="101135"/>
            </a:xfrm>
            <a:custGeom>
              <a:avLst/>
              <a:gdLst>
                <a:gd name="T0" fmla="*/ 20 w 22"/>
                <a:gd name="T1" fmla="*/ 9 h 39"/>
                <a:gd name="T2" fmla="*/ 18 w 22"/>
                <a:gd name="T3" fmla="*/ 8 h 39"/>
                <a:gd name="T4" fmla="*/ 15 w 22"/>
                <a:gd name="T5" fmla="*/ 7 h 39"/>
                <a:gd name="T6" fmla="*/ 9 w 22"/>
                <a:gd name="T7" fmla="*/ 10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1 h 39"/>
                <a:gd name="T16" fmla="*/ 7 w 22"/>
                <a:gd name="T17" fmla="*/ 1 h 39"/>
                <a:gd name="T18" fmla="*/ 7 w 22"/>
                <a:gd name="T19" fmla="*/ 5 h 39"/>
                <a:gd name="T20" fmla="*/ 9 w 22"/>
                <a:gd name="T21" fmla="*/ 3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1 h 39"/>
                <a:gd name="T30" fmla="*/ 22 w 22"/>
                <a:gd name="T31" fmla="*/ 2 h 39"/>
                <a:gd name="T32" fmla="*/ 20 w 22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7" y="8"/>
                    <a:pt x="16" y="7"/>
                    <a:pt x="15" y="7"/>
                  </a:cubicBezTo>
                  <a:cubicBezTo>
                    <a:pt x="12" y="7"/>
                    <a:pt x="10" y="8"/>
                    <a:pt x="9" y="10"/>
                  </a:cubicBezTo>
                  <a:cubicBezTo>
                    <a:pt x="8" y="12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8" y="4"/>
                    <a:pt x="8" y="3"/>
                    <a:pt x="9" y="3"/>
                  </a:cubicBezTo>
                  <a:cubicBezTo>
                    <a:pt x="9" y="2"/>
                    <a:pt x="10" y="2"/>
                    <a:pt x="11" y="1"/>
                  </a:cubicBezTo>
                  <a:cubicBezTo>
                    <a:pt x="11" y="1"/>
                    <a:pt x="12" y="1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1"/>
                  </a:cubicBezTo>
                  <a:cubicBezTo>
                    <a:pt x="21" y="1"/>
                    <a:pt x="22" y="1"/>
                    <a:pt x="22" y="2"/>
                  </a:cubicBezTo>
                  <a:lnTo>
                    <a:pt x="20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9" name="Freeform 57">
              <a:extLst>
                <a:ext uri="{FF2B5EF4-FFF2-40B4-BE49-F238E27FC236}">
                  <a16:creationId xmlns:a16="http://schemas.microsoft.com/office/drawing/2014/main" id="{5B72A8F0-33E3-42CD-88C2-C35BEC0E983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40" name="Freeform 58">
              <a:extLst>
                <a:ext uri="{FF2B5EF4-FFF2-40B4-BE49-F238E27FC236}">
                  <a16:creationId xmlns:a16="http://schemas.microsoft.com/office/drawing/2014/main" id="{73FC54A2-6588-499B-968A-79F4CA9CF5F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383459"/>
              <a:ext cx="80211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10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2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8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7"/>
                    <a:pt x="9" y="17"/>
                  </a:cubicBezTo>
                  <a:cubicBezTo>
                    <a:pt x="10" y="16"/>
                    <a:pt x="11" y="16"/>
                    <a:pt x="12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41" name="Freeform 59">
              <a:extLst>
                <a:ext uri="{FF2B5EF4-FFF2-40B4-BE49-F238E27FC236}">
                  <a16:creationId xmlns:a16="http://schemas.microsoft.com/office/drawing/2014/main" id="{1E6AB002-C130-4648-A18E-BA496FF1756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8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2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6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1 w 33"/>
                <a:gd name="T69" fmla="*/ 8 h 40"/>
                <a:gd name="T70" fmla="*/ 17 w 33"/>
                <a:gd name="T71" fmla="*/ 7 h 40"/>
                <a:gd name="T72" fmla="*/ 13 w 33"/>
                <a:gd name="T73" fmla="*/ 8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6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10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3" y="32"/>
                    <a:pt x="23" y="32"/>
                    <a:pt x="24" y="32"/>
                  </a:cubicBezTo>
                  <a:cubicBezTo>
                    <a:pt x="24" y="31"/>
                    <a:pt x="25" y="31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7" y="38"/>
                    <a:pt x="26" y="38"/>
                    <a:pt x="25" y="39"/>
                  </a:cubicBezTo>
                  <a:cubicBezTo>
                    <a:pt x="24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4" y="40"/>
                    <a:pt x="12" y="39"/>
                  </a:cubicBezTo>
                  <a:cubicBezTo>
                    <a:pt x="11" y="39"/>
                    <a:pt x="10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4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5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6" y="17"/>
                  </a:moveTo>
                  <a:cubicBezTo>
                    <a:pt x="26" y="15"/>
                    <a:pt x="25" y="14"/>
                    <a:pt x="25" y="13"/>
                  </a:cubicBezTo>
                  <a:cubicBezTo>
                    <a:pt x="25" y="12"/>
                    <a:pt x="24" y="11"/>
                    <a:pt x="23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20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6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42" name="Freeform 60">
              <a:extLst>
                <a:ext uri="{FF2B5EF4-FFF2-40B4-BE49-F238E27FC236}">
                  <a16:creationId xmlns:a16="http://schemas.microsoft.com/office/drawing/2014/main" id="{B0044278-9F7F-4596-96D2-ACFBE0DEC0B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7435" y="6421821"/>
              <a:ext cx="122060" cy="97648"/>
            </a:xfrm>
            <a:custGeom>
              <a:avLst/>
              <a:gdLst>
                <a:gd name="T0" fmla="*/ 56 w 70"/>
                <a:gd name="T1" fmla="*/ 56 h 56"/>
                <a:gd name="T2" fmla="*/ 46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5 w 70"/>
                <a:gd name="T9" fmla="*/ 56 h 56"/>
                <a:gd name="T10" fmla="*/ 0 w 70"/>
                <a:gd name="T11" fmla="*/ 0 h 56"/>
                <a:gd name="T12" fmla="*/ 10 w 70"/>
                <a:gd name="T13" fmla="*/ 0 h 56"/>
                <a:gd name="T14" fmla="*/ 21 w 70"/>
                <a:gd name="T15" fmla="*/ 38 h 56"/>
                <a:gd name="T16" fmla="*/ 31 w 70"/>
                <a:gd name="T17" fmla="*/ 0 h 56"/>
                <a:gd name="T18" fmla="*/ 40 w 70"/>
                <a:gd name="T19" fmla="*/ 0 h 56"/>
                <a:gd name="T20" fmla="*/ 50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6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6" y="56"/>
                  </a:moveTo>
                  <a:lnTo>
                    <a:pt x="46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5" y="56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1" y="38"/>
                  </a:lnTo>
                  <a:lnTo>
                    <a:pt x="31" y="0"/>
                  </a:lnTo>
                  <a:lnTo>
                    <a:pt x="40" y="0"/>
                  </a:lnTo>
                  <a:lnTo>
                    <a:pt x="50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6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43" name="Freeform 61">
              <a:extLst>
                <a:ext uri="{FF2B5EF4-FFF2-40B4-BE49-F238E27FC236}">
                  <a16:creationId xmlns:a16="http://schemas.microsoft.com/office/drawing/2014/main" id="{79F75E0D-27A7-44C1-BF19-495F4768F99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859957" y="6418333"/>
              <a:ext cx="87186" cy="102879"/>
            </a:xfrm>
            <a:custGeom>
              <a:avLst/>
              <a:gdLst>
                <a:gd name="T0" fmla="*/ 34 w 34"/>
                <a:gd name="T1" fmla="*/ 20 h 40"/>
                <a:gd name="T2" fmla="*/ 33 w 34"/>
                <a:gd name="T3" fmla="*/ 28 h 40"/>
                <a:gd name="T4" fmla="*/ 29 w 34"/>
                <a:gd name="T5" fmla="*/ 35 h 40"/>
                <a:gd name="T6" fmla="*/ 24 w 34"/>
                <a:gd name="T7" fmla="*/ 39 h 40"/>
                <a:gd name="T8" fmla="*/ 17 w 34"/>
                <a:gd name="T9" fmla="*/ 40 h 40"/>
                <a:gd name="T10" fmla="*/ 10 w 34"/>
                <a:gd name="T11" fmla="*/ 39 h 40"/>
                <a:gd name="T12" fmla="*/ 5 w 34"/>
                <a:gd name="T13" fmla="*/ 35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2 h 40"/>
                <a:gd name="T20" fmla="*/ 5 w 34"/>
                <a:gd name="T21" fmla="*/ 5 h 40"/>
                <a:gd name="T22" fmla="*/ 11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2 h 40"/>
                <a:gd name="T32" fmla="*/ 34 w 34"/>
                <a:gd name="T33" fmla="*/ 20 h 40"/>
                <a:gd name="T34" fmla="*/ 27 w 34"/>
                <a:gd name="T35" fmla="*/ 20 h 40"/>
                <a:gd name="T36" fmla="*/ 26 w 34"/>
                <a:gd name="T37" fmla="*/ 15 h 40"/>
                <a:gd name="T38" fmla="*/ 24 w 34"/>
                <a:gd name="T39" fmla="*/ 11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1 h 40"/>
                <a:gd name="T48" fmla="*/ 8 w 34"/>
                <a:gd name="T49" fmla="*/ 15 h 40"/>
                <a:gd name="T50" fmla="*/ 8 w 34"/>
                <a:gd name="T51" fmla="*/ 20 h 40"/>
                <a:gd name="T52" fmla="*/ 8 w 34"/>
                <a:gd name="T53" fmla="*/ 26 h 40"/>
                <a:gd name="T54" fmla="*/ 10 w 34"/>
                <a:gd name="T55" fmla="*/ 30 h 40"/>
                <a:gd name="T56" fmla="*/ 13 w 34"/>
                <a:gd name="T57" fmla="*/ 32 h 40"/>
                <a:gd name="T58" fmla="*/ 17 w 34"/>
                <a:gd name="T59" fmla="*/ 33 h 40"/>
                <a:gd name="T60" fmla="*/ 21 w 34"/>
                <a:gd name="T61" fmla="*/ 32 h 40"/>
                <a:gd name="T62" fmla="*/ 24 w 34"/>
                <a:gd name="T63" fmla="*/ 29 h 40"/>
                <a:gd name="T64" fmla="*/ 26 w 34"/>
                <a:gd name="T65" fmla="*/ 25 h 40"/>
                <a:gd name="T66" fmla="*/ 27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20"/>
                  </a:moveTo>
                  <a:cubicBezTo>
                    <a:pt x="34" y="23"/>
                    <a:pt x="34" y="26"/>
                    <a:pt x="33" y="28"/>
                  </a:cubicBezTo>
                  <a:cubicBezTo>
                    <a:pt x="32" y="31"/>
                    <a:pt x="31" y="33"/>
                    <a:pt x="29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2" y="40"/>
                    <a:pt x="10" y="39"/>
                  </a:cubicBezTo>
                  <a:cubicBezTo>
                    <a:pt x="8" y="38"/>
                    <a:pt x="6" y="36"/>
                    <a:pt x="5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1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7" y="4"/>
                    <a:pt x="8" y="2"/>
                    <a:pt x="11" y="1"/>
                  </a:cubicBezTo>
                  <a:cubicBezTo>
                    <a:pt x="13" y="1"/>
                    <a:pt x="15" y="0"/>
                    <a:pt x="17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4" y="17"/>
                    <a:pt x="34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3" y="10"/>
                    <a:pt x="22" y="9"/>
                    <a:pt x="21" y="8"/>
                  </a:cubicBezTo>
                  <a:cubicBezTo>
                    <a:pt x="20" y="8"/>
                    <a:pt x="18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9" y="12"/>
                    <a:pt x="9" y="13"/>
                    <a:pt x="8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8" y="26"/>
                  </a:cubicBezTo>
                  <a:cubicBezTo>
                    <a:pt x="9" y="27"/>
                    <a:pt x="10" y="28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44" name="Freeform 62">
              <a:extLst>
                <a:ext uri="{FF2B5EF4-FFF2-40B4-BE49-F238E27FC236}">
                  <a16:creationId xmlns:a16="http://schemas.microsoft.com/office/drawing/2014/main" id="{E5B9E395-C74C-4D98-8911-EE2C765D8B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8067" y="6418333"/>
              <a:ext cx="57543" cy="101135"/>
            </a:xfrm>
            <a:custGeom>
              <a:avLst/>
              <a:gdLst>
                <a:gd name="T0" fmla="*/ 21 w 23"/>
                <a:gd name="T1" fmla="*/ 9 h 39"/>
                <a:gd name="T2" fmla="*/ 18 w 23"/>
                <a:gd name="T3" fmla="*/ 8 h 39"/>
                <a:gd name="T4" fmla="*/ 15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9 w 23"/>
                <a:gd name="T21" fmla="*/ 3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8" y="8"/>
                    <a:pt x="17" y="7"/>
                    <a:pt x="15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8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9" y="3"/>
                  </a:cubicBezTo>
                  <a:cubicBezTo>
                    <a:pt x="10" y="2"/>
                    <a:pt x="11" y="2"/>
                    <a:pt x="11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1"/>
                  </a:cubicBezTo>
                  <a:cubicBezTo>
                    <a:pt x="21" y="1"/>
                    <a:pt x="22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45" name="Freeform 63">
              <a:extLst>
                <a:ext uri="{FF2B5EF4-FFF2-40B4-BE49-F238E27FC236}">
                  <a16:creationId xmlns:a16="http://schemas.microsoft.com/office/drawing/2014/main" id="{53BB8418-388C-4142-9A80-8BF00A87F7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3046" y="6383459"/>
              <a:ext cx="19181" cy="136010"/>
            </a:xfrm>
            <a:custGeom>
              <a:avLst/>
              <a:gdLst>
                <a:gd name="T0" fmla="*/ 0 w 11"/>
                <a:gd name="T1" fmla="*/ 78 h 78"/>
                <a:gd name="T2" fmla="*/ 0 w 11"/>
                <a:gd name="T3" fmla="*/ 6 h 78"/>
                <a:gd name="T4" fmla="*/ 11 w 11"/>
                <a:gd name="T5" fmla="*/ 0 h 78"/>
                <a:gd name="T6" fmla="*/ 11 w 11"/>
                <a:gd name="T7" fmla="*/ 78 h 78"/>
                <a:gd name="T8" fmla="*/ 0 w 11"/>
                <a:gd name="T9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78">
                  <a:moveTo>
                    <a:pt x="0" y="78"/>
                  </a:moveTo>
                  <a:lnTo>
                    <a:pt x="0" y="6"/>
                  </a:lnTo>
                  <a:lnTo>
                    <a:pt x="11" y="0"/>
                  </a:lnTo>
                  <a:lnTo>
                    <a:pt x="11" y="78"/>
                  </a:lnTo>
                  <a:lnTo>
                    <a:pt x="0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46" name="Freeform 64">
              <a:extLst>
                <a:ext uri="{FF2B5EF4-FFF2-40B4-BE49-F238E27FC236}">
                  <a16:creationId xmlns:a16="http://schemas.microsoft.com/office/drawing/2014/main" id="{0256DB41-B3C1-4FEB-B394-9762C00E7F7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084896" y="6383459"/>
              <a:ext cx="80211" cy="137753"/>
            </a:xfrm>
            <a:custGeom>
              <a:avLst/>
              <a:gdLst>
                <a:gd name="T0" fmla="*/ 24 w 32"/>
                <a:gd name="T1" fmla="*/ 53 h 54"/>
                <a:gd name="T2" fmla="*/ 24 w 32"/>
                <a:gd name="T3" fmla="*/ 50 h 54"/>
                <a:gd name="T4" fmla="*/ 22 w 32"/>
                <a:gd name="T5" fmla="*/ 51 h 54"/>
                <a:gd name="T6" fmla="*/ 20 w 32"/>
                <a:gd name="T7" fmla="*/ 53 h 54"/>
                <a:gd name="T8" fmla="*/ 17 w 32"/>
                <a:gd name="T9" fmla="*/ 54 h 54"/>
                <a:gd name="T10" fmla="*/ 14 w 32"/>
                <a:gd name="T11" fmla="*/ 54 h 54"/>
                <a:gd name="T12" fmla="*/ 9 w 32"/>
                <a:gd name="T13" fmla="*/ 53 h 54"/>
                <a:gd name="T14" fmla="*/ 4 w 32"/>
                <a:gd name="T15" fmla="*/ 49 h 54"/>
                <a:gd name="T16" fmla="*/ 1 w 32"/>
                <a:gd name="T17" fmla="*/ 43 h 54"/>
                <a:gd name="T18" fmla="*/ 0 w 32"/>
                <a:gd name="T19" fmla="*/ 33 h 54"/>
                <a:gd name="T20" fmla="*/ 1 w 32"/>
                <a:gd name="T21" fmla="*/ 25 h 54"/>
                <a:gd name="T22" fmla="*/ 4 w 32"/>
                <a:gd name="T23" fmla="*/ 19 h 54"/>
                <a:gd name="T24" fmla="*/ 9 w 32"/>
                <a:gd name="T25" fmla="*/ 15 h 54"/>
                <a:gd name="T26" fmla="*/ 15 w 32"/>
                <a:gd name="T27" fmla="*/ 14 h 54"/>
                <a:gd name="T28" fmla="*/ 18 w 32"/>
                <a:gd name="T29" fmla="*/ 14 h 54"/>
                <a:gd name="T30" fmla="*/ 20 w 32"/>
                <a:gd name="T31" fmla="*/ 15 h 54"/>
                <a:gd name="T32" fmla="*/ 22 w 32"/>
                <a:gd name="T33" fmla="*/ 17 h 54"/>
                <a:gd name="T34" fmla="*/ 24 w 32"/>
                <a:gd name="T35" fmla="*/ 18 h 54"/>
                <a:gd name="T36" fmla="*/ 24 w 32"/>
                <a:gd name="T37" fmla="*/ 4 h 54"/>
                <a:gd name="T38" fmla="*/ 32 w 32"/>
                <a:gd name="T39" fmla="*/ 0 h 54"/>
                <a:gd name="T40" fmla="*/ 32 w 32"/>
                <a:gd name="T41" fmla="*/ 53 h 54"/>
                <a:gd name="T42" fmla="*/ 24 w 32"/>
                <a:gd name="T43" fmla="*/ 53 h 54"/>
                <a:gd name="T44" fmla="*/ 24 w 32"/>
                <a:gd name="T45" fmla="*/ 26 h 54"/>
                <a:gd name="T46" fmla="*/ 23 w 32"/>
                <a:gd name="T47" fmla="*/ 24 h 54"/>
                <a:gd name="T48" fmla="*/ 21 w 32"/>
                <a:gd name="T49" fmla="*/ 23 h 54"/>
                <a:gd name="T50" fmla="*/ 18 w 32"/>
                <a:gd name="T51" fmla="*/ 22 h 54"/>
                <a:gd name="T52" fmla="*/ 15 w 32"/>
                <a:gd name="T53" fmla="*/ 21 h 54"/>
                <a:gd name="T54" fmla="*/ 9 w 32"/>
                <a:gd name="T55" fmla="*/ 24 h 54"/>
                <a:gd name="T56" fmla="*/ 7 w 32"/>
                <a:gd name="T57" fmla="*/ 33 h 54"/>
                <a:gd name="T58" fmla="*/ 8 w 32"/>
                <a:gd name="T59" fmla="*/ 39 h 54"/>
                <a:gd name="T60" fmla="*/ 9 w 32"/>
                <a:gd name="T61" fmla="*/ 44 h 54"/>
                <a:gd name="T62" fmla="*/ 12 w 32"/>
                <a:gd name="T63" fmla="*/ 46 h 54"/>
                <a:gd name="T64" fmla="*/ 16 w 32"/>
                <a:gd name="T65" fmla="*/ 47 h 54"/>
                <a:gd name="T66" fmla="*/ 18 w 32"/>
                <a:gd name="T67" fmla="*/ 47 h 54"/>
                <a:gd name="T68" fmla="*/ 21 w 32"/>
                <a:gd name="T69" fmla="*/ 46 h 54"/>
                <a:gd name="T70" fmla="*/ 23 w 32"/>
                <a:gd name="T71" fmla="*/ 44 h 54"/>
                <a:gd name="T72" fmla="*/ 24 w 32"/>
                <a:gd name="T73" fmla="*/ 42 h 54"/>
                <a:gd name="T74" fmla="*/ 24 w 32"/>
                <a:gd name="T75" fmla="*/ 2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2" h="54">
                  <a:moveTo>
                    <a:pt x="24" y="53"/>
                  </a:moveTo>
                  <a:cubicBezTo>
                    <a:pt x="24" y="50"/>
                    <a:pt x="24" y="50"/>
                    <a:pt x="24" y="50"/>
                  </a:cubicBezTo>
                  <a:cubicBezTo>
                    <a:pt x="24" y="50"/>
                    <a:pt x="23" y="51"/>
                    <a:pt x="22" y="51"/>
                  </a:cubicBezTo>
                  <a:cubicBezTo>
                    <a:pt x="21" y="52"/>
                    <a:pt x="21" y="52"/>
                    <a:pt x="20" y="53"/>
                  </a:cubicBezTo>
                  <a:cubicBezTo>
                    <a:pt x="19" y="53"/>
                    <a:pt x="18" y="54"/>
                    <a:pt x="17" y="54"/>
                  </a:cubicBezTo>
                  <a:cubicBezTo>
                    <a:pt x="16" y="54"/>
                    <a:pt x="15" y="54"/>
                    <a:pt x="14" y="54"/>
                  </a:cubicBezTo>
                  <a:cubicBezTo>
                    <a:pt x="12" y="54"/>
                    <a:pt x="10" y="54"/>
                    <a:pt x="9" y="53"/>
                  </a:cubicBezTo>
                  <a:cubicBezTo>
                    <a:pt x="7" y="52"/>
                    <a:pt x="5" y="51"/>
                    <a:pt x="4" y="49"/>
                  </a:cubicBezTo>
                  <a:cubicBezTo>
                    <a:pt x="3" y="48"/>
                    <a:pt x="1" y="45"/>
                    <a:pt x="1" y="43"/>
                  </a:cubicBezTo>
                  <a:cubicBezTo>
                    <a:pt x="0" y="40"/>
                    <a:pt x="0" y="37"/>
                    <a:pt x="0" y="33"/>
                  </a:cubicBezTo>
                  <a:cubicBezTo>
                    <a:pt x="0" y="30"/>
                    <a:pt x="0" y="27"/>
                    <a:pt x="1" y="25"/>
                  </a:cubicBezTo>
                  <a:cubicBezTo>
                    <a:pt x="2" y="22"/>
                    <a:pt x="3" y="20"/>
                    <a:pt x="4" y="19"/>
                  </a:cubicBezTo>
                  <a:cubicBezTo>
                    <a:pt x="6" y="17"/>
                    <a:pt x="7" y="16"/>
                    <a:pt x="9" y="15"/>
                  </a:cubicBezTo>
                  <a:cubicBezTo>
                    <a:pt x="11" y="14"/>
                    <a:pt x="13" y="14"/>
                    <a:pt x="15" y="14"/>
                  </a:cubicBezTo>
                  <a:cubicBezTo>
                    <a:pt x="16" y="14"/>
                    <a:pt x="17" y="14"/>
                    <a:pt x="18" y="14"/>
                  </a:cubicBezTo>
                  <a:cubicBezTo>
                    <a:pt x="18" y="15"/>
                    <a:pt x="19" y="15"/>
                    <a:pt x="20" y="15"/>
                  </a:cubicBezTo>
                  <a:cubicBezTo>
                    <a:pt x="21" y="16"/>
                    <a:pt x="22" y="16"/>
                    <a:pt x="22" y="17"/>
                  </a:cubicBezTo>
                  <a:cubicBezTo>
                    <a:pt x="23" y="17"/>
                    <a:pt x="24" y="18"/>
                    <a:pt x="24" y="18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53"/>
                    <a:pt x="32" y="53"/>
                    <a:pt x="32" y="53"/>
                  </a:cubicBezTo>
                  <a:lnTo>
                    <a:pt x="24" y="53"/>
                  </a:lnTo>
                  <a:close/>
                  <a:moveTo>
                    <a:pt x="24" y="26"/>
                  </a:moveTo>
                  <a:cubicBezTo>
                    <a:pt x="24" y="26"/>
                    <a:pt x="23" y="25"/>
                    <a:pt x="23" y="24"/>
                  </a:cubicBezTo>
                  <a:cubicBezTo>
                    <a:pt x="22" y="24"/>
                    <a:pt x="22" y="23"/>
                    <a:pt x="21" y="23"/>
                  </a:cubicBezTo>
                  <a:cubicBezTo>
                    <a:pt x="20" y="22"/>
                    <a:pt x="19" y="22"/>
                    <a:pt x="18" y="22"/>
                  </a:cubicBezTo>
                  <a:cubicBezTo>
                    <a:pt x="17" y="21"/>
                    <a:pt x="16" y="21"/>
                    <a:pt x="15" y="21"/>
                  </a:cubicBezTo>
                  <a:cubicBezTo>
                    <a:pt x="13" y="21"/>
                    <a:pt x="11" y="22"/>
                    <a:pt x="9" y="24"/>
                  </a:cubicBezTo>
                  <a:cubicBezTo>
                    <a:pt x="8" y="26"/>
                    <a:pt x="7" y="29"/>
                    <a:pt x="7" y="33"/>
                  </a:cubicBezTo>
                  <a:cubicBezTo>
                    <a:pt x="7" y="36"/>
                    <a:pt x="7" y="38"/>
                    <a:pt x="8" y="39"/>
                  </a:cubicBezTo>
                  <a:cubicBezTo>
                    <a:pt x="8" y="41"/>
                    <a:pt x="9" y="43"/>
                    <a:pt x="9" y="44"/>
                  </a:cubicBezTo>
                  <a:cubicBezTo>
                    <a:pt x="10" y="45"/>
                    <a:pt x="11" y="46"/>
                    <a:pt x="12" y="46"/>
                  </a:cubicBezTo>
                  <a:cubicBezTo>
                    <a:pt x="13" y="47"/>
                    <a:pt x="14" y="47"/>
                    <a:pt x="16" y="47"/>
                  </a:cubicBezTo>
                  <a:cubicBezTo>
                    <a:pt x="17" y="47"/>
                    <a:pt x="18" y="47"/>
                    <a:pt x="18" y="47"/>
                  </a:cubicBezTo>
                  <a:cubicBezTo>
                    <a:pt x="19" y="46"/>
                    <a:pt x="20" y="46"/>
                    <a:pt x="21" y="46"/>
                  </a:cubicBezTo>
                  <a:cubicBezTo>
                    <a:pt x="21" y="45"/>
                    <a:pt x="22" y="45"/>
                    <a:pt x="23" y="44"/>
                  </a:cubicBezTo>
                  <a:cubicBezTo>
                    <a:pt x="23" y="43"/>
                    <a:pt x="24" y="43"/>
                    <a:pt x="24" y="42"/>
                  </a:cubicBezTo>
                  <a:lnTo>
                    <a:pt x="24" y="2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47" name="Freeform 65">
              <a:extLst>
                <a:ext uri="{FF2B5EF4-FFF2-40B4-BE49-F238E27FC236}">
                  <a16:creationId xmlns:a16="http://schemas.microsoft.com/office/drawing/2014/main" id="{F2BC9C1F-3F30-47A6-B503-20FB179B7F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29624" y="6421821"/>
              <a:ext cx="122060" cy="97648"/>
            </a:xfrm>
            <a:custGeom>
              <a:avLst/>
              <a:gdLst>
                <a:gd name="T0" fmla="*/ 55 w 70"/>
                <a:gd name="T1" fmla="*/ 56 h 56"/>
                <a:gd name="T2" fmla="*/ 45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6 w 70"/>
                <a:gd name="T9" fmla="*/ 56 h 56"/>
                <a:gd name="T10" fmla="*/ 0 w 70"/>
                <a:gd name="T11" fmla="*/ 0 h 56"/>
                <a:gd name="T12" fmla="*/ 12 w 70"/>
                <a:gd name="T13" fmla="*/ 0 h 56"/>
                <a:gd name="T14" fmla="*/ 20 w 70"/>
                <a:gd name="T15" fmla="*/ 38 h 56"/>
                <a:gd name="T16" fmla="*/ 31 w 70"/>
                <a:gd name="T17" fmla="*/ 0 h 56"/>
                <a:gd name="T18" fmla="*/ 39 w 70"/>
                <a:gd name="T19" fmla="*/ 0 h 56"/>
                <a:gd name="T20" fmla="*/ 51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5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5" y="56"/>
                  </a:moveTo>
                  <a:lnTo>
                    <a:pt x="45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6" y="56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0" y="38"/>
                  </a:lnTo>
                  <a:lnTo>
                    <a:pt x="31" y="0"/>
                  </a:lnTo>
                  <a:lnTo>
                    <a:pt x="39" y="0"/>
                  </a:lnTo>
                  <a:lnTo>
                    <a:pt x="51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48" name="Freeform 66">
              <a:extLst>
                <a:ext uri="{FF2B5EF4-FFF2-40B4-BE49-F238E27FC236}">
                  <a16:creationId xmlns:a16="http://schemas.microsoft.com/office/drawing/2014/main" id="{F2E1921C-CA0E-4886-93CA-956A6497CF0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62147" y="6418333"/>
              <a:ext cx="88930" cy="102879"/>
            </a:xfrm>
            <a:custGeom>
              <a:avLst/>
              <a:gdLst>
                <a:gd name="T0" fmla="*/ 35 w 35"/>
                <a:gd name="T1" fmla="*/ 20 h 40"/>
                <a:gd name="T2" fmla="*/ 33 w 35"/>
                <a:gd name="T3" fmla="*/ 28 h 40"/>
                <a:gd name="T4" fmla="*/ 30 w 35"/>
                <a:gd name="T5" fmla="*/ 35 h 40"/>
                <a:gd name="T6" fmla="*/ 24 w 35"/>
                <a:gd name="T7" fmla="*/ 39 h 40"/>
                <a:gd name="T8" fmla="*/ 17 w 35"/>
                <a:gd name="T9" fmla="*/ 40 h 40"/>
                <a:gd name="T10" fmla="*/ 11 w 35"/>
                <a:gd name="T11" fmla="*/ 39 h 40"/>
                <a:gd name="T12" fmla="*/ 5 w 35"/>
                <a:gd name="T13" fmla="*/ 35 h 40"/>
                <a:gd name="T14" fmla="*/ 2 w 35"/>
                <a:gd name="T15" fmla="*/ 28 h 40"/>
                <a:gd name="T16" fmla="*/ 0 w 35"/>
                <a:gd name="T17" fmla="*/ 20 h 40"/>
                <a:gd name="T18" fmla="*/ 2 w 35"/>
                <a:gd name="T19" fmla="*/ 12 h 40"/>
                <a:gd name="T20" fmla="*/ 5 w 35"/>
                <a:gd name="T21" fmla="*/ 5 h 40"/>
                <a:gd name="T22" fmla="*/ 11 w 35"/>
                <a:gd name="T23" fmla="*/ 1 h 40"/>
                <a:gd name="T24" fmla="*/ 18 w 35"/>
                <a:gd name="T25" fmla="*/ 0 h 40"/>
                <a:gd name="T26" fmla="*/ 24 w 35"/>
                <a:gd name="T27" fmla="*/ 1 h 40"/>
                <a:gd name="T28" fmla="*/ 30 w 35"/>
                <a:gd name="T29" fmla="*/ 5 h 40"/>
                <a:gd name="T30" fmla="*/ 33 w 35"/>
                <a:gd name="T31" fmla="*/ 12 h 40"/>
                <a:gd name="T32" fmla="*/ 35 w 35"/>
                <a:gd name="T33" fmla="*/ 20 h 40"/>
                <a:gd name="T34" fmla="*/ 27 w 35"/>
                <a:gd name="T35" fmla="*/ 20 h 40"/>
                <a:gd name="T36" fmla="*/ 26 w 35"/>
                <a:gd name="T37" fmla="*/ 15 h 40"/>
                <a:gd name="T38" fmla="*/ 24 w 35"/>
                <a:gd name="T39" fmla="*/ 11 h 40"/>
                <a:gd name="T40" fmla="*/ 21 w 35"/>
                <a:gd name="T41" fmla="*/ 8 h 40"/>
                <a:gd name="T42" fmla="*/ 17 w 35"/>
                <a:gd name="T43" fmla="*/ 7 h 40"/>
                <a:gd name="T44" fmla="*/ 13 w 35"/>
                <a:gd name="T45" fmla="*/ 8 h 40"/>
                <a:gd name="T46" fmla="*/ 10 w 35"/>
                <a:gd name="T47" fmla="*/ 11 h 40"/>
                <a:gd name="T48" fmla="*/ 9 w 35"/>
                <a:gd name="T49" fmla="*/ 15 h 40"/>
                <a:gd name="T50" fmla="*/ 8 w 35"/>
                <a:gd name="T51" fmla="*/ 20 h 40"/>
                <a:gd name="T52" fmla="*/ 9 w 35"/>
                <a:gd name="T53" fmla="*/ 26 h 40"/>
                <a:gd name="T54" fmla="*/ 11 w 35"/>
                <a:gd name="T55" fmla="*/ 30 h 40"/>
                <a:gd name="T56" fmla="*/ 14 w 35"/>
                <a:gd name="T57" fmla="*/ 32 h 40"/>
                <a:gd name="T58" fmla="*/ 18 w 35"/>
                <a:gd name="T59" fmla="*/ 33 h 40"/>
                <a:gd name="T60" fmla="*/ 21 w 35"/>
                <a:gd name="T61" fmla="*/ 32 h 40"/>
                <a:gd name="T62" fmla="*/ 24 w 35"/>
                <a:gd name="T63" fmla="*/ 29 h 40"/>
                <a:gd name="T64" fmla="*/ 26 w 35"/>
                <a:gd name="T65" fmla="*/ 25 h 40"/>
                <a:gd name="T66" fmla="*/ 27 w 35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5" h="40">
                  <a:moveTo>
                    <a:pt x="35" y="20"/>
                  </a:moveTo>
                  <a:cubicBezTo>
                    <a:pt x="35" y="23"/>
                    <a:pt x="34" y="26"/>
                    <a:pt x="33" y="28"/>
                  </a:cubicBezTo>
                  <a:cubicBezTo>
                    <a:pt x="32" y="31"/>
                    <a:pt x="31" y="33"/>
                    <a:pt x="30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3" y="40"/>
                    <a:pt x="11" y="39"/>
                  </a:cubicBezTo>
                  <a:cubicBezTo>
                    <a:pt x="8" y="38"/>
                    <a:pt x="7" y="36"/>
                    <a:pt x="5" y="35"/>
                  </a:cubicBezTo>
                  <a:cubicBezTo>
                    <a:pt x="4" y="33"/>
                    <a:pt x="2" y="31"/>
                    <a:pt x="2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3" y="9"/>
                    <a:pt x="4" y="7"/>
                    <a:pt x="5" y="5"/>
                  </a:cubicBezTo>
                  <a:cubicBezTo>
                    <a:pt x="7" y="4"/>
                    <a:pt x="9" y="2"/>
                    <a:pt x="11" y="1"/>
                  </a:cubicBezTo>
                  <a:cubicBezTo>
                    <a:pt x="13" y="1"/>
                    <a:pt x="15" y="0"/>
                    <a:pt x="18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30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5" y="17"/>
                    <a:pt x="35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4" y="10"/>
                    <a:pt x="23" y="9"/>
                    <a:pt x="21" y="8"/>
                  </a:cubicBezTo>
                  <a:cubicBezTo>
                    <a:pt x="20" y="8"/>
                    <a:pt x="19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10" y="12"/>
                    <a:pt x="9" y="13"/>
                    <a:pt x="9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9" y="26"/>
                  </a:cubicBezTo>
                  <a:cubicBezTo>
                    <a:pt x="9" y="27"/>
                    <a:pt x="10" y="28"/>
                    <a:pt x="11" y="30"/>
                  </a:cubicBezTo>
                  <a:cubicBezTo>
                    <a:pt x="11" y="31"/>
                    <a:pt x="12" y="32"/>
                    <a:pt x="14" y="32"/>
                  </a:cubicBezTo>
                  <a:cubicBezTo>
                    <a:pt x="15" y="33"/>
                    <a:pt x="16" y="33"/>
                    <a:pt x="18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3" y="31"/>
                    <a:pt x="24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49" name="Freeform 67">
              <a:extLst>
                <a:ext uri="{FF2B5EF4-FFF2-40B4-BE49-F238E27FC236}">
                  <a16:creationId xmlns:a16="http://schemas.microsoft.com/office/drawing/2014/main" id="{33147323-CD74-4B45-8B3D-9FC2D6ABC4D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68514" y="6418333"/>
              <a:ext cx="59286" cy="101135"/>
            </a:xfrm>
            <a:custGeom>
              <a:avLst/>
              <a:gdLst>
                <a:gd name="T0" fmla="*/ 21 w 23"/>
                <a:gd name="T1" fmla="*/ 9 h 39"/>
                <a:gd name="T2" fmla="*/ 19 w 23"/>
                <a:gd name="T3" fmla="*/ 8 h 39"/>
                <a:gd name="T4" fmla="*/ 16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10 w 23"/>
                <a:gd name="T21" fmla="*/ 3 h 39"/>
                <a:gd name="T22" fmla="*/ 12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1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20" y="8"/>
                    <a:pt x="19" y="8"/>
                  </a:cubicBezTo>
                  <a:cubicBezTo>
                    <a:pt x="18" y="8"/>
                    <a:pt x="17" y="7"/>
                    <a:pt x="16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9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10" y="3"/>
                  </a:cubicBezTo>
                  <a:cubicBezTo>
                    <a:pt x="10" y="2"/>
                    <a:pt x="11" y="2"/>
                    <a:pt x="12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20" y="0"/>
                    <a:pt x="21" y="1"/>
                  </a:cubicBezTo>
                  <a:cubicBezTo>
                    <a:pt x="22" y="1"/>
                    <a:pt x="23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50" name="Freeform 68">
              <a:extLst>
                <a:ext uri="{FF2B5EF4-FFF2-40B4-BE49-F238E27FC236}">
                  <a16:creationId xmlns:a16="http://schemas.microsoft.com/office/drawing/2014/main" id="{646502BE-8655-4E99-B8D3-19E6C1D2B9F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5237" y="6383459"/>
              <a:ext cx="76723" cy="136010"/>
            </a:xfrm>
            <a:custGeom>
              <a:avLst/>
              <a:gdLst>
                <a:gd name="T0" fmla="*/ 31 w 44"/>
                <a:gd name="T1" fmla="*/ 78 h 78"/>
                <a:gd name="T2" fmla="*/ 19 w 44"/>
                <a:gd name="T3" fmla="*/ 50 h 78"/>
                <a:gd name="T4" fmla="*/ 10 w 44"/>
                <a:gd name="T5" fmla="*/ 61 h 78"/>
                <a:gd name="T6" fmla="*/ 10 w 44"/>
                <a:gd name="T7" fmla="*/ 78 h 78"/>
                <a:gd name="T8" fmla="*/ 0 w 44"/>
                <a:gd name="T9" fmla="*/ 78 h 78"/>
                <a:gd name="T10" fmla="*/ 0 w 44"/>
                <a:gd name="T11" fmla="*/ 6 h 78"/>
                <a:gd name="T12" fmla="*/ 10 w 44"/>
                <a:gd name="T13" fmla="*/ 0 h 78"/>
                <a:gd name="T14" fmla="*/ 10 w 44"/>
                <a:gd name="T15" fmla="*/ 47 h 78"/>
                <a:gd name="T16" fmla="*/ 28 w 44"/>
                <a:gd name="T17" fmla="*/ 22 h 78"/>
                <a:gd name="T18" fmla="*/ 41 w 44"/>
                <a:gd name="T19" fmla="*/ 22 h 78"/>
                <a:gd name="T20" fmla="*/ 26 w 44"/>
                <a:gd name="T21" fmla="*/ 41 h 78"/>
                <a:gd name="T22" fmla="*/ 44 w 44"/>
                <a:gd name="T23" fmla="*/ 78 h 78"/>
                <a:gd name="T24" fmla="*/ 31 w 44"/>
                <a:gd name="T25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4" h="78">
                  <a:moveTo>
                    <a:pt x="31" y="78"/>
                  </a:moveTo>
                  <a:lnTo>
                    <a:pt x="19" y="50"/>
                  </a:lnTo>
                  <a:lnTo>
                    <a:pt x="10" y="61"/>
                  </a:lnTo>
                  <a:lnTo>
                    <a:pt x="10" y="78"/>
                  </a:lnTo>
                  <a:lnTo>
                    <a:pt x="0" y="78"/>
                  </a:lnTo>
                  <a:lnTo>
                    <a:pt x="0" y="6"/>
                  </a:lnTo>
                  <a:lnTo>
                    <a:pt x="10" y="0"/>
                  </a:lnTo>
                  <a:lnTo>
                    <a:pt x="10" y="47"/>
                  </a:lnTo>
                  <a:lnTo>
                    <a:pt x="28" y="22"/>
                  </a:lnTo>
                  <a:lnTo>
                    <a:pt x="41" y="22"/>
                  </a:lnTo>
                  <a:lnTo>
                    <a:pt x="26" y="41"/>
                  </a:lnTo>
                  <a:lnTo>
                    <a:pt x="44" y="78"/>
                  </a:lnTo>
                  <a:lnTo>
                    <a:pt x="31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51" name="Freeform 69">
              <a:extLst>
                <a:ext uri="{FF2B5EF4-FFF2-40B4-BE49-F238E27FC236}">
                  <a16:creationId xmlns:a16="http://schemas.microsoft.com/office/drawing/2014/main" id="{7B89F1B5-6B06-45D2-838B-039A44EFFD1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28936" y="6418333"/>
              <a:ext cx="74980" cy="102879"/>
            </a:xfrm>
            <a:custGeom>
              <a:avLst/>
              <a:gdLst>
                <a:gd name="T0" fmla="*/ 28 w 29"/>
                <a:gd name="T1" fmla="*/ 4 h 40"/>
                <a:gd name="T2" fmla="*/ 25 w 29"/>
                <a:gd name="T3" fmla="*/ 10 h 40"/>
                <a:gd name="T4" fmla="*/ 20 w 29"/>
                <a:gd name="T5" fmla="*/ 8 h 40"/>
                <a:gd name="T6" fmla="*/ 15 w 29"/>
                <a:gd name="T7" fmla="*/ 7 h 40"/>
                <a:gd name="T8" fmla="*/ 11 w 29"/>
                <a:gd name="T9" fmla="*/ 8 h 40"/>
                <a:gd name="T10" fmla="*/ 9 w 29"/>
                <a:gd name="T11" fmla="*/ 10 h 40"/>
                <a:gd name="T12" fmla="*/ 10 w 29"/>
                <a:gd name="T13" fmla="*/ 12 h 40"/>
                <a:gd name="T14" fmla="*/ 11 w 29"/>
                <a:gd name="T15" fmla="*/ 13 h 40"/>
                <a:gd name="T16" fmla="*/ 13 w 29"/>
                <a:gd name="T17" fmla="*/ 14 h 40"/>
                <a:gd name="T18" fmla="*/ 17 w 29"/>
                <a:gd name="T19" fmla="*/ 16 h 40"/>
                <a:gd name="T20" fmla="*/ 22 w 29"/>
                <a:gd name="T21" fmla="*/ 18 h 40"/>
                <a:gd name="T22" fmla="*/ 26 w 29"/>
                <a:gd name="T23" fmla="*/ 21 h 40"/>
                <a:gd name="T24" fmla="*/ 29 w 29"/>
                <a:gd name="T25" fmla="*/ 24 h 40"/>
                <a:gd name="T26" fmla="*/ 29 w 29"/>
                <a:gd name="T27" fmla="*/ 29 h 40"/>
                <a:gd name="T28" fmla="*/ 28 w 29"/>
                <a:gd name="T29" fmla="*/ 34 h 40"/>
                <a:gd name="T30" fmla="*/ 25 w 29"/>
                <a:gd name="T31" fmla="*/ 38 h 40"/>
                <a:gd name="T32" fmla="*/ 21 w 29"/>
                <a:gd name="T33" fmla="*/ 40 h 40"/>
                <a:gd name="T34" fmla="*/ 15 w 29"/>
                <a:gd name="T35" fmla="*/ 40 h 40"/>
                <a:gd name="T36" fmla="*/ 7 w 29"/>
                <a:gd name="T37" fmla="*/ 39 h 40"/>
                <a:gd name="T38" fmla="*/ 0 w 29"/>
                <a:gd name="T39" fmla="*/ 35 h 40"/>
                <a:gd name="T40" fmla="*/ 4 w 29"/>
                <a:gd name="T41" fmla="*/ 30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20 w 29"/>
                <a:gd name="T53" fmla="*/ 26 h 40"/>
                <a:gd name="T54" fmla="*/ 17 w 29"/>
                <a:gd name="T55" fmla="*/ 24 h 40"/>
                <a:gd name="T56" fmla="*/ 13 w 29"/>
                <a:gd name="T57" fmla="*/ 23 h 40"/>
                <a:gd name="T58" fmla="*/ 8 w 29"/>
                <a:gd name="T59" fmla="*/ 20 h 40"/>
                <a:gd name="T60" fmla="*/ 4 w 29"/>
                <a:gd name="T61" fmla="*/ 18 h 40"/>
                <a:gd name="T62" fmla="*/ 2 w 29"/>
                <a:gd name="T63" fmla="*/ 15 h 40"/>
                <a:gd name="T64" fmla="*/ 2 w 29"/>
                <a:gd name="T65" fmla="*/ 11 h 40"/>
                <a:gd name="T66" fmla="*/ 3 w 29"/>
                <a:gd name="T67" fmla="*/ 6 h 40"/>
                <a:gd name="T68" fmla="*/ 6 w 29"/>
                <a:gd name="T69" fmla="*/ 3 h 40"/>
                <a:gd name="T70" fmla="*/ 10 w 29"/>
                <a:gd name="T71" fmla="*/ 1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5" y="10"/>
                    <a:pt x="25" y="10"/>
                    <a:pt x="25" y="10"/>
                  </a:cubicBezTo>
                  <a:cubicBezTo>
                    <a:pt x="23" y="9"/>
                    <a:pt x="22" y="8"/>
                    <a:pt x="20" y="8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2" y="7"/>
                    <a:pt x="11" y="8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1"/>
                    <a:pt x="10" y="11"/>
                    <a:pt x="10" y="12"/>
                  </a:cubicBezTo>
                  <a:cubicBezTo>
                    <a:pt x="10" y="12"/>
                    <a:pt x="10" y="13"/>
                    <a:pt x="11" y="13"/>
                  </a:cubicBezTo>
                  <a:cubicBezTo>
                    <a:pt x="11" y="13"/>
                    <a:pt x="12" y="14"/>
                    <a:pt x="13" y="14"/>
                  </a:cubicBezTo>
                  <a:cubicBezTo>
                    <a:pt x="14" y="15"/>
                    <a:pt x="15" y="15"/>
                    <a:pt x="17" y="16"/>
                  </a:cubicBezTo>
                  <a:cubicBezTo>
                    <a:pt x="19" y="17"/>
                    <a:pt x="21" y="18"/>
                    <a:pt x="22" y="18"/>
                  </a:cubicBezTo>
                  <a:cubicBezTo>
                    <a:pt x="24" y="19"/>
                    <a:pt x="25" y="20"/>
                    <a:pt x="26" y="21"/>
                  </a:cubicBezTo>
                  <a:cubicBezTo>
                    <a:pt x="27" y="22"/>
                    <a:pt x="28" y="23"/>
                    <a:pt x="29" y="24"/>
                  </a:cubicBezTo>
                  <a:cubicBezTo>
                    <a:pt x="29" y="25"/>
                    <a:pt x="29" y="27"/>
                    <a:pt x="29" y="29"/>
                  </a:cubicBezTo>
                  <a:cubicBezTo>
                    <a:pt x="29" y="31"/>
                    <a:pt x="29" y="33"/>
                    <a:pt x="28" y="34"/>
                  </a:cubicBezTo>
                  <a:cubicBezTo>
                    <a:pt x="28" y="36"/>
                    <a:pt x="26" y="37"/>
                    <a:pt x="25" y="38"/>
                  </a:cubicBezTo>
                  <a:cubicBezTo>
                    <a:pt x="24" y="39"/>
                    <a:pt x="22" y="39"/>
                    <a:pt x="21" y="40"/>
                  </a:cubicBezTo>
                  <a:cubicBezTo>
                    <a:pt x="19" y="40"/>
                    <a:pt x="17" y="40"/>
                    <a:pt x="15" y="40"/>
                  </a:cubicBezTo>
                  <a:cubicBezTo>
                    <a:pt x="13" y="40"/>
                    <a:pt x="10" y="40"/>
                    <a:pt x="7" y="39"/>
                  </a:cubicBezTo>
                  <a:cubicBezTo>
                    <a:pt x="5" y="38"/>
                    <a:pt x="2" y="37"/>
                    <a:pt x="0" y="35"/>
                  </a:cubicBezTo>
                  <a:cubicBezTo>
                    <a:pt x="4" y="30"/>
                    <a:pt x="4" y="30"/>
                    <a:pt x="4" y="30"/>
                  </a:cubicBezTo>
                  <a:cubicBezTo>
                    <a:pt x="6" y="31"/>
                    <a:pt x="7" y="32"/>
                    <a:pt x="9" y="32"/>
                  </a:cubicBezTo>
                  <a:cubicBezTo>
                    <a:pt x="11" y="33"/>
                    <a:pt x="13" y="33"/>
                    <a:pt x="15" y="33"/>
                  </a:cubicBezTo>
                  <a:cubicBezTo>
                    <a:pt x="17" y="33"/>
                    <a:pt x="19" y="33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8"/>
                    <a:pt x="21" y="27"/>
                  </a:cubicBezTo>
                  <a:cubicBezTo>
                    <a:pt x="21" y="27"/>
                    <a:pt x="20" y="26"/>
                    <a:pt x="20" y="26"/>
                  </a:cubicBezTo>
                  <a:cubicBezTo>
                    <a:pt x="19" y="25"/>
                    <a:pt x="18" y="25"/>
                    <a:pt x="17" y="24"/>
                  </a:cubicBezTo>
                  <a:cubicBezTo>
                    <a:pt x="16" y="24"/>
                    <a:pt x="15" y="23"/>
                    <a:pt x="13" y="23"/>
                  </a:cubicBezTo>
                  <a:cubicBezTo>
                    <a:pt x="11" y="22"/>
                    <a:pt x="9" y="21"/>
                    <a:pt x="8" y="20"/>
                  </a:cubicBezTo>
                  <a:cubicBezTo>
                    <a:pt x="6" y="19"/>
                    <a:pt x="5" y="19"/>
                    <a:pt x="4" y="18"/>
                  </a:cubicBezTo>
                  <a:cubicBezTo>
                    <a:pt x="3" y="17"/>
                    <a:pt x="3" y="16"/>
                    <a:pt x="2" y="15"/>
                  </a:cubicBezTo>
                  <a:cubicBezTo>
                    <a:pt x="2" y="13"/>
                    <a:pt x="2" y="12"/>
                    <a:pt x="2" y="11"/>
                  </a:cubicBezTo>
                  <a:cubicBezTo>
                    <a:pt x="2" y="9"/>
                    <a:pt x="2" y="7"/>
                    <a:pt x="3" y="6"/>
                  </a:cubicBezTo>
                  <a:cubicBezTo>
                    <a:pt x="3" y="5"/>
                    <a:pt x="4" y="4"/>
                    <a:pt x="6" y="3"/>
                  </a:cubicBezTo>
                  <a:cubicBezTo>
                    <a:pt x="7" y="2"/>
                    <a:pt x="8" y="1"/>
                    <a:pt x="10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20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52" name="Freeform 70">
              <a:extLst>
                <a:ext uri="{FF2B5EF4-FFF2-40B4-BE49-F238E27FC236}">
                  <a16:creationId xmlns:a16="http://schemas.microsoft.com/office/drawing/2014/main" id="{07A005EC-C937-4146-8D02-C00C5931EB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23096" y="6489826"/>
              <a:ext cx="27899" cy="31387"/>
            </a:xfrm>
            <a:custGeom>
              <a:avLst/>
              <a:gdLst>
                <a:gd name="T0" fmla="*/ 11 w 11"/>
                <a:gd name="T1" fmla="*/ 6 h 12"/>
                <a:gd name="T2" fmla="*/ 11 w 11"/>
                <a:gd name="T3" fmla="*/ 9 h 12"/>
                <a:gd name="T4" fmla="*/ 10 w 11"/>
                <a:gd name="T5" fmla="*/ 10 h 12"/>
                <a:gd name="T6" fmla="*/ 8 w 11"/>
                <a:gd name="T7" fmla="*/ 12 h 12"/>
                <a:gd name="T8" fmla="*/ 6 w 11"/>
                <a:gd name="T9" fmla="*/ 12 h 12"/>
                <a:gd name="T10" fmla="*/ 3 w 11"/>
                <a:gd name="T11" fmla="*/ 12 h 12"/>
                <a:gd name="T12" fmla="*/ 1 w 11"/>
                <a:gd name="T13" fmla="*/ 10 h 12"/>
                <a:gd name="T14" fmla="*/ 0 w 11"/>
                <a:gd name="T15" fmla="*/ 9 h 12"/>
                <a:gd name="T16" fmla="*/ 0 w 11"/>
                <a:gd name="T17" fmla="*/ 6 h 12"/>
                <a:gd name="T18" fmla="*/ 0 w 11"/>
                <a:gd name="T19" fmla="*/ 4 h 12"/>
                <a:gd name="T20" fmla="*/ 1 w 11"/>
                <a:gd name="T21" fmla="*/ 2 h 12"/>
                <a:gd name="T22" fmla="*/ 3 w 11"/>
                <a:gd name="T23" fmla="*/ 1 h 12"/>
                <a:gd name="T24" fmla="*/ 6 w 11"/>
                <a:gd name="T25" fmla="*/ 0 h 12"/>
                <a:gd name="T26" fmla="*/ 8 w 11"/>
                <a:gd name="T27" fmla="*/ 1 h 12"/>
                <a:gd name="T28" fmla="*/ 10 w 11"/>
                <a:gd name="T29" fmla="*/ 2 h 12"/>
                <a:gd name="T30" fmla="*/ 11 w 11"/>
                <a:gd name="T31" fmla="*/ 4 h 12"/>
                <a:gd name="T32" fmla="*/ 11 w 11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" h="12">
                  <a:moveTo>
                    <a:pt x="11" y="6"/>
                  </a:moveTo>
                  <a:cubicBezTo>
                    <a:pt x="11" y="7"/>
                    <a:pt x="11" y="8"/>
                    <a:pt x="11" y="9"/>
                  </a:cubicBezTo>
                  <a:cubicBezTo>
                    <a:pt x="11" y="9"/>
                    <a:pt x="10" y="10"/>
                    <a:pt x="10" y="10"/>
                  </a:cubicBezTo>
                  <a:cubicBezTo>
                    <a:pt x="9" y="11"/>
                    <a:pt x="9" y="11"/>
                    <a:pt x="8" y="12"/>
                  </a:cubicBezTo>
                  <a:cubicBezTo>
                    <a:pt x="7" y="12"/>
                    <a:pt x="6" y="12"/>
                    <a:pt x="6" y="12"/>
                  </a:cubicBezTo>
                  <a:cubicBezTo>
                    <a:pt x="5" y="12"/>
                    <a:pt x="4" y="12"/>
                    <a:pt x="3" y="12"/>
                  </a:cubicBezTo>
                  <a:cubicBezTo>
                    <a:pt x="3" y="11"/>
                    <a:pt x="2" y="11"/>
                    <a:pt x="1" y="10"/>
                  </a:cubicBezTo>
                  <a:cubicBezTo>
                    <a:pt x="1" y="10"/>
                    <a:pt x="1" y="9"/>
                    <a:pt x="0" y="9"/>
                  </a:cubicBezTo>
                  <a:cubicBezTo>
                    <a:pt x="0" y="8"/>
                    <a:pt x="0" y="7"/>
                    <a:pt x="0" y="6"/>
                  </a:cubicBezTo>
                  <a:cubicBezTo>
                    <a:pt x="0" y="6"/>
                    <a:pt x="0" y="5"/>
                    <a:pt x="0" y="4"/>
                  </a:cubicBezTo>
                  <a:cubicBezTo>
                    <a:pt x="1" y="3"/>
                    <a:pt x="1" y="3"/>
                    <a:pt x="1" y="2"/>
                  </a:cubicBezTo>
                  <a:cubicBezTo>
                    <a:pt x="2" y="2"/>
                    <a:pt x="3" y="1"/>
                    <a:pt x="3" y="1"/>
                  </a:cubicBezTo>
                  <a:cubicBezTo>
                    <a:pt x="4" y="1"/>
                    <a:pt x="5" y="0"/>
                    <a:pt x="6" y="0"/>
                  </a:cubicBezTo>
                  <a:cubicBezTo>
                    <a:pt x="6" y="0"/>
                    <a:pt x="7" y="1"/>
                    <a:pt x="8" y="1"/>
                  </a:cubicBezTo>
                  <a:cubicBezTo>
                    <a:pt x="9" y="1"/>
                    <a:pt x="9" y="2"/>
                    <a:pt x="10" y="2"/>
                  </a:cubicBezTo>
                  <a:cubicBezTo>
                    <a:pt x="10" y="3"/>
                    <a:pt x="11" y="3"/>
                    <a:pt x="11" y="4"/>
                  </a:cubicBezTo>
                  <a:cubicBezTo>
                    <a:pt x="11" y="5"/>
                    <a:pt x="11" y="6"/>
                    <a:pt x="11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</p:grpSp>
      <p:sp>
        <p:nvSpPr>
          <p:cNvPr id="263" name="Title 1">
            <a:extLst>
              <a:ext uri="{FF2B5EF4-FFF2-40B4-BE49-F238E27FC236}">
                <a16:creationId xmlns:a16="http://schemas.microsoft.com/office/drawing/2014/main" id="{3F36D6CC-3534-47CC-AECE-83EDA4639FB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44880" y="2158329"/>
            <a:ext cx="4000436" cy="860400"/>
          </a:xfrm>
          <a:prstGeom prst="rect">
            <a:avLst/>
          </a:prstGeom>
        </p:spPr>
        <p:txBody>
          <a:bodyPr/>
          <a:lstStyle>
            <a:lvl1pPr>
              <a:defRPr sz="2999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64" name="Subtitle 2">
            <a:extLst>
              <a:ext uri="{FF2B5EF4-FFF2-40B4-BE49-F238E27FC236}">
                <a16:creationId xmlns:a16="http://schemas.microsoft.com/office/drawing/2014/main" id="{C26FB38E-4E99-4AFB-8C8C-F03F7A963D9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45072" y="3200329"/>
            <a:ext cx="4020628" cy="64574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999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  <a:lvl2pPr marL="0" indent="0" algn="l">
              <a:buNone/>
              <a:defRPr sz="1599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913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9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8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8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7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GB"/>
          </a:p>
        </p:txBody>
      </p:sp>
      <p:grpSp>
        <p:nvGrpSpPr>
          <p:cNvPr id="77" name="Group 76">
            <a:extLst>
              <a:ext uri="{FF2B5EF4-FFF2-40B4-BE49-F238E27FC236}">
                <a16:creationId xmlns:a16="http://schemas.microsoft.com/office/drawing/2014/main" id="{AE95BC52-A56D-4358-A294-750179EBB698}"/>
              </a:ext>
            </a:extLst>
          </p:cNvPr>
          <p:cNvGrpSpPr/>
          <p:nvPr userDrawn="1"/>
        </p:nvGrpSpPr>
        <p:grpSpPr>
          <a:xfrm>
            <a:off x="489367" y="876060"/>
            <a:ext cx="4855295" cy="3374475"/>
            <a:chOff x="6855933" y="899048"/>
            <a:chExt cx="4855295" cy="3374475"/>
          </a:xfrm>
          <a:solidFill>
            <a:schemeClr val="tx2"/>
          </a:solidFill>
        </p:grpSpPr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ECBD2AD5-9A79-4CFE-A808-769ADC8898F3}"/>
                </a:ext>
              </a:extLst>
            </p:cNvPr>
            <p:cNvSpPr/>
            <p:nvPr/>
          </p:nvSpPr>
          <p:spPr>
            <a:xfrm>
              <a:off x="6855933" y="899048"/>
              <a:ext cx="4855295" cy="3374475"/>
            </a:xfrm>
            <a:custGeom>
              <a:avLst/>
              <a:gdLst>
                <a:gd name="connsiteX0" fmla="*/ 6731 w 4855294"/>
                <a:gd name="connsiteY0" fmla="*/ 863542 h 3374474"/>
                <a:gd name="connsiteX1" fmla="*/ 6731 w 4855294"/>
                <a:gd name="connsiteY1" fmla="*/ 3095901 h 3374474"/>
                <a:gd name="connsiteX2" fmla="*/ 145659 w 4855294"/>
                <a:gd name="connsiteY2" fmla="*/ 3095901 h 3374474"/>
                <a:gd name="connsiteX3" fmla="*/ 145659 w 4855294"/>
                <a:gd name="connsiteY3" fmla="*/ 988380 h 3374474"/>
                <a:gd name="connsiteX4" fmla="*/ 4715918 w 4855294"/>
                <a:gd name="connsiteY4" fmla="*/ 179673 h 3374474"/>
                <a:gd name="connsiteX5" fmla="*/ 4715918 w 4855294"/>
                <a:gd name="connsiteY5" fmla="*/ 3234829 h 3374474"/>
                <a:gd name="connsiteX6" fmla="*/ 840208 w 4855294"/>
                <a:gd name="connsiteY6" fmla="*/ 3234829 h 3374474"/>
                <a:gd name="connsiteX7" fmla="*/ 840208 w 4855294"/>
                <a:gd name="connsiteY7" fmla="*/ 3373757 h 3374474"/>
                <a:gd name="connsiteX8" fmla="*/ 4854846 w 4855294"/>
                <a:gd name="connsiteY8" fmla="*/ 3373757 h 3374474"/>
                <a:gd name="connsiteX9" fmla="*/ 4854846 w 4855294"/>
                <a:gd name="connsiteY9" fmla="*/ 6731 h 3374474"/>
                <a:gd name="connsiteX10" fmla="*/ 6731 w 4855294"/>
                <a:gd name="connsiteY10" fmla="*/ 863542 h 33744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855294" h="3374474">
                  <a:moveTo>
                    <a:pt x="6731" y="863542"/>
                  </a:moveTo>
                  <a:lnTo>
                    <a:pt x="6731" y="3095901"/>
                  </a:lnTo>
                  <a:lnTo>
                    <a:pt x="145659" y="3095901"/>
                  </a:lnTo>
                  <a:lnTo>
                    <a:pt x="145659" y="988380"/>
                  </a:lnTo>
                  <a:lnTo>
                    <a:pt x="4715918" y="179673"/>
                  </a:lnTo>
                  <a:lnTo>
                    <a:pt x="4715918" y="3234829"/>
                  </a:lnTo>
                  <a:lnTo>
                    <a:pt x="840208" y="3234829"/>
                  </a:lnTo>
                  <a:lnTo>
                    <a:pt x="840208" y="3373757"/>
                  </a:lnTo>
                  <a:lnTo>
                    <a:pt x="4854846" y="3373757"/>
                  </a:lnTo>
                  <a:lnTo>
                    <a:pt x="4854846" y="6731"/>
                  </a:lnTo>
                  <a:lnTo>
                    <a:pt x="6731" y="86354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799"/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9EE673CB-A779-4F64-B72D-93428DD2B26D}"/>
                </a:ext>
              </a:extLst>
            </p:cNvPr>
            <p:cNvSpPr/>
            <p:nvPr/>
          </p:nvSpPr>
          <p:spPr>
            <a:xfrm>
              <a:off x="6855933" y="4127146"/>
              <a:ext cx="143595" cy="143595"/>
            </a:xfrm>
            <a:custGeom>
              <a:avLst/>
              <a:gdLst>
                <a:gd name="connsiteX0" fmla="*/ 6731 w 143594"/>
                <a:gd name="connsiteY0" fmla="*/ 6731 h 143594"/>
                <a:gd name="connsiteX1" fmla="*/ 145659 w 143594"/>
                <a:gd name="connsiteY1" fmla="*/ 6731 h 143594"/>
                <a:gd name="connsiteX2" fmla="*/ 145659 w 143594"/>
                <a:gd name="connsiteY2" fmla="*/ 145659 h 143594"/>
                <a:gd name="connsiteX3" fmla="*/ 6731 w 143594"/>
                <a:gd name="connsiteY3" fmla="*/ 145659 h 143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3594" h="143594">
                  <a:moveTo>
                    <a:pt x="6731" y="6731"/>
                  </a:moveTo>
                  <a:lnTo>
                    <a:pt x="145659" y="6731"/>
                  </a:lnTo>
                  <a:lnTo>
                    <a:pt x="145659" y="145659"/>
                  </a:lnTo>
                  <a:lnTo>
                    <a:pt x="6731" y="14565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799"/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88144C98-507D-403B-8819-FBBF64A82FA3}"/>
                </a:ext>
              </a:extLst>
            </p:cNvPr>
            <p:cNvSpPr/>
            <p:nvPr/>
          </p:nvSpPr>
          <p:spPr>
            <a:xfrm>
              <a:off x="7133789" y="4127146"/>
              <a:ext cx="143595" cy="143595"/>
            </a:xfrm>
            <a:custGeom>
              <a:avLst/>
              <a:gdLst>
                <a:gd name="connsiteX0" fmla="*/ 6731 w 143594"/>
                <a:gd name="connsiteY0" fmla="*/ 6731 h 143594"/>
                <a:gd name="connsiteX1" fmla="*/ 145659 w 143594"/>
                <a:gd name="connsiteY1" fmla="*/ 6731 h 143594"/>
                <a:gd name="connsiteX2" fmla="*/ 145659 w 143594"/>
                <a:gd name="connsiteY2" fmla="*/ 145659 h 143594"/>
                <a:gd name="connsiteX3" fmla="*/ 6731 w 143594"/>
                <a:gd name="connsiteY3" fmla="*/ 145659 h 143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3594" h="143594">
                  <a:moveTo>
                    <a:pt x="6731" y="6731"/>
                  </a:moveTo>
                  <a:lnTo>
                    <a:pt x="145659" y="6731"/>
                  </a:lnTo>
                  <a:lnTo>
                    <a:pt x="145659" y="145659"/>
                  </a:lnTo>
                  <a:lnTo>
                    <a:pt x="6731" y="14565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799"/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21919CB3-2430-4DA6-BF41-59A1EF9C03CB}"/>
                </a:ext>
              </a:extLst>
            </p:cNvPr>
            <p:cNvSpPr/>
            <p:nvPr/>
          </p:nvSpPr>
          <p:spPr>
            <a:xfrm>
              <a:off x="7411555" y="4127146"/>
              <a:ext cx="143595" cy="143595"/>
            </a:xfrm>
            <a:custGeom>
              <a:avLst/>
              <a:gdLst>
                <a:gd name="connsiteX0" fmla="*/ 6731 w 143594"/>
                <a:gd name="connsiteY0" fmla="*/ 6731 h 143594"/>
                <a:gd name="connsiteX1" fmla="*/ 145659 w 143594"/>
                <a:gd name="connsiteY1" fmla="*/ 6731 h 143594"/>
                <a:gd name="connsiteX2" fmla="*/ 145659 w 143594"/>
                <a:gd name="connsiteY2" fmla="*/ 145659 h 143594"/>
                <a:gd name="connsiteX3" fmla="*/ 6731 w 143594"/>
                <a:gd name="connsiteY3" fmla="*/ 145659 h 143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3594" h="143594">
                  <a:moveTo>
                    <a:pt x="6731" y="6731"/>
                  </a:moveTo>
                  <a:lnTo>
                    <a:pt x="145659" y="6731"/>
                  </a:lnTo>
                  <a:lnTo>
                    <a:pt x="145659" y="145659"/>
                  </a:lnTo>
                  <a:lnTo>
                    <a:pt x="6731" y="14565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799"/>
            </a:p>
          </p:txBody>
        </p:sp>
      </p:grpSp>
      <p:grpSp>
        <p:nvGrpSpPr>
          <p:cNvPr id="82" name="Group 4">
            <a:extLst>
              <a:ext uri="{FF2B5EF4-FFF2-40B4-BE49-F238E27FC236}">
                <a16:creationId xmlns:a16="http://schemas.microsoft.com/office/drawing/2014/main" id="{C5FADEE5-07C4-41A9-88D6-C6D2ED1362B8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64788" y="4960938"/>
            <a:ext cx="1225550" cy="1435100"/>
            <a:chOff x="6529" y="3125"/>
            <a:chExt cx="772" cy="904"/>
          </a:xfrm>
        </p:grpSpPr>
        <p:sp>
          <p:nvSpPr>
            <p:cNvPr id="83" name="Freeform 5">
              <a:extLst>
                <a:ext uri="{FF2B5EF4-FFF2-40B4-BE49-F238E27FC236}">
                  <a16:creationId xmlns:a16="http://schemas.microsoft.com/office/drawing/2014/main" id="{5A2C465B-7D43-431D-A35E-50762E7696F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84" name="Freeform 6">
              <a:extLst>
                <a:ext uri="{FF2B5EF4-FFF2-40B4-BE49-F238E27FC236}">
                  <a16:creationId xmlns:a16="http://schemas.microsoft.com/office/drawing/2014/main" id="{AC35E6C1-71A8-4C9D-A1A5-682B0BD0A03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</p:grpSp>
    </p:spTree>
    <p:extLst>
      <p:ext uri="{BB962C8B-B14F-4D97-AF65-F5344CB8AC3E}">
        <p14:creationId xmlns:p14="http://schemas.microsoft.com/office/powerpoint/2010/main" val="122336968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Approved question w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5" name="Group 234">
            <a:extLst>
              <a:ext uri="{FF2B5EF4-FFF2-40B4-BE49-F238E27FC236}">
                <a16:creationId xmlns:a16="http://schemas.microsoft.com/office/drawing/2014/main" id="{5342E118-6F1D-4C46-956E-4CCCBCAA7952}"/>
              </a:ext>
            </a:extLst>
          </p:cNvPr>
          <p:cNvGrpSpPr/>
          <p:nvPr userDrawn="1"/>
        </p:nvGrpSpPr>
        <p:grpSpPr>
          <a:xfrm>
            <a:off x="498115" y="5826614"/>
            <a:ext cx="3878023" cy="570195"/>
            <a:chOff x="498115" y="5951018"/>
            <a:chExt cx="3878023" cy="570195"/>
          </a:xfrm>
        </p:grpSpPr>
        <p:sp>
          <p:nvSpPr>
            <p:cNvPr id="168" name="Rectangle 167">
              <a:extLst>
                <a:ext uri="{FF2B5EF4-FFF2-40B4-BE49-F238E27FC236}">
                  <a16:creationId xmlns:a16="http://schemas.microsoft.com/office/drawing/2014/main" id="{A22049CA-64AE-409F-988D-A7317F8AD13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98115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169" name="Rectangle 6">
              <a:extLst>
                <a:ext uri="{FF2B5EF4-FFF2-40B4-BE49-F238E27FC236}">
                  <a16:creationId xmlns:a16="http://schemas.microsoft.com/office/drawing/2014/main" id="{E37A0A05-0A78-44A7-8873-0A1A20C8717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9341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170" name="Rectangle 7">
              <a:extLst>
                <a:ext uri="{FF2B5EF4-FFF2-40B4-BE49-F238E27FC236}">
                  <a16:creationId xmlns:a16="http://schemas.microsoft.com/office/drawing/2014/main" id="{0DEA0CBE-8527-4287-BF98-DA48947875F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9045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171" name="Freeform 8">
              <a:extLst>
                <a:ext uri="{FF2B5EF4-FFF2-40B4-BE49-F238E27FC236}">
                  <a16:creationId xmlns:a16="http://schemas.microsoft.com/office/drawing/2014/main" id="{444058C6-612A-446E-8F68-0E5CC4CFF36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181188"/>
              <a:ext cx="94161" cy="130778"/>
            </a:xfrm>
            <a:custGeom>
              <a:avLst/>
              <a:gdLst>
                <a:gd name="T0" fmla="*/ 32 w 54"/>
                <a:gd name="T1" fmla="*/ 11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1 h 75"/>
                <a:gd name="T8" fmla="*/ 0 w 54"/>
                <a:gd name="T9" fmla="*/ 11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1 h 75"/>
                <a:gd name="T16" fmla="*/ 32 w 54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1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1"/>
                  </a:lnTo>
                  <a:lnTo>
                    <a:pt x="32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72" name="Freeform 9">
              <a:extLst>
                <a:ext uri="{FF2B5EF4-FFF2-40B4-BE49-F238E27FC236}">
                  <a16:creationId xmlns:a16="http://schemas.microsoft.com/office/drawing/2014/main" id="{1011EC31-E0C3-404F-93B3-EFD3DADC11C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174213"/>
              <a:ext cx="78468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73" name="Freeform 10">
              <a:extLst>
                <a:ext uri="{FF2B5EF4-FFF2-40B4-BE49-F238E27FC236}">
                  <a16:creationId xmlns:a16="http://schemas.microsoft.com/office/drawing/2014/main" id="{3C9D076B-D88C-4089-8D58-9A31CFCDB02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74" name="Freeform 11">
              <a:extLst>
                <a:ext uri="{FF2B5EF4-FFF2-40B4-BE49-F238E27FC236}">
                  <a16:creationId xmlns:a16="http://schemas.microsoft.com/office/drawing/2014/main" id="{29DB43AC-B765-4ECB-B483-562473BD4A3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174213"/>
              <a:ext cx="83698" cy="139497"/>
            </a:xfrm>
            <a:custGeom>
              <a:avLst/>
              <a:gdLst>
                <a:gd name="T0" fmla="*/ 33 w 33"/>
                <a:gd name="T1" fmla="*/ 35 h 55"/>
                <a:gd name="T2" fmla="*/ 31 w 33"/>
                <a:gd name="T3" fmla="*/ 44 h 55"/>
                <a:gd name="T4" fmla="*/ 28 w 33"/>
                <a:gd name="T5" fmla="*/ 50 h 55"/>
                <a:gd name="T6" fmla="*/ 23 w 33"/>
                <a:gd name="T7" fmla="*/ 53 h 55"/>
                <a:gd name="T8" fmla="*/ 17 w 33"/>
                <a:gd name="T9" fmla="*/ 55 h 55"/>
                <a:gd name="T10" fmla="*/ 12 w 33"/>
                <a:gd name="T11" fmla="*/ 53 h 55"/>
                <a:gd name="T12" fmla="*/ 8 w 33"/>
                <a:gd name="T13" fmla="*/ 50 h 55"/>
                <a:gd name="T14" fmla="*/ 8 w 33"/>
                <a:gd name="T15" fmla="*/ 54 h 55"/>
                <a:gd name="T16" fmla="*/ 0 w 33"/>
                <a:gd name="T17" fmla="*/ 54 h 55"/>
                <a:gd name="T18" fmla="*/ 0 w 33"/>
                <a:gd name="T19" fmla="*/ 4 h 55"/>
                <a:gd name="T20" fmla="*/ 8 w 33"/>
                <a:gd name="T21" fmla="*/ 0 h 55"/>
                <a:gd name="T22" fmla="*/ 8 w 33"/>
                <a:gd name="T23" fmla="*/ 19 h 55"/>
                <a:gd name="T24" fmla="*/ 10 w 33"/>
                <a:gd name="T25" fmla="*/ 17 h 55"/>
                <a:gd name="T26" fmla="*/ 12 w 33"/>
                <a:gd name="T27" fmla="*/ 16 h 55"/>
                <a:gd name="T28" fmla="*/ 14 w 33"/>
                <a:gd name="T29" fmla="*/ 15 h 55"/>
                <a:gd name="T30" fmla="*/ 18 w 33"/>
                <a:gd name="T31" fmla="*/ 15 h 55"/>
                <a:gd name="T32" fmla="*/ 24 w 33"/>
                <a:gd name="T33" fmla="*/ 16 h 55"/>
                <a:gd name="T34" fmla="*/ 28 w 33"/>
                <a:gd name="T35" fmla="*/ 19 h 55"/>
                <a:gd name="T36" fmla="*/ 31 w 33"/>
                <a:gd name="T37" fmla="*/ 26 h 55"/>
                <a:gd name="T38" fmla="*/ 33 w 33"/>
                <a:gd name="T39" fmla="*/ 35 h 55"/>
                <a:gd name="T40" fmla="*/ 25 w 33"/>
                <a:gd name="T41" fmla="*/ 35 h 55"/>
                <a:gd name="T42" fmla="*/ 23 w 33"/>
                <a:gd name="T43" fmla="*/ 25 h 55"/>
                <a:gd name="T44" fmla="*/ 16 w 33"/>
                <a:gd name="T45" fmla="*/ 22 h 55"/>
                <a:gd name="T46" fmla="*/ 14 w 33"/>
                <a:gd name="T47" fmla="*/ 22 h 55"/>
                <a:gd name="T48" fmla="*/ 11 w 33"/>
                <a:gd name="T49" fmla="*/ 23 h 55"/>
                <a:gd name="T50" fmla="*/ 9 w 33"/>
                <a:gd name="T51" fmla="*/ 25 h 55"/>
                <a:gd name="T52" fmla="*/ 8 w 33"/>
                <a:gd name="T53" fmla="*/ 26 h 55"/>
                <a:gd name="T54" fmla="*/ 8 w 33"/>
                <a:gd name="T55" fmla="*/ 43 h 55"/>
                <a:gd name="T56" fmla="*/ 9 w 33"/>
                <a:gd name="T57" fmla="*/ 44 h 55"/>
                <a:gd name="T58" fmla="*/ 11 w 33"/>
                <a:gd name="T59" fmla="*/ 46 h 55"/>
                <a:gd name="T60" fmla="*/ 14 w 33"/>
                <a:gd name="T61" fmla="*/ 47 h 55"/>
                <a:gd name="T62" fmla="*/ 17 w 33"/>
                <a:gd name="T63" fmla="*/ 48 h 55"/>
                <a:gd name="T64" fmla="*/ 23 w 33"/>
                <a:gd name="T65" fmla="*/ 45 h 55"/>
                <a:gd name="T66" fmla="*/ 25 w 33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5">
                  <a:moveTo>
                    <a:pt x="33" y="35"/>
                  </a:moveTo>
                  <a:cubicBezTo>
                    <a:pt x="33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7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6" y="55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8"/>
                    <a:pt x="10" y="17"/>
                  </a:cubicBezTo>
                  <a:cubicBezTo>
                    <a:pt x="11" y="17"/>
                    <a:pt x="11" y="16"/>
                    <a:pt x="12" y="16"/>
                  </a:cubicBezTo>
                  <a:cubicBezTo>
                    <a:pt x="13" y="16"/>
                    <a:pt x="13" y="15"/>
                    <a:pt x="14" y="15"/>
                  </a:cubicBezTo>
                  <a:cubicBezTo>
                    <a:pt x="15" y="15"/>
                    <a:pt x="16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30" y="21"/>
                    <a:pt x="31" y="23"/>
                    <a:pt x="31" y="26"/>
                  </a:cubicBezTo>
                  <a:cubicBezTo>
                    <a:pt x="32" y="28"/>
                    <a:pt x="33" y="32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5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1" y="23"/>
                    <a:pt x="10" y="24"/>
                    <a:pt x="9" y="25"/>
                  </a:cubicBezTo>
                  <a:cubicBezTo>
                    <a:pt x="9" y="25"/>
                    <a:pt x="8" y="26"/>
                    <a:pt x="8" y="26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8" y="43"/>
                    <a:pt x="9" y="44"/>
                    <a:pt x="9" y="44"/>
                  </a:cubicBezTo>
                  <a:cubicBezTo>
                    <a:pt x="10" y="45"/>
                    <a:pt x="11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6" y="48"/>
                    <a:pt x="17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75" name="Freeform 12">
              <a:extLst>
                <a:ext uri="{FF2B5EF4-FFF2-40B4-BE49-F238E27FC236}">
                  <a16:creationId xmlns:a16="http://schemas.microsoft.com/office/drawing/2014/main" id="{AF1DE1B8-EA4B-4A98-A97D-BA5EEA42B19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76" name="Freeform 13">
              <a:extLst>
                <a:ext uri="{FF2B5EF4-FFF2-40B4-BE49-F238E27FC236}">
                  <a16:creationId xmlns:a16="http://schemas.microsoft.com/office/drawing/2014/main" id="{F8F60B79-7AF5-4C5E-A5EF-126F117D591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1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2" y="54"/>
                    <a:pt x="11" y="54"/>
                  </a:cubicBezTo>
                  <a:cubicBezTo>
                    <a:pt x="10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2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77" name="Freeform 14">
              <a:extLst>
                <a:ext uri="{FF2B5EF4-FFF2-40B4-BE49-F238E27FC236}">
                  <a16:creationId xmlns:a16="http://schemas.microsoft.com/office/drawing/2014/main" id="{0A0438AD-9937-4C25-AB9E-7F8C8CCA23F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78" name="Freeform 15">
              <a:extLst>
                <a:ext uri="{FF2B5EF4-FFF2-40B4-BE49-F238E27FC236}">
                  <a16:creationId xmlns:a16="http://schemas.microsoft.com/office/drawing/2014/main" id="{6FDE2726-7032-4BE4-A420-0ECF49A32A8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0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2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0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3" y="31"/>
                    <a:pt x="24" y="30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0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7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79" name="Freeform 16">
              <a:extLst>
                <a:ext uri="{FF2B5EF4-FFF2-40B4-BE49-F238E27FC236}">
                  <a16:creationId xmlns:a16="http://schemas.microsoft.com/office/drawing/2014/main" id="{50C22C21-F8DB-486D-9042-765D68AE3A7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212575"/>
              <a:ext cx="55799" cy="99391"/>
            </a:xfrm>
            <a:custGeom>
              <a:avLst/>
              <a:gdLst>
                <a:gd name="T0" fmla="*/ 20 w 22"/>
                <a:gd name="T1" fmla="*/ 8 h 39"/>
                <a:gd name="T2" fmla="*/ 18 w 22"/>
                <a:gd name="T3" fmla="*/ 7 h 39"/>
                <a:gd name="T4" fmla="*/ 15 w 22"/>
                <a:gd name="T5" fmla="*/ 7 h 39"/>
                <a:gd name="T6" fmla="*/ 9 w 22"/>
                <a:gd name="T7" fmla="*/ 9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0 h 39"/>
                <a:gd name="T16" fmla="*/ 7 w 22"/>
                <a:gd name="T17" fmla="*/ 0 h 39"/>
                <a:gd name="T18" fmla="*/ 7 w 22"/>
                <a:gd name="T19" fmla="*/ 4 h 39"/>
                <a:gd name="T20" fmla="*/ 9 w 22"/>
                <a:gd name="T21" fmla="*/ 2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0 h 39"/>
                <a:gd name="T30" fmla="*/ 22 w 22"/>
                <a:gd name="T31" fmla="*/ 1 h 39"/>
                <a:gd name="T32" fmla="*/ 20 w 22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2" y="7"/>
                    <a:pt x="10" y="8"/>
                    <a:pt x="9" y="9"/>
                  </a:cubicBezTo>
                  <a:cubicBezTo>
                    <a:pt x="8" y="11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9" y="2"/>
                    <a:pt x="10" y="1"/>
                    <a:pt x="11" y="1"/>
                  </a:cubicBezTo>
                  <a:cubicBezTo>
                    <a:pt x="11" y="0"/>
                    <a:pt x="12" y="0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0"/>
                  </a:cubicBezTo>
                  <a:cubicBezTo>
                    <a:pt x="21" y="0"/>
                    <a:pt x="22" y="1"/>
                    <a:pt x="22" y="1"/>
                  </a:cubicBezTo>
                  <a:lnTo>
                    <a:pt x="20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80" name="Freeform 17">
              <a:extLst>
                <a:ext uri="{FF2B5EF4-FFF2-40B4-BE49-F238E27FC236}">
                  <a16:creationId xmlns:a16="http://schemas.microsoft.com/office/drawing/2014/main" id="{7F763F72-BB8F-482C-9FDA-40EDD6EE5F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81" name="Freeform 18">
              <a:extLst>
                <a:ext uri="{FF2B5EF4-FFF2-40B4-BE49-F238E27FC236}">
                  <a16:creationId xmlns:a16="http://schemas.microsoft.com/office/drawing/2014/main" id="{710F466C-6BEC-4970-9707-40D8002740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2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8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9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82" name="Freeform 19">
              <a:extLst>
                <a:ext uri="{FF2B5EF4-FFF2-40B4-BE49-F238E27FC236}">
                  <a16:creationId xmlns:a16="http://schemas.microsoft.com/office/drawing/2014/main" id="{3332407D-F423-41B2-985F-8A4482C61D9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83" name="Freeform 20">
              <a:extLst>
                <a:ext uri="{FF2B5EF4-FFF2-40B4-BE49-F238E27FC236}">
                  <a16:creationId xmlns:a16="http://schemas.microsoft.com/office/drawing/2014/main" id="{44E3286F-1188-47B1-8B46-3498795DF2D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30922" y="6212575"/>
              <a:ext cx="80211" cy="134265"/>
            </a:xfrm>
            <a:custGeom>
              <a:avLst/>
              <a:gdLst>
                <a:gd name="T0" fmla="*/ 25 w 32"/>
                <a:gd name="T1" fmla="*/ 53 h 53"/>
                <a:gd name="T2" fmla="*/ 25 w 32"/>
                <a:gd name="T3" fmla="*/ 35 h 53"/>
                <a:gd name="T4" fmla="*/ 20 w 32"/>
                <a:gd name="T5" fmla="*/ 38 h 53"/>
                <a:gd name="T6" fmla="*/ 15 w 32"/>
                <a:gd name="T7" fmla="*/ 40 h 53"/>
                <a:gd name="T8" fmla="*/ 9 w 32"/>
                <a:gd name="T9" fmla="*/ 38 h 53"/>
                <a:gd name="T10" fmla="*/ 4 w 32"/>
                <a:gd name="T11" fmla="*/ 35 h 53"/>
                <a:gd name="T12" fmla="*/ 1 w 32"/>
                <a:gd name="T13" fmla="*/ 28 h 53"/>
                <a:gd name="T14" fmla="*/ 0 w 32"/>
                <a:gd name="T15" fmla="*/ 19 h 53"/>
                <a:gd name="T16" fmla="*/ 1 w 32"/>
                <a:gd name="T17" fmla="*/ 10 h 53"/>
                <a:gd name="T18" fmla="*/ 4 w 32"/>
                <a:gd name="T19" fmla="*/ 4 h 53"/>
                <a:gd name="T20" fmla="*/ 9 w 32"/>
                <a:gd name="T21" fmla="*/ 1 h 53"/>
                <a:gd name="T22" fmla="*/ 15 w 32"/>
                <a:gd name="T23" fmla="*/ 0 h 53"/>
                <a:gd name="T24" fmla="*/ 18 w 32"/>
                <a:gd name="T25" fmla="*/ 0 h 53"/>
                <a:gd name="T26" fmla="*/ 20 w 32"/>
                <a:gd name="T27" fmla="*/ 1 h 53"/>
                <a:gd name="T28" fmla="*/ 23 w 32"/>
                <a:gd name="T29" fmla="*/ 2 h 53"/>
                <a:gd name="T30" fmla="*/ 25 w 32"/>
                <a:gd name="T31" fmla="*/ 4 h 53"/>
                <a:gd name="T32" fmla="*/ 25 w 32"/>
                <a:gd name="T33" fmla="*/ 0 h 53"/>
                <a:gd name="T34" fmla="*/ 32 w 32"/>
                <a:gd name="T35" fmla="*/ 0 h 53"/>
                <a:gd name="T36" fmla="*/ 32 w 32"/>
                <a:gd name="T37" fmla="*/ 49 h 53"/>
                <a:gd name="T38" fmla="*/ 25 w 32"/>
                <a:gd name="T39" fmla="*/ 53 h 53"/>
                <a:gd name="T40" fmla="*/ 25 w 32"/>
                <a:gd name="T41" fmla="*/ 12 h 53"/>
                <a:gd name="T42" fmla="*/ 23 w 32"/>
                <a:gd name="T43" fmla="*/ 10 h 53"/>
                <a:gd name="T44" fmla="*/ 21 w 32"/>
                <a:gd name="T45" fmla="*/ 8 h 53"/>
                <a:gd name="T46" fmla="*/ 18 w 32"/>
                <a:gd name="T47" fmla="*/ 7 h 53"/>
                <a:gd name="T48" fmla="*/ 16 w 32"/>
                <a:gd name="T49" fmla="*/ 7 h 53"/>
                <a:gd name="T50" fmla="*/ 9 w 32"/>
                <a:gd name="T51" fmla="*/ 10 h 53"/>
                <a:gd name="T52" fmla="*/ 7 w 32"/>
                <a:gd name="T53" fmla="*/ 19 h 53"/>
                <a:gd name="T54" fmla="*/ 10 w 32"/>
                <a:gd name="T55" fmla="*/ 29 h 53"/>
                <a:gd name="T56" fmla="*/ 16 w 32"/>
                <a:gd name="T57" fmla="*/ 33 h 53"/>
                <a:gd name="T58" fmla="*/ 21 w 32"/>
                <a:gd name="T59" fmla="*/ 31 h 53"/>
                <a:gd name="T60" fmla="*/ 25 w 32"/>
                <a:gd name="T61" fmla="*/ 28 h 53"/>
                <a:gd name="T62" fmla="*/ 25 w 32"/>
                <a:gd name="T63" fmla="*/ 1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2" h="53">
                  <a:moveTo>
                    <a:pt x="25" y="53"/>
                  </a:moveTo>
                  <a:cubicBezTo>
                    <a:pt x="25" y="35"/>
                    <a:pt x="25" y="35"/>
                    <a:pt x="25" y="35"/>
                  </a:cubicBezTo>
                  <a:cubicBezTo>
                    <a:pt x="23" y="36"/>
                    <a:pt x="22" y="37"/>
                    <a:pt x="20" y="38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3" y="40"/>
                    <a:pt x="11" y="39"/>
                    <a:pt x="9" y="38"/>
                  </a:cubicBezTo>
                  <a:cubicBezTo>
                    <a:pt x="7" y="38"/>
                    <a:pt x="5" y="36"/>
                    <a:pt x="4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0" y="26"/>
                    <a:pt x="0" y="23"/>
                    <a:pt x="0" y="19"/>
                  </a:cubicBezTo>
                  <a:cubicBezTo>
                    <a:pt x="0" y="16"/>
                    <a:pt x="0" y="13"/>
                    <a:pt x="1" y="10"/>
                  </a:cubicBezTo>
                  <a:cubicBezTo>
                    <a:pt x="2" y="8"/>
                    <a:pt x="3" y="6"/>
                    <a:pt x="4" y="4"/>
                  </a:cubicBezTo>
                  <a:cubicBezTo>
                    <a:pt x="6" y="3"/>
                    <a:pt x="7" y="2"/>
                    <a:pt x="9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6" y="0"/>
                    <a:pt x="17" y="0"/>
                    <a:pt x="18" y="0"/>
                  </a:cubicBezTo>
                  <a:cubicBezTo>
                    <a:pt x="19" y="0"/>
                    <a:pt x="20" y="0"/>
                    <a:pt x="20" y="1"/>
                  </a:cubicBezTo>
                  <a:cubicBezTo>
                    <a:pt x="21" y="1"/>
                    <a:pt x="22" y="2"/>
                    <a:pt x="23" y="2"/>
                  </a:cubicBezTo>
                  <a:cubicBezTo>
                    <a:pt x="23" y="3"/>
                    <a:pt x="24" y="3"/>
                    <a:pt x="25" y="4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49"/>
                    <a:pt x="32" y="49"/>
                    <a:pt x="32" y="49"/>
                  </a:cubicBezTo>
                  <a:lnTo>
                    <a:pt x="25" y="53"/>
                  </a:lnTo>
                  <a:close/>
                  <a:moveTo>
                    <a:pt x="25" y="12"/>
                  </a:moveTo>
                  <a:cubicBezTo>
                    <a:pt x="24" y="11"/>
                    <a:pt x="24" y="10"/>
                    <a:pt x="23" y="10"/>
                  </a:cubicBezTo>
                  <a:cubicBezTo>
                    <a:pt x="23" y="9"/>
                    <a:pt x="22" y="9"/>
                    <a:pt x="21" y="8"/>
                  </a:cubicBezTo>
                  <a:cubicBezTo>
                    <a:pt x="20" y="8"/>
                    <a:pt x="19" y="7"/>
                    <a:pt x="18" y="7"/>
                  </a:cubicBezTo>
                  <a:cubicBezTo>
                    <a:pt x="18" y="7"/>
                    <a:pt x="17" y="7"/>
                    <a:pt x="16" y="7"/>
                  </a:cubicBezTo>
                  <a:cubicBezTo>
                    <a:pt x="13" y="7"/>
                    <a:pt x="11" y="8"/>
                    <a:pt x="9" y="10"/>
                  </a:cubicBezTo>
                  <a:cubicBezTo>
                    <a:pt x="8" y="12"/>
                    <a:pt x="7" y="15"/>
                    <a:pt x="7" y="19"/>
                  </a:cubicBezTo>
                  <a:cubicBezTo>
                    <a:pt x="7" y="23"/>
                    <a:pt x="8" y="27"/>
                    <a:pt x="10" y="29"/>
                  </a:cubicBezTo>
                  <a:cubicBezTo>
                    <a:pt x="11" y="31"/>
                    <a:pt x="13" y="33"/>
                    <a:pt x="16" y="33"/>
                  </a:cubicBezTo>
                  <a:cubicBezTo>
                    <a:pt x="18" y="33"/>
                    <a:pt x="19" y="32"/>
                    <a:pt x="21" y="31"/>
                  </a:cubicBezTo>
                  <a:cubicBezTo>
                    <a:pt x="22" y="30"/>
                    <a:pt x="24" y="29"/>
                    <a:pt x="25" y="28"/>
                  </a:cubicBezTo>
                  <a:lnTo>
                    <a:pt x="25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84" name="Freeform 21">
              <a:extLst>
                <a:ext uri="{FF2B5EF4-FFF2-40B4-BE49-F238E27FC236}">
                  <a16:creationId xmlns:a16="http://schemas.microsoft.com/office/drawing/2014/main" id="{E7BD9E0B-920A-4409-95E7-40A47107B3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35545" y="6212575"/>
              <a:ext cx="78468" cy="101135"/>
            </a:xfrm>
            <a:custGeom>
              <a:avLst/>
              <a:gdLst>
                <a:gd name="T0" fmla="*/ 24 w 31"/>
                <a:gd name="T1" fmla="*/ 39 h 40"/>
                <a:gd name="T2" fmla="*/ 24 w 31"/>
                <a:gd name="T3" fmla="*/ 35 h 40"/>
                <a:gd name="T4" fmla="*/ 20 w 31"/>
                <a:gd name="T5" fmla="*/ 38 h 40"/>
                <a:gd name="T6" fmla="*/ 14 w 31"/>
                <a:gd name="T7" fmla="*/ 40 h 40"/>
                <a:gd name="T8" fmla="*/ 4 w 31"/>
                <a:gd name="T9" fmla="*/ 35 h 40"/>
                <a:gd name="T10" fmla="*/ 0 w 31"/>
                <a:gd name="T11" fmla="*/ 22 h 40"/>
                <a:gd name="T12" fmla="*/ 0 w 31"/>
                <a:gd name="T13" fmla="*/ 0 h 40"/>
                <a:gd name="T14" fmla="*/ 8 w 31"/>
                <a:gd name="T15" fmla="*/ 0 h 40"/>
                <a:gd name="T16" fmla="*/ 8 w 31"/>
                <a:gd name="T17" fmla="*/ 22 h 40"/>
                <a:gd name="T18" fmla="*/ 10 w 31"/>
                <a:gd name="T19" fmla="*/ 30 h 40"/>
                <a:gd name="T20" fmla="*/ 16 w 31"/>
                <a:gd name="T21" fmla="*/ 33 h 40"/>
                <a:gd name="T22" fmla="*/ 22 w 31"/>
                <a:gd name="T23" fmla="*/ 30 h 40"/>
                <a:gd name="T24" fmla="*/ 24 w 31"/>
                <a:gd name="T25" fmla="*/ 23 h 40"/>
                <a:gd name="T26" fmla="*/ 24 w 31"/>
                <a:gd name="T27" fmla="*/ 0 h 40"/>
                <a:gd name="T28" fmla="*/ 31 w 31"/>
                <a:gd name="T29" fmla="*/ 0 h 40"/>
                <a:gd name="T30" fmla="*/ 31 w 31"/>
                <a:gd name="T31" fmla="*/ 39 h 40"/>
                <a:gd name="T32" fmla="*/ 24 w 31"/>
                <a:gd name="T33" fmla="*/ 39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1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2" y="38"/>
                    <a:pt x="20" y="38"/>
                  </a:cubicBezTo>
                  <a:cubicBezTo>
                    <a:pt x="18" y="39"/>
                    <a:pt x="16" y="40"/>
                    <a:pt x="14" y="40"/>
                  </a:cubicBezTo>
                  <a:cubicBezTo>
                    <a:pt x="10" y="40"/>
                    <a:pt x="6" y="38"/>
                    <a:pt x="4" y="35"/>
                  </a:cubicBezTo>
                  <a:cubicBezTo>
                    <a:pt x="2" y="32"/>
                    <a:pt x="0" y="28"/>
                    <a:pt x="0" y="2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6"/>
                    <a:pt x="9" y="28"/>
                    <a:pt x="10" y="30"/>
                  </a:cubicBezTo>
                  <a:cubicBezTo>
                    <a:pt x="11" y="32"/>
                    <a:pt x="13" y="33"/>
                    <a:pt x="16" y="33"/>
                  </a:cubicBezTo>
                  <a:cubicBezTo>
                    <a:pt x="18" y="33"/>
                    <a:pt x="20" y="32"/>
                    <a:pt x="22" y="30"/>
                  </a:cubicBezTo>
                  <a:cubicBezTo>
                    <a:pt x="23" y="28"/>
                    <a:pt x="24" y="26"/>
                    <a:pt x="24" y="23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4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85" name="Freeform 22">
              <a:extLst>
                <a:ext uri="{FF2B5EF4-FFF2-40B4-BE49-F238E27FC236}">
                  <a16:creationId xmlns:a16="http://schemas.microsoft.com/office/drawing/2014/main" id="{9D2625B8-0A5B-46EF-8302-77353AB0D3A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93493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1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2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86" name="Freeform 23">
              <a:extLst>
                <a:ext uri="{FF2B5EF4-FFF2-40B4-BE49-F238E27FC236}">
                  <a16:creationId xmlns:a16="http://schemas.microsoft.com/office/drawing/2014/main" id="{DE6C9E0E-C49B-4FBE-97F3-BB6DFAC5742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30841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1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4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7 w 29"/>
                <a:gd name="T55" fmla="*/ 24 h 40"/>
                <a:gd name="T56" fmla="*/ 13 w 29"/>
                <a:gd name="T57" fmla="*/ 22 h 40"/>
                <a:gd name="T58" fmla="*/ 8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2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3" y="6"/>
                    <a:pt x="11" y="7"/>
                    <a:pt x="10" y="7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1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9" y="25"/>
                    <a:pt x="18" y="24"/>
                    <a:pt x="17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8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3" y="15"/>
                    <a:pt x="2" y="14"/>
                  </a:cubicBezTo>
                  <a:cubicBezTo>
                    <a:pt x="2" y="13"/>
                    <a:pt x="2" y="12"/>
                    <a:pt x="2" y="10"/>
                  </a:cubicBezTo>
                  <a:cubicBezTo>
                    <a:pt x="2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87" name="Freeform 24">
              <a:extLst>
                <a:ext uri="{FF2B5EF4-FFF2-40B4-BE49-F238E27FC236}">
                  <a16:creationId xmlns:a16="http://schemas.microsoft.com/office/drawing/2014/main" id="{580801ED-9260-41DB-A0B7-5AF24B32272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1802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88" name="Freeform 25">
              <a:extLst>
                <a:ext uri="{FF2B5EF4-FFF2-40B4-BE49-F238E27FC236}">
                  <a16:creationId xmlns:a16="http://schemas.microsoft.com/office/drawing/2014/main" id="{3A9842FB-6E95-4D11-B5B9-58C4CB82C2F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194750" y="6175958"/>
              <a:ext cx="24412" cy="136010"/>
            </a:xfrm>
            <a:custGeom>
              <a:avLst/>
              <a:gdLst>
                <a:gd name="T0" fmla="*/ 10 w 10"/>
                <a:gd name="T1" fmla="*/ 5 h 53"/>
                <a:gd name="T2" fmla="*/ 9 w 10"/>
                <a:gd name="T3" fmla="*/ 6 h 53"/>
                <a:gd name="T4" fmla="*/ 8 w 10"/>
                <a:gd name="T5" fmla="*/ 8 h 53"/>
                <a:gd name="T6" fmla="*/ 7 w 10"/>
                <a:gd name="T7" fmla="*/ 9 h 53"/>
                <a:gd name="T8" fmla="*/ 5 w 10"/>
                <a:gd name="T9" fmla="*/ 9 h 53"/>
                <a:gd name="T10" fmla="*/ 3 w 10"/>
                <a:gd name="T11" fmla="*/ 9 h 53"/>
                <a:gd name="T12" fmla="*/ 1 w 10"/>
                <a:gd name="T13" fmla="*/ 8 h 53"/>
                <a:gd name="T14" fmla="*/ 0 w 10"/>
                <a:gd name="T15" fmla="*/ 6 h 53"/>
                <a:gd name="T16" fmla="*/ 0 w 10"/>
                <a:gd name="T17" fmla="*/ 5 h 53"/>
                <a:gd name="T18" fmla="*/ 0 w 10"/>
                <a:gd name="T19" fmla="*/ 3 h 53"/>
                <a:gd name="T20" fmla="*/ 1 w 10"/>
                <a:gd name="T21" fmla="*/ 1 h 53"/>
                <a:gd name="T22" fmla="*/ 3 w 10"/>
                <a:gd name="T23" fmla="*/ 0 h 53"/>
                <a:gd name="T24" fmla="*/ 5 w 10"/>
                <a:gd name="T25" fmla="*/ 0 h 53"/>
                <a:gd name="T26" fmla="*/ 7 w 10"/>
                <a:gd name="T27" fmla="*/ 0 h 53"/>
                <a:gd name="T28" fmla="*/ 8 w 10"/>
                <a:gd name="T29" fmla="*/ 1 h 53"/>
                <a:gd name="T30" fmla="*/ 9 w 10"/>
                <a:gd name="T31" fmla="*/ 3 h 53"/>
                <a:gd name="T32" fmla="*/ 10 w 10"/>
                <a:gd name="T33" fmla="*/ 5 h 53"/>
                <a:gd name="T34" fmla="*/ 1 w 10"/>
                <a:gd name="T35" fmla="*/ 53 h 53"/>
                <a:gd name="T36" fmla="*/ 1 w 10"/>
                <a:gd name="T37" fmla="*/ 14 h 53"/>
                <a:gd name="T38" fmla="*/ 9 w 10"/>
                <a:gd name="T39" fmla="*/ 14 h 53"/>
                <a:gd name="T40" fmla="*/ 9 w 10"/>
                <a:gd name="T41" fmla="*/ 53 h 53"/>
                <a:gd name="T42" fmla="*/ 1 w 10"/>
                <a:gd name="T43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" h="53">
                  <a:moveTo>
                    <a:pt x="10" y="5"/>
                  </a:moveTo>
                  <a:cubicBezTo>
                    <a:pt x="10" y="5"/>
                    <a:pt x="10" y="6"/>
                    <a:pt x="9" y="6"/>
                  </a:cubicBezTo>
                  <a:cubicBezTo>
                    <a:pt x="9" y="7"/>
                    <a:pt x="9" y="8"/>
                    <a:pt x="8" y="8"/>
                  </a:cubicBezTo>
                  <a:cubicBezTo>
                    <a:pt x="8" y="8"/>
                    <a:pt x="7" y="9"/>
                    <a:pt x="7" y="9"/>
                  </a:cubicBezTo>
                  <a:cubicBezTo>
                    <a:pt x="6" y="9"/>
                    <a:pt x="6" y="9"/>
                    <a:pt x="5" y="9"/>
                  </a:cubicBezTo>
                  <a:cubicBezTo>
                    <a:pt x="4" y="9"/>
                    <a:pt x="4" y="9"/>
                    <a:pt x="3" y="9"/>
                  </a:cubicBezTo>
                  <a:cubicBezTo>
                    <a:pt x="2" y="9"/>
                    <a:pt x="2" y="8"/>
                    <a:pt x="1" y="8"/>
                  </a:cubicBezTo>
                  <a:cubicBezTo>
                    <a:pt x="1" y="8"/>
                    <a:pt x="1" y="7"/>
                    <a:pt x="0" y="6"/>
                  </a:cubicBezTo>
                  <a:cubicBezTo>
                    <a:pt x="0" y="6"/>
                    <a:pt x="0" y="5"/>
                    <a:pt x="0" y="5"/>
                  </a:cubicBezTo>
                  <a:cubicBezTo>
                    <a:pt x="0" y="4"/>
                    <a:pt x="0" y="3"/>
                    <a:pt x="0" y="3"/>
                  </a:cubicBezTo>
                  <a:cubicBezTo>
                    <a:pt x="1" y="2"/>
                    <a:pt x="1" y="2"/>
                    <a:pt x="1" y="1"/>
                  </a:cubicBezTo>
                  <a:cubicBezTo>
                    <a:pt x="2" y="1"/>
                    <a:pt x="2" y="0"/>
                    <a:pt x="3" y="0"/>
                  </a:cubicBezTo>
                  <a:cubicBezTo>
                    <a:pt x="4" y="0"/>
                    <a:pt x="4" y="0"/>
                    <a:pt x="5" y="0"/>
                  </a:cubicBezTo>
                  <a:cubicBezTo>
                    <a:pt x="6" y="0"/>
                    <a:pt x="6" y="0"/>
                    <a:pt x="7" y="0"/>
                  </a:cubicBezTo>
                  <a:cubicBezTo>
                    <a:pt x="7" y="0"/>
                    <a:pt x="8" y="1"/>
                    <a:pt x="8" y="1"/>
                  </a:cubicBezTo>
                  <a:cubicBezTo>
                    <a:pt x="9" y="2"/>
                    <a:pt x="9" y="2"/>
                    <a:pt x="9" y="3"/>
                  </a:cubicBezTo>
                  <a:cubicBezTo>
                    <a:pt x="10" y="3"/>
                    <a:pt x="10" y="4"/>
                    <a:pt x="10" y="5"/>
                  </a:cubicBezTo>
                  <a:close/>
                  <a:moveTo>
                    <a:pt x="1" y="53"/>
                  </a:moveTo>
                  <a:cubicBezTo>
                    <a:pt x="1" y="14"/>
                    <a:pt x="1" y="14"/>
                    <a:pt x="1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53"/>
                    <a:pt x="9" y="53"/>
                    <a:pt x="9" y="53"/>
                  </a:cubicBezTo>
                  <a:lnTo>
                    <a:pt x="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89" name="Freeform 26">
              <a:extLst>
                <a:ext uri="{FF2B5EF4-FFF2-40B4-BE49-F238E27FC236}">
                  <a16:creationId xmlns:a16="http://schemas.microsoft.com/office/drawing/2014/main" id="{076538BB-C266-42BE-916B-458AF9EFB22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236599" y="6212575"/>
              <a:ext cx="87186" cy="101135"/>
            </a:xfrm>
            <a:custGeom>
              <a:avLst/>
              <a:gdLst>
                <a:gd name="T0" fmla="*/ 34 w 34"/>
                <a:gd name="T1" fmla="*/ 19 h 40"/>
                <a:gd name="T2" fmla="*/ 33 w 34"/>
                <a:gd name="T3" fmla="*/ 28 h 40"/>
                <a:gd name="T4" fmla="*/ 29 w 34"/>
                <a:gd name="T5" fmla="*/ 34 h 40"/>
                <a:gd name="T6" fmla="*/ 24 w 34"/>
                <a:gd name="T7" fmla="*/ 38 h 40"/>
                <a:gd name="T8" fmla="*/ 17 w 34"/>
                <a:gd name="T9" fmla="*/ 40 h 40"/>
                <a:gd name="T10" fmla="*/ 10 w 34"/>
                <a:gd name="T11" fmla="*/ 38 h 40"/>
                <a:gd name="T12" fmla="*/ 5 w 34"/>
                <a:gd name="T13" fmla="*/ 34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1 h 40"/>
                <a:gd name="T20" fmla="*/ 5 w 34"/>
                <a:gd name="T21" fmla="*/ 5 h 40"/>
                <a:gd name="T22" fmla="*/ 10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1 h 40"/>
                <a:gd name="T32" fmla="*/ 34 w 34"/>
                <a:gd name="T33" fmla="*/ 19 h 40"/>
                <a:gd name="T34" fmla="*/ 26 w 34"/>
                <a:gd name="T35" fmla="*/ 20 h 40"/>
                <a:gd name="T36" fmla="*/ 26 w 34"/>
                <a:gd name="T37" fmla="*/ 14 h 40"/>
                <a:gd name="T38" fmla="*/ 24 w 34"/>
                <a:gd name="T39" fmla="*/ 10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0 h 40"/>
                <a:gd name="T48" fmla="*/ 8 w 34"/>
                <a:gd name="T49" fmla="*/ 14 h 40"/>
                <a:gd name="T50" fmla="*/ 7 w 34"/>
                <a:gd name="T51" fmla="*/ 19 h 40"/>
                <a:gd name="T52" fmla="*/ 8 w 34"/>
                <a:gd name="T53" fmla="*/ 25 h 40"/>
                <a:gd name="T54" fmla="*/ 10 w 34"/>
                <a:gd name="T55" fmla="*/ 29 h 40"/>
                <a:gd name="T56" fmla="*/ 13 w 34"/>
                <a:gd name="T57" fmla="*/ 32 h 40"/>
                <a:gd name="T58" fmla="*/ 17 w 34"/>
                <a:gd name="T59" fmla="*/ 32 h 40"/>
                <a:gd name="T60" fmla="*/ 21 w 34"/>
                <a:gd name="T61" fmla="*/ 31 h 40"/>
                <a:gd name="T62" fmla="*/ 24 w 34"/>
                <a:gd name="T63" fmla="*/ 29 h 40"/>
                <a:gd name="T64" fmla="*/ 26 w 34"/>
                <a:gd name="T65" fmla="*/ 25 h 40"/>
                <a:gd name="T66" fmla="*/ 26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19"/>
                  </a:moveTo>
                  <a:cubicBezTo>
                    <a:pt x="34" y="23"/>
                    <a:pt x="34" y="25"/>
                    <a:pt x="33" y="28"/>
                  </a:cubicBezTo>
                  <a:cubicBezTo>
                    <a:pt x="32" y="30"/>
                    <a:pt x="31" y="33"/>
                    <a:pt x="29" y="34"/>
                  </a:cubicBezTo>
                  <a:cubicBezTo>
                    <a:pt x="28" y="36"/>
                    <a:pt x="26" y="37"/>
                    <a:pt x="24" y="38"/>
                  </a:cubicBezTo>
                  <a:cubicBezTo>
                    <a:pt x="21" y="39"/>
                    <a:pt x="19" y="40"/>
                    <a:pt x="17" y="40"/>
                  </a:cubicBezTo>
                  <a:cubicBezTo>
                    <a:pt x="14" y="40"/>
                    <a:pt x="12" y="39"/>
                    <a:pt x="10" y="38"/>
                  </a:cubicBezTo>
                  <a:cubicBezTo>
                    <a:pt x="8" y="37"/>
                    <a:pt x="6" y="36"/>
                    <a:pt x="5" y="34"/>
                  </a:cubicBezTo>
                  <a:cubicBezTo>
                    <a:pt x="3" y="32"/>
                    <a:pt x="2" y="30"/>
                    <a:pt x="1" y="28"/>
                  </a:cubicBezTo>
                  <a:cubicBezTo>
                    <a:pt x="0" y="25"/>
                    <a:pt x="0" y="23"/>
                    <a:pt x="0" y="20"/>
                  </a:cubicBezTo>
                  <a:cubicBezTo>
                    <a:pt x="0" y="16"/>
                    <a:pt x="0" y="14"/>
                    <a:pt x="1" y="11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8" y="3"/>
                    <a:pt x="29" y="5"/>
                  </a:cubicBezTo>
                  <a:cubicBezTo>
                    <a:pt x="31" y="7"/>
                    <a:pt x="32" y="9"/>
                    <a:pt x="33" y="11"/>
                  </a:cubicBezTo>
                  <a:cubicBezTo>
                    <a:pt x="34" y="14"/>
                    <a:pt x="34" y="16"/>
                    <a:pt x="34" y="19"/>
                  </a:cubicBezTo>
                  <a:close/>
                  <a:moveTo>
                    <a:pt x="26" y="20"/>
                  </a:moveTo>
                  <a:cubicBezTo>
                    <a:pt x="26" y="18"/>
                    <a:pt x="26" y="16"/>
                    <a:pt x="26" y="14"/>
                  </a:cubicBezTo>
                  <a:cubicBezTo>
                    <a:pt x="25" y="13"/>
                    <a:pt x="25" y="11"/>
                    <a:pt x="24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19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11"/>
                    <a:pt x="8" y="13"/>
                    <a:pt x="8" y="14"/>
                  </a:cubicBezTo>
                  <a:cubicBezTo>
                    <a:pt x="8" y="16"/>
                    <a:pt x="7" y="17"/>
                    <a:pt x="7" y="19"/>
                  </a:cubicBezTo>
                  <a:cubicBezTo>
                    <a:pt x="7" y="21"/>
                    <a:pt x="8" y="23"/>
                    <a:pt x="8" y="25"/>
                  </a:cubicBezTo>
                  <a:cubicBezTo>
                    <a:pt x="9" y="27"/>
                    <a:pt x="9" y="28"/>
                    <a:pt x="10" y="29"/>
                  </a:cubicBezTo>
                  <a:cubicBezTo>
                    <a:pt x="11" y="30"/>
                    <a:pt x="12" y="31"/>
                    <a:pt x="13" y="32"/>
                  </a:cubicBezTo>
                  <a:cubicBezTo>
                    <a:pt x="14" y="32"/>
                    <a:pt x="16" y="32"/>
                    <a:pt x="17" y="32"/>
                  </a:cubicBezTo>
                  <a:cubicBezTo>
                    <a:pt x="18" y="32"/>
                    <a:pt x="20" y="32"/>
                    <a:pt x="21" y="31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7"/>
                    <a:pt x="25" y="26"/>
                    <a:pt x="26" y="25"/>
                  </a:cubicBezTo>
                  <a:cubicBezTo>
                    <a:pt x="26" y="23"/>
                    <a:pt x="26" y="21"/>
                    <a:pt x="26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0" name="Freeform 27">
              <a:extLst>
                <a:ext uri="{FF2B5EF4-FFF2-40B4-BE49-F238E27FC236}">
                  <a16:creationId xmlns:a16="http://schemas.microsoft.com/office/drawing/2014/main" id="{A7C95C0F-A1E9-46B5-B9DB-284F35C7280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44710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1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9 w 31"/>
                <a:gd name="T11" fmla="*/ 9 h 39"/>
                <a:gd name="T12" fmla="*/ 8 w 31"/>
                <a:gd name="T13" fmla="*/ 12 h 39"/>
                <a:gd name="T14" fmla="*/ 7 w 31"/>
                <a:gd name="T15" fmla="*/ 16 h 39"/>
                <a:gd name="T16" fmla="*/ 7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7 w 31"/>
                <a:gd name="T23" fmla="*/ 0 h 39"/>
                <a:gd name="T24" fmla="*/ 7 w 31"/>
                <a:gd name="T25" fmla="*/ 4 h 39"/>
                <a:gd name="T26" fmla="*/ 9 w 31"/>
                <a:gd name="T27" fmla="*/ 2 h 39"/>
                <a:gd name="T28" fmla="*/ 11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7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1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9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7" y="15"/>
                    <a:pt x="7" y="16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9" y="0"/>
                    <a:pt x="21" y="0"/>
                    <a:pt x="23" y="1"/>
                  </a:cubicBezTo>
                  <a:cubicBezTo>
                    <a:pt x="25" y="1"/>
                    <a:pt x="26" y="2"/>
                    <a:pt x="27" y="4"/>
                  </a:cubicBezTo>
                  <a:cubicBezTo>
                    <a:pt x="28" y="5"/>
                    <a:pt x="29" y="7"/>
                    <a:pt x="30" y="9"/>
                  </a:cubicBezTo>
                  <a:cubicBezTo>
                    <a:pt x="30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1" name="Freeform 28">
              <a:extLst>
                <a:ext uri="{FF2B5EF4-FFF2-40B4-BE49-F238E27FC236}">
                  <a16:creationId xmlns:a16="http://schemas.microsoft.com/office/drawing/2014/main" id="{BEEA6186-B2B9-4E5E-9631-B6332C7FDB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45845" y="6284068"/>
              <a:ext cx="31387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4 w 12"/>
                <a:gd name="T11" fmla="*/ 11 h 12"/>
                <a:gd name="T12" fmla="*/ 2 w 12"/>
                <a:gd name="T13" fmla="*/ 10 h 12"/>
                <a:gd name="T14" fmla="*/ 1 w 12"/>
                <a:gd name="T15" fmla="*/ 8 h 12"/>
                <a:gd name="T16" fmla="*/ 0 w 12"/>
                <a:gd name="T17" fmla="*/ 6 h 12"/>
                <a:gd name="T18" fmla="*/ 1 w 12"/>
                <a:gd name="T19" fmla="*/ 4 h 12"/>
                <a:gd name="T20" fmla="*/ 2 w 12"/>
                <a:gd name="T21" fmla="*/ 2 h 12"/>
                <a:gd name="T22" fmla="*/ 4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4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1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1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4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2" name="Freeform 29">
              <a:extLst>
                <a:ext uri="{FF2B5EF4-FFF2-40B4-BE49-F238E27FC236}">
                  <a16:creationId xmlns:a16="http://schemas.microsoft.com/office/drawing/2014/main" id="{E9B00A5D-BE04-4D7D-B4A2-204E2D0E04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0006" y="6181188"/>
              <a:ext cx="97648" cy="130778"/>
            </a:xfrm>
            <a:custGeom>
              <a:avLst/>
              <a:gdLst>
                <a:gd name="T0" fmla="*/ 34 w 56"/>
                <a:gd name="T1" fmla="*/ 11 h 75"/>
                <a:gd name="T2" fmla="*/ 34 w 56"/>
                <a:gd name="T3" fmla="*/ 75 h 75"/>
                <a:gd name="T4" fmla="*/ 22 w 56"/>
                <a:gd name="T5" fmla="*/ 75 h 75"/>
                <a:gd name="T6" fmla="*/ 22 w 56"/>
                <a:gd name="T7" fmla="*/ 11 h 75"/>
                <a:gd name="T8" fmla="*/ 0 w 56"/>
                <a:gd name="T9" fmla="*/ 11 h 75"/>
                <a:gd name="T10" fmla="*/ 0 w 56"/>
                <a:gd name="T11" fmla="*/ 0 h 75"/>
                <a:gd name="T12" fmla="*/ 56 w 56"/>
                <a:gd name="T13" fmla="*/ 0 h 75"/>
                <a:gd name="T14" fmla="*/ 56 w 56"/>
                <a:gd name="T15" fmla="*/ 11 h 75"/>
                <a:gd name="T16" fmla="*/ 34 w 56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6" h="75">
                  <a:moveTo>
                    <a:pt x="34" y="11"/>
                  </a:moveTo>
                  <a:lnTo>
                    <a:pt x="34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6" y="0"/>
                  </a:lnTo>
                  <a:lnTo>
                    <a:pt x="56" y="11"/>
                  </a:lnTo>
                  <a:lnTo>
                    <a:pt x="34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3" name="Freeform 30">
              <a:extLst>
                <a:ext uri="{FF2B5EF4-FFF2-40B4-BE49-F238E27FC236}">
                  <a16:creationId xmlns:a16="http://schemas.microsoft.com/office/drawing/2014/main" id="{72C85502-C007-49A3-A8AB-2BCC8C53945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51603" y="6174213"/>
              <a:ext cx="80211" cy="137753"/>
            </a:xfrm>
            <a:custGeom>
              <a:avLst/>
              <a:gdLst>
                <a:gd name="T0" fmla="*/ 24 w 31"/>
                <a:gd name="T1" fmla="*/ 54 h 54"/>
                <a:gd name="T2" fmla="*/ 24 w 31"/>
                <a:gd name="T3" fmla="*/ 32 h 54"/>
                <a:gd name="T4" fmla="*/ 22 w 31"/>
                <a:gd name="T5" fmla="*/ 24 h 54"/>
                <a:gd name="T6" fmla="*/ 16 w 31"/>
                <a:gd name="T7" fmla="*/ 22 h 54"/>
                <a:gd name="T8" fmla="*/ 13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8 w 31"/>
                <a:gd name="T15" fmla="*/ 31 h 54"/>
                <a:gd name="T16" fmla="*/ 8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8 w 31"/>
                <a:gd name="T23" fmla="*/ 0 h 54"/>
                <a:gd name="T24" fmla="*/ 8 w 31"/>
                <a:gd name="T25" fmla="*/ 19 h 54"/>
                <a:gd name="T26" fmla="*/ 10 w 31"/>
                <a:gd name="T27" fmla="*/ 17 h 54"/>
                <a:gd name="T28" fmla="*/ 12 w 31"/>
                <a:gd name="T29" fmla="*/ 16 h 54"/>
                <a:gd name="T30" fmla="*/ 15 w 31"/>
                <a:gd name="T31" fmla="*/ 15 h 54"/>
                <a:gd name="T32" fmla="*/ 18 w 31"/>
                <a:gd name="T33" fmla="*/ 15 h 54"/>
                <a:gd name="T34" fmla="*/ 24 w 31"/>
                <a:gd name="T35" fmla="*/ 16 h 54"/>
                <a:gd name="T36" fmla="*/ 28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4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4" y="54"/>
                  </a:moveTo>
                  <a:cubicBezTo>
                    <a:pt x="24" y="32"/>
                    <a:pt x="24" y="32"/>
                    <a:pt x="24" y="32"/>
                  </a:cubicBezTo>
                  <a:cubicBezTo>
                    <a:pt x="24" y="28"/>
                    <a:pt x="23" y="26"/>
                    <a:pt x="22" y="24"/>
                  </a:cubicBezTo>
                  <a:cubicBezTo>
                    <a:pt x="21" y="22"/>
                    <a:pt x="19" y="22"/>
                    <a:pt x="16" y="22"/>
                  </a:cubicBezTo>
                  <a:cubicBezTo>
                    <a:pt x="15" y="22"/>
                    <a:pt x="14" y="22"/>
                    <a:pt x="13" y="22"/>
                  </a:cubicBezTo>
                  <a:cubicBezTo>
                    <a:pt x="12" y="22"/>
                    <a:pt x="11" y="23"/>
                    <a:pt x="10" y="24"/>
                  </a:cubicBezTo>
                  <a:cubicBezTo>
                    <a:pt x="9" y="25"/>
                    <a:pt x="9" y="26"/>
                    <a:pt x="8" y="27"/>
                  </a:cubicBezTo>
                  <a:cubicBezTo>
                    <a:pt x="8" y="28"/>
                    <a:pt x="8" y="30"/>
                    <a:pt x="8" y="31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3" y="15"/>
                    <a:pt x="14" y="15"/>
                    <a:pt x="15" y="15"/>
                  </a:cubicBezTo>
                  <a:cubicBezTo>
                    <a:pt x="16" y="15"/>
                    <a:pt x="17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29" y="20"/>
                    <a:pt x="30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4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4" name="Freeform 31">
              <a:extLst>
                <a:ext uri="{FF2B5EF4-FFF2-40B4-BE49-F238E27FC236}">
                  <a16:creationId xmlns:a16="http://schemas.microsoft.com/office/drawing/2014/main" id="{9A42586B-B388-4323-82EB-ED3423EDC5D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50996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1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5" name="Freeform 32">
              <a:extLst>
                <a:ext uri="{FF2B5EF4-FFF2-40B4-BE49-F238E27FC236}">
                  <a16:creationId xmlns:a16="http://schemas.microsoft.com/office/drawing/2014/main" id="{558D2F0C-3796-492F-9EBD-4BB822191F3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02698" y="6174213"/>
              <a:ext cx="80211" cy="139497"/>
            </a:xfrm>
            <a:custGeom>
              <a:avLst/>
              <a:gdLst>
                <a:gd name="T0" fmla="*/ 32 w 32"/>
                <a:gd name="T1" fmla="*/ 35 h 55"/>
                <a:gd name="T2" fmla="*/ 31 w 32"/>
                <a:gd name="T3" fmla="*/ 44 h 55"/>
                <a:gd name="T4" fmla="*/ 28 w 32"/>
                <a:gd name="T5" fmla="*/ 50 h 55"/>
                <a:gd name="T6" fmla="*/ 23 w 32"/>
                <a:gd name="T7" fmla="*/ 53 h 55"/>
                <a:gd name="T8" fmla="*/ 17 w 32"/>
                <a:gd name="T9" fmla="*/ 55 h 55"/>
                <a:gd name="T10" fmla="*/ 12 w 32"/>
                <a:gd name="T11" fmla="*/ 53 h 55"/>
                <a:gd name="T12" fmla="*/ 7 w 32"/>
                <a:gd name="T13" fmla="*/ 50 h 55"/>
                <a:gd name="T14" fmla="*/ 7 w 32"/>
                <a:gd name="T15" fmla="*/ 54 h 55"/>
                <a:gd name="T16" fmla="*/ 0 w 32"/>
                <a:gd name="T17" fmla="*/ 54 h 55"/>
                <a:gd name="T18" fmla="*/ 0 w 32"/>
                <a:gd name="T19" fmla="*/ 4 h 55"/>
                <a:gd name="T20" fmla="*/ 7 w 32"/>
                <a:gd name="T21" fmla="*/ 0 h 55"/>
                <a:gd name="T22" fmla="*/ 7 w 32"/>
                <a:gd name="T23" fmla="*/ 19 h 55"/>
                <a:gd name="T24" fmla="*/ 10 w 32"/>
                <a:gd name="T25" fmla="*/ 17 h 55"/>
                <a:gd name="T26" fmla="*/ 12 w 32"/>
                <a:gd name="T27" fmla="*/ 16 h 55"/>
                <a:gd name="T28" fmla="*/ 14 w 32"/>
                <a:gd name="T29" fmla="*/ 15 h 55"/>
                <a:gd name="T30" fmla="*/ 17 w 32"/>
                <a:gd name="T31" fmla="*/ 15 h 55"/>
                <a:gd name="T32" fmla="*/ 23 w 32"/>
                <a:gd name="T33" fmla="*/ 16 h 55"/>
                <a:gd name="T34" fmla="*/ 28 w 32"/>
                <a:gd name="T35" fmla="*/ 19 h 55"/>
                <a:gd name="T36" fmla="*/ 31 w 32"/>
                <a:gd name="T37" fmla="*/ 26 h 55"/>
                <a:gd name="T38" fmla="*/ 32 w 32"/>
                <a:gd name="T39" fmla="*/ 35 h 55"/>
                <a:gd name="T40" fmla="*/ 25 w 32"/>
                <a:gd name="T41" fmla="*/ 35 h 55"/>
                <a:gd name="T42" fmla="*/ 23 w 32"/>
                <a:gd name="T43" fmla="*/ 25 h 55"/>
                <a:gd name="T44" fmla="*/ 16 w 32"/>
                <a:gd name="T45" fmla="*/ 22 h 55"/>
                <a:gd name="T46" fmla="*/ 14 w 32"/>
                <a:gd name="T47" fmla="*/ 22 h 55"/>
                <a:gd name="T48" fmla="*/ 11 w 32"/>
                <a:gd name="T49" fmla="*/ 23 h 55"/>
                <a:gd name="T50" fmla="*/ 9 w 32"/>
                <a:gd name="T51" fmla="*/ 25 h 55"/>
                <a:gd name="T52" fmla="*/ 7 w 32"/>
                <a:gd name="T53" fmla="*/ 26 h 55"/>
                <a:gd name="T54" fmla="*/ 7 w 32"/>
                <a:gd name="T55" fmla="*/ 43 h 55"/>
                <a:gd name="T56" fmla="*/ 9 w 32"/>
                <a:gd name="T57" fmla="*/ 44 h 55"/>
                <a:gd name="T58" fmla="*/ 11 w 32"/>
                <a:gd name="T59" fmla="*/ 46 h 55"/>
                <a:gd name="T60" fmla="*/ 14 w 32"/>
                <a:gd name="T61" fmla="*/ 47 h 55"/>
                <a:gd name="T62" fmla="*/ 16 w 32"/>
                <a:gd name="T63" fmla="*/ 48 h 55"/>
                <a:gd name="T64" fmla="*/ 23 w 32"/>
                <a:gd name="T65" fmla="*/ 45 h 55"/>
                <a:gd name="T66" fmla="*/ 25 w 32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2" h="55">
                  <a:moveTo>
                    <a:pt x="32" y="35"/>
                  </a:moveTo>
                  <a:cubicBezTo>
                    <a:pt x="32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6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5" y="55"/>
                    <a:pt x="13" y="54"/>
                    <a:pt x="12" y="53"/>
                  </a:cubicBezTo>
                  <a:cubicBezTo>
                    <a:pt x="10" y="52"/>
                    <a:pt x="9" y="51"/>
                    <a:pt x="7" y="50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6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20" y="15"/>
                    <a:pt x="21" y="15"/>
                    <a:pt x="23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29" y="21"/>
                    <a:pt x="30" y="23"/>
                    <a:pt x="31" y="26"/>
                  </a:cubicBezTo>
                  <a:cubicBezTo>
                    <a:pt x="32" y="28"/>
                    <a:pt x="32" y="32"/>
                    <a:pt x="32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4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0" y="23"/>
                    <a:pt x="10" y="24"/>
                    <a:pt x="9" y="25"/>
                  </a:cubicBezTo>
                  <a:cubicBezTo>
                    <a:pt x="8" y="25"/>
                    <a:pt x="8" y="26"/>
                    <a:pt x="7" y="26"/>
                  </a:cubicBezTo>
                  <a:cubicBezTo>
                    <a:pt x="7" y="43"/>
                    <a:pt x="7" y="43"/>
                    <a:pt x="7" y="43"/>
                  </a:cubicBezTo>
                  <a:cubicBezTo>
                    <a:pt x="8" y="43"/>
                    <a:pt x="8" y="44"/>
                    <a:pt x="9" y="44"/>
                  </a:cubicBezTo>
                  <a:cubicBezTo>
                    <a:pt x="10" y="45"/>
                    <a:pt x="10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5" y="48"/>
                    <a:pt x="16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6" name="Freeform 33">
              <a:extLst>
                <a:ext uri="{FF2B5EF4-FFF2-40B4-BE49-F238E27FC236}">
                  <a16:creationId xmlns:a16="http://schemas.microsoft.com/office/drawing/2014/main" id="{DE4E3633-17EF-414F-A86D-0B6A9F2F098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9860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8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8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3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7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7" name="Freeform 34">
              <a:extLst>
                <a:ext uri="{FF2B5EF4-FFF2-40B4-BE49-F238E27FC236}">
                  <a16:creationId xmlns:a16="http://schemas.microsoft.com/office/drawing/2014/main" id="{2572AE39-9386-47FC-B6AF-FBCF804BEB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625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3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8" name="Freeform 35">
              <a:extLst>
                <a:ext uri="{FF2B5EF4-FFF2-40B4-BE49-F238E27FC236}">
                  <a16:creationId xmlns:a16="http://schemas.microsoft.com/office/drawing/2014/main" id="{7096AEC6-B8C0-4212-842F-89677AE7D80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64256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7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6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7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9" name="Freeform 36">
              <a:extLst>
                <a:ext uri="{FF2B5EF4-FFF2-40B4-BE49-F238E27FC236}">
                  <a16:creationId xmlns:a16="http://schemas.microsoft.com/office/drawing/2014/main" id="{406AD873-E434-40CF-BFBD-6D1D1CA7CB8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2340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0" name="Freeform 37">
              <a:extLst>
                <a:ext uri="{FF2B5EF4-FFF2-40B4-BE49-F238E27FC236}">
                  <a16:creationId xmlns:a16="http://schemas.microsoft.com/office/drawing/2014/main" id="{74857EE2-44CC-4E8F-B1BB-355509B3EFE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36884" y="6212575"/>
              <a:ext cx="59286" cy="99391"/>
            </a:xfrm>
            <a:custGeom>
              <a:avLst/>
              <a:gdLst>
                <a:gd name="T0" fmla="*/ 21 w 23"/>
                <a:gd name="T1" fmla="*/ 8 h 39"/>
                <a:gd name="T2" fmla="*/ 19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9" y="7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1" name="Freeform 38">
              <a:extLst>
                <a:ext uri="{FF2B5EF4-FFF2-40B4-BE49-F238E27FC236}">
                  <a16:creationId xmlns:a16="http://schemas.microsoft.com/office/drawing/2014/main" id="{D39EC8B1-952E-4BF5-9735-6A38584161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51969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2" name="Freeform 39">
              <a:extLst>
                <a:ext uri="{FF2B5EF4-FFF2-40B4-BE49-F238E27FC236}">
                  <a16:creationId xmlns:a16="http://schemas.microsoft.com/office/drawing/2014/main" id="{EA37D3DF-3401-44BD-97F4-F423BFC87A1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30436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3" name="Freeform 40">
              <a:extLst>
                <a:ext uri="{FF2B5EF4-FFF2-40B4-BE49-F238E27FC236}">
                  <a16:creationId xmlns:a16="http://schemas.microsoft.com/office/drawing/2014/main" id="{7DFA4B46-95EA-4D4D-800F-4D2DB7BB66E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62808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4" name="Freeform 41">
              <a:extLst>
                <a:ext uri="{FF2B5EF4-FFF2-40B4-BE49-F238E27FC236}">
                  <a16:creationId xmlns:a16="http://schemas.microsoft.com/office/drawing/2014/main" id="{EF5012BA-3255-4BEF-8F4F-9117A6BEF32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772813" y="6212575"/>
              <a:ext cx="81955" cy="101135"/>
            </a:xfrm>
            <a:custGeom>
              <a:avLst/>
              <a:gdLst>
                <a:gd name="T0" fmla="*/ 24 w 32"/>
                <a:gd name="T1" fmla="*/ 39 h 40"/>
                <a:gd name="T2" fmla="*/ 24 w 32"/>
                <a:gd name="T3" fmla="*/ 35 h 40"/>
                <a:gd name="T4" fmla="*/ 22 w 32"/>
                <a:gd name="T5" fmla="*/ 37 h 40"/>
                <a:gd name="T6" fmla="*/ 20 w 32"/>
                <a:gd name="T7" fmla="*/ 38 h 40"/>
                <a:gd name="T8" fmla="*/ 17 w 32"/>
                <a:gd name="T9" fmla="*/ 39 h 40"/>
                <a:gd name="T10" fmla="*/ 14 w 32"/>
                <a:gd name="T11" fmla="*/ 40 h 40"/>
                <a:gd name="T12" fmla="*/ 9 w 32"/>
                <a:gd name="T13" fmla="*/ 39 h 40"/>
                <a:gd name="T14" fmla="*/ 5 w 32"/>
                <a:gd name="T15" fmla="*/ 37 h 40"/>
                <a:gd name="T16" fmla="*/ 2 w 32"/>
                <a:gd name="T17" fmla="*/ 33 h 40"/>
                <a:gd name="T18" fmla="*/ 0 w 32"/>
                <a:gd name="T19" fmla="*/ 27 h 40"/>
                <a:gd name="T20" fmla="*/ 2 w 32"/>
                <a:gd name="T21" fmla="*/ 21 h 40"/>
                <a:gd name="T22" fmla="*/ 5 w 32"/>
                <a:gd name="T23" fmla="*/ 17 h 40"/>
                <a:gd name="T24" fmla="*/ 10 w 32"/>
                <a:gd name="T25" fmla="*/ 15 h 40"/>
                <a:gd name="T26" fmla="*/ 16 w 32"/>
                <a:gd name="T27" fmla="*/ 14 h 40"/>
                <a:gd name="T28" fmla="*/ 21 w 32"/>
                <a:gd name="T29" fmla="*/ 15 h 40"/>
                <a:gd name="T30" fmla="*/ 24 w 32"/>
                <a:gd name="T31" fmla="*/ 16 h 40"/>
                <a:gd name="T32" fmla="*/ 24 w 32"/>
                <a:gd name="T33" fmla="*/ 13 h 40"/>
                <a:gd name="T34" fmla="*/ 22 w 32"/>
                <a:gd name="T35" fmla="*/ 8 h 40"/>
                <a:gd name="T36" fmla="*/ 17 w 32"/>
                <a:gd name="T37" fmla="*/ 6 h 40"/>
                <a:gd name="T38" fmla="*/ 12 w 32"/>
                <a:gd name="T39" fmla="*/ 7 h 40"/>
                <a:gd name="T40" fmla="*/ 7 w 32"/>
                <a:gd name="T41" fmla="*/ 9 h 40"/>
                <a:gd name="T42" fmla="*/ 4 w 32"/>
                <a:gd name="T43" fmla="*/ 3 h 40"/>
                <a:gd name="T44" fmla="*/ 10 w 32"/>
                <a:gd name="T45" fmla="*/ 0 h 40"/>
                <a:gd name="T46" fmla="*/ 17 w 32"/>
                <a:gd name="T47" fmla="*/ 0 h 40"/>
                <a:gd name="T48" fmla="*/ 23 w 32"/>
                <a:gd name="T49" fmla="*/ 0 h 40"/>
                <a:gd name="T50" fmla="*/ 28 w 32"/>
                <a:gd name="T51" fmla="*/ 3 h 40"/>
                <a:gd name="T52" fmla="*/ 31 w 32"/>
                <a:gd name="T53" fmla="*/ 7 h 40"/>
                <a:gd name="T54" fmla="*/ 32 w 32"/>
                <a:gd name="T55" fmla="*/ 12 h 40"/>
                <a:gd name="T56" fmla="*/ 32 w 32"/>
                <a:gd name="T57" fmla="*/ 39 h 40"/>
                <a:gd name="T58" fmla="*/ 24 w 32"/>
                <a:gd name="T59" fmla="*/ 39 h 40"/>
                <a:gd name="T60" fmla="*/ 24 w 32"/>
                <a:gd name="T61" fmla="*/ 22 h 40"/>
                <a:gd name="T62" fmla="*/ 22 w 32"/>
                <a:gd name="T63" fmla="*/ 22 h 40"/>
                <a:gd name="T64" fmla="*/ 21 w 32"/>
                <a:gd name="T65" fmla="*/ 21 h 40"/>
                <a:gd name="T66" fmla="*/ 18 w 32"/>
                <a:gd name="T67" fmla="*/ 21 h 40"/>
                <a:gd name="T68" fmla="*/ 16 w 32"/>
                <a:gd name="T69" fmla="*/ 21 h 40"/>
                <a:gd name="T70" fmla="*/ 10 w 32"/>
                <a:gd name="T71" fmla="*/ 22 h 40"/>
                <a:gd name="T72" fmla="*/ 8 w 32"/>
                <a:gd name="T73" fmla="*/ 26 h 40"/>
                <a:gd name="T74" fmla="*/ 8 w 32"/>
                <a:gd name="T75" fmla="*/ 29 h 40"/>
                <a:gd name="T76" fmla="*/ 10 w 32"/>
                <a:gd name="T77" fmla="*/ 31 h 40"/>
                <a:gd name="T78" fmla="*/ 12 w 32"/>
                <a:gd name="T79" fmla="*/ 32 h 40"/>
                <a:gd name="T80" fmla="*/ 15 w 32"/>
                <a:gd name="T81" fmla="*/ 33 h 40"/>
                <a:gd name="T82" fmla="*/ 18 w 32"/>
                <a:gd name="T83" fmla="*/ 32 h 40"/>
                <a:gd name="T84" fmla="*/ 21 w 32"/>
                <a:gd name="T85" fmla="*/ 31 h 40"/>
                <a:gd name="T86" fmla="*/ 23 w 32"/>
                <a:gd name="T87" fmla="*/ 30 h 40"/>
                <a:gd name="T88" fmla="*/ 24 w 32"/>
                <a:gd name="T89" fmla="*/ 28 h 40"/>
                <a:gd name="T90" fmla="*/ 24 w 32"/>
                <a:gd name="T91" fmla="*/ 2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2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3" y="37"/>
                    <a:pt x="22" y="37"/>
                  </a:cubicBezTo>
                  <a:cubicBezTo>
                    <a:pt x="21" y="37"/>
                    <a:pt x="21" y="38"/>
                    <a:pt x="20" y="38"/>
                  </a:cubicBezTo>
                  <a:cubicBezTo>
                    <a:pt x="19" y="39"/>
                    <a:pt x="18" y="39"/>
                    <a:pt x="17" y="39"/>
                  </a:cubicBezTo>
                  <a:cubicBezTo>
                    <a:pt x="16" y="39"/>
                    <a:pt x="15" y="40"/>
                    <a:pt x="14" y="40"/>
                  </a:cubicBezTo>
                  <a:cubicBezTo>
                    <a:pt x="12" y="40"/>
                    <a:pt x="11" y="39"/>
                    <a:pt x="9" y="39"/>
                  </a:cubicBezTo>
                  <a:cubicBezTo>
                    <a:pt x="7" y="38"/>
                    <a:pt x="6" y="38"/>
                    <a:pt x="5" y="37"/>
                  </a:cubicBezTo>
                  <a:cubicBezTo>
                    <a:pt x="3" y="36"/>
                    <a:pt x="2" y="34"/>
                    <a:pt x="2" y="33"/>
                  </a:cubicBezTo>
                  <a:cubicBezTo>
                    <a:pt x="1" y="31"/>
                    <a:pt x="0" y="29"/>
                    <a:pt x="0" y="27"/>
                  </a:cubicBezTo>
                  <a:cubicBezTo>
                    <a:pt x="0" y="24"/>
                    <a:pt x="1" y="23"/>
                    <a:pt x="2" y="21"/>
                  </a:cubicBezTo>
                  <a:cubicBezTo>
                    <a:pt x="2" y="20"/>
                    <a:pt x="3" y="18"/>
                    <a:pt x="5" y="17"/>
                  </a:cubicBezTo>
                  <a:cubicBezTo>
                    <a:pt x="6" y="16"/>
                    <a:pt x="8" y="15"/>
                    <a:pt x="10" y="15"/>
                  </a:cubicBezTo>
                  <a:cubicBezTo>
                    <a:pt x="12" y="14"/>
                    <a:pt x="14" y="14"/>
                    <a:pt x="16" y="14"/>
                  </a:cubicBezTo>
                  <a:cubicBezTo>
                    <a:pt x="18" y="14"/>
                    <a:pt x="19" y="14"/>
                    <a:pt x="21" y="15"/>
                  </a:cubicBezTo>
                  <a:cubicBezTo>
                    <a:pt x="22" y="15"/>
                    <a:pt x="23" y="15"/>
                    <a:pt x="24" y="16"/>
                  </a:cubicBezTo>
                  <a:cubicBezTo>
                    <a:pt x="24" y="13"/>
                    <a:pt x="24" y="13"/>
                    <a:pt x="24" y="13"/>
                  </a:cubicBezTo>
                  <a:cubicBezTo>
                    <a:pt x="24" y="11"/>
                    <a:pt x="24" y="9"/>
                    <a:pt x="22" y="8"/>
                  </a:cubicBezTo>
                  <a:cubicBezTo>
                    <a:pt x="21" y="7"/>
                    <a:pt x="19" y="6"/>
                    <a:pt x="17" y="6"/>
                  </a:cubicBezTo>
                  <a:cubicBezTo>
                    <a:pt x="15" y="6"/>
                    <a:pt x="13" y="6"/>
                    <a:pt x="12" y="7"/>
                  </a:cubicBezTo>
                  <a:cubicBezTo>
                    <a:pt x="10" y="7"/>
                    <a:pt x="9" y="8"/>
                    <a:pt x="7" y="9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6" y="2"/>
                    <a:pt x="8" y="1"/>
                    <a:pt x="10" y="0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19" y="0"/>
                    <a:pt x="21" y="0"/>
                    <a:pt x="23" y="0"/>
                  </a:cubicBezTo>
                  <a:cubicBezTo>
                    <a:pt x="25" y="1"/>
                    <a:pt x="26" y="2"/>
                    <a:pt x="28" y="3"/>
                  </a:cubicBezTo>
                  <a:cubicBezTo>
                    <a:pt x="29" y="4"/>
                    <a:pt x="30" y="5"/>
                    <a:pt x="31" y="7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2" y="39"/>
                    <a:pt x="32" y="39"/>
                    <a:pt x="32" y="39"/>
                  </a:cubicBezTo>
                  <a:lnTo>
                    <a:pt x="24" y="39"/>
                  </a:lnTo>
                  <a:close/>
                  <a:moveTo>
                    <a:pt x="24" y="22"/>
                  </a:moveTo>
                  <a:cubicBezTo>
                    <a:pt x="24" y="22"/>
                    <a:pt x="23" y="22"/>
                    <a:pt x="22" y="22"/>
                  </a:cubicBezTo>
                  <a:cubicBezTo>
                    <a:pt x="22" y="21"/>
                    <a:pt x="21" y="21"/>
                    <a:pt x="21" y="21"/>
                  </a:cubicBezTo>
                  <a:cubicBezTo>
                    <a:pt x="20" y="21"/>
                    <a:pt x="19" y="21"/>
                    <a:pt x="18" y="21"/>
                  </a:cubicBezTo>
                  <a:cubicBezTo>
                    <a:pt x="17" y="21"/>
                    <a:pt x="17" y="21"/>
                    <a:pt x="16" y="21"/>
                  </a:cubicBezTo>
                  <a:cubicBezTo>
                    <a:pt x="13" y="21"/>
                    <a:pt x="11" y="21"/>
                    <a:pt x="10" y="22"/>
                  </a:cubicBezTo>
                  <a:cubicBezTo>
                    <a:pt x="8" y="23"/>
                    <a:pt x="8" y="25"/>
                    <a:pt x="8" y="26"/>
                  </a:cubicBezTo>
                  <a:cubicBezTo>
                    <a:pt x="8" y="28"/>
                    <a:pt x="8" y="29"/>
                    <a:pt x="8" y="29"/>
                  </a:cubicBezTo>
                  <a:cubicBezTo>
                    <a:pt x="9" y="30"/>
                    <a:pt x="9" y="31"/>
                    <a:pt x="10" y="31"/>
                  </a:cubicBezTo>
                  <a:cubicBezTo>
                    <a:pt x="10" y="32"/>
                    <a:pt x="11" y="32"/>
                    <a:pt x="12" y="32"/>
                  </a:cubicBezTo>
                  <a:cubicBezTo>
                    <a:pt x="13" y="33"/>
                    <a:pt x="14" y="33"/>
                    <a:pt x="15" y="33"/>
                  </a:cubicBezTo>
                  <a:cubicBezTo>
                    <a:pt x="16" y="33"/>
                    <a:pt x="17" y="33"/>
                    <a:pt x="18" y="32"/>
                  </a:cubicBezTo>
                  <a:cubicBezTo>
                    <a:pt x="19" y="32"/>
                    <a:pt x="20" y="32"/>
                    <a:pt x="21" y="31"/>
                  </a:cubicBezTo>
                  <a:cubicBezTo>
                    <a:pt x="21" y="31"/>
                    <a:pt x="22" y="30"/>
                    <a:pt x="23" y="30"/>
                  </a:cubicBezTo>
                  <a:cubicBezTo>
                    <a:pt x="23" y="29"/>
                    <a:pt x="24" y="28"/>
                    <a:pt x="24" y="28"/>
                  </a:cubicBezTo>
                  <a:lnTo>
                    <a:pt x="24" y="2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5" name="Freeform 42">
              <a:extLst>
                <a:ext uri="{FF2B5EF4-FFF2-40B4-BE49-F238E27FC236}">
                  <a16:creationId xmlns:a16="http://schemas.microsoft.com/office/drawing/2014/main" id="{223989A0-E246-4806-AF7E-9D6C2B1DD48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77436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2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10 w 31"/>
                <a:gd name="T11" fmla="*/ 9 h 39"/>
                <a:gd name="T12" fmla="*/ 8 w 31"/>
                <a:gd name="T13" fmla="*/ 12 h 39"/>
                <a:gd name="T14" fmla="*/ 8 w 31"/>
                <a:gd name="T15" fmla="*/ 16 h 39"/>
                <a:gd name="T16" fmla="*/ 8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8 w 31"/>
                <a:gd name="T23" fmla="*/ 0 h 39"/>
                <a:gd name="T24" fmla="*/ 8 w 31"/>
                <a:gd name="T25" fmla="*/ 4 h 39"/>
                <a:gd name="T26" fmla="*/ 9 w 31"/>
                <a:gd name="T27" fmla="*/ 2 h 39"/>
                <a:gd name="T28" fmla="*/ 12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8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2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10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8" y="15"/>
                    <a:pt x="8" y="16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2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20" y="0"/>
                    <a:pt x="22" y="0"/>
                    <a:pt x="23" y="1"/>
                  </a:cubicBezTo>
                  <a:cubicBezTo>
                    <a:pt x="25" y="1"/>
                    <a:pt x="26" y="2"/>
                    <a:pt x="28" y="4"/>
                  </a:cubicBezTo>
                  <a:cubicBezTo>
                    <a:pt x="29" y="5"/>
                    <a:pt x="29" y="7"/>
                    <a:pt x="30" y="9"/>
                  </a:cubicBezTo>
                  <a:cubicBezTo>
                    <a:pt x="31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6" name="Freeform 43">
              <a:extLst>
                <a:ext uri="{FF2B5EF4-FFF2-40B4-BE49-F238E27FC236}">
                  <a16:creationId xmlns:a16="http://schemas.microsoft.com/office/drawing/2014/main" id="{5FED967A-F1ED-4489-A689-A9A49A2780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75084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0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3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6 w 29"/>
                <a:gd name="T55" fmla="*/ 24 h 40"/>
                <a:gd name="T56" fmla="*/ 13 w 29"/>
                <a:gd name="T57" fmla="*/ 22 h 40"/>
                <a:gd name="T58" fmla="*/ 7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1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2" y="6"/>
                    <a:pt x="11" y="7"/>
                    <a:pt x="10" y="7"/>
                  </a:cubicBezTo>
                  <a:cubicBezTo>
                    <a:pt x="9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1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8" y="25"/>
                    <a:pt x="18" y="24"/>
                    <a:pt x="16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7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2" y="15"/>
                    <a:pt x="2" y="14"/>
                  </a:cubicBezTo>
                  <a:cubicBezTo>
                    <a:pt x="2" y="13"/>
                    <a:pt x="1" y="12"/>
                    <a:pt x="1" y="10"/>
                  </a:cubicBezTo>
                  <a:cubicBezTo>
                    <a:pt x="1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7" name="Freeform 44">
              <a:extLst>
                <a:ext uri="{FF2B5EF4-FFF2-40B4-BE49-F238E27FC236}">
                  <a16:creationId xmlns:a16="http://schemas.microsoft.com/office/drawing/2014/main" id="{DA362954-FE74-40B7-AB98-CC8AC60FFC8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58782" y="6212575"/>
              <a:ext cx="122060" cy="99391"/>
            </a:xfrm>
            <a:custGeom>
              <a:avLst/>
              <a:gdLst>
                <a:gd name="T0" fmla="*/ 55 w 70"/>
                <a:gd name="T1" fmla="*/ 57 h 57"/>
                <a:gd name="T2" fmla="*/ 45 w 70"/>
                <a:gd name="T3" fmla="*/ 57 h 57"/>
                <a:gd name="T4" fmla="*/ 35 w 70"/>
                <a:gd name="T5" fmla="*/ 17 h 57"/>
                <a:gd name="T6" fmla="*/ 25 w 70"/>
                <a:gd name="T7" fmla="*/ 57 h 57"/>
                <a:gd name="T8" fmla="*/ 14 w 70"/>
                <a:gd name="T9" fmla="*/ 57 h 57"/>
                <a:gd name="T10" fmla="*/ 0 w 70"/>
                <a:gd name="T11" fmla="*/ 0 h 57"/>
                <a:gd name="T12" fmla="*/ 10 w 70"/>
                <a:gd name="T13" fmla="*/ 0 h 57"/>
                <a:gd name="T14" fmla="*/ 20 w 70"/>
                <a:gd name="T15" fmla="*/ 39 h 57"/>
                <a:gd name="T16" fmla="*/ 30 w 70"/>
                <a:gd name="T17" fmla="*/ 0 h 57"/>
                <a:gd name="T18" fmla="*/ 39 w 70"/>
                <a:gd name="T19" fmla="*/ 0 h 57"/>
                <a:gd name="T20" fmla="*/ 49 w 70"/>
                <a:gd name="T21" fmla="*/ 39 h 57"/>
                <a:gd name="T22" fmla="*/ 60 w 70"/>
                <a:gd name="T23" fmla="*/ 0 h 57"/>
                <a:gd name="T24" fmla="*/ 70 w 70"/>
                <a:gd name="T25" fmla="*/ 0 h 57"/>
                <a:gd name="T26" fmla="*/ 55 w 70"/>
                <a:gd name="T27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7">
                  <a:moveTo>
                    <a:pt x="55" y="57"/>
                  </a:moveTo>
                  <a:lnTo>
                    <a:pt x="45" y="57"/>
                  </a:lnTo>
                  <a:lnTo>
                    <a:pt x="35" y="17"/>
                  </a:lnTo>
                  <a:lnTo>
                    <a:pt x="25" y="57"/>
                  </a:lnTo>
                  <a:lnTo>
                    <a:pt x="14" y="57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0" y="39"/>
                  </a:lnTo>
                  <a:lnTo>
                    <a:pt x="30" y="0"/>
                  </a:lnTo>
                  <a:lnTo>
                    <a:pt x="39" y="0"/>
                  </a:lnTo>
                  <a:lnTo>
                    <a:pt x="49" y="39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8" name="Freeform 45">
              <a:extLst>
                <a:ext uri="{FF2B5EF4-FFF2-40B4-BE49-F238E27FC236}">
                  <a16:creationId xmlns:a16="http://schemas.microsoft.com/office/drawing/2014/main" id="{C1C7EF3F-CB28-4C69-901C-8F9F09C5B59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1913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9" name="Freeform 46">
              <a:extLst>
                <a:ext uri="{FF2B5EF4-FFF2-40B4-BE49-F238E27FC236}">
                  <a16:creationId xmlns:a16="http://schemas.microsoft.com/office/drawing/2014/main" id="{80D5AA14-D31C-42E8-B89F-2FCABF20400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95927" y="6212575"/>
              <a:ext cx="57543" cy="99391"/>
            </a:xfrm>
            <a:custGeom>
              <a:avLst/>
              <a:gdLst>
                <a:gd name="T0" fmla="*/ 21 w 23"/>
                <a:gd name="T1" fmla="*/ 8 h 39"/>
                <a:gd name="T2" fmla="*/ 18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6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0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0" name="Freeform 47">
              <a:extLst>
                <a:ext uri="{FF2B5EF4-FFF2-40B4-BE49-F238E27FC236}">
                  <a16:creationId xmlns:a16="http://schemas.microsoft.com/office/drawing/2014/main" id="{3894EB82-A456-47F8-BB06-FE894AF4B86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6494" y="6284068"/>
              <a:ext cx="29644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3 w 12"/>
                <a:gd name="T11" fmla="*/ 11 h 12"/>
                <a:gd name="T12" fmla="*/ 2 w 12"/>
                <a:gd name="T13" fmla="*/ 10 h 12"/>
                <a:gd name="T14" fmla="*/ 0 w 12"/>
                <a:gd name="T15" fmla="*/ 8 h 12"/>
                <a:gd name="T16" fmla="*/ 0 w 12"/>
                <a:gd name="T17" fmla="*/ 6 h 12"/>
                <a:gd name="T18" fmla="*/ 0 w 12"/>
                <a:gd name="T19" fmla="*/ 4 h 12"/>
                <a:gd name="T20" fmla="*/ 2 w 12"/>
                <a:gd name="T21" fmla="*/ 2 h 12"/>
                <a:gd name="T22" fmla="*/ 3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3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0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3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1" name="Freeform 48">
              <a:extLst>
                <a:ext uri="{FF2B5EF4-FFF2-40B4-BE49-F238E27FC236}">
                  <a16:creationId xmlns:a16="http://schemas.microsoft.com/office/drawing/2014/main" id="{A88F5C3F-FAE1-4A50-86D3-E9A1CAA89A9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388691"/>
              <a:ext cx="94161" cy="130778"/>
            </a:xfrm>
            <a:custGeom>
              <a:avLst/>
              <a:gdLst>
                <a:gd name="T0" fmla="*/ 32 w 54"/>
                <a:gd name="T1" fmla="*/ 12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2 h 75"/>
                <a:gd name="T8" fmla="*/ 0 w 54"/>
                <a:gd name="T9" fmla="*/ 12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2 h 75"/>
                <a:gd name="T16" fmla="*/ 32 w 54"/>
                <a:gd name="T17" fmla="*/ 12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2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2"/>
                  </a:lnTo>
                  <a:lnTo>
                    <a:pt x="0" y="12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2"/>
                  </a:lnTo>
                  <a:lnTo>
                    <a:pt x="32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2" name="Freeform 49">
              <a:extLst>
                <a:ext uri="{FF2B5EF4-FFF2-40B4-BE49-F238E27FC236}">
                  <a16:creationId xmlns:a16="http://schemas.microsoft.com/office/drawing/2014/main" id="{1EFCBDA7-FA42-4391-9872-95EB6DDEA68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383459"/>
              <a:ext cx="78468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9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1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7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7"/>
                    <a:pt x="9" y="17"/>
                  </a:cubicBezTo>
                  <a:cubicBezTo>
                    <a:pt x="10" y="16"/>
                    <a:pt x="10" y="16"/>
                    <a:pt x="11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3" name="Freeform 50">
              <a:extLst>
                <a:ext uri="{FF2B5EF4-FFF2-40B4-BE49-F238E27FC236}">
                  <a16:creationId xmlns:a16="http://schemas.microsoft.com/office/drawing/2014/main" id="{721D8C30-DB23-4A0B-8A74-BC467086477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418333"/>
              <a:ext cx="85443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7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3 w 33"/>
                <a:gd name="T73" fmla="*/ 8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9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2" y="32"/>
                    <a:pt x="23" y="32"/>
                    <a:pt x="23" y="32"/>
                  </a:cubicBezTo>
                  <a:cubicBezTo>
                    <a:pt x="24" y="31"/>
                    <a:pt x="25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1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5" y="13"/>
                  </a:cubicBezTo>
                  <a:cubicBezTo>
                    <a:pt x="24" y="12"/>
                    <a:pt x="24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4" name="Freeform 51">
              <a:extLst>
                <a:ext uri="{FF2B5EF4-FFF2-40B4-BE49-F238E27FC236}">
                  <a16:creationId xmlns:a16="http://schemas.microsoft.com/office/drawing/2014/main" id="{01AD00CA-8BC7-4B62-AC64-03851855A7A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383459"/>
              <a:ext cx="83698" cy="137753"/>
            </a:xfrm>
            <a:custGeom>
              <a:avLst/>
              <a:gdLst>
                <a:gd name="T0" fmla="*/ 33 w 33"/>
                <a:gd name="T1" fmla="*/ 35 h 54"/>
                <a:gd name="T2" fmla="*/ 31 w 33"/>
                <a:gd name="T3" fmla="*/ 43 h 54"/>
                <a:gd name="T4" fmla="*/ 28 w 33"/>
                <a:gd name="T5" fmla="*/ 49 h 54"/>
                <a:gd name="T6" fmla="*/ 23 w 33"/>
                <a:gd name="T7" fmla="*/ 53 h 54"/>
                <a:gd name="T8" fmla="*/ 17 w 33"/>
                <a:gd name="T9" fmla="*/ 54 h 54"/>
                <a:gd name="T10" fmla="*/ 12 w 33"/>
                <a:gd name="T11" fmla="*/ 53 h 54"/>
                <a:gd name="T12" fmla="*/ 8 w 33"/>
                <a:gd name="T13" fmla="*/ 50 h 54"/>
                <a:gd name="T14" fmla="*/ 8 w 33"/>
                <a:gd name="T15" fmla="*/ 53 h 54"/>
                <a:gd name="T16" fmla="*/ 0 w 33"/>
                <a:gd name="T17" fmla="*/ 53 h 54"/>
                <a:gd name="T18" fmla="*/ 0 w 33"/>
                <a:gd name="T19" fmla="*/ 4 h 54"/>
                <a:gd name="T20" fmla="*/ 8 w 33"/>
                <a:gd name="T21" fmla="*/ 0 h 54"/>
                <a:gd name="T22" fmla="*/ 8 w 33"/>
                <a:gd name="T23" fmla="*/ 19 h 54"/>
                <a:gd name="T24" fmla="*/ 10 w 33"/>
                <a:gd name="T25" fmla="*/ 17 h 54"/>
                <a:gd name="T26" fmla="*/ 12 w 33"/>
                <a:gd name="T27" fmla="*/ 16 h 54"/>
                <a:gd name="T28" fmla="*/ 14 w 33"/>
                <a:gd name="T29" fmla="*/ 14 h 54"/>
                <a:gd name="T30" fmla="*/ 18 w 33"/>
                <a:gd name="T31" fmla="*/ 14 h 54"/>
                <a:gd name="T32" fmla="*/ 24 w 33"/>
                <a:gd name="T33" fmla="*/ 15 h 54"/>
                <a:gd name="T34" fmla="*/ 28 w 33"/>
                <a:gd name="T35" fmla="*/ 19 h 54"/>
                <a:gd name="T36" fmla="*/ 31 w 33"/>
                <a:gd name="T37" fmla="*/ 25 h 54"/>
                <a:gd name="T38" fmla="*/ 33 w 33"/>
                <a:gd name="T39" fmla="*/ 35 h 54"/>
                <a:gd name="T40" fmla="*/ 25 w 33"/>
                <a:gd name="T41" fmla="*/ 35 h 54"/>
                <a:gd name="T42" fmla="*/ 23 w 33"/>
                <a:gd name="T43" fmla="*/ 24 h 54"/>
                <a:gd name="T44" fmla="*/ 16 w 33"/>
                <a:gd name="T45" fmla="*/ 21 h 54"/>
                <a:gd name="T46" fmla="*/ 14 w 33"/>
                <a:gd name="T47" fmla="*/ 21 h 54"/>
                <a:gd name="T48" fmla="*/ 11 w 33"/>
                <a:gd name="T49" fmla="*/ 23 h 54"/>
                <a:gd name="T50" fmla="*/ 9 w 33"/>
                <a:gd name="T51" fmla="*/ 24 h 54"/>
                <a:gd name="T52" fmla="*/ 8 w 33"/>
                <a:gd name="T53" fmla="*/ 26 h 54"/>
                <a:gd name="T54" fmla="*/ 8 w 33"/>
                <a:gd name="T55" fmla="*/ 42 h 54"/>
                <a:gd name="T56" fmla="*/ 9 w 33"/>
                <a:gd name="T57" fmla="*/ 44 h 54"/>
                <a:gd name="T58" fmla="*/ 11 w 33"/>
                <a:gd name="T59" fmla="*/ 45 h 54"/>
                <a:gd name="T60" fmla="*/ 14 w 33"/>
                <a:gd name="T61" fmla="*/ 47 h 54"/>
                <a:gd name="T62" fmla="*/ 17 w 33"/>
                <a:gd name="T63" fmla="*/ 47 h 54"/>
                <a:gd name="T64" fmla="*/ 23 w 33"/>
                <a:gd name="T65" fmla="*/ 44 h 54"/>
                <a:gd name="T66" fmla="*/ 25 w 33"/>
                <a:gd name="T67" fmla="*/ 35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4">
                  <a:moveTo>
                    <a:pt x="33" y="35"/>
                  </a:moveTo>
                  <a:cubicBezTo>
                    <a:pt x="33" y="38"/>
                    <a:pt x="32" y="41"/>
                    <a:pt x="31" y="43"/>
                  </a:cubicBezTo>
                  <a:cubicBezTo>
                    <a:pt x="30" y="46"/>
                    <a:pt x="29" y="48"/>
                    <a:pt x="28" y="49"/>
                  </a:cubicBezTo>
                  <a:cubicBezTo>
                    <a:pt x="27" y="51"/>
                    <a:pt x="25" y="52"/>
                    <a:pt x="23" y="53"/>
                  </a:cubicBezTo>
                  <a:cubicBezTo>
                    <a:pt x="21" y="54"/>
                    <a:pt x="19" y="54"/>
                    <a:pt x="17" y="54"/>
                  </a:cubicBezTo>
                  <a:cubicBezTo>
                    <a:pt x="16" y="54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7"/>
                    <a:pt x="10" y="17"/>
                  </a:cubicBezTo>
                  <a:cubicBezTo>
                    <a:pt x="11" y="16"/>
                    <a:pt x="11" y="16"/>
                    <a:pt x="12" y="16"/>
                  </a:cubicBezTo>
                  <a:cubicBezTo>
                    <a:pt x="13" y="15"/>
                    <a:pt x="13" y="15"/>
                    <a:pt x="14" y="14"/>
                  </a:cubicBezTo>
                  <a:cubicBezTo>
                    <a:pt x="15" y="14"/>
                    <a:pt x="16" y="14"/>
                    <a:pt x="18" y="14"/>
                  </a:cubicBezTo>
                  <a:cubicBezTo>
                    <a:pt x="20" y="14"/>
                    <a:pt x="22" y="14"/>
                    <a:pt x="24" y="15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30" y="21"/>
                    <a:pt x="31" y="23"/>
                    <a:pt x="31" y="25"/>
                  </a:cubicBezTo>
                  <a:cubicBezTo>
                    <a:pt x="32" y="28"/>
                    <a:pt x="33" y="31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0"/>
                    <a:pt x="24" y="27"/>
                    <a:pt x="23" y="24"/>
                  </a:cubicBezTo>
                  <a:cubicBezTo>
                    <a:pt x="21" y="22"/>
                    <a:pt x="19" y="21"/>
                    <a:pt x="16" y="21"/>
                  </a:cubicBezTo>
                  <a:cubicBezTo>
                    <a:pt x="15" y="21"/>
                    <a:pt x="15" y="21"/>
                    <a:pt x="14" y="21"/>
                  </a:cubicBezTo>
                  <a:cubicBezTo>
                    <a:pt x="13" y="22"/>
                    <a:pt x="12" y="22"/>
                    <a:pt x="11" y="23"/>
                  </a:cubicBezTo>
                  <a:cubicBezTo>
                    <a:pt x="11" y="23"/>
                    <a:pt x="10" y="24"/>
                    <a:pt x="9" y="24"/>
                  </a:cubicBezTo>
                  <a:cubicBezTo>
                    <a:pt x="9" y="25"/>
                    <a:pt x="8" y="25"/>
                    <a:pt x="8" y="26"/>
                  </a:cubicBezTo>
                  <a:cubicBezTo>
                    <a:pt x="8" y="42"/>
                    <a:pt x="8" y="42"/>
                    <a:pt x="8" y="42"/>
                  </a:cubicBezTo>
                  <a:cubicBezTo>
                    <a:pt x="8" y="43"/>
                    <a:pt x="9" y="43"/>
                    <a:pt x="9" y="44"/>
                  </a:cubicBezTo>
                  <a:cubicBezTo>
                    <a:pt x="10" y="44"/>
                    <a:pt x="11" y="45"/>
                    <a:pt x="11" y="45"/>
                  </a:cubicBezTo>
                  <a:cubicBezTo>
                    <a:pt x="12" y="46"/>
                    <a:pt x="13" y="46"/>
                    <a:pt x="14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9" y="47"/>
                    <a:pt x="21" y="46"/>
                    <a:pt x="23" y="44"/>
                  </a:cubicBezTo>
                  <a:cubicBezTo>
                    <a:pt x="24" y="42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5" name="Freeform 52">
              <a:extLst>
                <a:ext uri="{FF2B5EF4-FFF2-40B4-BE49-F238E27FC236}">
                  <a16:creationId xmlns:a16="http://schemas.microsoft.com/office/drawing/2014/main" id="{BC957590-E3D7-48BF-A1DF-73DCD767385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1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4" y="31"/>
                    <a:pt x="24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6" name="Freeform 53">
              <a:extLst>
                <a:ext uri="{FF2B5EF4-FFF2-40B4-BE49-F238E27FC236}">
                  <a16:creationId xmlns:a16="http://schemas.microsoft.com/office/drawing/2014/main" id="{9BC2125B-AF0E-4411-AFA7-3F79B873BFB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1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2" y="54"/>
                    <a:pt x="11" y="54"/>
                  </a:cubicBezTo>
                  <a:cubicBezTo>
                    <a:pt x="10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2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7" name="Freeform 54">
              <a:extLst>
                <a:ext uri="{FF2B5EF4-FFF2-40B4-BE49-F238E27FC236}">
                  <a16:creationId xmlns:a16="http://schemas.microsoft.com/office/drawing/2014/main" id="{1E5BE33C-9675-423A-802C-0A789DB1851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8" name="Freeform 55">
              <a:extLst>
                <a:ext uri="{FF2B5EF4-FFF2-40B4-BE49-F238E27FC236}">
                  <a16:creationId xmlns:a16="http://schemas.microsoft.com/office/drawing/2014/main" id="{FB04A8AC-9DA2-4FB3-985A-DD8E6439135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0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2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0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3" y="31"/>
                    <a:pt x="24" y="31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0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7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9" name="Freeform 56">
              <a:extLst>
                <a:ext uri="{FF2B5EF4-FFF2-40B4-BE49-F238E27FC236}">
                  <a16:creationId xmlns:a16="http://schemas.microsoft.com/office/drawing/2014/main" id="{F365BB87-C861-4F40-A844-477BAA1EAA5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418333"/>
              <a:ext cx="55799" cy="101135"/>
            </a:xfrm>
            <a:custGeom>
              <a:avLst/>
              <a:gdLst>
                <a:gd name="T0" fmla="*/ 20 w 22"/>
                <a:gd name="T1" fmla="*/ 9 h 39"/>
                <a:gd name="T2" fmla="*/ 18 w 22"/>
                <a:gd name="T3" fmla="*/ 8 h 39"/>
                <a:gd name="T4" fmla="*/ 15 w 22"/>
                <a:gd name="T5" fmla="*/ 7 h 39"/>
                <a:gd name="T6" fmla="*/ 9 w 22"/>
                <a:gd name="T7" fmla="*/ 10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1 h 39"/>
                <a:gd name="T16" fmla="*/ 7 w 22"/>
                <a:gd name="T17" fmla="*/ 1 h 39"/>
                <a:gd name="T18" fmla="*/ 7 w 22"/>
                <a:gd name="T19" fmla="*/ 5 h 39"/>
                <a:gd name="T20" fmla="*/ 9 w 22"/>
                <a:gd name="T21" fmla="*/ 3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1 h 39"/>
                <a:gd name="T30" fmla="*/ 22 w 22"/>
                <a:gd name="T31" fmla="*/ 2 h 39"/>
                <a:gd name="T32" fmla="*/ 20 w 22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7" y="8"/>
                    <a:pt x="16" y="7"/>
                    <a:pt x="15" y="7"/>
                  </a:cubicBezTo>
                  <a:cubicBezTo>
                    <a:pt x="12" y="7"/>
                    <a:pt x="10" y="8"/>
                    <a:pt x="9" y="10"/>
                  </a:cubicBezTo>
                  <a:cubicBezTo>
                    <a:pt x="8" y="12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8" y="4"/>
                    <a:pt x="8" y="3"/>
                    <a:pt x="9" y="3"/>
                  </a:cubicBezTo>
                  <a:cubicBezTo>
                    <a:pt x="9" y="2"/>
                    <a:pt x="10" y="2"/>
                    <a:pt x="11" y="1"/>
                  </a:cubicBezTo>
                  <a:cubicBezTo>
                    <a:pt x="11" y="1"/>
                    <a:pt x="12" y="1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1"/>
                  </a:cubicBezTo>
                  <a:cubicBezTo>
                    <a:pt x="21" y="1"/>
                    <a:pt x="22" y="1"/>
                    <a:pt x="22" y="2"/>
                  </a:cubicBezTo>
                  <a:lnTo>
                    <a:pt x="20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0" name="Freeform 57">
              <a:extLst>
                <a:ext uri="{FF2B5EF4-FFF2-40B4-BE49-F238E27FC236}">
                  <a16:creationId xmlns:a16="http://schemas.microsoft.com/office/drawing/2014/main" id="{8B7E2806-AAFA-45B5-B801-55C79A92779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1" name="Freeform 58">
              <a:extLst>
                <a:ext uri="{FF2B5EF4-FFF2-40B4-BE49-F238E27FC236}">
                  <a16:creationId xmlns:a16="http://schemas.microsoft.com/office/drawing/2014/main" id="{7A49B80F-B4C0-4F31-9238-8123D3E20D1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383459"/>
              <a:ext cx="80211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10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2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8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7"/>
                    <a:pt x="9" y="17"/>
                  </a:cubicBezTo>
                  <a:cubicBezTo>
                    <a:pt x="10" y="16"/>
                    <a:pt x="11" y="16"/>
                    <a:pt x="12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2" name="Freeform 59">
              <a:extLst>
                <a:ext uri="{FF2B5EF4-FFF2-40B4-BE49-F238E27FC236}">
                  <a16:creationId xmlns:a16="http://schemas.microsoft.com/office/drawing/2014/main" id="{9C60C45F-865F-4118-A4B0-174C696B472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8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2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6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1 w 33"/>
                <a:gd name="T69" fmla="*/ 8 h 40"/>
                <a:gd name="T70" fmla="*/ 17 w 33"/>
                <a:gd name="T71" fmla="*/ 7 h 40"/>
                <a:gd name="T72" fmla="*/ 13 w 33"/>
                <a:gd name="T73" fmla="*/ 8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6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10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3" y="32"/>
                    <a:pt x="23" y="32"/>
                    <a:pt x="24" y="32"/>
                  </a:cubicBezTo>
                  <a:cubicBezTo>
                    <a:pt x="24" y="31"/>
                    <a:pt x="25" y="31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7" y="38"/>
                    <a:pt x="26" y="38"/>
                    <a:pt x="25" y="39"/>
                  </a:cubicBezTo>
                  <a:cubicBezTo>
                    <a:pt x="24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4" y="40"/>
                    <a:pt x="12" y="39"/>
                  </a:cubicBezTo>
                  <a:cubicBezTo>
                    <a:pt x="11" y="39"/>
                    <a:pt x="10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4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5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6" y="17"/>
                  </a:moveTo>
                  <a:cubicBezTo>
                    <a:pt x="26" y="15"/>
                    <a:pt x="25" y="14"/>
                    <a:pt x="25" y="13"/>
                  </a:cubicBezTo>
                  <a:cubicBezTo>
                    <a:pt x="25" y="12"/>
                    <a:pt x="24" y="11"/>
                    <a:pt x="23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20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6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3" name="Freeform 60">
              <a:extLst>
                <a:ext uri="{FF2B5EF4-FFF2-40B4-BE49-F238E27FC236}">
                  <a16:creationId xmlns:a16="http://schemas.microsoft.com/office/drawing/2014/main" id="{15FBF980-B96C-472B-A46B-A731CA164E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7435" y="6421821"/>
              <a:ext cx="122060" cy="97648"/>
            </a:xfrm>
            <a:custGeom>
              <a:avLst/>
              <a:gdLst>
                <a:gd name="T0" fmla="*/ 56 w 70"/>
                <a:gd name="T1" fmla="*/ 56 h 56"/>
                <a:gd name="T2" fmla="*/ 46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5 w 70"/>
                <a:gd name="T9" fmla="*/ 56 h 56"/>
                <a:gd name="T10" fmla="*/ 0 w 70"/>
                <a:gd name="T11" fmla="*/ 0 h 56"/>
                <a:gd name="T12" fmla="*/ 10 w 70"/>
                <a:gd name="T13" fmla="*/ 0 h 56"/>
                <a:gd name="T14" fmla="*/ 21 w 70"/>
                <a:gd name="T15" fmla="*/ 38 h 56"/>
                <a:gd name="T16" fmla="*/ 31 w 70"/>
                <a:gd name="T17" fmla="*/ 0 h 56"/>
                <a:gd name="T18" fmla="*/ 40 w 70"/>
                <a:gd name="T19" fmla="*/ 0 h 56"/>
                <a:gd name="T20" fmla="*/ 50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6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6" y="56"/>
                  </a:moveTo>
                  <a:lnTo>
                    <a:pt x="46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5" y="56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1" y="38"/>
                  </a:lnTo>
                  <a:lnTo>
                    <a:pt x="31" y="0"/>
                  </a:lnTo>
                  <a:lnTo>
                    <a:pt x="40" y="0"/>
                  </a:lnTo>
                  <a:lnTo>
                    <a:pt x="50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6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4" name="Freeform 61">
              <a:extLst>
                <a:ext uri="{FF2B5EF4-FFF2-40B4-BE49-F238E27FC236}">
                  <a16:creationId xmlns:a16="http://schemas.microsoft.com/office/drawing/2014/main" id="{64F1DD18-05EE-4F9F-9E6B-E03C4C500F2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859957" y="6418333"/>
              <a:ext cx="87186" cy="102879"/>
            </a:xfrm>
            <a:custGeom>
              <a:avLst/>
              <a:gdLst>
                <a:gd name="T0" fmla="*/ 34 w 34"/>
                <a:gd name="T1" fmla="*/ 20 h 40"/>
                <a:gd name="T2" fmla="*/ 33 w 34"/>
                <a:gd name="T3" fmla="*/ 28 h 40"/>
                <a:gd name="T4" fmla="*/ 29 w 34"/>
                <a:gd name="T5" fmla="*/ 35 h 40"/>
                <a:gd name="T6" fmla="*/ 24 w 34"/>
                <a:gd name="T7" fmla="*/ 39 h 40"/>
                <a:gd name="T8" fmla="*/ 17 w 34"/>
                <a:gd name="T9" fmla="*/ 40 h 40"/>
                <a:gd name="T10" fmla="*/ 10 w 34"/>
                <a:gd name="T11" fmla="*/ 39 h 40"/>
                <a:gd name="T12" fmla="*/ 5 w 34"/>
                <a:gd name="T13" fmla="*/ 35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2 h 40"/>
                <a:gd name="T20" fmla="*/ 5 w 34"/>
                <a:gd name="T21" fmla="*/ 5 h 40"/>
                <a:gd name="T22" fmla="*/ 11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2 h 40"/>
                <a:gd name="T32" fmla="*/ 34 w 34"/>
                <a:gd name="T33" fmla="*/ 20 h 40"/>
                <a:gd name="T34" fmla="*/ 27 w 34"/>
                <a:gd name="T35" fmla="*/ 20 h 40"/>
                <a:gd name="T36" fmla="*/ 26 w 34"/>
                <a:gd name="T37" fmla="*/ 15 h 40"/>
                <a:gd name="T38" fmla="*/ 24 w 34"/>
                <a:gd name="T39" fmla="*/ 11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1 h 40"/>
                <a:gd name="T48" fmla="*/ 8 w 34"/>
                <a:gd name="T49" fmla="*/ 15 h 40"/>
                <a:gd name="T50" fmla="*/ 8 w 34"/>
                <a:gd name="T51" fmla="*/ 20 h 40"/>
                <a:gd name="T52" fmla="*/ 8 w 34"/>
                <a:gd name="T53" fmla="*/ 26 h 40"/>
                <a:gd name="T54" fmla="*/ 10 w 34"/>
                <a:gd name="T55" fmla="*/ 30 h 40"/>
                <a:gd name="T56" fmla="*/ 13 w 34"/>
                <a:gd name="T57" fmla="*/ 32 h 40"/>
                <a:gd name="T58" fmla="*/ 17 w 34"/>
                <a:gd name="T59" fmla="*/ 33 h 40"/>
                <a:gd name="T60" fmla="*/ 21 w 34"/>
                <a:gd name="T61" fmla="*/ 32 h 40"/>
                <a:gd name="T62" fmla="*/ 24 w 34"/>
                <a:gd name="T63" fmla="*/ 29 h 40"/>
                <a:gd name="T64" fmla="*/ 26 w 34"/>
                <a:gd name="T65" fmla="*/ 25 h 40"/>
                <a:gd name="T66" fmla="*/ 27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20"/>
                  </a:moveTo>
                  <a:cubicBezTo>
                    <a:pt x="34" y="23"/>
                    <a:pt x="34" y="26"/>
                    <a:pt x="33" y="28"/>
                  </a:cubicBezTo>
                  <a:cubicBezTo>
                    <a:pt x="32" y="31"/>
                    <a:pt x="31" y="33"/>
                    <a:pt x="29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2" y="40"/>
                    <a:pt x="10" y="39"/>
                  </a:cubicBezTo>
                  <a:cubicBezTo>
                    <a:pt x="8" y="38"/>
                    <a:pt x="6" y="36"/>
                    <a:pt x="5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1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7" y="4"/>
                    <a:pt x="8" y="2"/>
                    <a:pt x="11" y="1"/>
                  </a:cubicBezTo>
                  <a:cubicBezTo>
                    <a:pt x="13" y="1"/>
                    <a:pt x="15" y="0"/>
                    <a:pt x="17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4" y="17"/>
                    <a:pt x="34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3" y="10"/>
                    <a:pt x="22" y="9"/>
                    <a:pt x="21" y="8"/>
                  </a:cubicBezTo>
                  <a:cubicBezTo>
                    <a:pt x="20" y="8"/>
                    <a:pt x="18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9" y="12"/>
                    <a:pt x="9" y="13"/>
                    <a:pt x="8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8" y="26"/>
                  </a:cubicBezTo>
                  <a:cubicBezTo>
                    <a:pt x="9" y="27"/>
                    <a:pt x="10" y="28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5" name="Freeform 62">
              <a:extLst>
                <a:ext uri="{FF2B5EF4-FFF2-40B4-BE49-F238E27FC236}">
                  <a16:creationId xmlns:a16="http://schemas.microsoft.com/office/drawing/2014/main" id="{6051CC00-BFF2-4334-9855-62AD588546F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8067" y="6418333"/>
              <a:ext cx="57543" cy="101135"/>
            </a:xfrm>
            <a:custGeom>
              <a:avLst/>
              <a:gdLst>
                <a:gd name="T0" fmla="*/ 21 w 23"/>
                <a:gd name="T1" fmla="*/ 9 h 39"/>
                <a:gd name="T2" fmla="*/ 18 w 23"/>
                <a:gd name="T3" fmla="*/ 8 h 39"/>
                <a:gd name="T4" fmla="*/ 15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9 w 23"/>
                <a:gd name="T21" fmla="*/ 3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8" y="8"/>
                    <a:pt x="17" y="7"/>
                    <a:pt x="15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8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9" y="3"/>
                  </a:cubicBezTo>
                  <a:cubicBezTo>
                    <a:pt x="10" y="2"/>
                    <a:pt x="11" y="2"/>
                    <a:pt x="11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1"/>
                  </a:cubicBezTo>
                  <a:cubicBezTo>
                    <a:pt x="21" y="1"/>
                    <a:pt x="22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6" name="Freeform 63">
              <a:extLst>
                <a:ext uri="{FF2B5EF4-FFF2-40B4-BE49-F238E27FC236}">
                  <a16:creationId xmlns:a16="http://schemas.microsoft.com/office/drawing/2014/main" id="{905DD261-B224-46ED-8CEE-E8D180BA4B7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3046" y="6383459"/>
              <a:ext cx="19181" cy="136010"/>
            </a:xfrm>
            <a:custGeom>
              <a:avLst/>
              <a:gdLst>
                <a:gd name="T0" fmla="*/ 0 w 11"/>
                <a:gd name="T1" fmla="*/ 78 h 78"/>
                <a:gd name="T2" fmla="*/ 0 w 11"/>
                <a:gd name="T3" fmla="*/ 6 h 78"/>
                <a:gd name="T4" fmla="*/ 11 w 11"/>
                <a:gd name="T5" fmla="*/ 0 h 78"/>
                <a:gd name="T6" fmla="*/ 11 w 11"/>
                <a:gd name="T7" fmla="*/ 78 h 78"/>
                <a:gd name="T8" fmla="*/ 0 w 11"/>
                <a:gd name="T9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78">
                  <a:moveTo>
                    <a:pt x="0" y="78"/>
                  </a:moveTo>
                  <a:lnTo>
                    <a:pt x="0" y="6"/>
                  </a:lnTo>
                  <a:lnTo>
                    <a:pt x="11" y="0"/>
                  </a:lnTo>
                  <a:lnTo>
                    <a:pt x="11" y="78"/>
                  </a:lnTo>
                  <a:lnTo>
                    <a:pt x="0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7" name="Freeform 64">
              <a:extLst>
                <a:ext uri="{FF2B5EF4-FFF2-40B4-BE49-F238E27FC236}">
                  <a16:creationId xmlns:a16="http://schemas.microsoft.com/office/drawing/2014/main" id="{A23129DF-0296-4CA9-9723-124682F0A70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084896" y="6383459"/>
              <a:ext cx="80211" cy="137753"/>
            </a:xfrm>
            <a:custGeom>
              <a:avLst/>
              <a:gdLst>
                <a:gd name="T0" fmla="*/ 24 w 32"/>
                <a:gd name="T1" fmla="*/ 53 h 54"/>
                <a:gd name="T2" fmla="*/ 24 w 32"/>
                <a:gd name="T3" fmla="*/ 50 h 54"/>
                <a:gd name="T4" fmla="*/ 22 w 32"/>
                <a:gd name="T5" fmla="*/ 51 h 54"/>
                <a:gd name="T6" fmla="*/ 20 w 32"/>
                <a:gd name="T7" fmla="*/ 53 h 54"/>
                <a:gd name="T8" fmla="*/ 17 w 32"/>
                <a:gd name="T9" fmla="*/ 54 h 54"/>
                <a:gd name="T10" fmla="*/ 14 w 32"/>
                <a:gd name="T11" fmla="*/ 54 h 54"/>
                <a:gd name="T12" fmla="*/ 9 w 32"/>
                <a:gd name="T13" fmla="*/ 53 h 54"/>
                <a:gd name="T14" fmla="*/ 4 w 32"/>
                <a:gd name="T15" fmla="*/ 49 h 54"/>
                <a:gd name="T16" fmla="*/ 1 w 32"/>
                <a:gd name="T17" fmla="*/ 43 h 54"/>
                <a:gd name="T18" fmla="*/ 0 w 32"/>
                <a:gd name="T19" fmla="*/ 33 h 54"/>
                <a:gd name="T20" fmla="*/ 1 w 32"/>
                <a:gd name="T21" fmla="*/ 25 h 54"/>
                <a:gd name="T22" fmla="*/ 4 w 32"/>
                <a:gd name="T23" fmla="*/ 19 h 54"/>
                <a:gd name="T24" fmla="*/ 9 w 32"/>
                <a:gd name="T25" fmla="*/ 15 h 54"/>
                <a:gd name="T26" fmla="*/ 15 w 32"/>
                <a:gd name="T27" fmla="*/ 14 h 54"/>
                <a:gd name="T28" fmla="*/ 18 w 32"/>
                <a:gd name="T29" fmla="*/ 14 h 54"/>
                <a:gd name="T30" fmla="*/ 20 w 32"/>
                <a:gd name="T31" fmla="*/ 15 h 54"/>
                <a:gd name="T32" fmla="*/ 22 w 32"/>
                <a:gd name="T33" fmla="*/ 17 h 54"/>
                <a:gd name="T34" fmla="*/ 24 w 32"/>
                <a:gd name="T35" fmla="*/ 18 h 54"/>
                <a:gd name="T36" fmla="*/ 24 w 32"/>
                <a:gd name="T37" fmla="*/ 4 h 54"/>
                <a:gd name="T38" fmla="*/ 32 w 32"/>
                <a:gd name="T39" fmla="*/ 0 h 54"/>
                <a:gd name="T40" fmla="*/ 32 w 32"/>
                <a:gd name="T41" fmla="*/ 53 h 54"/>
                <a:gd name="T42" fmla="*/ 24 w 32"/>
                <a:gd name="T43" fmla="*/ 53 h 54"/>
                <a:gd name="T44" fmla="*/ 24 w 32"/>
                <a:gd name="T45" fmla="*/ 26 h 54"/>
                <a:gd name="T46" fmla="*/ 23 w 32"/>
                <a:gd name="T47" fmla="*/ 24 h 54"/>
                <a:gd name="T48" fmla="*/ 21 w 32"/>
                <a:gd name="T49" fmla="*/ 23 h 54"/>
                <a:gd name="T50" fmla="*/ 18 w 32"/>
                <a:gd name="T51" fmla="*/ 22 h 54"/>
                <a:gd name="T52" fmla="*/ 15 w 32"/>
                <a:gd name="T53" fmla="*/ 21 h 54"/>
                <a:gd name="T54" fmla="*/ 9 w 32"/>
                <a:gd name="T55" fmla="*/ 24 h 54"/>
                <a:gd name="T56" fmla="*/ 7 w 32"/>
                <a:gd name="T57" fmla="*/ 33 h 54"/>
                <a:gd name="T58" fmla="*/ 8 w 32"/>
                <a:gd name="T59" fmla="*/ 39 h 54"/>
                <a:gd name="T60" fmla="*/ 9 w 32"/>
                <a:gd name="T61" fmla="*/ 44 h 54"/>
                <a:gd name="T62" fmla="*/ 12 w 32"/>
                <a:gd name="T63" fmla="*/ 46 h 54"/>
                <a:gd name="T64" fmla="*/ 16 w 32"/>
                <a:gd name="T65" fmla="*/ 47 h 54"/>
                <a:gd name="T66" fmla="*/ 18 w 32"/>
                <a:gd name="T67" fmla="*/ 47 h 54"/>
                <a:gd name="T68" fmla="*/ 21 w 32"/>
                <a:gd name="T69" fmla="*/ 46 h 54"/>
                <a:gd name="T70" fmla="*/ 23 w 32"/>
                <a:gd name="T71" fmla="*/ 44 h 54"/>
                <a:gd name="T72" fmla="*/ 24 w 32"/>
                <a:gd name="T73" fmla="*/ 42 h 54"/>
                <a:gd name="T74" fmla="*/ 24 w 32"/>
                <a:gd name="T75" fmla="*/ 2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2" h="54">
                  <a:moveTo>
                    <a:pt x="24" y="53"/>
                  </a:moveTo>
                  <a:cubicBezTo>
                    <a:pt x="24" y="50"/>
                    <a:pt x="24" y="50"/>
                    <a:pt x="24" y="50"/>
                  </a:cubicBezTo>
                  <a:cubicBezTo>
                    <a:pt x="24" y="50"/>
                    <a:pt x="23" y="51"/>
                    <a:pt x="22" y="51"/>
                  </a:cubicBezTo>
                  <a:cubicBezTo>
                    <a:pt x="21" y="52"/>
                    <a:pt x="21" y="52"/>
                    <a:pt x="20" y="53"/>
                  </a:cubicBezTo>
                  <a:cubicBezTo>
                    <a:pt x="19" y="53"/>
                    <a:pt x="18" y="54"/>
                    <a:pt x="17" y="54"/>
                  </a:cubicBezTo>
                  <a:cubicBezTo>
                    <a:pt x="16" y="54"/>
                    <a:pt x="15" y="54"/>
                    <a:pt x="14" y="54"/>
                  </a:cubicBezTo>
                  <a:cubicBezTo>
                    <a:pt x="12" y="54"/>
                    <a:pt x="10" y="54"/>
                    <a:pt x="9" y="53"/>
                  </a:cubicBezTo>
                  <a:cubicBezTo>
                    <a:pt x="7" y="52"/>
                    <a:pt x="5" y="51"/>
                    <a:pt x="4" y="49"/>
                  </a:cubicBezTo>
                  <a:cubicBezTo>
                    <a:pt x="3" y="48"/>
                    <a:pt x="1" y="45"/>
                    <a:pt x="1" y="43"/>
                  </a:cubicBezTo>
                  <a:cubicBezTo>
                    <a:pt x="0" y="40"/>
                    <a:pt x="0" y="37"/>
                    <a:pt x="0" y="33"/>
                  </a:cubicBezTo>
                  <a:cubicBezTo>
                    <a:pt x="0" y="30"/>
                    <a:pt x="0" y="27"/>
                    <a:pt x="1" y="25"/>
                  </a:cubicBezTo>
                  <a:cubicBezTo>
                    <a:pt x="2" y="22"/>
                    <a:pt x="3" y="20"/>
                    <a:pt x="4" y="19"/>
                  </a:cubicBezTo>
                  <a:cubicBezTo>
                    <a:pt x="6" y="17"/>
                    <a:pt x="7" y="16"/>
                    <a:pt x="9" y="15"/>
                  </a:cubicBezTo>
                  <a:cubicBezTo>
                    <a:pt x="11" y="14"/>
                    <a:pt x="13" y="14"/>
                    <a:pt x="15" y="14"/>
                  </a:cubicBezTo>
                  <a:cubicBezTo>
                    <a:pt x="16" y="14"/>
                    <a:pt x="17" y="14"/>
                    <a:pt x="18" y="14"/>
                  </a:cubicBezTo>
                  <a:cubicBezTo>
                    <a:pt x="18" y="15"/>
                    <a:pt x="19" y="15"/>
                    <a:pt x="20" y="15"/>
                  </a:cubicBezTo>
                  <a:cubicBezTo>
                    <a:pt x="21" y="16"/>
                    <a:pt x="22" y="16"/>
                    <a:pt x="22" y="17"/>
                  </a:cubicBezTo>
                  <a:cubicBezTo>
                    <a:pt x="23" y="17"/>
                    <a:pt x="24" y="18"/>
                    <a:pt x="24" y="18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53"/>
                    <a:pt x="32" y="53"/>
                    <a:pt x="32" y="53"/>
                  </a:cubicBezTo>
                  <a:lnTo>
                    <a:pt x="24" y="53"/>
                  </a:lnTo>
                  <a:close/>
                  <a:moveTo>
                    <a:pt x="24" y="26"/>
                  </a:moveTo>
                  <a:cubicBezTo>
                    <a:pt x="24" y="26"/>
                    <a:pt x="23" y="25"/>
                    <a:pt x="23" y="24"/>
                  </a:cubicBezTo>
                  <a:cubicBezTo>
                    <a:pt x="22" y="24"/>
                    <a:pt x="22" y="23"/>
                    <a:pt x="21" y="23"/>
                  </a:cubicBezTo>
                  <a:cubicBezTo>
                    <a:pt x="20" y="22"/>
                    <a:pt x="19" y="22"/>
                    <a:pt x="18" y="22"/>
                  </a:cubicBezTo>
                  <a:cubicBezTo>
                    <a:pt x="17" y="21"/>
                    <a:pt x="16" y="21"/>
                    <a:pt x="15" y="21"/>
                  </a:cubicBezTo>
                  <a:cubicBezTo>
                    <a:pt x="13" y="21"/>
                    <a:pt x="11" y="22"/>
                    <a:pt x="9" y="24"/>
                  </a:cubicBezTo>
                  <a:cubicBezTo>
                    <a:pt x="8" y="26"/>
                    <a:pt x="7" y="29"/>
                    <a:pt x="7" y="33"/>
                  </a:cubicBezTo>
                  <a:cubicBezTo>
                    <a:pt x="7" y="36"/>
                    <a:pt x="7" y="38"/>
                    <a:pt x="8" y="39"/>
                  </a:cubicBezTo>
                  <a:cubicBezTo>
                    <a:pt x="8" y="41"/>
                    <a:pt x="9" y="43"/>
                    <a:pt x="9" y="44"/>
                  </a:cubicBezTo>
                  <a:cubicBezTo>
                    <a:pt x="10" y="45"/>
                    <a:pt x="11" y="46"/>
                    <a:pt x="12" y="46"/>
                  </a:cubicBezTo>
                  <a:cubicBezTo>
                    <a:pt x="13" y="47"/>
                    <a:pt x="14" y="47"/>
                    <a:pt x="16" y="47"/>
                  </a:cubicBezTo>
                  <a:cubicBezTo>
                    <a:pt x="17" y="47"/>
                    <a:pt x="18" y="47"/>
                    <a:pt x="18" y="47"/>
                  </a:cubicBezTo>
                  <a:cubicBezTo>
                    <a:pt x="19" y="46"/>
                    <a:pt x="20" y="46"/>
                    <a:pt x="21" y="46"/>
                  </a:cubicBezTo>
                  <a:cubicBezTo>
                    <a:pt x="21" y="45"/>
                    <a:pt x="22" y="45"/>
                    <a:pt x="23" y="44"/>
                  </a:cubicBezTo>
                  <a:cubicBezTo>
                    <a:pt x="23" y="43"/>
                    <a:pt x="24" y="43"/>
                    <a:pt x="24" y="42"/>
                  </a:cubicBezTo>
                  <a:lnTo>
                    <a:pt x="24" y="2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8" name="Freeform 65">
              <a:extLst>
                <a:ext uri="{FF2B5EF4-FFF2-40B4-BE49-F238E27FC236}">
                  <a16:creationId xmlns:a16="http://schemas.microsoft.com/office/drawing/2014/main" id="{A2A2BF8E-DA3A-4AC0-B7EB-7CAABFC9E69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29624" y="6421821"/>
              <a:ext cx="122060" cy="97648"/>
            </a:xfrm>
            <a:custGeom>
              <a:avLst/>
              <a:gdLst>
                <a:gd name="T0" fmla="*/ 55 w 70"/>
                <a:gd name="T1" fmla="*/ 56 h 56"/>
                <a:gd name="T2" fmla="*/ 45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6 w 70"/>
                <a:gd name="T9" fmla="*/ 56 h 56"/>
                <a:gd name="T10" fmla="*/ 0 w 70"/>
                <a:gd name="T11" fmla="*/ 0 h 56"/>
                <a:gd name="T12" fmla="*/ 12 w 70"/>
                <a:gd name="T13" fmla="*/ 0 h 56"/>
                <a:gd name="T14" fmla="*/ 20 w 70"/>
                <a:gd name="T15" fmla="*/ 38 h 56"/>
                <a:gd name="T16" fmla="*/ 31 w 70"/>
                <a:gd name="T17" fmla="*/ 0 h 56"/>
                <a:gd name="T18" fmla="*/ 39 w 70"/>
                <a:gd name="T19" fmla="*/ 0 h 56"/>
                <a:gd name="T20" fmla="*/ 51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5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5" y="56"/>
                  </a:moveTo>
                  <a:lnTo>
                    <a:pt x="45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6" y="56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0" y="38"/>
                  </a:lnTo>
                  <a:lnTo>
                    <a:pt x="31" y="0"/>
                  </a:lnTo>
                  <a:lnTo>
                    <a:pt x="39" y="0"/>
                  </a:lnTo>
                  <a:lnTo>
                    <a:pt x="51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9" name="Freeform 66">
              <a:extLst>
                <a:ext uri="{FF2B5EF4-FFF2-40B4-BE49-F238E27FC236}">
                  <a16:creationId xmlns:a16="http://schemas.microsoft.com/office/drawing/2014/main" id="{BEBFC1A4-92B9-418F-A0A9-2E210A37BCF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62147" y="6418333"/>
              <a:ext cx="88930" cy="102879"/>
            </a:xfrm>
            <a:custGeom>
              <a:avLst/>
              <a:gdLst>
                <a:gd name="T0" fmla="*/ 35 w 35"/>
                <a:gd name="T1" fmla="*/ 20 h 40"/>
                <a:gd name="T2" fmla="*/ 33 w 35"/>
                <a:gd name="T3" fmla="*/ 28 h 40"/>
                <a:gd name="T4" fmla="*/ 30 w 35"/>
                <a:gd name="T5" fmla="*/ 35 h 40"/>
                <a:gd name="T6" fmla="*/ 24 w 35"/>
                <a:gd name="T7" fmla="*/ 39 h 40"/>
                <a:gd name="T8" fmla="*/ 17 w 35"/>
                <a:gd name="T9" fmla="*/ 40 h 40"/>
                <a:gd name="T10" fmla="*/ 11 w 35"/>
                <a:gd name="T11" fmla="*/ 39 h 40"/>
                <a:gd name="T12" fmla="*/ 5 w 35"/>
                <a:gd name="T13" fmla="*/ 35 h 40"/>
                <a:gd name="T14" fmla="*/ 2 w 35"/>
                <a:gd name="T15" fmla="*/ 28 h 40"/>
                <a:gd name="T16" fmla="*/ 0 w 35"/>
                <a:gd name="T17" fmla="*/ 20 h 40"/>
                <a:gd name="T18" fmla="*/ 2 w 35"/>
                <a:gd name="T19" fmla="*/ 12 h 40"/>
                <a:gd name="T20" fmla="*/ 5 w 35"/>
                <a:gd name="T21" fmla="*/ 5 h 40"/>
                <a:gd name="T22" fmla="*/ 11 w 35"/>
                <a:gd name="T23" fmla="*/ 1 h 40"/>
                <a:gd name="T24" fmla="*/ 18 w 35"/>
                <a:gd name="T25" fmla="*/ 0 h 40"/>
                <a:gd name="T26" fmla="*/ 24 w 35"/>
                <a:gd name="T27" fmla="*/ 1 h 40"/>
                <a:gd name="T28" fmla="*/ 30 w 35"/>
                <a:gd name="T29" fmla="*/ 5 h 40"/>
                <a:gd name="T30" fmla="*/ 33 w 35"/>
                <a:gd name="T31" fmla="*/ 12 h 40"/>
                <a:gd name="T32" fmla="*/ 35 w 35"/>
                <a:gd name="T33" fmla="*/ 20 h 40"/>
                <a:gd name="T34" fmla="*/ 27 w 35"/>
                <a:gd name="T35" fmla="*/ 20 h 40"/>
                <a:gd name="T36" fmla="*/ 26 w 35"/>
                <a:gd name="T37" fmla="*/ 15 h 40"/>
                <a:gd name="T38" fmla="*/ 24 w 35"/>
                <a:gd name="T39" fmla="*/ 11 h 40"/>
                <a:gd name="T40" fmla="*/ 21 w 35"/>
                <a:gd name="T41" fmla="*/ 8 h 40"/>
                <a:gd name="T42" fmla="*/ 17 w 35"/>
                <a:gd name="T43" fmla="*/ 7 h 40"/>
                <a:gd name="T44" fmla="*/ 13 w 35"/>
                <a:gd name="T45" fmla="*/ 8 h 40"/>
                <a:gd name="T46" fmla="*/ 10 w 35"/>
                <a:gd name="T47" fmla="*/ 11 h 40"/>
                <a:gd name="T48" fmla="*/ 9 w 35"/>
                <a:gd name="T49" fmla="*/ 15 h 40"/>
                <a:gd name="T50" fmla="*/ 8 w 35"/>
                <a:gd name="T51" fmla="*/ 20 h 40"/>
                <a:gd name="T52" fmla="*/ 9 w 35"/>
                <a:gd name="T53" fmla="*/ 26 h 40"/>
                <a:gd name="T54" fmla="*/ 11 w 35"/>
                <a:gd name="T55" fmla="*/ 30 h 40"/>
                <a:gd name="T56" fmla="*/ 14 w 35"/>
                <a:gd name="T57" fmla="*/ 32 h 40"/>
                <a:gd name="T58" fmla="*/ 18 w 35"/>
                <a:gd name="T59" fmla="*/ 33 h 40"/>
                <a:gd name="T60" fmla="*/ 21 w 35"/>
                <a:gd name="T61" fmla="*/ 32 h 40"/>
                <a:gd name="T62" fmla="*/ 24 w 35"/>
                <a:gd name="T63" fmla="*/ 29 h 40"/>
                <a:gd name="T64" fmla="*/ 26 w 35"/>
                <a:gd name="T65" fmla="*/ 25 h 40"/>
                <a:gd name="T66" fmla="*/ 27 w 35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5" h="40">
                  <a:moveTo>
                    <a:pt x="35" y="20"/>
                  </a:moveTo>
                  <a:cubicBezTo>
                    <a:pt x="35" y="23"/>
                    <a:pt x="34" y="26"/>
                    <a:pt x="33" y="28"/>
                  </a:cubicBezTo>
                  <a:cubicBezTo>
                    <a:pt x="32" y="31"/>
                    <a:pt x="31" y="33"/>
                    <a:pt x="30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3" y="40"/>
                    <a:pt x="11" y="39"/>
                  </a:cubicBezTo>
                  <a:cubicBezTo>
                    <a:pt x="8" y="38"/>
                    <a:pt x="7" y="36"/>
                    <a:pt x="5" y="35"/>
                  </a:cubicBezTo>
                  <a:cubicBezTo>
                    <a:pt x="4" y="33"/>
                    <a:pt x="2" y="31"/>
                    <a:pt x="2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3" y="9"/>
                    <a:pt x="4" y="7"/>
                    <a:pt x="5" y="5"/>
                  </a:cubicBezTo>
                  <a:cubicBezTo>
                    <a:pt x="7" y="4"/>
                    <a:pt x="9" y="2"/>
                    <a:pt x="11" y="1"/>
                  </a:cubicBezTo>
                  <a:cubicBezTo>
                    <a:pt x="13" y="1"/>
                    <a:pt x="15" y="0"/>
                    <a:pt x="18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30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5" y="17"/>
                    <a:pt x="35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4" y="10"/>
                    <a:pt x="23" y="9"/>
                    <a:pt x="21" y="8"/>
                  </a:cubicBezTo>
                  <a:cubicBezTo>
                    <a:pt x="20" y="8"/>
                    <a:pt x="19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10" y="12"/>
                    <a:pt x="9" y="13"/>
                    <a:pt x="9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9" y="26"/>
                  </a:cubicBezTo>
                  <a:cubicBezTo>
                    <a:pt x="9" y="27"/>
                    <a:pt x="10" y="28"/>
                    <a:pt x="11" y="30"/>
                  </a:cubicBezTo>
                  <a:cubicBezTo>
                    <a:pt x="11" y="31"/>
                    <a:pt x="12" y="32"/>
                    <a:pt x="14" y="32"/>
                  </a:cubicBezTo>
                  <a:cubicBezTo>
                    <a:pt x="15" y="33"/>
                    <a:pt x="16" y="33"/>
                    <a:pt x="18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3" y="31"/>
                    <a:pt x="24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0" name="Freeform 67">
              <a:extLst>
                <a:ext uri="{FF2B5EF4-FFF2-40B4-BE49-F238E27FC236}">
                  <a16:creationId xmlns:a16="http://schemas.microsoft.com/office/drawing/2014/main" id="{A28B9FD0-8354-4DD6-856A-157C5F8768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68514" y="6418333"/>
              <a:ext cx="59286" cy="101135"/>
            </a:xfrm>
            <a:custGeom>
              <a:avLst/>
              <a:gdLst>
                <a:gd name="T0" fmla="*/ 21 w 23"/>
                <a:gd name="T1" fmla="*/ 9 h 39"/>
                <a:gd name="T2" fmla="*/ 19 w 23"/>
                <a:gd name="T3" fmla="*/ 8 h 39"/>
                <a:gd name="T4" fmla="*/ 16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10 w 23"/>
                <a:gd name="T21" fmla="*/ 3 h 39"/>
                <a:gd name="T22" fmla="*/ 12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1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20" y="8"/>
                    <a:pt x="19" y="8"/>
                  </a:cubicBezTo>
                  <a:cubicBezTo>
                    <a:pt x="18" y="8"/>
                    <a:pt x="17" y="7"/>
                    <a:pt x="16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9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10" y="3"/>
                  </a:cubicBezTo>
                  <a:cubicBezTo>
                    <a:pt x="10" y="2"/>
                    <a:pt x="11" y="2"/>
                    <a:pt x="12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20" y="0"/>
                    <a:pt x="21" y="1"/>
                  </a:cubicBezTo>
                  <a:cubicBezTo>
                    <a:pt x="22" y="1"/>
                    <a:pt x="23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1" name="Freeform 68">
              <a:extLst>
                <a:ext uri="{FF2B5EF4-FFF2-40B4-BE49-F238E27FC236}">
                  <a16:creationId xmlns:a16="http://schemas.microsoft.com/office/drawing/2014/main" id="{83D3DEEE-A610-48BE-BADD-6BA188B5B86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5237" y="6383459"/>
              <a:ext cx="76723" cy="136010"/>
            </a:xfrm>
            <a:custGeom>
              <a:avLst/>
              <a:gdLst>
                <a:gd name="T0" fmla="*/ 31 w 44"/>
                <a:gd name="T1" fmla="*/ 78 h 78"/>
                <a:gd name="T2" fmla="*/ 19 w 44"/>
                <a:gd name="T3" fmla="*/ 50 h 78"/>
                <a:gd name="T4" fmla="*/ 10 w 44"/>
                <a:gd name="T5" fmla="*/ 61 h 78"/>
                <a:gd name="T6" fmla="*/ 10 w 44"/>
                <a:gd name="T7" fmla="*/ 78 h 78"/>
                <a:gd name="T8" fmla="*/ 0 w 44"/>
                <a:gd name="T9" fmla="*/ 78 h 78"/>
                <a:gd name="T10" fmla="*/ 0 w 44"/>
                <a:gd name="T11" fmla="*/ 6 h 78"/>
                <a:gd name="T12" fmla="*/ 10 w 44"/>
                <a:gd name="T13" fmla="*/ 0 h 78"/>
                <a:gd name="T14" fmla="*/ 10 w 44"/>
                <a:gd name="T15" fmla="*/ 47 h 78"/>
                <a:gd name="T16" fmla="*/ 28 w 44"/>
                <a:gd name="T17" fmla="*/ 22 h 78"/>
                <a:gd name="T18" fmla="*/ 41 w 44"/>
                <a:gd name="T19" fmla="*/ 22 h 78"/>
                <a:gd name="T20" fmla="*/ 26 w 44"/>
                <a:gd name="T21" fmla="*/ 41 h 78"/>
                <a:gd name="T22" fmla="*/ 44 w 44"/>
                <a:gd name="T23" fmla="*/ 78 h 78"/>
                <a:gd name="T24" fmla="*/ 31 w 44"/>
                <a:gd name="T25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4" h="78">
                  <a:moveTo>
                    <a:pt x="31" y="78"/>
                  </a:moveTo>
                  <a:lnTo>
                    <a:pt x="19" y="50"/>
                  </a:lnTo>
                  <a:lnTo>
                    <a:pt x="10" y="61"/>
                  </a:lnTo>
                  <a:lnTo>
                    <a:pt x="10" y="78"/>
                  </a:lnTo>
                  <a:lnTo>
                    <a:pt x="0" y="78"/>
                  </a:lnTo>
                  <a:lnTo>
                    <a:pt x="0" y="6"/>
                  </a:lnTo>
                  <a:lnTo>
                    <a:pt x="10" y="0"/>
                  </a:lnTo>
                  <a:lnTo>
                    <a:pt x="10" y="47"/>
                  </a:lnTo>
                  <a:lnTo>
                    <a:pt x="28" y="22"/>
                  </a:lnTo>
                  <a:lnTo>
                    <a:pt x="41" y="22"/>
                  </a:lnTo>
                  <a:lnTo>
                    <a:pt x="26" y="41"/>
                  </a:lnTo>
                  <a:lnTo>
                    <a:pt x="44" y="78"/>
                  </a:lnTo>
                  <a:lnTo>
                    <a:pt x="31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2" name="Freeform 69">
              <a:extLst>
                <a:ext uri="{FF2B5EF4-FFF2-40B4-BE49-F238E27FC236}">
                  <a16:creationId xmlns:a16="http://schemas.microsoft.com/office/drawing/2014/main" id="{463C7ADB-C654-4D24-9055-0B6003A770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28936" y="6418333"/>
              <a:ext cx="74980" cy="102879"/>
            </a:xfrm>
            <a:custGeom>
              <a:avLst/>
              <a:gdLst>
                <a:gd name="T0" fmla="*/ 28 w 29"/>
                <a:gd name="T1" fmla="*/ 4 h 40"/>
                <a:gd name="T2" fmla="*/ 25 w 29"/>
                <a:gd name="T3" fmla="*/ 10 h 40"/>
                <a:gd name="T4" fmla="*/ 20 w 29"/>
                <a:gd name="T5" fmla="*/ 8 h 40"/>
                <a:gd name="T6" fmla="*/ 15 w 29"/>
                <a:gd name="T7" fmla="*/ 7 h 40"/>
                <a:gd name="T8" fmla="*/ 11 w 29"/>
                <a:gd name="T9" fmla="*/ 8 h 40"/>
                <a:gd name="T10" fmla="*/ 9 w 29"/>
                <a:gd name="T11" fmla="*/ 10 h 40"/>
                <a:gd name="T12" fmla="*/ 10 w 29"/>
                <a:gd name="T13" fmla="*/ 12 h 40"/>
                <a:gd name="T14" fmla="*/ 11 w 29"/>
                <a:gd name="T15" fmla="*/ 13 h 40"/>
                <a:gd name="T16" fmla="*/ 13 w 29"/>
                <a:gd name="T17" fmla="*/ 14 h 40"/>
                <a:gd name="T18" fmla="*/ 17 w 29"/>
                <a:gd name="T19" fmla="*/ 16 h 40"/>
                <a:gd name="T20" fmla="*/ 22 w 29"/>
                <a:gd name="T21" fmla="*/ 18 h 40"/>
                <a:gd name="T22" fmla="*/ 26 w 29"/>
                <a:gd name="T23" fmla="*/ 21 h 40"/>
                <a:gd name="T24" fmla="*/ 29 w 29"/>
                <a:gd name="T25" fmla="*/ 24 h 40"/>
                <a:gd name="T26" fmla="*/ 29 w 29"/>
                <a:gd name="T27" fmla="*/ 29 h 40"/>
                <a:gd name="T28" fmla="*/ 28 w 29"/>
                <a:gd name="T29" fmla="*/ 34 h 40"/>
                <a:gd name="T30" fmla="*/ 25 w 29"/>
                <a:gd name="T31" fmla="*/ 38 h 40"/>
                <a:gd name="T32" fmla="*/ 21 w 29"/>
                <a:gd name="T33" fmla="*/ 40 h 40"/>
                <a:gd name="T34" fmla="*/ 15 w 29"/>
                <a:gd name="T35" fmla="*/ 40 h 40"/>
                <a:gd name="T36" fmla="*/ 7 w 29"/>
                <a:gd name="T37" fmla="*/ 39 h 40"/>
                <a:gd name="T38" fmla="*/ 0 w 29"/>
                <a:gd name="T39" fmla="*/ 35 h 40"/>
                <a:gd name="T40" fmla="*/ 4 w 29"/>
                <a:gd name="T41" fmla="*/ 30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20 w 29"/>
                <a:gd name="T53" fmla="*/ 26 h 40"/>
                <a:gd name="T54" fmla="*/ 17 w 29"/>
                <a:gd name="T55" fmla="*/ 24 h 40"/>
                <a:gd name="T56" fmla="*/ 13 w 29"/>
                <a:gd name="T57" fmla="*/ 23 h 40"/>
                <a:gd name="T58" fmla="*/ 8 w 29"/>
                <a:gd name="T59" fmla="*/ 20 h 40"/>
                <a:gd name="T60" fmla="*/ 4 w 29"/>
                <a:gd name="T61" fmla="*/ 18 h 40"/>
                <a:gd name="T62" fmla="*/ 2 w 29"/>
                <a:gd name="T63" fmla="*/ 15 h 40"/>
                <a:gd name="T64" fmla="*/ 2 w 29"/>
                <a:gd name="T65" fmla="*/ 11 h 40"/>
                <a:gd name="T66" fmla="*/ 3 w 29"/>
                <a:gd name="T67" fmla="*/ 6 h 40"/>
                <a:gd name="T68" fmla="*/ 6 w 29"/>
                <a:gd name="T69" fmla="*/ 3 h 40"/>
                <a:gd name="T70" fmla="*/ 10 w 29"/>
                <a:gd name="T71" fmla="*/ 1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5" y="10"/>
                    <a:pt x="25" y="10"/>
                    <a:pt x="25" y="10"/>
                  </a:cubicBezTo>
                  <a:cubicBezTo>
                    <a:pt x="23" y="9"/>
                    <a:pt x="22" y="8"/>
                    <a:pt x="20" y="8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2" y="7"/>
                    <a:pt x="11" y="8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1"/>
                    <a:pt x="10" y="11"/>
                    <a:pt x="10" y="12"/>
                  </a:cubicBezTo>
                  <a:cubicBezTo>
                    <a:pt x="10" y="12"/>
                    <a:pt x="10" y="13"/>
                    <a:pt x="11" y="13"/>
                  </a:cubicBezTo>
                  <a:cubicBezTo>
                    <a:pt x="11" y="13"/>
                    <a:pt x="12" y="14"/>
                    <a:pt x="13" y="14"/>
                  </a:cubicBezTo>
                  <a:cubicBezTo>
                    <a:pt x="14" y="15"/>
                    <a:pt x="15" y="15"/>
                    <a:pt x="17" y="16"/>
                  </a:cubicBezTo>
                  <a:cubicBezTo>
                    <a:pt x="19" y="17"/>
                    <a:pt x="21" y="18"/>
                    <a:pt x="22" y="18"/>
                  </a:cubicBezTo>
                  <a:cubicBezTo>
                    <a:pt x="24" y="19"/>
                    <a:pt x="25" y="20"/>
                    <a:pt x="26" y="21"/>
                  </a:cubicBezTo>
                  <a:cubicBezTo>
                    <a:pt x="27" y="22"/>
                    <a:pt x="28" y="23"/>
                    <a:pt x="29" y="24"/>
                  </a:cubicBezTo>
                  <a:cubicBezTo>
                    <a:pt x="29" y="25"/>
                    <a:pt x="29" y="27"/>
                    <a:pt x="29" y="29"/>
                  </a:cubicBezTo>
                  <a:cubicBezTo>
                    <a:pt x="29" y="31"/>
                    <a:pt x="29" y="33"/>
                    <a:pt x="28" y="34"/>
                  </a:cubicBezTo>
                  <a:cubicBezTo>
                    <a:pt x="28" y="36"/>
                    <a:pt x="26" y="37"/>
                    <a:pt x="25" y="38"/>
                  </a:cubicBezTo>
                  <a:cubicBezTo>
                    <a:pt x="24" y="39"/>
                    <a:pt x="22" y="39"/>
                    <a:pt x="21" y="40"/>
                  </a:cubicBezTo>
                  <a:cubicBezTo>
                    <a:pt x="19" y="40"/>
                    <a:pt x="17" y="40"/>
                    <a:pt x="15" y="40"/>
                  </a:cubicBezTo>
                  <a:cubicBezTo>
                    <a:pt x="13" y="40"/>
                    <a:pt x="10" y="40"/>
                    <a:pt x="7" y="39"/>
                  </a:cubicBezTo>
                  <a:cubicBezTo>
                    <a:pt x="5" y="38"/>
                    <a:pt x="2" y="37"/>
                    <a:pt x="0" y="35"/>
                  </a:cubicBezTo>
                  <a:cubicBezTo>
                    <a:pt x="4" y="30"/>
                    <a:pt x="4" y="30"/>
                    <a:pt x="4" y="30"/>
                  </a:cubicBezTo>
                  <a:cubicBezTo>
                    <a:pt x="6" y="31"/>
                    <a:pt x="7" y="32"/>
                    <a:pt x="9" y="32"/>
                  </a:cubicBezTo>
                  <a:cubicBezTo>
                    <a:pt x="11" y="33"/>
                    <a:pt x="13" y="33"/>
                    <a:pt x="15" y="33"/>
                  </a:cubicBezTo>
                  <a:cubicBezTo>
                    <a:pt x="17" y="33"/>
                    <a:pt x="19" y="33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8"/>
                    <a:pt x="21" y="27"/>
                  </a:cubicBezTo>
                  <a:cubicBezTo>
                    <a:pt x="21" y="27"/>
                    <a:pt x="20" y="26"/>
                    <a:pt x="20" y="26"/>
                  </a:cubicBezTo>
                  <a:cubicBezTo>
                    <a:pt x="19" y="25"/>
                    <a:pt x="18" y="25"/>
                    <a:pt x="17" y="24"/>
                  </a:cubicBezTo>
                  <a:cubicBezTo>
                    <a:pt x="16" y="24"/>
                    <a:pt x="15" y="23"/>
                    <a:pt x="13" y="23"/>
                  </a:cubicBezTo>
                  <a:cubicBezTo>
                    <a:pt x="11" y="22"/>
                    <a:pt x="9" y="21"/>
                    <a:pt x="8" y="20"/>
                  </a:cubicBezTo>
                  <a:cubicBezTo>
                    <a:pt x="6" y="19"/>
                    <a:pt x="5" y="19"/>
                    <a:pt x="4" y="18"/>
                  </a:cubicBezTo>
                  <a:cubicBezTo>
                    <a:pt x="3" y="17"/>
                    <a:pt x="3" y="16"/>
                    <a:pt x="2" y="15"/>
                  </a:cubicBezTo>
                  <a:cubicBezTo>
                    <a:pt x="2" y="13"/>
                    <a:pt x="2" y="12"/>
                    <a:pt x="2" y="11"/>
                  </a:cubicBezTo>
                  <a:cubicBezTo>
                    <a:pt x="2" y="9"/>
                    <a:pt x="2" y="7"/>
                    <a:pt x="3" y="6"/>
                  </a:cubicBezTo>
                  <a:cubicBezTo>
                    <a:pt x="3" y="5"/>
                    <a:pt x="4" y="4"/>
                    <a:pt x="6" y="3"/>
                  </a:cubicBezTo>
                  <a:cubicBezTo>
                    <a:pt x="7" y="2"/>
                    <a:pt x="8" y="1"/>
                    <a:pt x="10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20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3" name="Freeform 70">
              <a:extLst>
                <a:ext uri="{FF2B5EF4-FFF2-40B4-BE49-F238E27FC236}">
                  <a16:creationId xmlns:a16="http://schemas.microsoft.com/office/drawing/2014/main" id="{40CF3793-E792-4DB3-8064-4B43F4706A3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23096" y="6489826"/>
              <a:ext cx="27899" cy="31387"/>
            </a:xfrm>
            <a:custGeom>
              <a:avLst/>
              <a:gdLst>
                <a:gd name="T0" fmla="*/ 11 w 11"/>
                <a:gd name="T1" fmla="*/ 6 h 12"/>
                <a:gd name="T2" fmla="*/ 11 w 11"/>
                <a:gd name="T3" fmla="*/ 9 h 12"/>
                <a:gd name="T4" fmla="*/ 10 w 11"/>
                <a:gd name="T5" fmla="*/ 10 h 12"/>
                <a:gd name="T6" fmla="*/ 8 w 11"/>
                <a:gd name="T7" fmla="*/ 12 h 12"/>
                <a:gd name="T8" fmla="*/ 6 w 11"/>
                <a:gd name="T9" fmla="*/ 12 h 12"/>
                <a:gd name="T10" fmla="*/ 3 w 11"/>
                <a:gd name="T11" fmla="*/ 12 h 12"/>
                <a:gd name="T12" fmla="*/ 1 w 11"/>
                <a:gd name="T13" fmla="*/ 10 h 12"/>
                <a:gd name="T14" fmla="*/ 0 w 11"/>
                <a:gd name="T15" fmla="*/ 9 h 12"/>
                <a:gd name="T16" fmla="*/ 0 w 11"/>
                <a:gd name="T17" fmla="*/ 6 h 12"/>
                <a:gd name="T18" fmla="*/ 0 w 11"/>
                <a:gd name="T19" fmla="*/ 4 h 12"/>
                <a:gd name="T20" fmla="*/ 1 w 11"/>
                <a:gd name="T21" fmla="*/ 2 h 12"/>
                <a:gd name="T22" fmla="*/ 3 w 11"/>
                <a:gd name="T23" fmla="*/ 1 h 12"/>
                <a:gd name="T24" fmla="*/ 6 w 11"/>
                <a:gd name="T25" fmla="*/ 0 h 12"/>
                <a:gd name="T26" fmla="*/ 8 w 11"/>
                <a:gd name="T27" fmla="*/ 1 h 12"/>
                <a:gd name="T28" fmla="*/ 10 w 11"/>
                <a:gd name="T29" fmla="*/ 2 h 12"/>
                <a:gd name="T30" fmla="*/ 11 w 11"/>
                <a:gd name="T31" fmla="*/ 4 h 12"/>
                <a:gd name="T32" fmla="*/ 11 w 11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" h="12">
                  <a:moveTo>
                    <a:pt x="11" y="6"/>
                  </a:moveTo>
                  <a:cubicBezTo>
                    <a:pt x="11" y="7"/>
                    <a:pt x="11" y="8"/>
                    <a:pt x="11" y="9"/>
                  </a:cubicBezTo>
                  <a:cubicBezTo>
                    <a:pt x="11" y="9"/>
                    <a:pt x="10" y="10"/>
                    <a:pt x="10" y="10"/>
                  </a:cubicBezTo>
                  <a:cubicBezTo>
                    <a:pt x="9" y="11"/>
                    <a:pt x="9" y="11"/>
                    <a:pt x="8" y="12"/>
                  </a:cubicBezTo>
                  <a:cubicBezTo>
                    <a:pt x="7" y="12"/>
                    <a:pt x="6" y="12"/>
                    <a:pt x="6" y="12"/>
                  </a:cubicBezTo>
                  <a:cubicBezTo>
                    <a:pt x="5" y="12"/>
                    <a:pt x="4" y="12"/>
                    <a:pt x="3" y="12"/>
                  </a:cubicBezTo>
                  <a:cubicBezTo>
                    <a:pt x="3" y="11"/>
                    <a:pt x="2" y="11"/>
                    <a:pt x="1" y="10"/>
                  </a:cubicBezTo>
                  <a:cubicBezTo>
                    <a:pt x="1" y="10"/>
                    <a:pt x="1" y="9"/>
                    <a:pt x="0" y="9"/>
                  </a:cubicBezTo>
                  <a:cubicBezTo>
                    <a:pt x="0" y="8"/>
                    <a:pt x="0" y="7"/>
                    <a:pt x="0" y="6"/>
                  </a:cubicBezTo>
                  <a:cubicBezTo>
                    <a:pt x="0" y="6"/>
                    <a:pt x="0" y="5"/>
                    <a:pt x="0" y="4"/>
                  </a:cubicBezTo>
                  <a:cubicBezTo>
                    <a:pt x="1" y="3"/>
                    <a:pt x="1" y="3"/>
                    <a:pt x="1" y="2"/>
                  </a:cubicBezTo>
                  <a:cubicBezTo>
                    <a:pt x="2" y="2"/>
                    <a:pt x="3" y="1"/>
                    <a:pt x="3" y="1"/>
                  </a:cubicBezTo>
                  <a:cubicBezTo>
                    <a:pt x="4" y="1"/>
                    <a:pt x="5" y="0"/>
                    <a:pt x="6" y="0"/>
                  </a:cubicBezTo>
                  <a:cubicBezTo>
                    <a:pt x="6" y="0"/>
                    <a:pt x="7" y="1"/>
                    <a:pt x="8" y="1"/>
                  </a:cubicBezTo>
                  <a:cubicBezTo>
                    <a:pt x="9" y="1"/>
                    <a:pt x="9" y="2"/>
                    <a:pt x="10" y="2"/>
                  </a:cubicBezTo>
                  <a:cubicBezTo>
                    <a:pt x="10" y="3"/>
                    <a:pt x="11" y="3"/>
                    <a:pt x="11" y="4"/>
                  </a:cubicBezTo>
                  <a:cubicBezTo>
                    <a:pt x="11" y="5"/>
                    <a:pt x="11" y="6"/>
                    <a:pt x="11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</p:grpSp>
      <p:sp>
        <p:nvSpPr>
          <p:cNvPr id="18" name="Title 1"/>
          <p:cNvSpPr>
            <a:spLocks noGrp="1"/>
          </p:cNvSpPr>
          <p:nvPr userDrawn="1">
            <p:ph type="ctrTitle"/>
          </p:nvPr>
        </p:nvSpPr>
        <p:spPr>
          <a:xfrm>
            <a:off x="944880" y="2158329"/>
            <a:ext cx="4783882" cy="860400"/>
          </a:xfrm>
          <a:prstGeom prst="rect">
            <a:avLst/>
          </a:prstGeom>
        </p:spPr>
        <p:txBody>
          <a:bodyPr/>
          <a:lstStyle>
            <a:lvl1pPr>
              <a:defRPr sz="2999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9" name="Subtitle 2"/>
          <p:cNvSpPr>
            <a:spLocks noGrp="1"/>
          </p:cNvSpPr>
          <p:nvPr userDrawn="1">
            <p:ph type="subTitle" idx="1"/>
          </p:nvPr>
        </p:nvSpPr>
        <p:spPr>
          <a:xfrm>
            <a:off x="945072" y="3200329"/>
            <a:ext cx="4808028" cy="64574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999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  <a:lvl2pPr marL="0" indent="0" algn="l">
              <a:buNone/>
              <a:defRPr sz="1599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913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9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8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8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7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3" name="Freeform: Shape 2">
            <a:extLst>
              <a:ext uri="{FF2B5EF4-FFF2-40B4-BE49-F238E27FC236}">
                <a16:creationId xmlns:a16="http://schemas.microsoft.com/office/drawing/2014/main" id="{44A731D0-020D-4D8E-955D-2354AF0FE452}"/>
              </a:ext>
            </a:extLst>
          </p:cNvPr>
          <p:cNvSpPr/>
          <p:nvPr userDrawn="1"/>
        </p:nvSpPr>
        <p:spPr>
          <a:xfrm>
            <a:off x="489367" y="723658"/>
            <a:ext cx="5680945" cy="3452894"/>
          </a:xfrm>
          <a:custGeom>
            <a:avLst/>
            <a:gdLst>
              <a:gd name="connsiteX0" fmla="*/ 8749 w 5680945"/>
              <a:gd name="connsiteY0" fmla="*/ 1021520 h 3452894"/>
              <a:gd name="connsiteX1" fmla="*/ 8749 w 5680945"/>
              <a:gd name="connsiteY1" fmla="*/ 3164181 h 3452894"/>
              <a:gd name="connsiteX2" fmla="*/ 151414 w 5680945"/>
              <a:gd name="connsiteY2" fmla="*/ 3164181 h 3452894"/>
              <a:gd name="connsiteX3" fmla="*/ 151414 w 5680945"/>
              <a:gd name="connsiteY3" fmla="*/ 1140155 h 3452894"/>
              <a:gd name="connsiteX4" fmla="*/ 5534897 w 5680945"/>
              <a:gd name="connsiteY4" fmla="*/ 179294 h 3452894"/>
              <a:gd name="connsiteX5" fmla="*/ 5534897 w 5680945"/>
              <a:gd name="connsiteY5" fmla="*/ 3306846 h 3452894"/>
              <a:gd name="connsiteX6" fmla="*/ 864624 w 5680945"/>
              <a:gd name="connsiteY6" fmla="*/ 3306846 h 3452894"/>
              <a:gd name="connsiteX7" fmla="*/ 864624 w 5680945"/>
              <a:gd name="connsiteY7" fmla="*/ 3449395 h 3452894"/>
              <a:gd name="connsiteX8" fmla="*/ 5677562 w 5680945"/>
              <a:gd name="connsiteY8" fmla="*/ 3449395 h 3452894"/>
              <a:gd name="connsiteX9" fmla="*/ 5677562 w 5680945"/>
              <a:gd name="connsiteY9" fmla="*/ 8749 h 3452894"/>
              <a:gd name="connsiteX10" fmla="*/ 8749 w 5680945"/>
              <a:gd name="connsiteY10" fmla="*/ 1021520 h 34528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5680945" h="3452894">
                <a:moveTo>
                  <a:pt x="8749" y="1021520"/>
                </a:moveTo>
                <a:lnTo>
                  <a:pt x="8749" y="3164181"/>
                </a:lnTo>
                <a:lnTo>
                  <a:pt x="151414" y="3164181"/>
                </a:lnTo>
                <a:lnTo>
                  <a:pt x="151414" y="1140155"/>
                </a:lnTo>
                <a:lnTo>
                  <a:pt x="5534897" y="179294"/>
                </a:lnTo>
                <a:lnTo>
                  <a:pt x="5534897" y="3306846"/>
                </a:lnTo>
                <a:lnTo>
                  <a:pt x="864624" y="3306846"/>
                </a:lnTo>
                <a:lnTo>
                  <a:pt x="864624" y="3449395"/>
                </a:lnTo>
                <a:lnTo>
                  <a:pt x="5677562" y="3449395"/>
                </a:lnTo>
                <a:lnTo>
                  <a:pt x="5677562" y="8749"/>
                </a:lnTo>
                <a:lnTo>
                  <a:pt x="8749" y="1021520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 sz="1799"/>
          </a:p>
        </p:txBody>
      </p:sp>
      <p:sp>
        <p:nvSpPr>
          <p:cNvPr id="4" name="Freeform: Shape 3">
            <a:extLst>
              <a:ext uri="{FF2B5EF4-FFF2-40B4-BE49-F238E27FC236}">
                <a16:creationId xmlns:a16="http://schemas.microsoft.com/office/drawing/2014/main" id="{15324C54-B75E-4AC0-90C2-FA558C7716F7}"/>
              </a:ext>
            </a:extLst>
          </p:cNvPr>
          <p:cNvSpPr/>
          <p:nvPr/>
        </p:nvSpPr>
        <p:spPr>
          <a:xfrm>
            <a:off x="489367" y="4021757"/>
            <a:ext cx="151647" cy="151647"/>
          </a:xfrm>
          <a:custGeom>
            <a:avLst/>
            <a:gdLst>
              <a:gd name="connsiteX0" fmla="*/ 8749 w 151647"/>
              <a:gd name="connsiteY0" fmla="*/ 8749 h 151647"/>
              <a:gd name="connsiteX1" fmla="*/ 151414 w 151647"/>
              <a:gd name="connsiteY1" fmla="*/ 8749 h 151647"/>
              <a:gd name="connsiteX2" fmla="*/ 151414 w 151647"/>
              <a:gd name="connsiteY2" fmla="*/ 151414 h 151647"/>
              <a:gd name="connsiteX3" fmla="*/ 8749 w 151647"/>
              <a:gd name="connsiteY3" fmla="*/ 151414 h 151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647" h="151647">
                <a:moveTo>
                  <a:pt x="8749" y="8749"/>
                </a:moveTo>
                <a:lnTo>
                  <a:pt x="151414" y="8749"/>
                </a:lnTo>
                <a:lnTo>
                  <a:pt x="151414" y="151414"/>
                </a:lnTo>
                <a:lnTo>
                  <a:pt x="8749" y="151414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 sz="1799"/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CAA95478-C099-485F-AD95-A617656C6C7C}"/>
              </a:ext>
            </a:extLst>
          </p:cNvPr>
          <p:cNvSpPr/>
          <p:nvPr/>
        </p:nvSpPr>
        <p:spPr>
          <a:xfrm>
            <a:off x="774697" y="4021757"/>
            <a:ext cx="151647" cy="151647"/>
          </a:xfrm>
          <a:custGeom>
            <a:avLst/>
            <a:gdLst>
              <a:gd name="connsiteX0" fmla="*/ 8749 w 151647"/>
              <a:gd name="connsiteY0" fmla="*/ 8749 h 151647"/>
              <a:gd name="connsiteX1" fmla="*/ 151414 w 151647"/>
              <a:gd name="connsiteY1" fmla="*/ 8749 h 151647"/>
              <a:gd name="connsiteX2" fmla="*/ 151414 w 151647"/>
              <a:gd name="connsiteY2" fmla="*/ 151414 h 151647"/>
              <a:gd name="connsiteX3" fmla="*/ 8749 w 151647"/>
              <a:gd name="connsiteY3" fmla="*/ 151414 h 151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647" h="151647">
                <a:moveTo>
                  <a:pt x="8749" y="8749"/>
                </a:moveTo>
                <a:lnTo>
                  <a:pt x="151414" y="8749"/>
                </a:lnTo>
                <a:lnTo>
                  <a:pt x="151414" y="151414"/>
                </a:lnTo>
                <a:lnTo>
                  <a:pt x="8749" y="151414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 sz="1799"/>
          </a:p>
        </p:txBody>
      </p: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D65680A1-86D1-44C2-AA38-0DF5735F1F26}"/>
              </a:ext>
            </a:extLst>
          </p:cNvPr>
          <p:cNvSpPr/>
          <p:nvPr/>
        </p:nvSpPr>
        <p:spPr>
          <a:xfrm>
            <a:off x="1059911" y="4021757"/>
            <a:ext cx="151647" cy="151647"/>
          </a:xfrm>
          <a:custGeom>
            <a:avLst/>
            <a:gdLst>
              <a:gd name="connsiteX0" fmla="*/ 8749 w 151647"/>
              <a:gd name="connsiteY0" fmla="*/ 8749 h 151647"/>
              <a:gd name="connsiteX1" fmla="*/ 151414 w 151647"/>
              <a:gd name="connsiteY1" fmla="*/ 8749 h 151647"/>
              <a:gd name="connsiteX2" fmla="*/ 151414 w 151647"/>
              <a:gd name="connsiteY2" fmla="*/ 151414 h 151647"/>
              <a:gd name="connsiteX3" fmla="*/ 8749 w 151647"/>
              <a:gd name="connsiteY3" fmla="*/ 151414 h 151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647" h="151647">
                <a:moveTo>
                  <a:pt x="8749" y="8749"/>
                </a:moveTo>
                <a:lnTo>
                  <a:pt x="151414" y="8749"/>
                </a:lnTo>
                <a:lnTo>
                  <a:pt x="151414" y="151414"/>
                </a:lnTo>
                <a:lnTo>
                  <a:pt x="8749" y="151414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 sz="1799"/>
          </a:p>
        </p:txBody>
      </p:sp>
      <p:grpSp>
        <p:nvGrpSpPr>
          <p:cNvPr id="76" name="Group 4">
            <a:extLst>
              <a:ext uri="{FF2B5EF4-FFF2-40B4-BE49-F238E27FC236}">
                <a16:creationId xmlns:a16="http://schemas.microsoft.com/office/drawing/2014/main" id="{9D60B6B0-F7ED-4B9F-A77C-632AC4EA661D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64788" y="4960938"/>
            <a:ext cx="1225550" cy="1435100"/>
            <a:chOff x="6529" y="3125"/>
            <a:chExt cx="772" cy="904"/>
          </a:xfrm>
        </p:grpSpPr>
        <p:sp>
          <p:nvSpPr>
            <p:cNvPr id="77" name="Freeform 5">
              <a:extLst>
                <a:ext uri="{FF2B5EF4-FFF2-40B4-BE49-F238E27FC236}">
                  <a16:creationId xmlns:a16="http://schemas.microsoft.com/office/drawing/2014/main" id="{CC1B45B9-64DF-4C5B-9711-FA69AD53707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78" name="Freeform 6">
              <a:extLst>
                <a:ext uri="{FF2B5EF4-FFF2-40B4-BE49-F238E27FC236}">
                  <a16:creationId xmlns:a16="http://schemas.microsoft.com/office/drawing/2014/main" id="{BA55CB73-EE25-43B6-9720-855E16C4B15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</p:grpSp>
    </p:spTree>
    <p:extLst>
      <p:ext uri="{BB962C8B-B14F-4D97-AF65-F5344CB8AC3E}">
        <p14:creationId xmlns:p14="http://schemas.microsoft.com/office/powerpoint/2010/main" val="43352883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9" y="294200"/>
            <a:ext cx="10978515" cy="590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Table Placeholder 4">
            <a:extLst>
              <a:ext uri="{FF2B5EF4-FFF2-40B4-BE49-F238E27FC236}">
                <a16:creationId xmlns:a16="http://schemas.microsoft.com/office/drawing/2014/main" id="{95A2BE92-ABF7-4A82-BC35-00F28F500FED}"/>
              </a:ext>
            </a:extLst>
          </p:cNvPr>
          <p:cNvSpPr>
            <a:spLocks noGrp="1"/>
          </p:cNvSpPr>
          <p:nvPr>
            <p:ph type="tbl" sz="quarter" idx="10"/>
          </p:nvPr>
        </p:nvSpPr>
        <p:spPr>
          <a:xfrm>
            <a:off x="609917" y="1137922"/>
            <a:ext cx="4957505" cy="4267457"/>
          </a:xfrm>
        </p:spPr>
        <p:txBody>
          <a:bodyPr/>
          <a:lstStyle/>
          <a:p>
            <a:endParaRPr lang="en-IN"/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DA81FCAA-64D2-4A9C-B16E-9C4E3BB431B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133462" y="3813288"/>
            <a:ext cx="3089275" cy="180000"/>
          </a:xfrm>
        </p:spPr>
        <p:txBody>
          <a:bodyPr/>
          <a:lstStyle>
            <a:lvl1pPr marL="0" indent="0">
              <a:buNone/>
              <a:defRPr sz="1199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Name Surname</a:t>
            </a:r>
            <a:endParaRPr lang="en-GB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03CDC117-35F2-47B2-85B2-29CB8EE7E09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133462" y="4055931"/>
            <a:ext cx="3089275" cy="180000"/>
          </a:xfrm>
        </p:spPr>
        <p:txBody>
          <a:bodyPr/>
          <a:lstStyle>
            <a:lvl1pPr marL="0" indent="0">
              <a:buNone/>
              <a:defRPr sz="1199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Job Title to go here</a:t>
            </a:r>
            <a:endParaRPr lang="en-GB"/>
          </a:p>
        </p:txBody>
      </p:sp>
      <p:sp>
        <p:nvSpPr>
          <p:cNvPr id="14" name="Picture Placeholder 19">
            <a:extLst>
              <a:ext uri="{FF2B5EF4-FFF2-40B4-BE49-F238E27FC236}">
                <a16:creationId xmlns:a16="http://schemas.microsoft.com/office/drawing/2014/main" id="{00A15EA9-2372-4E06-83C2-1E13AB1FA62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23008" y="3578084"/>
            <a:ext cx="778959" cy="778959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900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DB83DAE-9FEB-4E9C-85BA-A34BD239275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23008" y="1137922"/>
            <a:ext cx="5465425" cy="37380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Key Takeaways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C1ABE303-7041-4312-AD03-0E872AEF99B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123008" y="1635009"/>
            <a:ext cx="5465425" cy="1611554"/>
          </a:xfrm>
        </p:spPr>
        <p:txBody>
          <a:bodyPr/>
          <a:lstStyle>
            <a:lvl1pPr marL="0" indent="0">
              <a:buNone/>
              <a:defRPr sz="1599"/>
            </a:lvl1pPr>
          </a:lstStyle>
          <a:p>
            <a:pPr lvl="0"/>
            <a:r>
              <a:rPr lang="en-US"/>
              <a:t>Content EY Interstate Light, 16pt, Lorem ipsum dolor, 12pt, </a:t>
            </a:r>
            <a:r>
              <a:rPr lang="en-US" err="1"/>
              <a:t>Utinam</a:t>
            </a:r>
            <a:r>
              <a:rPr lang="en-US"/>
              <a:t>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abhorreant</a:t>
            </a:r>
            <a:r>
              <a:rPr lang="en-US"/>
              <a:t> </a:t>
            </a:r>
            <a:r>
              <a:rPr lang="en-US" err="1"/>
              <a:t>sead</a:t>
            </a:r>
            <a:r>
              <a:rPr lang="en-US"/>
              <a:t>. </a:t>
            </a:r>
            <a:r>
              <a:rPr lang="en-US" err="1"/>
              <a:t>Putant</a:t>
            </a:r>
            <a:r>
              <a:rPr lang="en-US"/>
              <a:t> </a:t>
            </a:r>
            <a:r>
              <a:rPr lang="en-US" err="1"/>
              <a:t>probatus</a:t>
            </a:r>
            <a:r>
              <a:rPr lang="en-US"/>
              <a:t> id vis, ad his </a:t>
            </a:r>
            <a:r>
              <a:rPr lang="en-US" err="1"/>
              <a:t>meis</a:t>
            </a:r>
            <a:r>
              <a:rPr lang="en-US"/>
              <a:t> </a:t>
            </a:r>
            <a:r>
              <a:rPr lang="en-US" err="1"/>
              <a:t>habemus</a:t>
            </a:r>
            <a:r>
              <a:rPr lang="en-US"/>
              <a:t> </a:t>
            </a:r>
            <a:r>
              <a:rPr lang="en-US" err="1"/>
              <a:t>repudiare</a:t>
            </a:r>
            <a:r>
              <a:rPr lang="en-US"/>
              <a:t>, has an </a:t>
            </a:r>
            <a:r>
              <a:rPr lang="en-US" err="1"/>
              <a:t>pericula</a:t>
            </a:r>
            <a:r>
              <a:rPr lang="en-US"/>
              <a:t> </a:t>
            </a:r>
            <a:r>
              <a:rPr lang="en-US" err="1"/>
              <a:t>tractatos</a:t>
            </a:r>
            <a:r>
              <a:rPr lang="en-US"/>
              <a:t>. </a:t>
            </a:r>
            <a:r>
              <a:rPr lang="en-US" err="1"/>
              <a:t>Nec</a:t>
            </a:r>
            <a:r>
              <a:rPr lang="en-US"/>
              <a:t> </a:t>
            </a:r>
            <a:r>
              <a:rPr lang="en-US" err="1"/>
              <a:t>debitis</a:t>
            </a:r>
            <a:r>
              <a:rPr lang="en-US"/>
              <a:t> </a:t>
            </a:r>
            <a:r>
              <a:rPr lang="en-US" err="1"/>
              <a:t>dissentias</a:t>
            </a:r>
            <a:r>
              <a:rPr lang="en-US"/>
              <a:t> ad. </a:t>
            </a:r>
            <a:r>
              <a:rPr lang="en-US" err="1"/>
              <a:t>Patrioque</a:t>
            </a:r>
            <a:r>
              <a:rPr lang="en-US"/>
              <a:t> </a:t>
            </a:r>
            <a:r>
              <a:rPr lang="en-US" err="1"/>
              <a:t>voluptatum</a:t>
            </a:r>
            <a:r>
              <a:rPr lang="en-US"/>
              <a:t> </a:t>
            </a:r>
            <a:r>
              <a:rPr lang="en-US" err="1"/>
              <a:t>sed</a:t>
            </a:r>
            <a:r>
              <a:rPr lang="en-US"/>
              <a:t> ex, id </a:t>
            </a:r>
            <a:r>
              <a:rPr lang="en-US" err="1"/>
              <a:t>admodum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20" name="Line 10">
            <a:extLst>
              <a:ext uri="{FF2B5EF4-FFF2-40B4-BE49-F238E27FC236}">
                <a16:creationId xmlns:a16="http://schemas.microsoft.com/office/drawing/2014/main" id="{B69EB865-6B86-419B-923C-F7DDC68C9C66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21FBA45-9D10-4CA1-B5FE-DF08BC4B79DE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IN"/>
              <a:t>Presentation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11C45D8-BA71-4A92-82B2-C059AF6B6702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3497299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9" y="294200"/>
            <a:ext cx="10978515" cy="590400"/>
          </a:xfrm>
        </p:spPr>
        <p:txBody>
          <a:bodyPr/>
          <a:lstStyle>
            <a:lvl1pPr>
              <a:defRPr sz="2399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2" name="Line 10">
            <a:extLst>
              <a:ext uri="{FF2B5EF4-FFF2-40B4-BE49-F238E27FC236}">
                <a16:creationId xmlns:a16="http://schemas.microsoft.com/office/drawing/2014/main" id="{DA9741B6-D337-4A18-8ECB-FB21A6953E44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</a:endParaRP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90356C28-34FC-48BD-943E-82B485EB0C4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919" y="1137920"/>
            <a:ext cx="10978515" cy="49479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14482B3-B946-42D6-98EA-72EE48EEB8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/>
              <a:t>Presentation tit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72DD5AC-66F0-425C-A9DE-0484513193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96974504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4854436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80593A0-4211-460E-B6CF-FE2D9CE6D9C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199121" y="1"/>
            <a:ext cx="3999231" cy="6156104"/>
          </a:xfrm>
        </p:spPr>
        <p:txBody>
          <a:bodyPr/>
          <a:lstStyle/>
          <a:p>
            <a:endParaRPr lang="en-IN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9" y="294200"/>
            <a:ext cx="7444422" cy="590400"/>
          </a:xfrm>
        </p:spPr>
        <p:txBody>
          <a:bodyPr/>
          <a:lstStyle>
            <a:lvl1pPr>
              <a:defRPr sz="2399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09918" y="1137921"/>
            <a:ext cx="7299642" cy="873760"/>
          </a:xfrm>
        </p:spPr>
        <p:txBody>
          <a:bodyPr/>
          <a:lstStyle>
            <a:lvl1pPr marL="0" indent="0">
              <a:buNone/>
              <a:defRPr sz="1799">
                <a:solidFill>
                  <a:schemeClr val="bg1"/>
                </a:solidFill>
              </a:defRPr>
            </a:lvl1pPr>
            <a:lvl2pPr marL="356438" indent="0">
              <a:buNone/>
              <a:defRPr sz="1799">
                <a:solidFill>
                  <a:schemeClr val="bg1"/>
                </a:solidFill>
              </a:defRPr>
            </a:lvl2pPr>
            <a:lvl3pPr marL="712875" indent="0">
              <a:buNone/>
              <a:defRPr sz="1599">
                <a:solidFill>
                  <a:schemeClr val="bg1"/>
                </a:solidFill>
              </a:defRPr>
            </a:lvl3pPr>
            <a:lvl4pPr marL="1069313" indent="0">
              <a:buNone/>
              <a:defRPr sz="1399">
                <a:solidFill>
                  <a:schemeClr val="bg1"/>
                </a:solidFill>
              </a:defRPr>
            </a:lvl4pPr>
            <a:lvl5pPr marL="1425751" indent="0">
              <a:buNone/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78D3272-120F-430D-AFB5-E93227EEEAAF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609919" y="2311401"/>
            <a:ext cx="3580117" cy="3844704"/>
          </a:xfrm>
        </p:spPr>
        <p:txBody>
          <a:bodyPr numCol="1"/>
          <a:lstStyle>
            <a:lvl1pPr marL="0" indent="0">
              <a:buNone/>
              <a:defRPr sz="1399">
                <a:solidFill>
                  <a:schemeClr val="bg1"/>
                </a:solidFill>
              </a:defRPr>
            </a:lvl1pPr>
            <a:lvl2pPr marL="356438" indent="0">
              <a:buNone/>
              <a:defRPr sz="1799">
                <a:solidFill>
                  <a:schemeClr val="bg1"/>
                </a:solidFill>
              </a:defRPr>
            </a:lvl2pPr>
            <a:lvl3pPr marL="712875" indent="0">
              <a:buNone/>
              <a:defRPr sz="1599">
                <a:solidFill>
                  <a:schemeClr val="bg1"/>
                </a:solidFill>
              </a:defRPr>
            </a:lvl3pPr>
            <a:lvl4pPr marL="1069313" indent="0">
              <a:buNone/>
              <a:defRPr sz="1399">
                <a:solidFill>
                  <a:schemeClr val="bg1"/>
                </a:solidFill>
              </a:defRPr>
            </a:lvl4pPr>
            <a:lvl5pPr marL="1425751" indent="0">
              <a:buNone/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0C7BD71A-882B-40FB-A05F-48ECC69FF73D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4329444" y="2311403"/>
            <a:ext cx="3580117" cy="1254759"/>
          </a:xfrm>
        </p:spPr>
        <p:txBody>
          <a:bodyPr numCol="1"/>
          <a:lstStyle>
            <a:lvl1pPr marL="0" indent="0">
              <a:buNone/>
              <a:defRPr sz="1399">
                <a:solidFill>
                  <a:schemeClr val="bg1"/>
                </a:solidFill>
              </a:defRPr>
            </a:lvl1pPr>
            <a:lvl2pPr marL="356438" indent="0">
              <a:buNone/>
              <a:defRPr sz="1799">
                <a:solidFill>
                  <a:schemeClr val="bg1"/>
                </a:solidFill>
              </a:defRPr>
            </a:lvl2pPr>
            <a:lvl3pPr marL="712875" indent="0">
              <a:buNone/>
              <a:defRPr sz="1599">
                <a:solidFill>
                  <a:schemeClr val="bg1"/>
                </a:solidFill>
              </a:defRPr>
            </a:lvl3pPr>
            <a:lvl4pPr marL="1069313" indent="0">
              <a:buNone/>
              <a:defRPr sz="1399">
                <a:solidFill>
                  <a:schemeClr val="bg1"/>
                </a:solidFill>
              </a:defRPr>
            </a:lvl4pPr>
            <a:lvl5pPr marL="1425751" indent="0">
              <a:buNone/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D87D58C8-1517-42AA-8B2A-E449A3F6F028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329444" y="4236721"/>
            <a:ext cx="3580117" cy="1944160"/>
          </a:xfrm>
        </p:spPr>
        <p:txBody>
          <a:bodyPr numCol="1"/>
          <a:lstStyle>
            <a:lvl1pPr marL="0" indent="0">
              <a:buNone/>
              <a:defRPr sz="1799">
                <a:solidFill>
                  <a:schemeClr val="bg1"/>
                </a:solidFill>
                <a:latin typeface="Georgia" panose="02040502050405020303" pitchFamily="18" charset="0"/>
              </a:defRPr>
            </a:lvl1pPr>
            <a:lvl2pPr marL="356438" indent="0">
              <a:buNone/>
              <a:defRPr sz="1799">
                <a:solidFill>
                  <a:schemeClr val="bg1"/>
                </a:solidFill>
              </a:defRPr>
            </a:lvl2pPr>
            <a:lvl3pPr marL="712875" indent="0">
              <a:buNone/>
              <a:defRPr sz="1599">
                <a:solidFill>
                  <a:schemeClr val="bg1"/>
                </a:solidFill>
              </a:defRPr>
            </a:lvl3pPr>
            <a:lvl4pPr marL="1069313" indent="0">
              <a:buNone/>
              <a:defRPr sz="1399">
                <a:solidFill>
                  <a:schemeClr val="bg1"/>
                </a:solidFill>
              </a:defRPr>
            </a:lvl4pPr>
            <a:lvl5pPr marL="1425751" indent="0">
              <a:buNone/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Quote</a:t>
            </a:r>
          </a:p>
        </p:txBody>
      </p:sp>
      <p:sp>
        <p:nvSpPr>
          <p:cNvPr id="23" name="Line 10">
            <a:extLst>
              <a:ext uri="{FF2B5EF4-FFF2-40B4-BE49-F238E27FC236}">
                <a16:creationId xmlns:a16="http://schemas.microsoft.com/office/drawing/2014/main" id="{E820DC59-E206-4DC0-9012-584F8EBAF730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9" y="907750"/>
            <a:ext cx="7723854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28F1198-1F5C-4C8B-A7E4-2658430FBCF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IN"/>
              <a:t>Presentation titl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6EA2D1B-5973-42E9-87B4-02C40C0EF1B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72612673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80593A0-4211-460E-B6CF-FE2D9CE6D9C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" y="2"/>
            <a:ext cx="2384460" cy="6857999"/>
          </a:xfrm>
        </p:spPr>
        <p:txBody>
          <a:bodyPr/>
          <a:lstStyle/>
          <a:p>
            <a:endParaRPr lang="en-IN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5294" y="294200"/>
            <a:ext cx="8892000" cy="590400"/>
          </a:xfrm>
        </p:spPr>
        <p:txBody>
          <a:bodyPr/>
          <a:lstStyle>
            <a:lvl1pPr>
              <a:defRPr sz="2399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695293" y="1137921"/>
            <a:ext cx="2742882" cy="5018184"/>
          </a:xfrm>
        </p:spPr>
        <p:txBody>
          <a:bodyPr/>
          <a:lstStyle>
            <a:lvl1pPr marL="0" indent="0">
              <a:buNone/>
              <a:defRPr sz="1799">
                <a:solidFill>
                  <a:schemeClr val="bg1"/>
                </a:solidFill>
              </a:defRPr>
            </a:lvl1pPr>
            <a:lvl2pPr marL="356438" indent="0">
              <a:buNone/>
              <a:defRPr sz="1799">
                <a:solidFill>
                  <a:schemeClr val="bg1"/>
                </a:solidFill>
              </a:defRPr>
            </a:lvl2pPr>
            <a:lvl3pPr marL="712875" indent="0">
              <a:buNone/>
              <a:defRPr sz="1599">
                <a:solidFill>
                  <a:schemeClr val="bg1"/>
                </a:solidFill>
              </a:defRPr>
            </a:lvl3pPr>
            <a:lvl4pPr marL="1069313" indent="0">
              <a:buNone/>
              <a:defRPr sz="1399">
                <a:solidFill>
                  <a:schemeClr val="bg1"/>
                </a:solidFill>
              </a:defRPr>
            </a:lvl4pPr>
            <a:lvl5pPr marL="1425751" indent="0">
              <a:buNone/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78D3272-120F-430D-AFB5-E93227EEEAAF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5727083" y="1137921"/>
            <a:ext cx="2803842" cy="5018184"/>
          </a:xfrm>
        </p:spPr>
        <p:txBody>
          <a:bodyPr numCol="1"/>
          <a:lstStyle>
            <a:lvl1pPr marL="0" indent="0">
              <a:buNone/>
              <a:defRPr sz="1399">
                <a:solidFill>
                  <a:schemeClr val="bg1"/>
                </a:solidFill>
              </a:defRPr>
            </a:lvl1pPr>
            <a:lvl2pPr marL="356438" indent="0">
              <a:buNone/>
              <a:defRPr sz="1799">
                <a:solidFill>
                  <a:schemeClr val="bg1"/>
                </a:solidFill>
              </a:defRPr>
            </a:lvl2pPr>
            <a:lvl3pPr marL="712875" indent="0">
              <a:buNone/>
              <a:defRPr sz="1599">
                <a:solidFill>
                  <a:schemeClr val="bg1"/>
                </a:solidFill>
              </a:defRPr>
            </a:lvl3pPr>
            <a:lvl4pPr marL="1069313" indent="0">
              <a:buNone/>
              <a:defRPr sz="1399">
                <a:solidFill>
                  <a:schemeClr val="bg1"/>
                </a:solidFill>
              </a:defRPr>
            </a:lvl4pPr>
            <a:lvl5pPr marL="1425751" indent="0">
              <a:buNone/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6FF4A6F8-D9C6-4FEE-9324-5200D308BB1F}"/>
              </a:ext>
            </a:extLst>
          </p:cNvPr>
          <p:cNvSpPr>
            <a:spLocks noGrp="1"/>
          </p:cNvSpPr>
          <p:nvPr userDrawn="1">
            <p:ph idx="12" hasCustomPrompt="1"/>
          </p:nvPr>
        </p:nvSpPr>
        <p:spPr>
          <a:xfrm>
            <a:off x="8819833" y="1137923"/>
            <a:ext cx="2768600" cy="2796151"/>
          </a:xfrm>
        </p:spPr>
        <p:txBody>
          <a:bodyPr numCol="1"/>
          <a:lstStyle>
            <a:lvl1pPr marL="0" indent="0">
              <a:buNone/>
              <a:defRPr sz="1399">
                <a:solidFill>
                  <a:schemeClr val="bg1"/>
                </a:solidFill>
              </a:defRPr>
            </a:lvl1pPr>
            <a:lvl2pPr marL="356438" indent="0">
              <a:buNone/>
              <a:defRPr sz="1799">
                <a:solidFill>
                  <a:schemeClr val="bg1"/>
                </a:solidFill>
              </a:defRPr>
            </a:lvl2pPr>
            <a:lvl3pPr marL="712875" indent="0">
              <a:buNone/>
              <a:defRPr sz="1599">
                <a:solidFill>
                  <a:schemeClr val="bg1"/>
                </a:solidFill>
              </a:defRPr>
            </a:lvl3pPr>
            <a:lvl4pPr marL="1069313" indent="0">
              <a:buNone/>
              <a:defRPr sz="1399">
                <a:solidFill>
                  <a:schemeClr val="bg1"/>
                </a:solidFill>
              </a:defRPr>
            </a:lvl4pPr>
            <a:lvl5pPr marL="1425751" indent="0">
              <a:buNone/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9" name="Line 10">
            <a:extLst>
              <a:ext uri="{FF2B5EF4-FFF2-40B4-BE49-F238E27FC236}">
                <a16:creationId xmlns:a16="http://schemas.microsoft.com/office/drawing/2014/main" id="{B63A7CBA-3151-452E-BD2F-D3E65CE1595F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2695294" y="907750"/>
            <a:ext cx="8892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5178D09-F6E9-4981-B6E0-209D099207E6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IN"/>
              <a:t>Presentation titl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AE170B6-45D3-4E0A-A799-1F973EAAC5E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13712126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11">
            <a:extLst>
              <a:ext uri="{FF2B5EF4-FFF2-40B4-BE49-F238E27FC236}">
                <a16:creationId xmlns:a16="http://schemas.microsoft.com/office/drawing/2014/main" id="{8F291EB0-15F5-4E9A-A38B-CE3AC1452E21}"/>
              </a:ext>
            </a:extLst>
          </p:cNvPr>
          <p:cNvSpPr txBox="1">
            <a:spLocks/>
          </p:cNvSpPr>
          <p:nvPr userDrawn="1"/>
        </p:nvSpPr>
        <p:spPr>
          <a:xfrm>
            <a:off x="477351" y="1488927"/>
            <a:ext cx="2338388" cy="858838"/>
          </a:xfrm>
          <a:prstGeom prst="rect">
            <a:avLst/>
          </a:prstGeom>
        </p:spPr>
        <p:txBody>
          <a:bodyPr/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11194">
                <a:solidFill>
                  <a:schemeClr val="tx2"/>
                </a:solidFill>
                <a:latin typeface="Georgia" panose="02040502050405020303" pitchFamily="18" charset="0"/>
              </a:rPr>
              <a:t>“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B5D2AC0-B4F7-4455-9AE0-201966050A6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13351" y="2526765"/>
            <a:ext cx="5292000" cy="1800000"/>
          </a:xfrm>
        </p:spPr>
        <p:txBody>
          <a:bodyPr lIns="90000" tIns="46800" rIns="90000" bIns="46800"/>
          <a:lstStyle>
            <a:lvl1pPr marL="0" indent="0">
              <a:buNone/>
              <a:defRPr lang="en-US" sz="2799" dirty="0" smtClean="0">
                <a:latin typeface="Georgia" panose="02040502050405020303" pitchFamily="18" charset="0"/>
              </a:defRPr>
            </a:lvl1pPr>
          </a:lstStyle>
          <a:p>
            <a:pPr marL="356438" lvl="0" indent="-356438">
              <a:spcBef>
                <a:spcPts val="0"/>
              </a:spcBef>
            </a:pPr>
            <a:r>
              <a:rPr lang="en-US"/>
              <a:t>Edit Master text styles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F1BA83A2-78F0-4F7E-836B-9B4B87820F9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3351" y="4632765"/>
            <a:ext cx="5292000" cy="316838"/>
          </a:xfrm>
        </p:spPr>
        <p:txBody>
          <a:bodyPr lIns="90000" tIns="46800" rIns="90000" bIns="46800"/>
          <a:lstStyle>
            <a:lvl1pPr marL="0" indent="0" algn="l" defTabSz="913943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70000"/>
              <a:buFont typeface="Arial" pitchFamily="34" charset="0"/>
              <a:buNone/>
              <a:defRPr lang="en-US" sz="1599" kern="1200" dirty="0" smtClean="0">
                <a:solidFill>
                  <a:srgbClr val="2E2E38"/>
                </a:solidFill>
                <a:latin typeface="+mn-lt"/>
                <a:ea typeface="+mn-ea"/>
                <a:cs typeface="+mn-cs"/>
              </a:defRPr>
            </a:lvl1pPr>
            <a:lvl2pPr marL="356438" indent="0">
              <a:buNone/>
              <a:defRPr lang="en-US" sz="1999" smtClean="0">
                <a:latin typeface="+mn-lt"/>
              </a:defRPr>
            </a:lvl2pPr>
            <a:lvl3pPr>
              <a:defRPr lang="en-US" sz="1799" smtClean="0">
                <a:latin typeface="+mn-lt"/>
              </a:defRPr>
            </a:lvl3pPr>
            <a:lvl4pPr>
              <a:defRPr lang="en-US" sz="1599" smtClean="0">
                <a:latin typeface="+mn-lt"/>
              </a:defRPr>
            </a:lvl4pPr>
            <a:lvl5pPr>
              <a:defRPr lang="en-IN" sz="1599">
                <a:latin typeface="+mn-lt"/>
              </a:defRPr>
            </a:lvl5pPr>
          </a:lstStyle>
          <a:p>
            <a:pPr marL="0" lvl="0" indent="0">
              <a:spcBef>
                <a:spcPts val="0"/>
              </a:spcBef>
              <a:buNone/>
            </a:pPr>
            <a:r>
              <a:rPr lang="en-US"/>
              <a:t>Name Surname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034CE9DD-CE12-4D9F-8FD6-A2522F36C8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13351" y="4971442"/>
            <a:ext cx="5292000" cy="316838"/>
          </a:xfrm>
        </p:spPr>
        <p:txBody>
          <a:bodyPr lIns="90000" tIns="46800" rIns="90000" bIns="46800"/>
          <a:lstStyle>
            <a:lvl1pPr marL="0" indent="0" algn="l" defTabSz="913943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70000"/>
              <a:buFont typeface="Arial" pitchFamily="34" charset="0"/>
              <a:buNone/>
              <a:defRPr lang="en-US" sz="1599" kern="1200" dirty="0" smtClean="0">
                <a:solidFill>
                  <a:srgbClr val="2E2E38"/>
                </a:solidFill>
                <a:latin typeface="+mn-lt"/>
                <a:ea typeface="+mn-ea"/>
                <a:cs typeface="+mn-cs"/>
              </a:defRPr>
            </a:lvl1pPr>
            <a:lvl2pPr marL="356438" indent="0">
              <a:buNone/>
              <a:defRPr lang="en-US" sz="1999" smtClean="0">
                <a:latin typeface="+mn-lt"/>
              </a:defRPr>
            </a:lvl2pPr>
            <a:lvl3pPr>
              <a:defRPr lang="en-US" sz="1799" smtClean="0">
                <a:latin typeface="+mn-lt"/>
              </a:defRPr>
            </a:lvl3pPr>
            <a:lvl4pPr>
              <a:defRPr lang="en-US" sz="1599" smtClean="0">
                <a:latin typeface="+mn-lt"/>
              </a:defRPr>
            </a:lvl4pPr>
            <a:lvl5pPr>
              <a:defRPr lang="en-IN" sz="1599">
                <a:latin typeface="+mn-lt"/>
              </a:defRPr>
            </a:lvl5pPr>
          </a:lstStyle>
          <a:p>
            <a:pPr marL="0" lvl="0" indent="0">
              <a:spcBef>
                <a:spcPts val="0"/>
              </a:spcBef>
              <a:buNone/>
            </a:pPr>
            <a:r>
              <a:rPr lang="en-US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412467931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E28D7EA5-A532-4D8B-9984-8F3D1FEA98D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453176" y="2060235"/>
            <a:ext cx="5292000" cy="3025522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lang="en-US" sz="2799" dirty="0" smtClean="0">
                <a:latin typeface="Georgia" panose="02040502050405020303" pitchFamily="18" charset="0"/>
              </a:defRPr>
            </a:lvl1pPr>
          </a:lstStyle>
          <a:p>
            <a:pPr marL="356438" lvl="0" indent="-356438" algn="ctr">
              <a:spcBef>
                <a:spcPts val="0"/>
              </a:spcBef>
            </a:pPr>
            <a:r>
              <a:rPr lang="en-US"/>
              <a:t>Edit Master text styles</a:t>
            </a:r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9F9B9C3C-16F2-40B2-A460-0480520ECF8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453176" y="5506678"/>
            <a:ext cx="5292000" cy="316838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lang="en-US" sz="1599" dirty="0" smtClean="0">
                <a:solidFill>
                  <a:srgbClr val="2E2E38"/>
                </a:solidFill>
                <a:latin typeface="+mn-lt"/>
              </a:defRPr>
            </a:lvl1pPr>
          </a:lstStyle>
          <a:p>
            <a:pPr marL="356438" lvl="0" indent="-356438" algn="ctr">
              <a:spcBef>
                <a:spcPts val="0"/>
              </a:spcBef>
              <a:spcAft>
                <a:spcPts val="600"/>
              </a:spcAft>
            </a:pPr>
            <a:r>
              <a:rPr lang="en-US"/>
              <a:t>Name Surname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8E04541C-CC5D-4455-8271-73223AE0A88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453176" y="5818717"/>
            <a:ext cx="5292000" cy="316838"/>
          </a:xfrm>
        </p:spPr>
        <p:txBody>
          <a:bodyPr vert="horz" lIns="0" tIns="0" rIns="0" bIns="0" rtlCol="0" anchor="t" anchorCtr="0">
            <a:noAutofit/>
          </a:bodyPr>
          <a:lstStyle>
            <a:lvl1pPr marL="0" indent="0" algn="ctr">
              <a:buNone/>
              <a:defRPr lang="en-US" sz="1599" dirty="0" smtClean="0">
                <a:solidFill>
                  <a:srgbClr val="2E2E38"/>
                </a:solidFill>
                <a:latin typeface="+mn-lt"/>
              </a:defRPr>
            </a:lvl1pPr>
          </a:lstStyle>
          <a:p>
            <a:pPr marL="356438" lvl="0" indent="-356438" algn="ctr">
              <a:spcBef>
                <a:spcPts val="0"/>
              </a:spcBef>
              <a:spcAft>
                <a:spcPts val="600"/>
              </a:spcAft>
            </a:pPr>
            <a:r>
              <a:rPr lang="en-US"/>
              <a:t>Job Title</a:t>
            </a:r>
          </a:p>
        </p:txBody>
      </p:sp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FBD672D3-B116-471A-8511-D80D5D920D93}"/>
              </a:ext>
            </a:extLst>
          </p:cNvPr>
          <p:cNvSpPr txBox="1">
            <a:spLocks/>
          </p:cNvSpPr>
          <p:nvPr userDrawn="1"/>
        </p:nvSpPr>
        <p:spPr>
          <a:xfrm>
            <a:off x="4929982" y="979789"/>
            <a:ext cx="2338388" cy="8826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GB" sz="11194">
                <a:solidFill>
                  <a:schemeClr val="tx2"/>
                </a:solidFill>
                <a:latin typeface="Georgia" panose="02040502050405020303" pitchFamily="18" charset="0"/>
              </a:rPr>
              <a:t>“ </a:t>
            </a:r>
          </a:p>
        </p:txBody>
      </p:sp>
    </p:spTree>
    <p:extLst>
      <p:ext uri="{BB962C8B-B14F-4D97-AF65-F5344CB8AC3E}">
        <p14:creationId xmlns:p14="http://schemas.microsoft.com/office/powerpoint/2010/main" val="324612280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15650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ivi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2D9F631-BCA2-47E9-B382-A1254CE498E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E3378B-13A6-4533-A081-0D0E0531CB98}" type="datetime3">
              <a:rPr lang="en-US" smtClean="0"/>
              <a:t>14 March 2025</a:t>
            </a:fld>
            <a:endParaRPr lang="en-IN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C1D1872-1F65-44DE-8D43-3328C27B587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/>
              <a:t>Presentation tit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06C50CF-7368-4D25-B2B5-360BA59E76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29407797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edia Placeholder 2">
            <a:extLst>
              <a:ext uri="{FF2B5EF4-FFF2-40B4-BE49-F238E27FC236}">
                <a16:creationId xmlns:a16="http://schemas.microsoft.com/office/drawing/2014/main" id="{0052CFA6-7CF5-41BD-9D94-2D0DAE108428}"/>
              </a:ext>
            </a:extLst>
          </p:cNvPr>
          <p:cNvSpPr>
            <a:spLocks noGrp="1"/>
          </p:cNvSpPr>
          <p:nvPr>
            <p:ph type="media" sz="quarter" idx="10" hasCustomPrompt="1"/>
          </p:nvPr>
        </p:nvSpPr>
        <p:spPr>
          <a:xfrm>
            <a:off x="0" y="0"/>
            <a:ext cx="12198350" cy="6858000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IN"/>
              <a:t>Video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0F742A9-BF69-4BF2-966C-3D76FC687FBA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IN"/>
              <a:t>Presentation tit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B65F912-EBE8-413B-A241-0FB3A540BA82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211057238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Key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CEF6675-2050-4038-B9E1-B80DB63D73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/>
              <a:t>Presentation titl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BA4D6F3-1431-4069-B814-2558466772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323182001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wo columns with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12648" y="1869442"/>
            <a:ext cx="5393208" cy="4256075"/>
          </a:xfrm>
        </p:spPr>
        <p:txBody>
          <a:bodyPr/>
          <a:lstStyle>
            <a:lvl1pPr>
              <a:defRPr sz="1999">
                <a:solidFill>
                  <a:schemeClr val="bg1"/>
                </a:solidFill>
              </a:defRPr>
            </a:lvl1pPr>
            <a:lvl2pPr>
              <a:defRPr sz="1799">
                <a:solidFill>
                  <a:schemeClr val="bg1"/>
                </a:solidFill>
              </a:defRPr>
            </a:lvl2pPr>
            <a:lvl3pPr>
              <a:defRPr sz="1599">
                <a:solidFill>
                  <a:schemeClr val="bg1"/>
                </a:solidFill>
              </a:defRPr>
            </a:lvl3pPr>
            <a:lvl4pPr>
              <a:defRPr sz="1399">
                <a:solidFill>
                  <a:schemeClr val="bg1"/>
                </a:solidFill>
              </a:defRPr>
            </a:lvl4pPr>
            <a:lvl5pPr>
              <a:defRPr sz="1199">
                <a:solidFill>
                  <a:schemeClr val="bg1"/>
                </a:solidFill>
              </a:defRPr>
            </a:lvl5pPr>
            <a:lvl6pPr>
              <a:defRPr sz="1799"/>
            </a:lvl6pPr>
            <a:lvl7pPr>
              <a:defRPr sz="1799"/>
            </a:lvl7pPr>
            <a:lvl8pPr>
              <a:defRPr sz="1799"/>
            </a:lvl8pPr>
            <a:lvl9pPr>
              <a:defRPr sz="1799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9632" y="1869442"/>
            <a:ext cx="5393208" cy="4256075"/>
          </a:xfrm>
        </p:spPr>
        <p:txBody>
          <a:bodyPr/>
          <a:lstStyle>
            <a:lvl1pPr>
              <a:defRPr sz="1999">
                <a:solidFill>
                  <a:schemeClr val="bg1"/>
                </a:solidFill>
              </a:defRPr>
            </a:lvl1pPr>
            <a:lvl2pPr>
              <a:defRPr sz="1799">
                <a:solidFill>
                  <a:schemeClr val="bg1"/>
                </a:solidFill>
              </a:defRPr>
            </a:lvl2pPr>
            <a:lvl3pPr>
              <a:defRPr sz="1599">
                <a:solidFill>
                  <a:schemeClr val="bg1"/>
                </a:solidFill>
              </a:defRPr>
            </a:lvl3pPr>
            <a:lvl4pPr>
              <a:defRPr sz="1399">
                <a:solidFill>
                  <a:schemeClr val="bg1"/>
                </a:solidFill>
              </a:defRPr>
            </a:lvl4pPr>
            <a:lvl5pPr>
              <a:defRPr sz="1199">
                <a:solidFill>
                  <a:schemeClr val="bg1"/>
                </a:solidFill>
              </a:defRPr>
            </a:lvl5pPr>
            <a:lvl6pPr>
              <a:defRPr sz="1799"/>
            </a:lvl6pPr>
            <a:lvl7pPr>
              <a:defRPr sz="1799"/>
            </a:lvl7pPr>
            <a:lvl8pPr>
              <a:defRPr sz="1799"/>
            </a:lvl8pPr>
            <a:lvl9pPr>
              <a:defRPr sz="1799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609918" y="1137920"/>
            <a:ext cx="5393208" cy="640800"/>
          </a:xfrm>
        </p:spPr>
        <p:txBody>
          <a:bodyPr anchor="t" anchorCtr="0"/>
          <a:lstStyle>
            <a:lvl1pPr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199632" y="1137920"/>
            <a:ext cx="5393208" cy="640800"/>
          </a:xfrm>
        </p:spPr>
        <p:txBody>
          <a:bodyPr anchor="t" anchorCtr="0"/>
          <a:lstStyle>
            <a:lvl1pPr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9" y="294200"/>
            <a:ext cx="10978515" cy="59088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Line 10">
            <a:extLst>
              <a:ext uri="{FF2B5EF4-FFF2-40B4-BE49-F238E27FC236}">
                <a16:creationId xmlns:a16="http://schemas.microsoft.com/office/drawing/2014/main" id="{9773E7D9-2434-4381-A00D-27B62C086733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BD2EC01-3D34-4D32-9B76-5269D1AA465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IN"/>
              <a:t>Presentation titl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4BE1C2B-4DA4-468F-9976-85F6CBF826F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27577181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628F8CDB-776D-4811-AE2C-217236ECDEC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227180" y="0"/>
            <a:ext cx="5971170" cy="6858000"/>
          </a:xfrm>
        </p:spPr>
        <p:txBody>
          <a:bodyPr/>
          <a:lstStyle/>
          <a:p>
            <a:endParaRPr lang="en-IN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26E96BA-E9E4-496B-8CA5-6DA27B8AD7E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69706" y="2578743"/>
            <a:ext cx="4537959" cy="1055708"/>
          </a:xfrm>
        </p:spPr>
        <p:txBody>
          <a:bodyPr/>
          <a:lstStyle>
            <a:lvl1pPr marL="0" indent="0">
              <a:buNone/>
              <a:defRPr sz="2999"/>
            </a:lvl1pPr>
          </a:lstStyle>
          <a:p>
            <a:pPr lvl="0"/>
            <a:r>
              <a:rPr lang="en-IN"/>
              <a:t>Chapter Title</a:t>
            </a:r>
          </a:p>
          <a:p>
            <a:pPr lvl="0"/>
            <a:r>
              <a:rPr lang="en-IN"/>
              <a:t>EY Interstate Light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1173C8A3-BA2F-497B-A214-45B02D73AF2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9706" y="3840384"/>
            <a:ext cx="4537959" cy="1055708"/>
          </a:xfrm>
        </p:spPr>
        <p:txBody>
          <a:bodyPr/>
          <a:lstStyle>
            <a:lvl1pPr marL="0" indent="0">
              <a:buNone/>
              <a:defRPr sz="1599"/>
            </a:lvl1pPr>
          </a:lstStyle>
          <a:p>
            <a:pPr lvl="0"/>
            <a:r>
              <a:rPr lang="en-IN"/>
              <a:t>text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F883B36-3BA3-42B4-A811-65C0AF01A86F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IN"/>
              <a:t>Presentation tit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9D9C98C-F30E-45BC-A1D9-67DB57119DCE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18918577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Divider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64FA27B8-9154-4F95-8315-DB0CCE9842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10090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2" imgH="318" progId="TCLayout.ActiveDocument.1">
                  <p:embed/>
                </p:oleObj>
              </mc:Choice>
              <mc:Fallback>
                <p:oleObj name="think-cell Folie" r:id="rId3" imgW="352" imgH="318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64FA27B8-9154-4F95-8315-DB0CCE9842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Grafik 8">
            <a:extLst>
              <a:ext uri="{FF2B5EF4-FFF2-40B4-BE49-F238E27FC236}">
                <a16:creationId xmlns:a16="http://schemas.microsoft.com/office/drawing/2014/main" id="{20CDEFBF-D514-4A85-8F6B-0A9A6C4F26EB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164"/>
            <a:ext cx="12198350" cy="6866621"/>
          </a:xfrm>
          <a:prstGeom prst="rect">
            <a:avLst/>
          </a:prstGeom>
        </p:spPr>
      </p:pic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626E96BA-E9E4-496B-8CA5-6DA27B8AD7E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11343" y="3789040"/>
            <a:ext cx="4537959" cy="1055708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buNone/>
              <a:defRPr sz="3000"/>
            </a:lvl1pPr>
          </a:lstStyle>
          <a:p>
            <a:pPr lvl="0"/>
            <a:r>
              <a:rPr lang="en-US" noProof="0"/>
              <a:t>Chapter Title</a:t>
            </a:r>
          </a:p>
          <a:p>
            <a:pPr lvl="0"/>
            <a:r>
              <a:rPr lang="en-US" noProof="0"/>
              <a:t>EY Interstate Light</a:t>
            </a:r>
          </a:p>
        </p:txBody>
      </p:sp>
      <p:sp>
        <p:nvSpPr>
          <p:cNvPr id="11" name="Line 10">
            <a:extLst>
              <a:ext uri="{FF2B5EF4-FFF2-40B4-BE49-F238E27FC236}">
                <a16:creationId xmlns:a16="http://schemas.microsoft.com/office/drawing/2014/main" id="{511DE75E-C218-487C-9B44-8A9A7AC1A5B8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5085184"/>
            <a:ext cx="1080000" cy="0"/>
          </a:xfrm>
          <a:prstGeom prst="line">
            <a:avLst/>
          </a:prstGeom>
          <a:noFill/>
          <a:ln w="3810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93840988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697C43D-4F1B-43DA-A0C6-DA6B6708E16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2800" y="2851522"/>
            <a:ext cx="4447800" cy="1202318"/>
          </a:xfrm>
        </p:spPr>
        <p:txBody>
          <a:bodyPr vert="horz" lIns="0" tIns="0" rIns="0" bIns="0" rtlCol="0" anchor="ctr" anchorCtr="0">
            <a:noAutofit/>
          </a:bodyPr>
          <a:lstStyle>
            <a:lvl1pPr marL="0" indent="0">
              <a:buNone/>
              <a:defRPr kumimoji="0" lang="en-IN" sz="3598" b="0" i="0" u="none" strike="noStrike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EYInterstate Light" panose="02000506000000020004" pitchFamily="2" charset="0"/>
                <a:ea typeface="+mj-ea"/>
                <a:cs typeface="+mj-cs"/>
              </a:defRPr>
            </a:lvl1pPr>
          </a:lstStyle>
          <a:p>
            <a:pPr marL="356438" marR="0" lvl="0" indent="-356438" defTabSz="1007383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Chapter Title</a:t>
            </a:r>
            <a:endParaRPr lang="en-IN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00C2D9D-B0D7-494E-9184-FCD6E94AACE5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ED7F695-D208-4793-A028-86F6F18418A7}" type="datetime3">
              <a:rPr lang="en-US" smtClean="0"/>
              <a:t>14 March 2025</a:t>
            </a:fld>
            <a:endParaRPr lang="en-IN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87FD91A-AB40-450B-8784-9A5D99C62D81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IN"/>
              <a:t>Presentation tit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2CE5F90-7113-4FA1-AFCF-3BC8EF010002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48395563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BD5388A-86DF-494E-B137-EE20B7E1CF9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88ED2D-DC3E-4D89-AF80-9836A372492D}" type="datetime3">
              <a:rPr lang="en-US" smtClean="0"/>
              <a:t>14 March 2025</a:t>
            </a:fld>
            <a:endParaRPr lang="en-IN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297E548-6FF4-4D89-ADE0-60181F5365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/>
              <a:t>Presentation tit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10B0A8B-D001-432B-877C-21558412BB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0817509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Final leg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607799" y="719139"/>
            <a:ext cx="4677635" cy="5210062"/>
          </a:xfrm>
        </p:spPr>
        <p:txBody>
          <a:bodyPr/>
          <a:lstStyle>
            <a:lvl1pPr marL="0" indent="0" algn="l" defTabSz="994865" rtl="0" fontAlgn="base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SzPct val="100000"/>
              <a:buNone/>
              <a:defRPr lang="en-US" sz="1199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1pPr>
            <a:lvl2pPr marL="0" indent="0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900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2pPr>
            <a:lvl3pPr marL="176125" indent="-176125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900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3pPr>
            <a:lvl4pPr marL="0" indent="0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8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4pPr>
            <a:lvl5pPr marL="188819" indent="-188819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800" kern="1200" noProof="0" dirty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91482901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9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 4">
            <a:extLst>
              <a:ext uri="{FF2B5EF4-FFF2-40B4-BE49-F238E27FC236}">
                <a16:creationId xmlns:a16="http://schemas.microsoft.com/office/drawing/2014/main" id="{4D78A6CF-30AF-4A7A-8375-4CE9AE4CD2F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287125" y="6356350"/>
            <a:ext cx="303213" cy="311150"/>
            <a:chOff x="7110" y="4004"/>
            <a:chExt cx="191" cy="196"/>
          </a:xfrm>
        </p:grpSpPr>
        <p:sp>
          <p:nvSpPr>
            <p:cNvPr id="12" name="Freeform 5">
              <a:extLst>
                <a:ext uri="{FF2B5EF4-FFF2-40B4-BE49-F238E27FC236}">
                  <a16:creationId xmlns:a16="http://schemas.microsoft.com/office/drawing/2014/main" id="{D4F762ED-6E19-4D31-BD0C-09576339FEC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3" name="Freeform 6">
              <a:extLst>
                <a:ext uri="{FF2B5EF4-FFF2-40B4-BE49-F238E27FC236}">
                  <a16:creationId xmlns:a16="http://schemas.microsoft.com/office/drawing/2014/main" id="{91EA99E5-4BD6-4166-8AA5-0D57080D03A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4" name="Freeform 7">
              <a:extLst>
                <a:ext uri="{FF2B5EF4-FFF2-40B4-BE49-F238E27FC236}">
                  <a16:creationId xmlns:a16="http://schemas.microsoft.com/office/drawing/2014/main" id="{C7E839E2-B6AC-40D2-AA17-0113405024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sp>
        <p:nvSpPr>
          <p:cNvPr id="16" name="Footer Placeholder 2">
            <a:extLst>
              <a:ext uri="{FF2B5EF4-FFF2-40B4-BE49-F238E27FC236}">
                <a16:creationId xmlns:a16="http://schemas.microsoft.com/office/drawing/2014/main" id="{F0FCD60E-D66A-4E1E-9AA0-148C173F4B4D}"/>
              </a:ext>
            </a:extLst>
          </p:cNvPr>
          <p:cNvSpPr txBox="1">
            <a:spLocks/>
          </p:cNvSpPr>
          <p:nvPr userDrawn="1"/>
        </p:nvSpPr>
        <p:spPr>
          <a:xfrm>
            <a:off x="3162988" y="6471244"/>
            <a:ext cx="3086100" cy="1800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N" b="1">
                <a:solidFill>
                  <a:schemeClr val="tx2"/>
                </a:solidFill>
                <a:latin typeface="EYInterstate" panose="02000503020000020004" pitchFamily="2" charset="0"/>
              </a:rPr>
              <a:t>| </a:t>
            </a:r>
            <a:r>
              <a:rPr lang="en-US"/>
              <a:t>EY@Work Small Projects Guide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231243250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918" y="294200"/>
            <a:ext cx="10978515" cy="590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0869D6F-A030-48CA-9C7C-9FC3A6F1F67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B3A3103-A6C0-4AC8-B5D2-D11453B0FBBD}" type="datetime3">
              <a:rPr lang="en-US" noProof="0" smtClean="0"/>
              <a:t>14 March 2025</a:t>
            </a:fld>
            <a:endParaRPr lang="en-US" noProof="0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F02C3F7-BD0A-4AD4-95D8-328DA6F539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EY DE PPT Gallery</a:t>
            </a:r>
            <a:endParaRPr lang="en-US" noProof="0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E4422C8-68BE-4650-89F1-3BECCFF9B5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noProof="0" dirty="0"/>
              <a:t>Page </a:t>
            </a:r>
            <a:fld id="{F1BC30E3-FFE5-4B91-AA19-87A149EBB9EE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4" hasCustomPrompt="1"/>
          </p:nvPr>
        </p:nvSpPr>
        <p:spPr>
          <a:xfrm>
            <a:off x="609917" y="1137920"/>
            <a:ext cx="8254800" cy="4946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None/>
              <a:tabLst/>
              <a:defRPr lang="en-US" noProof="0" dirty="0" smtClean="0"/>
            </a:lvl1pPr>
            <a:lvl2pPr marL="271463" marR="0" indent="-2714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 lang="en-US" noProof="0" dirty="0" smtClean="0"/>
            </a:lvl2pPr>
            <a:lvl3pPr marL="511175" marR="0" indent="-2333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 lang="en-US" noProof="0" dirty="0" smtClean="0"/>
            </a:lvl3pPr>
            <a:lvl4pPr marL="746125" marR="0" indent="-2317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 lang="en-US" noProof="0" dirty="0" smtClean="0"/>
            </a:lvl4pPr>
            <a:lvl5pPr marL="944563" marR="0" indent="-2016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 lang="en-US" noProof="0" dirty="0" smtClean="0"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Click to edit Master text styles</a:t>
            </a:r>
          </a:p>
          <a:p>
            <a:pPr marL="271463" marR="0" lvl="1" indent="-2714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Second level</a:t>
            </a:r>
          </a:p>
          <a:p>
            <a:pPr marL="511175" marR="0" lvl="2" indent="-2333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Third level</a:t>
            </a:r>
          </a:p>
          <a:p>
            <a:pPr marL="746125" marR="0" lvl="3" indent="-2317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Fourth level</a:t>
            </a:r>
          </a:p>
          <a:p>
            <a:pPr marL="944563" marR="0" lvl="4" indent="-2016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Text</a:t>
            </a:r>
          </a:p>
        </p:txBody>
      </p:sp>
      <p:sp>
        <p:nvSpPr>
          <p:cNvPr id="7" name="Line 10">
            <a:extLst>
              <a:ext uri="{FF2B5EF4-FFF2-40B4-BE49-F238E27FC236}">
                <a16:creationId xmlns:a16="http://schemas.microsoft.com/office/drawing/2014/main" id="{FBB59D39-6114-41B0-8E75-E6A062D80427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80000" cy="0"/>
          </a:xfrm>
          <a:prstGeom prst="line">
            <a:avLst/>
          </a:prstGeom>
          <a:noFill/>
          <a:ln w="3810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396857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61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218C1C37-D629-4912-94B0-CC62B250361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714" y="892"/>
            <a:ext cx="12194922" cy="6856216"/>
          </a:xfrm>
          <a:prstGeom prst="rect">
            <a:avLst/>
          </a:prstGeom>
        </p:spPr>
      </p:pic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3140013" y="1529349"/>
            <a:ext cx="3676423" cy="979702"/>
          </a:xfrm>
          <a:prstGeom prst="rect">
            <a:avLst/>
          </a:prstGeom>
        </p:spPr>
        <p:txBody>
          <a:bodyPr/>
          <a:lstStyle>
            <a:lvl1pPr>
              <a:defRPr sz="3000" b="0">
                <a:solidFill>
                  <a:schemeClr val="tx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2" name="Subtitle 2"/>
          <p:cNvSpPr>
            <a:spLocks noGrp="1"/>
          </p:cNvSpPr>
          <p:nvPr>
            <p:ph type="subTitle" idx="1"/>
          </p:nvPr>
        </p:nvSpPr>
        <p:spPr>
          <a:xfrm>
            <a:off x="3140013" y="2621286"/>
            <a:ext cx="3676423" cy="1046323"/>
          </a:xfrm>
          <a:prstGeom prst="rect">
            <a:avLst/>
          </a:prstGeom>
        </p:spPr>
        <p:txBody>
          <a:bodyPr/>
          <a:lstStyle>
            <a:lvl1pPr marL="0" indent="0" algn="l">
              <a:spcAft>
                <a:spcPts val="1200"/>
              </a:spcAft>
              <a:buNone/>
              <a:defRPr sz="2000">
                <a:solidFill>
                  <a:schemeClr val="tx1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600" b="1">
                <a:solidFill>
                  <a:srgbClr val="404040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15" name="Freeform 5">
            <a:extLst>
              <a:ext uri="{FF2B5EF4-FFF2-40B4-BE49-F238E27FC236}">
                <a16:creationId xmlns:a16="http://schemas.microsoft.com/office/drawing/2014/main" id="{D19659BD-653C-4300-9060-420AFAE39587}"/>
              </a:ext>
            </a:extLst>
          </p:cNvPr>
          <p:cNvSpPr>
            <a:spLocks/>
          </p:cNvSpPr>
          <p:nvPr userDrawn="1"/>
        </p:nvSpPr>
        <p:spPr bwMode="auto">
          <a:xfrm>
            <a:off x="10364788" y="4960938"/>
            <a:ext cx="982663" cy="358775"/>
          </a:xfrm>
          <a:custGeom>
            <a:avLst/>
            <a:gdLst>
              <a:gd name="T0" fmla="*/ 2473 w 2473"/>
              <a:gd name="T1" fmla="*/ 0 h 902"/>
              <a:gd name="T2" fmla="*/ 0 w 2473"/>
              <a:gd name="T3" fmla="*/ 902 h 902"/>
              <a:gd name="T4" fmla="*/ 2473 w 2473"/>
              <a:gd name="T5" fmla="*/ 466 h 902"/>
              <a:gd name="T6" fmla="*/ 2473 w 2473"/>
              <a:gd name="T7" fmla="*/ 0 h 9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473" h="902">
                <a:moveTo>
                  <a:pt x="2473" y="0"/>
                </a:moveTo>
                <a:lnTo>
                  <a:pt x="0" y="902"/>
                </a:lnTo>
                <a:lnTo>
                  <a:pt x="2473" y="466"/>
                </a:lnTo>
                <a:lnTo>
                  <a:pt x="2473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7" name="Freeform 6">
            <a:extLst>
              <a:ext uri="{FF2B5EF4-FFF2-40B4-BE49-F238E27FC236}">
                <a16:creationId xmlns:a16="http://schemas.microsoft.com/office/drawing/2014/main" id="{A4669336-72A1-4233-827A-C41AB4C1CC04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364788" y="5467351"/>
            <a:ext cx="1225550" cy="928688"/>
          </a:xfrm>
          <a:custGeom>
            <a:avLst/>
            <a:gdLst>
              <a:gd name="T0" fmla="*/ 233 w 3088"/>
              <a:gd name="T1" fmla="*/ 1588 h 2339"/>
              <a:gd name="T2" fmla="*/ 253 w 3088"/>
              <a:gd name="T3" fmla="*/ 1795 h 2339"/>
              <a:gd name="T4" fmla="*/ 151 w 3088"/>
              <a:gd name="T5" fmla="*/ 1810 h 2339"/>
              <a:gd name="T6" fmla="*/ 351 w 3088"/>
              <a:gd name="T7" fmla="*/ 1761 h 2339"/>
              <a:gd name="T8" fmla="*/ 416 w 3088"/>
              <a:gd name="T9" fmla="*/ 1857 h 2339"/>
              <a:gd name="T10" fmla="*/ 1140 w 3088"/>
              <a:gd name="T11" fmla="*/ 1652 h 2339"/>
              <a:gd name="T12" fmla="*/ 1216 w 3088"/>
              <a:gd name="T13" fmla="*/ 1738 h 2339"/>
              <a:gd name="T14" fmla="*/ 696 w 3088"/>
              <a:gd name="T15" fmla="*/ 1546 h 2339"/>
              <a:gd name="T16" fmla="*/ 738 w 3088"/>
              <a:gd name="T17" fmla="*/ 1710 h 2339"/>
              <a:gd name="T18" fmla="*/ 860 w 3088"/>
              <a:gd name="T19" fmla="*/ 1854 h 2339"/>
              <a:gd name="T20" fmla="*/ 832 w 3088"/>
              <a:gd name="T21" fmla="*/ 1684 h 2339"/>
              <a:gd name="T22" fmla="*/ 2021 w 3088"/>
              <a:gd name="T23" fmla="*/ 1860 h 2339"/>
              <a:gd name="T24" fmla="*/ 2158 w 3088"/>
              <a:gd name="T25" fmla="*/ 1747 h 2339"/>
              <a:gd name="T26" fmla="*/ 2100 w 3088"/>
              <a:gd name="T27" fmla="*/ 1730 h 2339"/>
              <a:gd name="T28" fmla="*/ 2059 w 3088"/>
              <a:gd name="T29" fmla="*/ 1684 h 2339"/>
              <a:gd name="T30" fmla="*/ 1309 w 3088"/>
              <a:gd name="T31" fmla="*/ 1734 h 2339"/>
              <a:gd name="T32" fmla="*/ 1445 w 3088"/>
              <a:gd name="T33" fmla="*/ 1844 h 2339"/>
              <a:gd name="T34" fmla="*/ 1473 w 3088"/>
              <a:gd name="T35" fmla="*/ 1923 h 2339"/>
              <a:gd name="T36" fmla="*/ 1369 w 3088"/>
              <a:gd name="T37" fmla="*/ 1781 h 2339"/>
              <a:gd name="T38" fmla="*/ 1727 w 3088"/>
              <a:gd name="T39" fmla="*/ 1677 h 2339"/>
              <a:gd name="T40" fmla="*/ 1632 w 3088"/>
              <a:gd name="T41" fmla="*/ 1778 h 2339"/>
              <a:gd name="T42" fmla="*/ 1822 w 3088"/>
              <a:gd name="T43" fmla="*/ 1710 h 2339"/>
              <a:gd name="T44" fmla="*/ 1686 w 3088"/>
              <a:gd name="T45" fmla="*/ 1786 h 2339"/>
              <a:gd name="T46" fmla="*/ 1708 w 3088"/>
              <a:gd name="T47" fmla="*/ 1817 h 2339"/>
              <a:gd name="T48" fmla="*/ 2240 w 3088"/>
              <a:gd name="T49" fmla="*/ 1766 h 2339"/>
              <a:gd name="T50" fmla="*/ 2227 w 3088"/>
              <a:gd name="T51" fmla="*/ 1653 h 2339"/>
              <a:gd name="T52" fmla="*/ 2290 w 3088"/>
              <a:gd name="T53" fmla="*/ 1866 h 2339"/>
              <a:gd name="T54" fmla="*/ 2321 w 3088"/>
              <a:gd name="T55" fmla="*/ 1709 h 2339"/>
              <a:gd name="T56" fmla="*/ 2908 w 3088"/>
              <a:gd name="T57" fmla="*/ 1750 h 2339"/>
              <a:gd name="T58" fmla="*/ 2730 w 3088"/>
              <a:gd name="T59" fmla="*/ 1683 h 2339"/>
              <a:gd name="T60" fmla="*/ 2852 w 3088"/>
              <a:gd name="T61" fmla="*/ 1860 h 2339"/>
              <a:gd name="T62" fmla="*/ 2639 w 3088"/>
              <a:gd name="T63" fmla="*/ 1783 h 2339"/>
              <a:gd name="T64" fmla="*/ 2605 w 3088"/>
              <a:gd name="T65" fmla="*/ 1853 h 2339"/>
              <a:gd name="T66" fmla="*/ 2464 w 3088"/>
              <a:gd name="T67" fmla="*/ 1861 h 2339"/>
              <a:gd name="T68" fmla="*/ 2495 w 3088"/>
              <a:gd name="T69" fmla="*/ 1812 h 2339"/>
              <a:gd name="T70" fmla="*/ 2998 w 3088"/>
              <a:gd name="T71" fmla="*/ 1639 h 2339"/>
              <a:gd name="T72" fmla="*/ 975 w 3088"/>
              <a:gd name="T73" fmla="*/ 1860 h 2339"/>
              <a:gd name="T74" fmla="*/ 2416 w 3088"/>
              <a:gd name="T75" fmla="*/ 2069 h 2339"/>
              <a:gd name="T76" fmla="*/ 2510 w 3088"/>
              <a:gd name="T77" fmla="*/ 2251 h 2339"/>
              <a:gd name="T78" fmla="*/ 2485 w 3088"/>
              <a:gd name="T79" fmla="*/ 2074 h 2339"/>
              <a:gd name="T80" fmla="*/ 627 w 3088"/>
              <a:gd name="T81" fmla="*/ 2078 h 2339"/>
              <a:gd name="T82" fmla="*/ 672 w 3088"/>
              <a:gd name="T83" fmla="*/ 2089 h 2339"/>
              <a:gd name="T84" fmla="*/ 202 w 3088"/>
              <a:gd name="T85" fmla="*/ 2135 h 2339"/>
              <a:gd name="T86" fmla="*/ 310 w 3088"/>
              <a:gd name="T87" fmla="*/ 2174 h 2339"/>
              <a:gd name="T88" fmla="*/ 503 w 3088"/>
              <a:gd name="T89" fmla="*/ 2174 h 2339"/>
              <a:gd name="T90" fmla="*/ 374 w 3088"/>
              <a:gd name="T91" fmla="*/ 2185 h 2339"/>
              <a:gd name="T92" fmla="*/ 439 w 3088"/>
              <a:gd name="T93" fmla="*/ 2185 h 2339"/>
              <a:gd name="T94" fmla="*/ 2197 w 3088"/>
              <a:gd name="T95" fmla="*/ 2040 h 2339"/>
              <a:gd name="T96" fmla="*/ 1597 w 3088"/>
              <a:gd name="T97" fmla="*/ 2027 h 2339"/>
              <a:gd name="T98" fmla="*/ 1937 w 3088"/>
              <a:gd name="T99" fmla="*/ 2047 h 2339"/>
              <a:gd name="T100" fmla="*/ 2002 w 3088"/>
              <a:gd name="T101" fmla="*/ 2254 h 2339"/>
              <a:gd name="T102" fmla="*/ 2061 w 3088"/>
              <a:gd name="T103" fmla="*/ 2041 h 2339"/>
              <a:gd name="T104" fmla="*/ 2002 w 3088"/>
              <a:gd name="T105" fmla="*/ 2073 h 2339"/>
              <a:gd name="T106" fmla="*/ 767 w 3088"/>
              <a:gd name="T107" fmla="*/ 1934 h 2339"/>
              <a:gd name="T108" fmla="*/ 1202 w 3088"/>
              <a:gd name="T109" fmla="*/ 2037 h 2339"/>
              <a:gd name="T110" fmla="*/ 1108 w 3088"/>
              <a:gd name="T111" fmla="*/ 2086 h 2339"/>
              <a:gd name="T112" fmla="*/ 1280 w 3088"/>
              <a:gd name="T113" fmla="*/ 2078 h 2339"/>
              <a:gd name="T114" fmla="*/ 1385 w 3088"/>
              <a:gd name="T115" fmla="*/ 2249 h 2339"/>
              <a:gd name="T116" fmla="*/ 1403 w 3088"/>
              <a:gd name="T117" fmla="*/ 2332 h 2339"/>
              <a:gd name="T118" fmla="*/ 1354 w 3088"/>
              <a:gd name="T119" fmla="*/ 2200 h 2339"/>
              <a:gd name="T120" fmla="*/ 993 w 3088"/>
              <a:gd name="T121" fmla="*/ 2123 h 2339"/>
              <a:gd name="T122" fmla="*/ 397 w 3088"/>
              <a:gd name="T123" fmla="*/ 963 h 23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3088" h="2339">
                <a:moveTo>
                  <a:pt x="257" y="1763"/>
                </a:moveTo>
                <a:lnTo>
                  <a:pt x="257" y="1763"/>
                </a:lnTo>
                <a:lnTo>
                  <a:pt x="257" y="1755"/>
                </a:lnTo>
                <a:lnTo>
                  <a:pt x="256" y="1749"/>
                </a:lnTo>
                <a:lnTo>
                  <a:pt x="253" y="1736"/>
                </a:lnTo>
                <a:lnTo>
                  <a:pt x="247" y="1725"/>
                </a:lnTo>
                <a:lnTo>
                  <a:pt x="241" y="1716"/>
                </a:lnTo>
                <a:lnTo>
                  <a:pt x="233" y="1709"/>
                </a:lnTo>
                <a:lnTo>
                  <a:pt x="225" y="1704"/>
                </a:lnTo>
                <a:lnTo>
                  <a:pt x="219" y="1699"/>
                </a:lnTo>
                <a:lnTo>
                  <a:pt x="212" y="1696"/>
                </a:lnTo>
                <a:lnTo>
                  <a:pt x="212" y="1696"/>
                </a:lnTo>
                <a:lnTo>
                  <a:pt x="220" y="1690"/>
                </a:lnTo>
                <a:lnTo>
                  <a:pt x="226" y="1685"/>
                </a:lnTo>
                <a:lnTo>
                  <a:pt x="232" y="1678"/>
                </a:lnTo>
                <a:lnTo>
                  <a:pt x="237" y="1671"/>
                </a:lnTo>
                <a:lnTo>
                  <a:pt x="242" y="1663"/>
                </a:lnTo>
                <a:lnTo>
                  <a:pt x="244" y="1654"/>
                </a:lnTo>
                <a:lnTo>
                  <a:pt x="246" y="1645"/>
                </a:lnTo>
                <a:lnTo>
                  <a:pt x="246" y="1635"/>
                </a:lnTo>
                <a:lnTo>
                  <a:pt x="246" y="1635"/>
                </a:lnTo>
                <a:lnTo>
                  <a:pt x="246" y="1626"/>
                </a:lnTo>
                <a:lnTo>
                  <a:pt x="245" y="1618"/>
                </a:lnTo>
                <a:lnTo>
                  <a:pt x="243" y="1610"/>
                </a:lnTo>
                <a:lnTo>
                  <a:pt x="241" y="1602"/>
                </a:lnTo>
                <a:lnTo>
                  <a:pt x="237" y="1594"/>
                </a:lnTo>
                <a:lnTo>
                  <a:pt x="233" y="1588"/>
                </a:lnTo>
                <a:lnTo>
                  <a:pt x="227" y="1582"/>
                </a:lnTo>
                <a:lnTo>
                  <a:pt x="222" y="1577"/>
                </a:lnTo>
                <a:lnTo>
                  <a:pt x="215" y="1572"/>
                </a:lnTo>
                <a:lnTo>
                  <a:pt x="209" y="1568"/>
                </a:lnTo>
                <a:lnTo>
                  <a:pt x="201" y="1565"/>
                </a:lnTo>
                <a:lnTo>
                  <a:pt x="192" y="1561"/>
                </a:lnTo>
                <a:lnTo>
                  <a:pt x="183" y="1559"/>
                </a:lnTo>
                <a:lnTo>
                  <a:pt x="173" y="1557"/>
                </a:lnTo>
                <a:lnTo>
                  <a:pt x="163" y="1557"/>
                </a:lnTo>
                <a:lnTo>
                  <a:pt x="152" y="1556"/>
                </a:lnTo>
                <a:lnTo>
                  <a:pt x="22" y="1556"/>
                </a:lnTo>
                <a:lnTo>
                  <a:pt x="22" y="1860"/>
                </a:lnTo>
                <a:lnTo>
                  <a:pt x="151" y="1860"/>
                </a:lnTo>
                <a:lnTo>
                  <a:pt x="151" y="1860"/>
                </a:lnTo>
                <a:lnTo>
                  <a:pt x="163" y="1860"/>
                </a:lnTo>
                <a:lnTo>
                  <a:pt x="174" y="1859"/>
                </a:lnTo>
                <a:lnTo>
                  <a:pt x="185" y="1857"/>
                </a:lnTo>
                <a:lnTo>
                  <a:pt x="195" y="1854"/>
                </a:lnTo>
                <a:lnTo>
                  <a:pt x="205" y="1850"/>
                </a:lnTo>
                <a:lnTo>
                  <a:pt x="214" y="1846"/>
                </a:lnTo>
                <a:lnTo>
                  <a:pt x="222" y="1840"/>
                </a:lnTo>
                <a:lnTo>
                  <a:pt x="228" y="1835"/>
                </a:lnTo>
                <a:lnTo>
                  <a:pt x="235" y="1828"/>
                </a:lnTo>
                <a:lnTo>
                  <a:pt x="241" y="1821"/>
                </a:lnTo>
                <a:lnTo>
                  <a:pt x="246" y="1813"/>
                </a:lnTo>
                <a:lnTo>
                  <a:pt x="249" y="1804"/>
                </a:lnTo>
                <a:lnTo>
                  <a:pt x="253" y="1795"/>
                </a:lnTo>
                <a:lnTo>
                  <a:pt x="255" y="1785"/>
                </a:lnTo>
                <a:lnTo>
                  <a:pt x="256" y="1774"/>
                </a:lnTo>
                <a:lnTo>
                  <a:pt x="257" y="1763"/>
                </a:lnTo>
                <a:lnTo>
                  <a:pt x="257" y="1763"/>
                </a:lnTo>
                <a:close/>
                <a:moveTo>
                  <a:pt x="151" y="1810"/>
                </a:moveTo>
                <a:lnTo>
                  <a:pt x="78" y="1810"/>
                </a:lnTo>
                <a:lnTo>
                  <a:pt x="78" y="1722"/>
                </a:lnTo>
                <a:lnTo>
                  <a:pt x="151" y="1722"/>
                </a:lnTo>
                <a:lnTo>
                  <a:pt x="151" y="1722"/>
                </a:lnTo>
                <a:lnTo>
                  <a:pt x="162" y="1723"/>
                </a:lnTo>
                <a:lnTo>
                  <a:pt x="171" y="1725"/>
                </a:lnTo>
                <a:lnTo>
                  <a:pt x="179" y="1728"/>
                </a:lnTo>
                <a:lnTo>
                  <a:pt x="185" y="1733"/>
                </a:lnTo>
                <a:lnTo>
                  <a:pt x="191" y="1739"/>
                </a:lnTo>
                <a:lnTo>
                  <a:pt x="194" y="1747"/>
                </a:lnTo>
                <a:lnTo>
                  <a:pt x="196" y="1755"/>
                </a:lnTo>
                <a:lnTo>
                  <a:pt x="198" y="1765"/>
                </a:lnTo>
                <a:lnTo>
                  <a:pt x="198" y="1765"/>
                </a:lnTo>
                <a:lnTo>
                  <a:pt x="196" y="1775"/>
                </a:lnTo>
                <a:lnTo>
                  <a:pt x="194" y="1784"/>
                </a:lnTo>
                <a:lnTo>
                  <a:pt x="190" y="1792"/>
                </a:lnTo>
                <a:lnTo>
                  <a:pt x="185" y="1797"/>
                </a:lnTo>
                <a:lnTo>
                  <a:pt x="179" y="1803"/>
                </a:lnTo>
                <a:lnTo>
                  <a:pt x="171" y="1806"/>
                </a:lnTo>
                <a:lnTo>
                  <a:pt x="161" y="1808"/>
                </a:lnTo>
                <a:lnTo>
                  <a:pt x="151" y="1810"/>
                </a:lnTo>
                <a:lnTo>
                  <a:pt x="151" y="1810"/>
                </a:lnTo>
                <a:close/>
                <a:moveTo>
                  <a:pt x="150" y="1673"/>
                </a:moveTo>
                <a:lnTo>
                  <a:pt x="78" y="1673"/>
                </a:lnTo>
                <a:lnTo>
                  <a:pt x="78" y="1608"/>
                </a:lnTo>
                <a:lnTo>
                  <a:pt x="148" y="1608"/>
                </a:lnTo>
                <a:lnTo>
                  <a:pt x="148" y="1608"/>
                </a:lnTo>
                <a:lnTo>
                  <a:pt x="157" y="1609"/>
                </a:lnTo>
                <a:lnTo>
                  <a:pt x="166" y="1610"/>
                </a:lnTo>
                <a:lnTo>
                  <a:pt x="172" y="1612"/>
                </a:lnTo>
                <a:lnTo>
                  <a:pt x="178" y="1615"/>
                </a:lnTo>
                <a:lnTo>
                  <a:pt x="182" y="1621"/>
                </a:lnTo>
                <a:lnTo>
                  <a:pt x="185" y="1626"/>
                </a:lnTo>
                <a:lnTo>
                  <a:pt x="187" y="1633"/>
                </a:lnTo>
                <a:lnTo>
                  <a:pt x="188" y="1641"/>
                </a:lnTo>
                <a:lnTo>
                  <a:pt x="188" y="1641"/>
                </a:lnTo>
                <a:lnTo>
                  <a:pt x="188" y="1646"/>
                </a:lnTo>
                <a:lnTo>
                  <a:pt x="187" y="1652"/>
                </a:lnTo>
                <a:lnTo>
                  <a:pt x="184" y="1657"/>
                </a:lnTo>
                <a:lnTo>
                  <a:pt x="181" y="1662"/>
                </a:lnTo>
                <a:lnTo>
                  <a:pt x="175" y="1666"/>
                </a:lnTo>
                <a:lnTo>
                  <a:pt x="169" y="1669"/>
                </a:lnTo>
                <a:lnTo>
                  <a:pt x="161" y="1672"/>
                </a:lnTo>
                <a:lnTo>
                  <a:pt x="150" y="1673"/>
                </a:lnTo>
                <a:lnTo>
                  <a:pt x="150" y="1673"/>
                </a:lnTo>
                <a:close/>
                <a:moveTo>
                  <a:pt x="296" y="1764"/>
                </a:moveTo>
                <a:lnTo>
                  <a:pt x="296" y="1639"/>
                </a:lnTo>
                <a:lnTo>
                  <a:pt x="351" y="1639"/>
                </a:lnTo>
                <a:lnTo>
                  <a:pt x="351" y="1761"/>
                </a:lnTo>
                <a:lnTo>
                  <a:pt x="351" y="1761"/>
                </a:lnTo>
                <a:lnTo>
                  <a:pt x="351" y="1773"/>
                </a:lnTo>
                <a:lnTo>
                  <a:pt x="353" y="1785"/>
                </a:lnTo>
                <a:lnTo>
                  <a:pt x="356" y="1794"/>
                </a:lnTo>
                <a:lnTo>
                  <a:pt x="361" y="1802"/>
                </a:lnTo>
                <a:lnTo>
                  <a:pt x="366" y="1807"/>
                </a:lnTo>
                <a:lnTo>
                  <a:pt x="373" y="1812"/>
                </a:lnTo>
                <a:lnTo>
                  <a:pt x="382" y="1814"/>
                </a:lnTo>
                <a:lnTo>
                  <a:pt x="392" y="1815"/>
                </a:lnTo>
                <a:lnTo>
                  <a:pt x="392" y="1815"/>
                </a:lnTo>
                <a:lnTo>
                  <a:pt x="402" y="1814"/>
                </a:lnTo>
                <a:lnTo>
                  <a:pt x="409" y="1812"/>
                </a:lnTo>
                <a:lnTo>
                  <a:pt x="417" y="1807"/>
                </a:lnTo>
                <a:lnTo>
                  <a:pt x="423" y="1802"/>
                </a:lnTo>
                <a:lnTo>
                  <a:pt x="427" y="1794"/>
                </a:lnTo>
                <a:lnTo>
                  <a:pt x="430" y="1784"/>
                </a:lnTo>
                <a:lnTo>
                  <a:pt x="433" y="1773"/>
                </a:lnTo>
                <a:lnTo>
                  <a:pt x="433" y="1761"/>
                </a:lnTo>
                <a:lnTo>
                  <a:pt x="433" y="1639"/>
                </a:lnTo>
                <a:lnTo>
                  <a:pt x="488" y="1639"/>
                </a:lnTo>
                <a:lnTo>
                  <a:pt x="488" y="1860"/>
                </a:lnTo>
                <a:lnTo>
                  <a:pt x="433" y="1860"/>
                </a:lnTo>
                <a:lnTo>
                  <a:pt x="433" y="1843"/>
                </a:lnTo>
                <a:lnTo>
                  <a:pt x="433" y="1843"/>
                </a:lnTo>
                <a:lnTo>
                  <a:pt x="428" y="1848"/>
                </a:lnTo>
                <a:lnTo>
                  <a:pt x="422" y="1853"/>
                </a:lnTo>
                <a:lnTo>
                  <a:pt x="416" y="1857"/>
                </a:lnTo>
                <a:lnTo>
                  <a:pt x="409" y="1859"/>
                </a:lnTo>
                <a:lnTo>
                  <a:pt x="403" y="1862"/>
                </a:lnTo>
                <a:lnTo>
                  <a:pt x="395" y="1864"/>
                </a:lnTo>
                <a:lnTo>
                  <a:pt x="387" y="1865"/>
                </a:lnTo>
                <a:lnTo>
                  <a:pt x="380" y="1866"/>
                </a:lnTo>
                <a:lnTo>
                  <a:pt x="380" y="1866"/>
                </a:lnTo>
                <a:lnTo>
                  <a:pt x="366" y="1865"/>
                </a:lnTo>
                <a:lnTo>
                  <a:pt x="355" y="1862"/>
                </a:lnTo>
                <a:lnTo>
                  <a:pt x="345" y="1859"/>
                </a:lnTo>
                <a:lnTo>
                  <a:pt x="336" y="1855"/>
                </a:lnTo>
                <a:lnTo>
                  <a:pt x="328" y="1849"/>
                </a:lnTo>
                <a:lnTo>
                  <a:pt x="321" y="1844"/>
                </a:lnTo>
                <a:lnTo>
                  <a:pt x="316" y="1836"/>
                </a:lnTo>
                <a:lnTo>
                  <a:pt x="310" y="1828"/>
                </a:lnTo>
                <a:lnTo>
                  <a:pt x="307" y="1821"/>
                </a:lnTo>
                <a:lnTo>
                  <a:pt x="304" y="1813"/>
                </a:lnTo>
                <a:lnTo>
                  <a:pt x="299" y="1795"/>
                </a:lnTo>
                <a:lnTo>
                  <a:pt x="297" y="1779"/>
                </a:lnTo>
                <a:lnTo>
                  <a:pt x="296" y="1764"/>
                </a:lnTo>
                <a:lnTo>
                  <a:pt x="296" y="1764"/>
                </a:lnTo>
                <a:close/>
                <a:moveTo>
                  <a:pt x="1135" y="1860"/>
                </a:moveTo>
                <a:lnTo>
                  <a:pt x="1079" y="1860"/>
                </a:lnTo>
                <a:lnTo>
                  <a:pt x="1079" y="1639"/>
                </a:lnTo>
                <a:lnTo>
                  <a:pt x="1135" y="1639"/>
                </a:lnTo>
                <a:lnTo>
                  <a:pt x="1135" y="1657"/>
                </a:lnTo>
                <a:lnTo>
                  <a:pt x="1135" y="1657"/>
                </a:lnTo>
                <a:lnTo>
                  <a:pt x="1140" y="1652"/>
                </a:lnTo>
                <a:lnTo>
                  <a:pt x="1146" y="1646"/>
                </a:lnTo>
                <a:lnTo>
                  <a:pt x="1152" y="1643"/>
                </a:lnTo>
                <a:lnTo>
                  <a:pt x="1159" y="1640"/>
                </a:lnTo>
                <a:lnTo>
                  <a:pt x="1167" y="1636"/>
                </a:lnTo>
                <a:lnTo>
                  <a:pt x="1173" y="1635"/>
                </a:lnTo>
                <a:lnTo>
                  <a:pt x="1182" y="1634"/>
                </a:lnTo>
                <a:lnTo>
                  <a:pt x="1190" y="1633"/>
                </a:lnTo>
                <a:lnTo>
                  <a:pt x="1190" y="1633"/>
                </a:lnTo>
                <a:lnTo>
                  <a:pt x="1200" y="1634"/>
                </a:lnTo>
                <a:lnTo>
                  <a:pt x="1208" y="1635"/>
                </a:lnTo>
                <a:lnTo>
                  <a:pt x="1217" y="1637"/>
                </a:lnTo>
                <a:lnTo>
                  <a:pt x="1225" y="1640"/>
                </a:lnTo>
                <a:lnTo>
                  <a:pt x="1233" y="1643"/>
                </a:lnTo>
                <a:lnTo>
                  <a:pt x="1239" y="1648"/>
                </a:lnTo>
                <a:lnTo>
                  <a:pt x="1245" y="1653"/>
                </a:lnTo>
                <a:lnTo>
                  <a:pt x="1250" y="1659"/>
                </a:lnTo>
                <a:lnTo>
                  <a:pt x="1256" y="1666"/>
                </a:lnTo>
                <a:lnTo>
                  <a:pt x="1259" y="1674"/>
                </a:lnTo>
                <a:lnTo>
                  <a:pt x="1264" y="1682"/>
                </a:lnTo>
                <a:lnTo>
                  <a:pt x="1266" y="1690"/>
                </a:lnTo>
                <a:lnTo>
                  <a:pt x="1268" y="1700"/>
                </a:lnTo>
                <a:lnTo>
                  <a:pt x="1270" y="1711"/>
                </a:lnTo>
                <a:lnTo>
                  <a:pt x="1271" y="1722"/>
                </a:lnTo>
                <a:lnTo>
                  <a:pt x="1271" y="1734"/>
                </a:lnTo>
                <a:lnTo>
                  <a:pt x="1271" y="1860"/>
                </a:lnTo>
                <a:lnTo>
                  <a:pt x="1216" y="1860"/>
                </a:lnTo>
                <a:lnTo>
                  <a:pt x="1216" y="1738"/>
                </a:lnTo>
                <a:lnTo>
                  <a:pt x="1216" y="1738"/>
                </a:lnTo>
                <a:lnTo>
                  <a:pt x="1216" y="1725"/>
                </a:lnTo>
                <a:lnTo>
                  <a:pt x="1214" y="1714"/>
                </a:lnTo>
                <a:lnTo>
                  <a:pt x="1211" y="1705"/>
                </a:lnTo>
                <a:lnTo>
                  <a:pt x="1206" y="1697"/>
                </a:lnTo>
                <a:lnTo>
                  <a:pt x="1201" y="1691"/>
                </a:lnTo>
                <a:lnTo>
                  <a:pt x="1194" y="1687"/>
                </a:lnTo>
                <a:lnTo>
                  <a:pt x="1186" y="1685"/>
                </a:lnTo>
                <a:lnTo>
                  <a:pt x="1176" y="1684"/>
                </a:lnTo>
                <a:lnTo>
                  <a:pt x="1176" y="1684"/>
                </a:lnTo>
                <a:lnTo>
                  <a:pt x="1167" y="1685"/>
                </a:lnTo>
                <a:lnTo>
                  <a:pt x="1158" y="1687"/>
                </a:lnTo>
                <a:lnTo>
                  <a:pt x="1151" y="1691"/>
                </a:lnTo>
                <a:lnTo>
                  <a:pt x="1146" y="1697"/>
                </a:lnTo>
                <a:lnTo>
                  <a:pt x="1140" y="1705"/>
                </a:lnTo>
                <a:lnTo>
                  <a:pt x="1137" y="1715"/>
                </a:lnTo>
                <a:lnTo>
                  <a:pt x="1135" y="1726"/>
                </a:lnTo>
                <a:lnTo>
                  <a:pt x="1135" y="1738"/>
                </a:lnTo>
                <a:lnTo>
                  <a:pt x="1135" y="1860"/>
                </a:lnTo>
                <a:close/>
                <a:moveTo>
                  <a:pt x="593" y="1742"/>
                </a:moveTo>
                <a:lnTo>
                  <a:pt x="593" y="1860"/>
                </a:lnTo>
                <a:lnTo>
                  <a:pt x="537" y="1860"/>
                </a:lnTo>
                <a:lnTo>
                  <a:pt x="537" y="1639"/>
                </a:lnTo>
                <a:lnTo>
                  <a:pt x="593" y="1639"/>
                </a:lnTo>
                <a:lnTo>
                  <a:pt x="593" y="1742"/>
                </a:lnTo>
                <a:close/>
                <a:moveTo>
                  <a:pt x="641" y="1573"/>
                </a:moveTo>
                <a:lnTo>
                  <a:pt x="696" y="1546"/>
                </a:lnTo>
                <a:lnTo>
                  <a:pt x="696" y="1747"/>
                </a:lnTo>
                <a:lnTo>
                  <a:pt x="696" y="1860"/>
                </a:lnTo>
                <a:lnTo>
                  <a:pt x="641" y="1860"/>
                </a:lnTo>
                <a:lnTo>
                  <a:pt x="641" y="1573"/>
                </a:lnTo>
                <a:close/>
                <a:moveTo>
                  <a:pt x="871" y="1654"/>
                </a:moveTo>
                <a:lnTo>
                  <a:pt x="871" y="1654"/>
                </a:lnTo>
                <a:lnTo>
                  <a:pt x="866" y="1648"/>
                </a:lnTo>
                <a:lnTo>
                  <a:pt x="861" y="1645"/>
                </a:lnTo>
                <a:lnTo>
                  <a:pt x="854" y="1641"/>
                </a:lnTo>
                <a:lnTo>
                  <a:pt x="849" y="1639"/>
                </a:lnTo>
                <a:lnTo>
                  <a:pt x="842" y="1636"/>
                </a:lnTo>
                <a:lnTo>
                  <a:pt x="835" y="1634"/>
                </a:lnTo>
                <a:lnTo>
                  <a:pt x="822" y="1633"/>
                </a:lnTo>
                <a:lnTo>
                  <a:pt x="822" y="1633"/>
                </a:lnTo>
                <a:lnTo>
                  <a:pt x="812" y="1634"/>
                </a:lnTo>
                <a:lnTo>
                  <a:pt x="802" y="1635"/>
                </a:lnTo>
                <a:lnTo>
                  <a:pt x="794" y="1637"/>
                </a:lnTo>
                <a:lnTo>
                  <a:pt x="786" y="1641"/>
                </a:lnTo>
                <a:lnTo>
                  <a:pt x="778" y="1645"/>
                </a:lnTo>
                <a:lnTo>
                  <a:pt x="770" y="1651"/>
                </a:lnTo>
                <a:lnTo>
                  <a:pt x="764" y="1657"/>
                </a:lnTo>
                <a:lnTo>
                  <a:pt x="758" y="1664"/>
                </a:lnTo>
                <a:lnTo>
                  <a:pt x="753" y="1672"/>
                </a:lnTo>
                <a:lnTo>
                  <a:pt x="748" y="1680"/>
                </a:lnTo>
                <a:lnTo>
                  <a:pt x="744" y="1689"/>
                </a:lnTo>
                <a:lnTo>
                  <a:pt x="741" y="1699"/>
                </a:lnTo>
                <a:lnTo>
                  <a:pt x="738" y="1710"/>
                </a:lnTo>
                <a:lnTo>
                  <a:pt x="736" y="1722"/>
                </a:lnTo>
                <a:lnTo>
                  <a:pt x="735" y="1734"/>
                </a:lnTo>
                <a:lnTo>
                  <a:pt x="735" y="1747"/>
                </a:lnTo>
                <a:lnTo>
                  <a:pt x="735" y="1747"/>
                </a:lnTo>
                <a:lnTo>
                  <a:pt x="735" y="1761"/>
                </a:lnTo>
                <a:lnTo>
                  <a:pt x="736" y="1773"/>
                </a:lnTo>
                <a:lnTo>
                  <a:pt x="738" y="1785"/>
                </a:lnTo>
                <a:lnTo>
                  <a:pt x="741" y="1796"/>
                </a:lnTo>
                <a:lnTo>
                  <a:pt x="744" y="1807"/>
                </a:lnTo>
                <a:lnTo>
                  <a:pt x="747" y="1817"/>
                </a:lnTo>
                <a:lnTo>
                  <a:pt x="752" y="1826"/>
                </a:lnTo>
                <a:lnTo>
                  <a:pt x="757" y="1834"/>
                </a:lnTo>
                <a:lnTo>
                  <a:pt x="764" y="1841"/>
                </a:lnTo>
                <a:lnTo>
                  <a:pt x="769" y="1847"/>
                </a:lnTo>
                <a:lnTo>
                  <a:pt x="777" y="1853"/>
                </a:lnTo>
                <a:lnTo>
                  <a:pt x="785" y="1857"/>
                </a:lnTo>
                <a:lnTo>
                  <a:pt x="792" y="1860"/>
                </a:lnTo>
                <a:lnTo>
                  <a:pt x="801" y="1864"/>
                </a:lnTo>
                <a:lnTo>
                  <a:pt x="811" y="1865"/>
                </a:lnTo>
                <a:lnTo>
                  <a:pt x="821" y="1866"/>
                </a:lnTo>
                <a:lnTo>
                  <a:pt x="821" y="1866"/>
                </a:lnTo>
                <a:lnTo>
                  <a:pt x="828" y="1865"/>
                </a:lnTo>
                <a:lnTo>
                  <a:pt x="834" y="1864"/>
                </a:lnTo>
                <a:lnTo>
                  <a:pt x="841" y="1862"/>
                </a:lnTo>
                <a:lnTo>
                  <a:pt x="848" y="1860"/>
                </a:lnTo>
                <a:lnTo>
                  <a:pt x="853" y="1857"/>
                </a:lnTo>
                <a:lnTo>
                  <a:pt x="860" y="1854"/>
                </a:lnTo>
                <a:lnTo>
                  <a:pt x="865" y="1849"/>
                </a:lnTo>
                <a:lnTo>
                  <a:pt x="871" y="1844"/>
                </a:lnTo>
                <a:lnTo>
                  <a:pt x="871" y="1860"/>
                </a:lnTo>
                <a:lnTo>
                  <a:pt x="926" y="1860"/>
                </a:lnTo>
                <a:lnTo>
                  <a:pt x="926" y="1546"/>
                </a:lnTo>
                <a:lnTo>
                  <a:pt x="871" y="1573"/>
                </a:lnTo>
                <a:lnTo>
                  <a:pt x="871" y="1654"/>
                </a:lnTo>
                <a:close/>
                <a:moveTo>
                  <a:pt x="832" y="1815"/>
                </a:moveTo>
                <a:lnTo>
                  <a:pt x="832" y="1815"/>
                </a:lnTo>
                <a:lnTo>
                  <a:pt x="826" y="1814"/>
                </a:lnTo>
                <a:lnTo>
                  <a:pt x="818" y="1812"/>
                </a:lnTo>
                <a:lnTo>
                  <a:pt x="811" y="1808"/>
                </a:lnTo>
                <a:lnTo>
                  <a:pt x="805" y="1802"/>
                </a:lnTo>
                <a:lnTo>
                  <a:pt x="799" y="1793"/>
                </a:lnTo>
                <a:lnTo>
                  <a:pt x="795" y="1781"/>
                </a:lnTo>
                <a:lnTo>
                  <a:pt x="791" y="1765"/>
                </a:lnTo>
                <a:lnTo>
                  <a:pt x="790" y="1746"/>
                </a:lnTo>
                <a:lnTo>
                  <a:pt x="790" y="1746"/>
                </a:lnTo>
                <a:lnTo>
                  <a:pt x="791" y="1728"/>
                </a:lnTo>
                <a:lnTo>
                  <a:pt x="795" y="1715"/>
                </a:lnTo>
                <a:lnTo>
                  <a:pt x="799" y="1704"/>
                </a:lnTo>
                <a:lnTo>
                  <a:pt x="805" y="1696"/>
                </a:lnTo>
                <a:lnTo>
                  <a:pt x="810" y="1689"/>
                </a:lnTo>
                <a:lnTo>
                  <a:pt x="818" y="1686"/>
                </a:lnTo>
                <a:lnTo>
                  <a:pt x="824" y="1684"/>
                </a:lnTo>
                <a:lnTo>
                  <a:pt x="832" y="1684"/>
                </a:lnTo>
                <a:lnTo>
                  <a:pt x="832" y="1684"/>
                </a:lnTo>
                <a:lnTo>
                  <a:pt x="839" y="1684"/>
                </a:lnTo>
                <a:lnTo>
                  <a:pt x="845" y="1686"/>
                </a:lnTo>
                <a:lnTo>
                  <a:pt x="852" y="1688"/>
                </a:lnTo>
                <a:lnTo>
                  <a:pt x="856" y="1691"/>
                </a:lnTo>
                <a:lnTo>
                  <a:pt x="861" y="1695"/>
                </a:lnTo>
                <a:lnTo>
                  <a:pt x="865" y="1698"/>
                </a:lnTo>
                <a:lnTo>
                  <a:pt x="871" y="1706"/>
                </a:lnTo>
                <a:lnTo>
                  <a:pt x="871" y="1793"/>
                </a:lnTo>
                <a:lnTo>
                  <a:pt x="871" y="1793"/>
                </a:lnTo>
                <a:lnTo>
                  <a:pt x="864" y="1801"/>
                </a:lnTo>
                <a:lnTo>
                  <a:pt x="856" y="1807"/>
                </a:lnTo>
                <a:lnTo>
                  <a:pt x="852" y="1811"/>
                </a:lnTo>
                <a:lnTo>
                  <a:pt x="845" y="1813"/>
                </a:lnTo>
                <a:lnTo>
                  <a:pt x="840" y="1814"/>
                </a:lnTo>
                <a:lnTo>
                  <a:pt x="832" y="1815"/>
                </a:lnTo>
                <a:lnTo>
                  <a:pt x="832" y="1815"/>
                </a:lnTo>
                <a:close/>
                <a:moveTo>
                  <a:pt x="2069" y="1633"/>
                </a:moveTo>
                <a:lnTo>
                  <a:pt x="2069" y="1633"/>
                </a:lnTo>
                <a:lnTo>
                  <a:pt x="2064" y="1634"/>
                </a:lnTo>
                <a:lnTo>
                  <a:pt x="2057" y="1635"/>
                </a:lnTo>
                <a:lnTo>
                  <a:pt x="2044" y="1639"/>
                </a:lnTo>
                <a:lnTo>
                  <a:pt x="2032" y="1645"/>
                </a:lnTo>
                <a:lnTo>
                  <a:pt x="2021" y="1654"/>
                </a:lnTo>
                <a:lnTo>
                  <a:pt x="2021" y="1551"/>
                </a:lnTo>
                <a:lnTo>
                  <a:pt x="1966" y="1579"/>
                </a:lnTo>
                <a:lnTo>
                  <a:pt x="1966" y="1860"/>
                </a:lnTo>
                <a:lnTo>
                  <a:pt x="2021" y="1860"/>
                </a:lnTo>
                <a:lnTo>
                  <a:pt x="2021" y="1844"/>
                </a:lnTo>
                <a:lnTo>
                  <a:pt x="2021" y="1844"/>
                </a:lnTo>
                <a:lnTo>
                  <a:pt x="2025" y="1849"/>
                </a:lnTo>
                <a:lnTo>
                  <a:pt x="2032" y="1854"/>
                </a:lnTo>
                <a:lnTo>
                  <a:pt x="2037" y="1857"/>
                </a:lnTo>
                <a:lnTo>
                  <a:pt x="2044" y="1860"/>
                </a:lnTo>
                <a:lnTo>
                  <a:pt x="2049" y="1862"/>
                </a:lnTo>
                <a:lnTo>
                  <a:pt x="2057" y="1864"/>
                </a:lnTo>
                <a:lnTo>
                  <a:pt x="2064" y="1865"/>
                </a:lnTo>
                <a:lnTo>
                  <a:pt x="2070" y="1866"/>
                </a:lnTo>
                <a:lnTo>
                  <a:pt x="2070" y="1866"/>
                </a:lnTo>
                <a:lnTo>
                  <a:pt x="2080" y="1865"/>
                </a:lnTo>
                <a:lnTo>
                  <a:pt x="2090" y="1864"/>
                </a:lnTo>
                <a:lnTo>
                  <a:pt x="2099" y="1861"/>
                </a:lnTo>
                <a:lnTo>
                  <a:pt x="2108" y="1857"/>
                </a:lnTo>
                <a:lnTo>
                  <a:pt x="2116" y="1853"/>
                </a:lnTo>
                <a:lnTo>
                  <a:pt x="2122" y="1848"/>
                </a:lnTo>
                <a:lnTo>
                  <a:pt x="2129" y="1841"/>
                </a:lnTo>
                <a:lnTo>
                  <a:pt x="2134" y="1835"/>
                </a:lnTo>
                <a:lnTo>
                  <a:pt x="2140" y="1826"/>
                </a:lnTo>
                <a:lnTo>
                  <a:pt x="2144" y="1817"/>
                </a:lnTo>
                <a:lnTo>
                  <a:pt x="2148" y="1807"/>
                </a:lnTo>
                <a:lnTo>
                  <a:pt x="2151" y="1797"/>
                </a:lnTo>
                <a:lnTo>
                  <a:pt x="2154" y="1786"/>
                </a:lnTo>
                <a:lnTo>
                  <a:pt x="2155" y="1774"/>
                </a:lnTo>
                <a:lnTo>
                  <a:pt x="2157" y="1761"/>
                </a:lnTo>
                <a:lnTo>
                  <a:pt x="2158" y="1747"/>
                </a:lnTo>
                <a:lnTo>
                  <a:pt x="2158" y="1747"/>
                </a:lnTo>
                <a:lnTo>
                  <a:pt x="2157" y="1734"/>
                </a:lnTo>
                <a:lnTo>
                  <a:pt x="2155" y="1722"/>
                </a:lnTo>
                <a:lnTo>
                  <a:pt x="2153" y="1710"/>
                </a:lnTo>
                <a:lnTo>
                  <a:pt x="2151" y="1699"/>
                </a:lnTo>
                <a:lnTo>
                  <a:pt x="2148" y="1689"/>
                </a:lnTo>
                <a:lnTo>
                  <a:pt x="2143" y="1680"/>
                </a:lnTo>
                <a:lnTo>
                  <a:pt x="2139" y="1672"/>
                </a:lnTo>
                <a:lnTo>
                  <a:pt x="2133" y="1664"/>
                </a:lnTo>
                <a:lnTo>
                  <a:pt x="2128" y="1657"/>
                </a:lnTo>
                <a:lnTo>
                  <a:pt x="2121" y="1651"/>
                </a:lnTo>
                <a:lnTo>
                  <a:pt x="2113" y="1645"/>
                </a:lnTo>
                <a:lnTo>
                  <a:pt x="2106" y="1641"/>
                </a:lnTo>
                <a:lnTo>
                  <a:pt x="2098" y="1637"/>
                </a:lnTo>
                <a:lnTo>
                  <a:pt x="2089" y="1635"/>
                </a:lnTo>
                <a:lnTo>
                  <a:pt x="2079" y="1634"/>
                </a:lnTo>
                <a:lnTo>
                  <a:pt x="2069" y="1633"/>
                </a:lnTo>
                <a:lnTo>
                  <a:pt x="2069" y="1633"/>
                </a:lnTo>
                <a:close/>
                <a:moveTo>
                  <a:pt x="2059" y="1684"/>
                </a:moveTo>
                <a:lnTo>
                  <a:pt x="2059" y="1684"/>
                </a:lnTo>
                <a:lnTo>
                  <a:pt x="2067" y="1685"/>
                </a:lnTo>
                <a:lnTo>
                  <a:pt x="2075" y="1687"/>
                </a:lnTo>
                <a:lnTo>
                  <a:pt x="2081" y="1691"/>
                </a:lnTo>
                <a:lnTo>
                  <a:pt x="2088" y="1698"/>
                </a:lnTo>
                <a:lnTo>
                  <a:pt x="2094" y="1706"/>
                </a:lnTo>
                <a:lnTo>
                  <a:pt x="2097" y="1717"/>
                </a:lnTo>
                <a:lnTo>
                  <a:pt x="2100" y="1730"/>
                </a:lnTo>
                <a:lnTo>
                  <a:pt x="2101" y="1746"/>
                </a:lnTo>
                <a:lnTo>
                  <a:pt x="2101" y="1746"/>
                </a:lnTo>
                <a:lnTo>
                  <a:pt x="2100" y="1762"/>
                </a:lnTo>
                <a:lnTo>
                  <a:pt x="2098" y="1776"/>
                </a:lnTo>
                <a:lnTo>
                  <a:pt x="2096" y="1787"/>
                </a:lnTo>
                <a:lnTo>
                  <a:pt x="2091" y="1797"/>
                </a:lnTo>
                <a:lnTo>
                  <a:pt x="2085" y="1805"/>
                </a:lnTo>
                <a:lnTo>
                  <a:pt x="2078" y="1811"/>
                </a:lnTo>
                <a:lnTo>
                  <a:pt x="2070" y="1814"/>
                </a:lnTo>
                <a:lnTo>
                  <a:pt x="2061" y="1815"/>
                </a:lnTo>
                <a:lnTo>
                  <a:pt x="2061" y="1815"/>
                </a:lnTo>
                <a:lnTo>
                  <a:pt x="2053" y="1814"/>
                </a:lnTo>
                <a:lnTo>
                  <a:pt x="2046" y="1813"/>
                </a:lnTo>
                <a:lnTo>
                  <a:pt x="2041" y="1810"/>
                </a:lnTo>
                <a:lnTo>
                  <a:pt x="2035" y="1807"/>
                </a:lnTo>
                <a:lnTo>
                  <a:pt x="2026" y="1800"/>
                </a:lnTo>
                <a:lnTo>
                  <a:pt x="2021" y="1794"/>
                </a:lnTo>
                <a:lnTo>
                  <a:pt x="2021" y="1706"/>
                </a:lnTo>
                <a:lnTo>
                  <a:pt x="2021" y="1706"/>
                </a:lnTo>
                <a:lnTo>
                  <a:pt x="2024" y="1701"/>
                </a:lnTo>
                <a:lnTo>
                  <a:pt x="2029" y="1697"/>
                </a:lnTo>
                <a:lnTo>
                  <a:pt x="2033" y="1693"/>
                </a:lnTo>
                <a:lnTo>
                  <a:pt x="2037" y="1689"/>
                </a:lnTo>
                <a:lnTo>
                  <a:pt x="2043" y="1687"/>
                </a:lnTo>
                <a:lnTo>
                  <a:pt x="2048" y="1685"/>
                </a:lnTo>
                <a:lnTo>
                  <a:pt x="2054" y="1684"/>
                </a:lnTo>
                <a:lnTo>
                  <a:pt x="2059" y="1684"/>
                </a:lnTo>
                <a:lnTo>
                  <a:pt x="2059" y="1684"/>
                </a:lnTo>
                <a:close/>
                <a:moveTo>
                  <a:pt x="1445" y="1654"/>
                </a:moveTo>
                <a:lnTo>
                  <a:pt x="1445" y="1654"/>
                </a:lnTo>
                <a:lnTo>
                  <a:pt x="1440" y="1650"/>
                </a:lnTo>
                <a:lnTo>
                  <a:pt x="1435" y="1645"/>
                </a:lnTo>
                <a:lnTo>
                  <a:pt x="1428" y="1642"/>
                </a:lnTo>
                <a:lnTo>
                  <a:pt x="1423" y="1639"/>
                </a:lnTo>
                <a:lnTo>
                  <a:pt x="1416" y="1636"/>
                </a:lnTo>
                <a:lnTo>
                  <a:pt x="1409" y="1634"/>
                </a:lnTo>
                <a:lnTo>
                  <a:pt x="1403" y="1634"/>
                </a:lnTo>
                <a:lnTo>
                  <a:pt x="1396" y="1633"/>
                </a:lnTo>
                <a:lnTo>
                  <a:pt x="1396" y="1633"/>
                </a:lnTo>
                <a:lnTo>
                  <a:pt x="1386" y="1634"/>
                </a:lnTo>
                <a:lnTo>
                  <a:pt x="1376" y="1635"/>
                </a:lnTo>
                <a:lnTo>
                  <a:pt x="1367" y="1637"/>
                </a:lnTo>
                <a:lnTo>
                  <a:pt x="1360" y="1641"/>
                </a:lnTo>
                <a:lnTo>
                  <a:pt x="1352" y="1645"/>
                </a:lnTo>
                <a:lnTo>
                  <a:pt x="1344" y="1651"/>
                </a:lnTo>
                <a:lnTo>
                  <a:pt x="1338" y="1657"/>
                </a:lnTo>
                <a:lnTo>
                  <a:pt x="1332" y="1664"/>
                </a:lnTo>
                <a:lnTo>
                  <a:pt x="1327" y="1672"/>
                </a:lnTo>
                <a:lnTo>
                  <a:pt x="1322" y="1680"/>
                </a:lnTo>
                <a:lnTo>
                  <a:pt x="1318" y="1689"/>
                </a:lnTo>
                <a:lnTo>
                  <a:pt x="1314" y="1699"/>
                </a:lnTo>
                <a:lnTo>
                  <a:pt x="1312" y="1710"/>
                </a:lnTo>
                <a:lnTo>
                  <a:pt x="1310" y="1722"/>
                </a:lnTo>
                <a:lnTo>
                  <a:pt x="1309" y="1734"/>
                </a:lnTo>
                <a:lnTo>
                  <a:pt x="1309" y="1747"/>
                </a:lnTo>
                <a:lnTo>
                  <a:pt x="1309" y="1747"/>
                </a:lnTo>
                <a:lnTo>
                  <a:pt x="1309" y="1761"/>
                </a:lnTo>
                <a:lnTo>
                  <a:pt x="1310" y="1773"/>
                </a:lnTo>
                <a:lnTo>
                  <a:pt x="1312" y="1785"/>
                </a:lnTo>
                <a:lnTo>
                  <a:pt x="1314" y="1796"/>
                </a:lnTo>
                <a:lnTo>
                  <a:pt x="1318" y="1807"/>
                </a:lnTo>
                <a:lnTo>
                  <a:pt x="1321" y="1817"/>
                </a:lnTo>
                <a:lnTo>
                  <a:pt x="1327" y="1826"/>
                </a:lnTo>
                <a:lnTo>
                  <a:pt x="1331" y="1834"/>
                </a:lnTo>
                <a:lnTo>
                  <a:pt x="1338" y="1841"/>
                </a:lnTo>
                <a:lnTo>
                  <a:pt x="1343" y="1847"/>
                </a:lnTo>
                <a:lnTo>
                  <a:pt x="1351" y="1853"/>
                </a:lnTo>
                <a:lnTo>
                  <a:pt x="1359" y="1857"/>
                </a:lnTo>
                <a:lnTo>
                  <a:pt x="1366" y="1860"/>
                </a:lnTo>
                <a:lnTo>
                  <a:pt x="1375" y="1864"/>
                </a:lnTo>
                <a:lnTo>
                  <a:pt x="1385" y="1865"/>
                </a:lnTo>
                <a:lnTo>
                  <a:pt x="1395" y="1865"/>
                </a:lnTo>
                <a:lnTo>
                  <a:pt x="1395" y="1865"/>
                </a:lnTo>
                <a:lnTo>
                  <a:pt x="1402" y="1865"/>
                </a:lnTo>
                <a:lnTo>
                  <a:pt x="1408" y="1864"/>
                </a:lnTo>
                <a:lnTo>
                  <a:pt x="1415" y="1862"/>
                </a:lnTo>
                <a:lnTo>
                  <a:pt x="1421" y="1860"/>
                </a:lnTo>
                <a:lnTo>
                  <a:pt x="1428" y="1857"/>
                </a:lnTo>
                <a:lnTo>
                  <a:pt x="1434" y="1853"/>
                </a:lnTo>
                <a:lnTo>
                  <a:pt x="1439" y="1849"/>
                </a:lnTo>
                <a:lnTo>
                  <a:pt x="1445" y="1844"/>
                </a:lnTo>
                <a:lnTo>
                  <a:pt x="1445" y="1849"/>
                </a:lnTo>
                <a:lnTo>
                  <a:pt x="1445" y="1849"/>
                </a:lnTo>
                <a:lnTo>
                  <a:pt x="1445" y="1858"/>
                </a:lnTo>
                <a:lnTo>
                  <a:pt x="1444" y="1868"/>
                </a:lnTo>
                <a:lnTo>
                  <a:pt x="1441" y="1878"/>
                </a:lnTo>
                <a:lnTo>
                  <a:pt x="1439" y="1882"/>
                </a:lnTo>
                <a:lnTo>
                  <a:pt x="1436" y="1887"/>
                </a:lnTo>
                <a:lnTo>
                  <a:pt x="1433" y="1891"/>
                </a:lnTo>
                <a:lnTo>
                  <a:pt x="1428" y="1896"/>
                </a:lnTo>
                <a:lnTo>
                  <a:pt x="1421" y="1899"/>
                </a:lnTo>
                <a:lnTo>
                  <a:pt x="1415" y="1901"/>
                </a:lnTo>
                <a:lnTo>
                  <a:pt x="1407" y="1904"/>
                </a:lnTo>
                <a:lnTo>
                  <a:pt x="1397" y="1905"/>
                </a:lnTo>
                <a:lnTo>
                  <a:pt x="1386" y="1908"/>
                </a:lnTo>
                <a:lnTo>
                  <a:pt x="1374" y="1908"/>
                </a:lnTo>
                <a:lnTo>
                  <a:pt x="1372" y="1908"/>
                </a:lnTo>
                <a:lnTo>
                  <a:pt x="1391" y="1951"/>
                </a:lnTo>
                <a:lnTo>
                  <a:pt x="1392" y="1951"/>
                </a:lnTo>
                <a:lnTo>
                  <a:pt x="1392" y="1951"/>
                </a:lnTo>
                <a:lnTo>
                  <a:pt x="1405" y="1951"/>
                </a:lnTo>
                <a:lnTo>
                  <a:pt x="1417" y="1948"/>
                </a:lnTo>
                <a:lnTo>
                  <a:pt x="1429" y="1946"/>
                </a:lnTo>
                <a:lnTo>
                  <a:pt x="1439" y="1943"/>
                </a:lnTo>
                <a:lnTo>
                  <a:pt x="1449" y="1940"/>
                </a:lnTo>
                <a:lnTo>
                  <a:pt x="1458" y="1935"/>
                </a:lnTo>
                <a:lnTo>
                  <a:pt x="1466" y="1929"/>
                </a:lnTo>
                <a:lnTo>
                  <a:pt x="1473" y="1923"/>
                </a:lnTo>
                <a:lnTo>
                  <a:pt x="1480" y="1915"/>
                </a:lnTo>
                <a:lnTo>
                  <a:pt x="1484" y="1907"/>
                </a:lnTo>
                <a:lnTo>
                  <a:pt x="1490" y="1898"/>
                </a:lnTo>
                <a:lnTo>
                  <a:pt x="1493" y="1888"/>
                </a:lnTo>
                <a:lnTo>
                  <a:pt x="1497" y="1877"/>
                </a:lnTo>
                <a:lnTo>
                  <a:pt x="1499" y="1866"/>
                </a:lnTo>
                <a:lnTo>
                  <a:pt x="1500" y="1854"/>
                </a:lnTo>
                <a:lnTo>
                  <a:pt x="1500" y="1839"/>
                </a:lnTo>
                <a:lnTo>
                  <a:pt x="1500" y="1639"/>
                </a:lnTo>
                <a:lnTo>
                  <a:pt x="1445" y="1639"/>
                </a:lnTo>
                <a:lnTo>
                  <a:pt x="1445" y="1654"/>
                </a:lnTo>
                <a:close/>
                <a:moveTo>
                  <a:pt x="1445" y="1706"/>
                </a:moveTo>
                <a:lnTo>
                  <a:pt x="1445" y="1793"/>
                </a:lnTo>
                <a:lnTo>
                  <a:pt x="1445" y="1793"/>
                </a:lnTo>
                <a:lnTo>
                  <a:pt x="1438" y="1801"/>
                </a:lnTo>
                <a:lnTo>
                  <a:pt x="1429" y="1808"/>
                </a:lnTo>
                <a:lnTo>
                  <a:pt x="1425" y="1811"/>
                </a:lnTo>
                <a:lnTo>
                  <a:pt x="1419" y="1813"/>
                </a:lnTo>
                <a:lnTo>
                  <a:pt x="1413" y="1814"/>
                </a:lnTo>
                <a:lnTo>
                  <a:pt x="1406" y="1815"/>
                </a:lnTo>
                <a:lnTo>
                  <a:pt x="1406" y="1815"/>
                </a:lnTo>
                <a:lnTo>
                  <a:pt x="1398" y="1814"/>
                </a:lnTo>
                <a:lnTo>
                  <a:pt x="1392" y="1812"/>
                </a:lnTo>
                <a:lnTo>
                  <a:pt x="1384" y="1807"/>
                </a:lnTo>
                <a:lnTo>
                  <a:pt x="1378" y="1802"/>
                </a:lnTo>
                <a:lnTo>
                  <a:pt x="1373" y="1793"/>
                </a:lnTo>
                <a:lnTo>
                  <a:pt x="1369" y="1781"/>
                </a:lnTo>
                <a:lnTo>
                  <a:pt x="1365" y="1765"/>
                </a:lnTo>
                <a:lnTo>
                  <a:pt x="1364" y="1746"/>
                </a:lnTo>
                <a:lnTo>
                  <a:pt x="1364" y="1746"/>
                </a:lnTo>
                <a:lnTo>
                  <a:pt x="1365" y="1728"/>
                </a:lnTo>
                <a:lnTo>
                  <a:pt x="1369" y="1715"/>
                </a:lnTo>
                <a:lnTo>
                  <a:pt x="1373" y="1704"/>
                </a:lnTo>
                <a:lnTo>
                  <a:pt x="1378" y="1696"/>
                </a:lnTo>
                <a:lnTo>
                  <a:pt x="1384" y="1689"/>
                </a:lnTo>
                <a:lnTo>
                  <a:pt x="1392" y="1686"/>
                </a:lnTo>
                <a:lnTo>
                  <a:pt x="1398" y="1684"/>
                </a:lnTo>
                <a:lnTo>
                  <a:pt x="1406" y="1684"/>
                </a:lnTo>
                <a:lnTo>
                  <a:pt x="1406" y="1684"/>
                </a:lnTo>
                <a:lnTo>
                  <a:pt x="1413" y="1684"/>
                </a:lnTo>
                <a:lnTo>
                  <a:pt x="1419" y="1686"/>
                </a:lnTo>
                <a:lnTo>
                  <a:pt x="1426" y="1688"/>
                </a:lnTo>
                <a:lnTo>
                  <a:pt x="1430" y="1690"/>
                </a:lnTo>
                <a:lnTo>
                  <a:pt x="1435" y="1695"/>
                </a:lnTo>
                <a:lnTo>
                  <a:pt x="1439" y="1698"/>
                </a:lnTo>
                <a:lnTo>
                  <a:pt x="1445" y="1706"/>
                </a:lnTo>
                <a:lnTo>
                  <a:pt x="1445" y="1706"/>
                </a:lnTo>
                <a:close/>
                <a:moveTo>
                  <a:pt x="1671" y="1693"/>
                </a:moveTo>
                <a:lnTo>
                  <a:pt x="1671" y="1693"/>
                </a:lnTo>
                <a:lnTo>
                  <a:pt x="1684" y="1686"/>
                </a:lnTo>
                <a:lnTo>
                  <a:pt x="1697" y="1682"/>
                </a:lnTo>
                <a:lnTo>
                  <a:pt x="1712" y="1678"/>
                </a:lnTo>
                <a:lnTo>
                  <a:pt x="1727" y="1677"/>
                </a:lnTo>
                <a:lnTo>
                  <a:pt x="1727" y="1677"/>
                </a:lnTo>
                <a:lnTo>
                  <a:pt x="1737" y="1678"/>
                </a:lnTo>
                <a:lnTo>
                  <a:pt x="1745" y="1679"/>
                </a:lnTo>
                <a:lnTo>
                  <a:pt x="1751" y="1682"/>
                </a:lnTo>
                <a:lnTo>
                  <a:pt x="1757" y="1686"/>
                </a:lnTo>
                <a:lnTo>
                  <a:pt x="1761" y="1690"/>
                </a:lnTo>
                <a:lnTo>
                  <a:pt x="1765" y="1696"/>
                </a:lnTo>
                <a:lnTo>
                  <a:pt x="1767" y="1701"/>
                </a:lnTo>
                <a:lnTo>
                  <a:pt x="1767" y="1709"/>
                </a:lnTo>
                <a:lnTo>
                  <a:pt x="1767" y="1725"/>
                </a:lnTo>
                <a:lnTo>
                  <a:pt x="1767" y="1725"/>
                </a:lnTo>
                <a:lnTo>
                  <a:pt x="1757" y="1720"/>
                </a:lnTo>
                <a:lnTo>
                  <a:pt x="1745" y="1717"/>
                </a:lnTo>
                <a:lnTo>
                  <a:pt x="1733" y="1715"/>
                </a:lnTo>
                <a:lnTo>
                  <a:pt x="1719" y="1714"/>
                </a:lnTo>
                <a:lnTo>
                  <a:pt x="1719" y="1714"/>
                </a:lnTo>
                <a:lnTo>
                  <a:pt x="1704" y="1715"/>
                </a:lnTo>
                <a:lnTo>
                  <a:pt x="1689" y="1718"/>
                </a:lnTo>
                <a:lnTo>
                  <a:pt x="1674" y="1722"/>
                </a:lnTo>
                <a:lnTo>
                  <a:pt x="1667" y="1726"/>
                </a:lnTo>
                <a:lnTo>
                  <a:pt x="1660" y="1730"/>
                </a:lnTo>
                <a:lnTo>
                  <a:pt x="1654" y="1734"/>
                </a:lnTo>
                <a:lnTo>
                  <a:pt x="1649" y="1740"/>
                </a:lnTo>
                <a:lnTo>
                  <a:pt x="1643" y="1746"/>
                </a:lnTo>
                <a:lnTo>
                  <a:pt x="1639" y="1752"/>
                </a:lnTo>
                <a:lnTo>
                  <a:pt x="1636" y="1760"/>
                </a:lnTo>
                <a:lnTo>
                  <a:pt x="1633" y="1769"/>
                </a:lnTo>
                <a:lnTo>
                  <a:pt x="1632" y="1778"/>
                </a:lnTo>
                <a:lnTo>
                  <a:pt x="1631" y="1786"/>
                </a:lnTo>
                <a:lnTo>
                  <a:pt x="1631" y="1786"/>
                </a:lnTo>
                <a:lnTo>
                  <a:pt x="1632" y="1797"/>
                </a:lnTo>
                <a:lnTo>
                  <a:pt x="1633" y="1807"/>
                </a:lnTo>
                <a:lnTo>
                  <a:pt x="1636" y="1815"/>
                </a:lnTo>
                <a:lnTo>
                  <a:pt x="1639" y="1824"/>
                </a:lnTo>
                <a:lnTo>
                  <a:pt x="1642" y="1830"/>
                </a:lnTo>
                <a:lnTo>
                  <a:pt x="1648" y="1837"/>
                </a:lnTo>
                <a:lnTo>
                  <a:pt x="1652" y="1843"/>
                </a:lnTo>
                <a:lnTo>
                  <a:pt x="1659" y="1848"/>
                </a:lnTo>
                <a:lnTo>
                  <a:pt x="1664" y="1853"/>
                </a:lnTo>
                <a:lnTo>
                  <a:pt x="1671" y="1856"/>
                </a:lnTo>
                <a:lnTo>
                  <a:pt x="1685" y="1861"/>
                </a:lnTo>
                <a:lnTo>
                  <a:pt x="1700" y="1865"/>
                </a:lnTo>
                <a:lnTo>
                  <a:pt x="1714" y="1866"/>
                </a:lnTo>
                <a:lnTo>
                  <a:pt x="1714" y="1866"/>
                </a:lnTo>
                <a:lnTo>
                  <a:pt x="1726" y="1864"/>
                </a:lnTo>
                <a:lnTo>
                  <a:pt x="1734" y="1862"/>
                </a:lnTo>
                <a:lnTo>
                  <a:pt x="1740" y="1860"/>
                </a:lnTo>
                <a:lnTo>
                  <a:pt x="1748" y="1857"/>
                </a:lnTo>
                <a:lnTo>
                  <a:pt x="1755" y="1853"/>
                </a:lnTo>
                <a:lnTo>
                  <a:pt x="1761" y="1848"/>
                </a:lnTo>
                <a:lnTo>
                  <a:pt x="1767" y="1843"/>
                </a:lnTo>
                <a:lnTo>
                  <a:pt x="1767" y="1860"/>
                </a:lnTo>
                <a:lnTo>
                  <a:pt x="1822" y="1860"/>
                </a:lnTo>
                <a:lnTo>
                  <a:pt x="1822" y="1710"/>
                </a:lnTo>
                <a:lnTo>
                  <a:pt x="1822" y="1710"/>
                </a:lnTo>
                <a:lnTo>
                  <a:pt x="1822" y="1701"/>
                </a:lnTo>
                <a:lnTo>
                  <a:pt x="1821" y="1694"/>
                </a:lnTo>
                <a:lnTo>
                  <a:pt x="1819" y="1686"/>
                </a:lnTo>
                <a:lnTo>
                  <a:pt x="1817" y="1678"/>
                </a:lnTo>
                <a:lnTo>
                  <a:pt x="1812" y="1672"/>
                </a:lnTo>
                <a:lnTo>
                  <a:pt x="1809" y="1665"/>
                </a:lnTo>
                <a:lnTo>
                  <a:pt x="1803" y="1659"/>
                </a:lnTo>
                <a:lnTo>
                  <a:pt x="1798" y="1654"/>
                </a:lnTo>
                <a:lnTo>
                  <a:pt x="1792" y="1650"/>
                </a:lnTo>
                <a:lnTo>
                  <a:pt x="1786" y="1645"/>
                </a:lnTo>
                <a:lnTo>
                  <a:pt x="1778" y="1642"/>
                </a:lnTo>
                <a:lnTo>
                  <a:pt x="1770" y="1639"/>
                </a:lnTo>
                <a:lnTo>
                  <a:pt x="1761" y="1636"/>
                </a:lnTo>
                <a:lnTo>
                  <a:pt x="1753" y="1635"/>
                </a:lnTo>
                <a:lnTo>
                  <a:pt x="1743" y="1634"/>
                </a:lnTo>
                <a:lnTo>
                  <a:pt x="1733" y="1633"/>
                </a:lnTo>
                <a:lnTo>
                  <a:pt x="1733" y="1633"/>
                </a:lnTo>
                <a:lnTo>
                  <a:pt x="1721" y="1634"/>
                </a:lnTo>
                <a:lnTo>
                  <a:pt x="1711" y="1634"/>
                </a:lnTo>
                <a:lnTo>
                  <a:pt x="1700" y="1636"/>
                </a:lnTo>
                <a:lnTo>
                  <a:pt x="1689" y="1639"/>
                </a:lnTo>
                <a:lnTo>
                  <a:pt x="1679" y="1642"/>
                </a:lnTo>
                <a:lnTo>
                  <a:pt x="1669" y="1645"/>
                </a:lnTo>
                <a:lnTo>
                  <a:pt x="1659" y="1650"/>
                </a:lnTo>
                <a:lnTo>
                  <a:pt x="1649" y="1655"/>
                </a:lnTo>
                <a:lnTo>
                  <a:pt x="1671" y="1693"/>
                </a:lnTo>
                <a:close/>
                <a:moveTo>
                  <a:pt x="1686" y="1786"/>
                </a:moveTo>
                <a:lnTo>
                  <a:pt x="1686" y="1786"/>
                </a:lnTo>
                <a:lnTo>
                  <a:pt x="1686" y="1780"/>
                </a:lnTo>
                <a:lnTo>
                  <a:pt x="1689" y="1773"/>
                </a:lnTo>
                <a:lnTo>
                  <a:pt x="1692" y="1768"/>
                </a:lnTo>
                <a:lnTo>
                  <a:pt x="1696" y="1763"/>
                </a:lnTo>
                <a:lnTo>
                  <a:pt x="1702" y="1760"/>
                </a:lnTo>
                <a:lnTo>
                  <a:pt x="1708" y="1758"/>
                </a:lnTo>
                <a:lnTo>
                  <a:pt x="1716" y="1755"/>
                </a:lnTo>
                <a:lnTo>
                  <a:pt x="1724" y="1755"/>
                </a:lnTo>
                <a:lnTo>
                  <a:pt x="1724" y="1755"/>
                </a:lnTo>
                <a:lnTo>
                  <a:pt x="1736" y="1755"/>
                </a:lnTo>
                <a:lnTo>
                  <a:pt x="1747" y="1758"/>
                </a:lnTo>
                <a:lnTo>
                  <a:pt x="1757" y="1761"/>
                </a:lnTo>
                <a:lnTo>
                  <a:pt x="1767" y="1766"/>
                </a:lnTo>
                <a:lnTo>
                  <a:pt x="1767" y="1796"/>
                </a:lnTo>
                <a:lnTo>
                  <a:pt x="1767" y="1796"/>
                </a:lnTo>
                <a:lnTo>
                  <a:pt x="1765" y="1801"/>
                </a:lnTo>
                <a:lnTo>
                  <a:pt x="1760" y="1805"/>
                </a:lnTo>
                <a:lnTo>
                  <a:pt x="1756" y="1810"/>
                </a:lnTo>
                <a:lnTo>
                  <a:pt x="1750" y="1813"/>
                </a:lnTo>
                <a:lnTo>
                  <a:pt x="1745" y="1816"/>
                </a:lnTo>
                <a:lnTo>
                  <a:pt x="1738" y="1818"/>
                </a:lnTo>
                <a:lnTo>
                  <a:pt x="1732" y="1819"/>
                </a:lnTo>
                <a:lnTo>
                  <a:pt x="1724" y="1821"/>
                </a:lnTo>
                <a:lnTo>
                  <a:pt x="1724" y="1821"/>
                </a:lnTo>
                <a:lnTo>
                  <a:pt x="1716" y="1819"/>
                </a:lnTo>
                <a:lnTo>
                  <a:pt x="1708" y="1817"/>
                </a:lnTo>
                <a:lnTo>
                  <a:pt x="1702" y="1815"/>
                </a:lnTo>
                <a:lnTo>
                  <a:pt x="1696" y="1811"/>
                </a:lnTo>
                <a:lnTo>
                  <a:pt x="1692" y="1806"/>
                </a:lnTo>
                <a:lnTo>
                  <a:pt x="1689" y="1801"/>
                </a:lnTo>
                <a:lnTo>
                  <a:pt x="1687" y="1794"/>
                </a:lnTo>
                <a:lnTo>
                  <a:pt x="1686" y="1786"/>
                </a:lnTo>
                <a:lnTo>
                  <a:pt x="1686" y="1786"/>
                </a:lnTo>
                <a:close/>
                <a:moveTo>
                  <a:pt x="2333" y="1796"/>
                </a:moveTo>
                <a:lnTo>
                  <a:pt x="2333" y="1796"/>
                </a:lnTo>
                <a:lnTo>
                  <a:pt x="2325" y="1803"/>
                </a:lnTo>
                <a:lnTo>
                  <a:pt x="2315" y="1808"/>
                </a:lnTo>
                <a:lnTo>
                  <a:pt x="2310" y="1811"/>
                </a:lnTo>
                <a:lnTo>
                  <a:pt x="2303" y="1813"/>
                </a:lnTo>
                <a:lnTo>
                  <a:pt x="2297" y="1814"/>
                </a:lnTo>
                <a:lnTo>
                  <a:pt x="2290" y="1815"/>
                </a:lnTo>
                <a:lnTo>
                  <a:pt x="2290" y="1815"/>
                </a:lnTo>
                <a:lnTo>
                  <a:pt x="2285" y="1814"/>
                </a:lnTo>
                <a:lnTo>
                  <a:pt x="2278" y="1814"/>
                </a:lnTo>
                <a:lnTo>
                  <a:pt x="2270" y="1812"/>
                </a:lnTo>
                <a:lnTo>
                  <a:pt x="2261" y="1807"/>
                </a:lnTo>
                <a:lnTo>
                  <a:pt x="2254" y="1802"/>
                </a:lnTo>
                <a:lnTo>
                  <a:pt x="2250" y="1797"/>
                </a:lnTo>
                <a:lnTo>
                  <a:pt x="2247" y="1793"/>
                </a:lnTo>
                <a:lnTo>
                  <a:pt x="2245" y="1787"/>
                </a:lnTo>
                <a:lnTo>
                  <a:pt x="2243" y="1781"/>
                </a:lnTo>
                <a:lnTo>
                  <a:pt x="2242" y="1774"/>
                </a:lnTo>
                <a:lnTo>
                  <a:pt x="2240" y="1766"/>
                </a:lnTo>
                <a:lnTo>
                  <a:pt x="2376" y="1766"/>
                </a:lnTo>
                <a:lnTo>
                  <a:pt x="2376" y="1766"/>
                </a:lnTo>
                <a:lnTo>
                  <a:pt x="2377" y="1750"/>
                </a:lnTo>
                <a:lnTo>
                  <a:pt x="2377" y="1750"/>
                </a:lnTo>
                <a:lnTo>
                  <a:pt x="2377" y="1737"/>
                </a:lnTo>
                <a:lnTo>
                  <a:pt x="2375" y="1725"/>
                </a:lnTo>
                <a:lnTo>
                  <a:pt x="2374" y="1712"/>
                </a:lnTo>
                <a:lnTo>
                  <a:pt x="2371" y="1701"/>
                </a:lnTo>
                <a:lnTo>
                  <a:pt x="2367" y="1691"/>
                </a:lnTo>
                <a:lnTo>
                  <a:pt x="2363" y="1682"/>
                </a:lnTo>
                <a:lnTo>
                  <a:pt x="2357" y="1673"/>
                </a:lnTo>
                <a:lnTo>
                  <a:pt x="2352" y="1665"/>
                </a:lnTo>
                <a:lnTo>
                  <a:pt x="2345" y="1657"/>
                </a:lnTo>
                <a:lnTo>
                  <a:pt x="2339" y="1652"/>
                </a:lnTo>
                <a:lnTo>
                  <a:pt x="2331" y="1646"/>
                </a:lnTo>
                <a:lnTo>
                  <a:pt x="2322" y="1642"/>
                </a:lnTo>
                <a:lnTo>
                  <a:pt x="2313" y="1639"/>
                </a:lnTo>
                <a:lnTo>
                  <a:pt x="2304" y="1635"/>
                </a:lnTo>
                <a:lnTo>
                  <a:pt x="2294" y="1634"/>
                </a:lnTo>
                <a:lnTo>
                  <a:pt x="2283" y="1633"/>
                </a:lnTo>
                <a:lnTo>
                  <a:pt x="2283" y="1633"/>
                </a:lnTo>
                <a:lnTo>
                  <a:pt x="2274" y="1634"/>
                </a:lnTo>
                <a:lnTo>
                  <a:pt x="2264" y="1635"/>
                </a:lnTo>
                <a:lnTo>
                  <a:pt x="2254" y="1639"/>
                </a:lnTo>
                <a:lnTo>
                  <a:pt x="2244" y="1642"/>
                </a:lnTo>
                <a:lnTo>
                  <a:pt x="2235" y="1646"/>
                </a:lnTo>
                <a:lnTo>
                  <a:pt x="2227" y="1653"/>
                </a:lnTo>
                <a:lnTo>
                  <a:pt x="2219" y="1658"/>
                </a:lnTo>
                <a:lnTo>
                  <a:pt x="2213" y="1666"/>
                </a:lnTo>
                <a:lnTo>
                  <a:pt x="2206" y="1674"/>
                </a:lnTo>
                <a:lnTo>
                  <a:pt x="2201" y="1683"/>
                </a:lnTo>
                <a:lnTo>
                  <a:pt x="2196" y="1693"/>
                </a:lnTo>
                <a:lnTo>
                  <a:pt x="2192" y="1703"/>
                </a:lnTo>
                <a:lnTo>
                  <a:pt x="2189" y="1714"/>
                </a:lnTo>
                <a:lnTo>
                  <a:pt x="2186" y="1726"/>
                </a:lnTo>
                <a:lnTo>
                  <a:pt x="2185" y="1737"/>
                </a:lnTo>
                <a:lnTo>
                  <a:pt x="2184" y="1750"/>
                </a:lnTo>
                <a:lnTo>
                  <a:pt x="2184" y="1750"/>
                </a:lnTo>
                <a:lnTo>
                  <a:pt x="2185" y="1762"/>
                </a:lnTo>
                <a:lnTo>
                  <a:pt x="2186" y="1774"/>
                </a:lnTo>
                <a:lnTo>
                  <a:pt x="2189" y="1786"/>
                </a:lnTo>
                <a:lnTo>
                  <a:pt x="2192" y="1797"/>
                </a:lnTo>
                <a:lnTo>
                  <a:pt x="2196" y="1807"/>
                </a:lnTo>
                <a:lnTo>
                  <a:pt x="2201" y="1817"/>
                </a:lnTo>
                <a:lnTo>
                  <a:pt x="2206" y="1826"/>
                </a:lnTo>
                <a:lnTo>
                  <a:pt x="2213" y="1834"/>
                </a:lnTo>
                <a:lnTo>
                  <a:pt x="2221" y="1840"/>
                </a:lnTo>
                <a:lnTo>
                  <a:pt x="2228" y="1847"/>
                </a:lnTo>
                <a:lnTo>
                  <a:pt x="2237" y="1853"/>
                </a:lnTo>
                <a:lnTo>
                  <a:pt x="2246" y="1857"/>
                </a:lnTo>
                <a:lnTo>
                  <a:pt x="2256" y="1860"/>
                </a:lnTo>
                <a:lnTo>
                  <a:pt x="2267" y="1864"/>
                </a:lnTo>
                <a:lnTo>
                  <a:pt x="2278" y="1865"/>
                </a:lnTo>
                <a:lnTo>
                  <a:pt x="2290" y="1866"/>
                </a:lnTo>
                <a:lnTo>
                  <a:pt x="2290" y="1866"/>
                </a:lnTo>
                <a:lnTo>
                  <a:pt x="2301" y="1865"/>
                </a:lnTo>
                <a:lnTo>
                  <a:pt x="2311" y="1864"/>
                </a:lnTo>
                <a:lnTo>
                  <a:pt x="2322" y="1860"/>
                </a:lnTo>
                <a:lnTo>
                  <a:pt x="2332" y="1857"/>
                </a:lnTo>
                <a:lnTo>
                  <a:pt x="2342" y="1851"/>
                </a:lnTo>
                <a:lnTo>
                  <a:pt x="2351" y="1846"/>
                </a:lnTo>
                <a:lnTo>
                  <a:pt x="2360" y="1838"/>
                </a:lnTo>
                <a:lnTo>
                  <a:pt x="2368" y="1830"/>
                </a:lnTo>
                <a:lnTo>
                  <a:pt x="2333" y="1796"/>
                </a:lnTo>
                <a:close/>
                <a:moveTo>
                  <a:pt x="2242" y="1726"/>
                </a:moveTo>
                <a:lnTo>
                  <a:pt x="2242" y="1726"/>
                </a:lnTo>
                <a:lnTo>
                  <a:pt x="2243" y="1716"/>
                </a:lnTo>
                <a:lnTo>
                  <a:pt x="2245" y="1707"/>
                </a:lnTo>
                <a:lnTo>
                  <a:pt x="2248" y="1699"/>
                </a:lnTo>
                <a:lnTo>
                  <a:pt x="2254" y="1693"/>
                </a:lnTo>
                <a:lnTo>
                  <a:pt x="2259" y="1687"/>
                </a:lnTo>
                <a:lnTo>
                  <a:pt x="2266" y="1684"/>
                </a:lnTo>
                <a:lnTo>
                  <a:pt x="2274" y="1680"/>
                </a:lnTo>
                <a:lnTo>
                  <a:pt x="2282" y="1680"/>
                </a:lnTo>
                <a:lnTo>
                  <a:pt x="2282" y="1680"/>
                </a:lnTo>
                <a:lnTo>
                  <a:pt x="2292" y="1682"/>
                </a:lnTo>
                <a:lnTo>
                  <a:pt x="2301" y="1684"/>
                </a:lnTo>
                <a:lnTo>
                  <a:pt x="2308" y="1688"/>
                </a:lnTo>
                <a:lnTo>
                  <a:pt x="2313" y="1695"/>
                </a:lnTo>
                <a:lnTo>
                  <a:pt x="2318" y="1701"/>
                </a:lnTo>
                <a:lnTo>
                  <a:pt x="2321" y="1709"/>
                </a:lnTo>
                <a:lnTo>
                  <a:pt x="2323" y="1718"/>
                </a:lnTo>
                <a:lnTo>
                  <a:pt x="2324" y="1726"/>
                </a:lnTo>
                <a:lnTo>
                  <a:pt x="2242" y="1726"/>
                </a:lnTo>
                <a:close/>
                <a:moveTo>
                  <a:pt x="2864" y="1796"/>
                </a:moveTo>
                <a:lnTo>
                  <a:pt x="2864" y="1796"/>
                </a:lnTo>
                <a:lnTo>
                  <a:pt x="2855" y="1803"/>
                </a:lnTo>
                <a:lnTo>
                  <a:pt x="2846" y="1808"/>
                </a:lnTo>
                <a:lnTo>
                  <a:pt x="2840" y="1811"/>
                </a:lnTo>
                <a:lnTo>
                  <a:pt x="2834" y="1813"/>
                </a:lnTo>
                <a:lnTo>
                  <a:pt x="2828" y="1814"/>
                </a:lnTo>
                <a:lnTo>
                  <a:pt x="2820" y="1815"/>
                </a:lnTo>
                <a:lnTo>
                  <a:pt x="2820" y="1815"/>
                </a:lnTo>
                <a:lnTo>
                  <a:pt x="2814" y="1814"/>
                </a:lnTo>
                <a:lnTo>
                  <a:pt x="2808" y="1814"/>
                </a:lnTo>
                <a:lnTo>
                  <a:pt x="2800" y="1812"/>
                </a:lnTo>
                <a:lnTo>
                  <a:pt x="2792" y="1807"/>
                </a:lnTo>
                <a:lnTo>
                  <a:pt x="2784" y="1802"/>
                </a:lnTo>
                <a:lnTo>
                  <a:pt x="2781" y="1797"/>
                </a:lnTo>
                <a:lnTo>
                  <a:pt x="2778" y="1793"/>
                </a:lnTo>
                <a:lnTo>
                  <a:pt x="2776" y="1787"/>
                </a:lnTo>
                <a:lnTo>
                  <a:pt x="2773" y="1781"/>
                </a:lnTo>
                <a:lnTo>
                  <a:pt x="2771" y="1774"/>
                </a:lnTo>
                <a:lnTo>
                  <a:pt x="2770" y="1766"/>
                </a:lnTo>
                <a:lnTo>
                  <a:pt x="2907" y="1766"/>
                </a:lnTo>
                <a:lnTo>
                  <a:pt x="2907" y="1766"/>
                </a:lnTo>
                <a:lnTo>
                  <a:pt x="2908" y="1750"/>
                </a:lnTo>
                <a:lnTo>
                  <a:pt x="2908" y="1750"/>
                </a:lnTo>
                <a:lnTo>
                  <a:pt x="2907" y="1737"/>
                </a:lnTo>
                <a:lnTo>
                  <a:pt x="2906" y="1725"/>
                </a:lnTo>
                <a:lnTo>
                  <a:pt x="2904" y="1712"/>
                </a:lnTo>
                <a:lnTo>
                  <a:pt x="2901" y="1701"/>
                </a:lnTo>
                <a:lnTo>
                  <a:pt x="2897" y="1691"/>
                </a:lnTo>
                <a:lnTo>
                  <a:pt x="2893" y="1682"/>
                </a:lnTo>
                <a:lnTo>
                  <a:pt x="2888" y="1673"/>
                </a:lnTo>
                <a:lnTo>
                  <a:pt x="2883" y="1665"/>
                </a:lnTo>
                <a:lnTo>
                  <a:pt x="2876" y="1657"/>
                </a:lnTo>
                <a:lnTo>
                  <a:pt x="2868" y="1652"/>
                </a:lnTo>
                <a:lnTo>
                  <a:pt x="2861" y="1646"/>
                </a:lnTo>
                <a:lnTo>
                  <a:pt x="2853" y="1642"/>
                </a:lnTo>
                <a:lnTo>
                  <a:pt x="2844" y="1639"/>
                </a:lnTo>
                <a:lnTo>
                  <a:pt x="2834" y="1635"/>
                </a:lnTo>
                <a:lnTo>
                  <a:pt x="2824" y="1634"/>
                </a:lnTo>
                <a:lnTo>
                  <a:pt x="2814" y="1633"/>
                </a:lnTo>
                <a:lnTo>
                  <a:pt x="2814" y="1633"/>
                </a:lnTo>
                <a:lnTo>
                  <a:pt x="2803" y="1634"/>
                </a:lnTo>
                <a:lnTo>
                  <a:pt x="2793" y="1635"/>
                </a:lnTo>
                <a:lnTo>
                  <a:pt x="2783" y="1639"/>
                </a:lnTo>
                <a:lnTo>
                  <a:pt x="2775" y="1642"/>
                </a:lnTo>
                <a:lnTo>
                  <a:pt x="2766" y="1646"/>
                </a:lnTo>
                <a:lnTo>
                  <a:pt x="2757" y="1653"/>
                </a:lnTo>
                <a:lnTo>
                  <a:pt x="2750" y="1658"/>
                </a:lnTo>
                <a:lnTo>
                  <a:pt x="2743" y="1666"/>
                </a:lnTo>
                <a:lnTo>
                  <a:pt x="2736" y="1674"/>
                </a:lnTo>
                <a:lnTo>
                  <a:pt x="2730" y="1683"/>
                </a:lnTo>
                <a:lnTo>
                  <a:pt x="2726" y="1693"/>
                </a:lnTo>
                <a:lnTo>
                  <a:pt x="2722" y="1703"/>
                </a:lnTo>
                <a:lnTo>
                  <a:pt x="2719" y="1714"/>
                </a:lnTo>
                <a:lnTo>
                  <a:pt x="2716" y="1726"/>
                </a:lnTo>
                <a:lnTo>
                  <a:pt x="2715" y="1737"/>
                </a:lnTo>
                <a:lnTo>
                  <a:pt x="2715" y="1750"/>
                </a:lnTo>
                <a:lnTo>
                  <a:pt x="2715" y="1750"/>
                </a:lnTo>
                <a:lnTo>
                  <a:pt x="2715" y="1762"/>
                </a:lnTo>
                <a:lnTo>
                  <a:pt x="2716" y="1774"/>
                </a:lnTo>
                <a:lnTo>
                  <a:pt x="2718" y="1786"/>
                </a:lnTo>
                <a:lnTo>
                  <a:pt x="2722" y="1797"/>
                </a:lnTo>
                <a:lnTo>
                  <a:pt x="2726" y="1807"/>
                </a:lnTo>
                <a:lnTo>
                  <a:pt x="2732" y="1817"/>
                </a:lnTo>
                <a:lnTo>
                  <a:pt x="2737" y="1826"/>
                </a:lnTo>
                <a:lnTo>
                  <a:pt x="2744" y="1834"/>
                </a:lnTo>
                <a:lnTo>
                  <a:pt x="2750" y="1840"/>
                </a:lnTo>
                <a:lnTo>
                  <a:pt x="2758" y="1847"/>
                </a:lnTo>
                <a:lnTo>
                  <a:pt x="2767" y="1853"/>
                </a:lnTo>
                <a:lnTo>
                  <a:pt x="2777" y="1857"/>
                </a:lnTo>
                <a:lnTo>
                  <a:pt x="2787" y="1860"/>
                </a:lnTo>
                <a:lnTo>
                  <a:pt x="2797" y="1864"/>
                </a:lnTo>
                <a:lnTo>
                  <a:pt x="2809" y="1865"/>
                </a:lnTo>
                <a:lnTo>
                  <a:pt x="2820" y="1866"/>
                </a:lnTo>
                <a:lnTo>
                  <a:pt x="2820" y="1866"/>
                </a:lnTo>
                <a:lnTo>
                  <a:pt x="2831" y="1865"/>
                </a:lnTo>
                <a:lnTo>
                  <a:pt x="2842" y="1864"/>
                </a:lnTo>
                <a:lnTo>
                  <a:pt x="2852" y="1860"/>
                </a:lnTo>
                <a:lnTo>
                  <a:pt x="2862" y="1857"/>
                </a:lnTo>
                <a:lnTo>
                  <a:pt x="2872" y="1851"/>
                </a:lnTo>
                <a:lnTo>
                  <a:pt x="2882" y="1846"/>
                </a:lnTo>
                <a:lnTo>
                  <a:pt x="2890" y="1838"/>
                </a:lnTo>
                <a:lnTo>
                  <a:pt x="2898" y="1830"/>
                </a:lnTo>
                <a:lnTo>
                  <a:pt x="2864" y="1796"/>
                </a:lnTo>
                <a:close/>
                <a:moveTo>
                  <a:pt x="2771" y="1726"/>
                </a:moveTo>
                <a:lnTo>
                  <a:pt x="2771" y="1726"/>
                </a:lnTo>
                <a:lnTo>
                  <a:pt x="2772" y="1716"/>
                </a:lnTo>
                <a:lnTo>
                  <a:pt x="2776" y="1707"/>
                </a:lnTo>
                <a:lnTo>
                  <a:pt x="2779" y="1699"/>
                </a:lnTo>
                <a:lnTo>
                  <a:pt x="2783" y="1693"/>
                </a:lnTo>
                <a:lnTo>
                  <a:pt x="2790" y="1687"/>
                </a:lnTo>
                <a:lnTo>
                  <a:pt x="2797" y="1684"/>
                </a:lnTo>
                <a:lnTo>
                  <a:pt x="2804" y="1680"/>
                </a:lnTo>
                <a:lnTo>
                  <a:pt x="2813" y="1680"/>
                </a:lnTo>
                <a:lnTo>
                  <a:pt x="2813" y="1680"/>
                </a:lnTo>
                <a:lnTo>
                  <a:pt x="2823" y="1682"/>
                </a:lnTo>
                <a:lnTo>
                  <a:pt x="2831" y="1684"/>
                </a:lnTo>
                <a:lnTo>
                  <a:pt x="2839" y="1688"/>
                </a:lnTo>
                <a:lnTo>
                  <a:pt x="2844" y="1695"/>
                </a:lnTo>
                <a:lnTo>
                  <a:pt x="2849" y="1701"/>
                </a:lnTo>
                <a:lnTo>
                  <a:pt x="2852" y="1709"/>
                </a:lnTo>
                <a:lnTo>
                  <a:pt x="2854" y="1718"/>
                </a:lnTo>
                <a:lnTo>
                  <a:pt x="2855" y="1726"/>
                </a:lnTo>
                <a:lnTo>
                  <a:pt x="2771" y="1726"/>
                </a:lnTo>
                <a:close/>
                <a:moveTo>
                  <a:pt x="2639" y="1783"/>
                </a:moveTo>
                <a:lnTo>
                  <a:pt x="2639" y="1783"/>
                </a:lnTo>
                <a:lnTo>
                  <a:pt x="2639" y="1791"/>
                </a:lnTo>
                <a:lnTo>
                  <a:pt x="2640" y="1796"/>
                </a:lnTo>
                <a:lnTo>
                  <a:pt x="2642" y="1802"/>
                </a:lnTo>
                <a:lnTo>
                  <a:pt x="2644" y="1806"/>
                </a:lnTo>
                <a:lnTo>
                  <a:pt x="2648" y="1810"/>
                </a:lnTo>
                <a:lnTo>
                  <a:pt x="2652" y="1812"/>
                </a:lnTo>
                <a:lnTo>
                  <a:pt x="2656" y="1813"/>
                </a:lnTo>
                <a:lnTo>
                  <a:pt x="2663" y="1813"/>
                </a:lnTo>
                <a:lnTo>
                  <a:pt x="2663" y="1813"/>
                </a:lnTo>
                <a:lnTo>
                  <a:pt x="2671" y="1813"/>
                </a:lnTo>
                <a:lnTo>
                  <a:pt x="2680" y="1811"/>
                </a:lnTo>
                <a:lnTo>
                  <a:pt x="2688" y="1807"/>
                </a:lnTo>
                <a:lnTo>
                  <a:pt x="2696" y="1803"/>
                </a:lnTo>
                <a:lnTo>
                  <a:pt x="2690" y="1855"/>
                </a:lnTo>
                <a:lnTo>
                  <a:pt x="2690" y="1855"/>
                </a:lnTo>
                <a:lnTo>
                  <a:pt x="2680" y="1859"/>
                </a:lnTo>
                <a:lnTo>
                  <a:pt x="2668" y="1862"/>
                </a:lnTo>
                <a:lnTo>
                  <a:pt x="2655" y="1865"/>
                </a:lnTo>
                <a:lnTo>
                  <a:pt x="2643" y="1866"/>
                </a:lnTo>
                <a:lnTo>
                  <a:pt x="2643" y="1866"/>
                </a:lnTo>
                <a:lnTo>
                  <a:pt x="2636" y="1865"/>
                </a:lnTo>
                <a:lnTo>
                  <a:pt x="2628" y="1864"/>
                </a:lnTo>
                <a:lnTo>
                  <a:pt x="2621" y="1861"/>
                </a:lnTo>
                <a:lnTo>
                  <a:pt x="2616" y="1859"/>
                </a:lnTo>
                <a:lnTo>
                  <a:pt x="2610" y="1856"/>
                </a:lnTo>
                <a:lnTo>
                  <a:pt x="2605" y="1853"/>
                </a:lnTo>
                <a:lnTo>
                  <a:pt x="2601" y="1848"/>
                </a:lnTo>
                <a:lnTo>
                  <a:pt x="2597" y="1843"/>
                </a:lnTo>
                <a:lnTo>
                  <a:pt x="2591" y="1833"/>
                </a:lnTo>
                <a:lnTo>
                  <a:pt x="2587" y="1821"/>
                </a:lnTo>
                <a:lnTo>
                  <a:pt x="2585" y="1810"/>
                </a:lnTo>
                <a:lnTo>
                  <a:pt x="2584" y="1797"/>
                </a:lnTo>
                <a:lnTo>
                  <a:pt x="2584" y="1689"/>
                </a:lnTo>
                <a:lnTo>
                  <a:pt x="2549" y="1689"/>
                </a:lnTo>
                <a:lnTo>
                  <a:pt x="2549" y="1639"/>
                </a:lnTo>
                <a:lnTo>
                  <a:pt x="2584" y="1639"/>
                </a:lnTo>
                <a:lnTo>
                  <a:pt x="2584" y="1581"/>
                </a:lnTo>
                <a:lnTo>
                  <a:pt x="2639" y="1554"/>
                </a:lnTo>
                <a:lnTo>
                  <a:pt x="2639" y="1639"/>
                </a:lnTo>
                <a:lnTo>
                  <a:pt x="2688" y="1639"/>
                </a:lnTo>
                <a:lnTo>
                  <a:pt x="2688" y="1689"/>
                </a:lnTo>
                <a:lnTo>
                  <a:pt x="2639" y="1689"/>
                </a:lnTo>
                <a:lnTo>
                  <a:pt x="2639" y="1783"/>
                </a:lnTo>
                <a:close/>
                <a:moveTo>
                  <a:pt x="2532" y="1855"/>
                </a:moveTo>
                <a:lnTo>
                  <a:pt x="2532" y="1855"/>
                </a:lnTo>
                <a:lnTo>
                  <a:pt x="2522" y="1859"/>
                </a:lnTo>
                <a:lnTo>
                  <a:pt x="2511" y="1862"/>
                </a:lnTo>
                <a:lnTo>
                  <a:pt x="2499" y="1865"/>
                </a:lnTo>
                <a:lnTo>
                  <a:pt x="2487" y="1866"/>
                </a:lnTo>
                <a:lnTo>
                  <a:pt x="2487" y="1866"/>
                </a:lnTo>
                <a:lnTo>
                  <a:pt x="2478" y="1865"/>
                </a:lnTo>
                <a:lnTo>
                  <a:pt x="2471" y="1864"/>
                </a:lnTo>
                <a:lnTo>
                  <a:pt x="2464" y="1861"/>
                </a:lnTo>
                <a:lnTo>
                  <a:pt x="2458" y="1859"/>
                </a:lnTo>
                <a:lnTo>
                  <a:pt x="2453" y="1856"/>
                </a:lnTo>
                <a:lnTo>
                  <a:pt x="2448" y="1853"/>
                </a:lnTo>
                <a:lnTo>
                  <a:pt x="2443" y="1848"/>
                </a:lnTo>
                <a:lnTo>
                  <a:pt x="2440" y="1843"/>
                </a:lnTo>
                <a:lnTo>
                  <a:pt x="2434" y="1833"/>
                </a:lnTo>
                <a:lnTo>
                  <a:pt x="2430" y="1821"/>
                </a:lnTo>
                <a:lnTo>
                  <a:pt x="2427" y="1810"/>
                </a:lnTo>
                <a:lnTo>
                  <a:pt x="2427" y="1797"/>
                </a:lnTo>
                <a:lnTo>
                  <a:pt x="2427" y="1689"/>
                </a:lnTo>
                <a:lnTo>
                  <a:pt x="2393" y="1689"/>
                </a:lnTo>
                <a:lnTo>
                  <a:pt x="2393" y="1639"/>
                </a:lnTo>
                <a:lnTo>
                  <a:pt x="2427" y="1639"/>
                </a:lnTo>
                <a:lnTo>
                  <a:pt x="2427" y="1581"/>
                </a:lnTo>
                <a:lnTo>
                  <a:pt x="2482" y="1554"/>
                </a:lnTo>
                <a:lnTo>
                  <a:pt x="2482" y="1639"/>
                </a:lnTo>
                <a:lnTo>
                  <a:pt x="2528" y="1639"/>
                </a:lnTo>
                <a:lnTo>
                  <a:pt x="2528" y="1689"/>
                </a:lnTo>
                <a:lnTo>
                  <a:pt x="2482" y="1689"/>
                </a:lnTo>
                <a:lnTo>
                  <a:pt x="2482" y="1783"/>
                </a:lnTo>
                <a:lnTo>
                  <a:pt x="2482" y="1783"/>
                </a:lnTo>
                <a:lnTo>
                  <a:pt x="2482" y="1791"/>
                </a:lnTo>
                <a:lnTo>
                  <a:pt x="2483" y="1796"/>
                </a:lnTo>
                <a:lnTo>
                  <a:pt x="2485" y="1802"/>
                </a:lnTo>
                <a:lnTo>
                  <a:pt x="2488" y="1806"/>
                </a:lnTo>
                <a:lnTo>
                  <a:pt x="2491" y="1810"/>
                </a:lnTo>
                <a:lnTo>
                  <a:pt x="2495" y="1812"/>
                </a:lnTo>
                <a:lnTo>
                  <a:pt x="2500" y="1813"/>
                </a:lnTo>
                <a:lnTo>
                  <a:pt x="2505" y="1813"/>
                </a:lnTo>
                <a:lnTo>
                  <a:pt x="2505" y="1813"/>
                </a:lnTo>
                <a:lnTo>
                  <a:pt x="2514" y="1813"/>
                </a:lnTo>
                <a:lnTo>
                  <a:pt x="2523" y="1811"/>
                </a:lnTo>
                <a:lnTo>
                  <a:pt x="2531" y="1807"/>
                </a:lnTo>
                <a:lnTo>
                  <a:pt x="2538" y="1803"/>
                </a:lnTo>
                <a:lnTo>
                  <a:pt x="2532" y="1855"/>
                </a:lnTo>
                <a:close/>
                <a:moveTo>
                  <a:pt x="3074" y="1700"/>
                </a:moveTo>
                <a:lnTo>
                  <a:pt x="3074" y="1700"/>
                </a:lnTo>
                <a:lnTo>
                  <a:pt x="3066" y="1695"/>
                </a:lnTo>
                <a:lnTo>
                  <a:pt x="3057" y="1691"/>
                </a:lnTo>
                <a:lnTo>
                  <a:pt x="3047" y="1689"/>
                </a:lnTo>
                <a:lnTo>
                  <a:pt x="3037" y="1688"/>
                </a:lnTo>
                <a:lnTo>
                  <a:pt x="3037" y="1688"/>
                </a:lnTo>
                <a:lnTo>
                  <a:pt x="3028" y="1689"/>
                </a:lnTo>
                <a:lnTo>
                  <a:pt x="3020" y="1691"/>
                </a:lnTo>
                <a:lnTo>
                  <a:pt x="3013" y="1696"/>
                </a:lnTo>
                <a:lnTo>
                  <a:pt x="3007" y="1701"/>
                </a:lnTo>
                <a:lnTo>
                  <a:pt x="3003" y="1708"/>
                </a:lnTo>
                <a:lnTo>
                  <a:pt x="3001" y="1717"/>
                </a:lnTo>
                <a:lnTo>
                  <a:pt x="2999" y="1728"/>
                </a:lnTo>
                <a:lnTo>
                  <a:pt x="2998" y="1740"/>
                </a:lnTo>
                <a:lnTo>
                  <a:pt x="2998" y="1860"/>
                </a:lnTo>
                <a:lnTo>
                  <a:pt x="2943" y="1860"/>
                </a:lnTo>
                <a:lnTo>
                  <a:pt x="2943" y="1639"/>
                </a:lnTo>
                <a:lnTo>
                  <a:pt x="2998" y="1639"/>
                </a:lnTo>
                <a:lnTo>
                  <a:pt x="2998" y="1657"/>
                </a:lnTo>
                <a:lnTo>
                  <a:pt x="2998" y="1657"/>
                </a:lnTo>
                <a:lnTo>
                  <a:pt x="3003" y="1652"/>
                </a:lnTo>
                <a:lnTo>
                  <a:pt x="3009" y="1646"/>
                </a:lnTo>
                <a:lnTo>
                  <a:pt x="3014" y="1643"/>
                </a:lnTo>
                <a:lnTo>
                  <a:pt x="3021" y="1640"/>
                </a:lnTo>
                <a:lnTo>
                  <a:pt x="3026" y="1636"/>
                </a:lnTo>
                <a:lnTo>
                  <a:pt x="3033" y="1635"/>
                </a:lnTo>
                <a:lnTo>
                  <a:pt x="3039" y="1634"/>
                </a:lnTo>
                <a:lnTo>
                  <a:pt x="3047" y="1633"/>
                </a:lnTo>
                <a:lnTo>
                  <a:pt x="3047" y="1633"/>
                </a:lnTo>
                <a:lnTo>
                  <a:pt x="3058" y="1634"/>
                </a:lnTo>
                <a:lnTo>
                  <a:pt x="3069" y="1637"/>
                </a:lnTo>
                <a:lnTo>
                  <a:pt x="3079" y="1641"/>
                </a:lnTo>
                <a:lnTo>
                  <a:pt x="3088" y="1646"/>
                </a:lnTo>
                <a:lnTo>
                  <a:pt x="3074" y="1700"/>
                </a:lnTo>
                <a:close/>
                <a:moveTo>
                  <a:pt x="593" y="1579"/>
                </a:moveTo>
                <a:lnTo>
                  <a:pt x="593" y="1607"/>
                </a:lnTo>
                <a:lnTo>
                  <a:pt x="537" y="1607"/>
                </a:lnTo>
                <a:lnTo>
                  <a:pt x="537" y="1551"/>
                </a:lnTo>
                <a:lnTo>
                  <a:pt x="593" y="1551"/>
                </a:lnTo>
                <a:lnTo>
                  <a:pt x="593" y="1579"/>
                </a:lnTo>
                <a:close/>
                <a:moveTo>
                  <a:pt x="975" y="1639"/>
                </a:moveTo>
                <a:lnTo>
                  <a:pt x="1030" y="1639"/>
                </a:lnTo>
                <a:lnTo>
                  <a:pt x="1030" y="1738"/>
                </a:lnTo>
                <a:lnTo>
                  <a:pt x="1030" y="1860"/>
                </a:lnTo>
                <a:lnTo>
                  <a:pt x="975" y="1860"/>
                </a:lnTo>
                <a:lnTo>
                  <a:pt x="975" y="1639"/>
                </a:lnTo>
                <a:close/>
                <a:moveTo>
                  <a:pt x="1030" y="1579"/>
                </a:moveTo>
                <a:lnTo>
                  <a:pt x="1030" y="1607"/>
                </a:lnTo>
                <a:lnTo>
                  <a:pt x="975" y="1607"/>
                </a:lnTo>
                <a:lnTo>
                  <a:pt x="975" y="1551"/>
                </a:lnTo>
                <a:lnTo>
                  <a:pt x="1030" y="1551"/>
                </a:lnTo>
                <a:lnTo>
                  <a:pt x="1030" y="1579"/>
                </a:lnTo>
                <a:close/>
                <a:moveTo>
                  <a:pt x="2539" y="2042"/>
                </a:moveTo>
                <a:lnTo>
                  <a:pt x="2539" y="2042"/>
                </a:lnTo>
                <a:lnTo>
                  <a:pt x="2534" y="2038"/>
                </a:lnTo>
                <a:lnTo>
                  <a:pt x="2528" y="2033"/>
                </a:lnTo>
                <a:lnTo>
                  <a:pt x="2523" y="2030"/>
                </a:lnTo>
                <a:lnTo>
                  <a:pt x="2516" y="2027"/>
                </a:lnTo>
                <a:lnTo>
                  <a:pt x="2511" y="2025"/>
                </a:lnTo>
                <a:lnTo>
                  <a:pt x="2504" y="2024"/>
                </a:lnTo>
                <a:lnTo>
                  <a:pt x="2490" y="2021"/>
                </a:lnTo>
                <a:lnTo>
                  <a:pt x="2490" y="2021"/>
                </a:lnTo>
                <a:lnTo>
                  <a:pt x="2480" y="2022"/>
                </a:lnTo>
                <a:lnTo>
                  <a:pt x="2471" y="2024"/>
                </a:lnTo>
                <a:lnTo>
                  <a:pt x="2462" y="2027"/>
                </a:lnTo>
                <a:lnTo>
                  <a:pt x="2453" y="2030"/>
                </a:lnTo>
                <a:lnTo>
                  <a:pt x="2446" y="2035"/>
                </a:lnTo>
                <a:lnTo>
                  <a:pt x="2439" y="2039"/>
                </a:lnTo>
                <a:lnTo>
                  <a:pt x="2432" y="2046"/>
                </a:lnTo>
                <a:lnTo>
                  <a:pt x="2426" y="2052"/>
                </a:lnTo>
                <a:lnTo>
                  <a:pt x="2421" y="2060"/>
                </a:lnTo>
                <a:lnTo>
                  <a:pt x="2416" y="2069"/>
                </a:lnTo>
                <a:lnTo>
                  <a:pt x="2413" y="2078"/>
                </a:lnTo>
                <a:lnTo>
                  <a:pt x="2409" y="2089"/>
                </a:lnTo>
                <a:lnTo>
                  <a:pt x="2406" y="2099"/>
                </a:lnTo>
                <a:lnTo>
                  <a:pt x="2405" y="2111"/>
                </a:lnTo>
                <a:lnTo>
                  <a:pt x="2404" y="2123"/>
                </a:lnTo>
                <a:lnTo>
                  <a:pt x="2403" y="2136"/>
                </a:lnTo>
                <a:lnTo>
                  <a:pt x="2403" y="2136"/>
                </a:lnTo>
                <a:lnTo>
                  <a:pt x="2404" y="2149"/>
                </a:lnTo>
                <a:lnTo>
                  <a:pt x="2405" y="2161"/>
                </a:lnTo>
                <a:lnTo>
                  <a:pt x="2406" y="2174"/>
                </a:lnTo>
                <a:lnTo>
                  <a:pt x="2409" y="2186"/>
                </a:lnTo>
                <a:lnTo>
                  <a:pt x="2411" y="2196"/>
                </a:lnTo>
                <a:lnTo>
                  <a:pt x="2416" y="2206"/>
                </a:lnTo>
                <a:lnTo>
                  <a:pt x="2420" y="2214"/>
                </a:lnTo>
                <a:lnTo>
                  <a:pt x="2426" y="2222"/>
                </a:lnTo>
                <a:lnTo>
                  <a:pt x="2431" y="2230"/>
                </a:lnTo>
                <a:lnTo>
                  <a:pt x="2438" y="2235"/>
                </a:lnTo>
                <a:lnTo>
                  <a:pt x="2445" y="2241"/>
                </a:lnTo>
                <a:lnTo>
                  <a:pt x="2452" y="2245"/>
                </a:lnTo>
                <a:lnTo>
                  <a:pt x="2461" y="2250"/>
                </a:lnTo>
                <a:lnTo>
                  <a:pt x="2470" y="2252"/>
                </a:lnTo>
                <a:lnTo>
                  <a:pt x="2479" y="2253"/>
                </a:lnTo>
                <a:lnTo>
                  <a:pt x="2489" y="2254"/>
                </a:lnTo>
                <a:lnTo>
                  <a:pt x="2489" y="2254"/>
                </a:lnTo>
                <a:lnTo>
                  <a:pt x="2495" y="2253"/>
                </a:lnTo>
                <a:lnTo>
                  <a:pt x="2503" y="2252"/>
                </a:lnTo>
                <a:lnTo>
                  <a:pt x="2510" y="2251"/>
                </a:lnTo>
                <a:lnTo>
                  <a:pt x="2515" y="2249"/>
                </a:lnTo>
                <a:lnTo>
                  <a:pt x="2522" y="2245"/>
                </a:lnTo>
                <a:lnTo>
                  <a:pt x="2528" y="2242"/>
                </a:lnTo>
                <a:lnTo>
                  <a:pt x="2534" y="2238"/>
                </a:lnTo>
                <a:lnTo>
                  <a:pt x="2539" y="2232"/>
                </a:lnTo>
                <a:lnTo>
                  <a:pt x="2539" y="2249"/>
                </a:lnTo>
                <a:lnTo>
                  <a:pt x="2595" y="2249"/>
                </a:lnTo>
                <a:lnTo>
                  <a:pt x="2595" y="1934"/>
                </a:lnTo>
                <a:lnTo>
                  <a:pt x="2539" y="1962"/>
                </a:lnTo>
                <a:lnTo>
                  <a:pt x="2539" y="2042"/>
                </a:lnTo>
                <a:close/>
                <a:moveTo>
                  <a:pt x="2501" y="2203"/>
                </a:moveTo>
                <a:lnTo>
                  <a:pt x="2501" y="2203"/>
                </a:lnTo>
                <a:lnTo>
                  <a:pt x="2493" y="2202"/>
                </a:lnTo>
                <a:lnTo>
                  <a:pt x="2487" y="2200"/>
                </a:lnTo>
                <a:lnTo>
                  <a:pt x="2479" y="2197"/>
                </a:lnTo>
                <a:lnTo>
                  <a:pt x="2472" y="2190"/>
                </a:lnTo>
                <a:lnTo>
                  <a:pt x="2467" y="2181"/>
                </a:lnTo>
                <a:lnTo>
                  <a:pt x="2462" y="2169"/>
                </a:lnTo>
                <a:lnTo>
                  <a:pt x="2460" y="2154"/>
                </a:lnTo>
                <a:lnTo>
                  <a:pt x="2459" y="2134"/>
                </a:lnTo>
                <a:lnTo>
                  <a:pt x="2459" y="2134"/>
                </a:lnTo>
                <a:lnTo>
                  <a:pt x="2460" y="2117"/>
                </a:lnTo>
                <a:lnTo>
                  <a:pt x="2462" y="2103"/>
                </a:lnTo>
                <a:lnTo>
                  <a:pt x="2467" y="2092"/>
                </a:lnTo>
                <a:lnTo>
                  <a:pt x="2472" y="2084"/>
                </a:lnTo>
                <a:lnTo>
                  <a:pt x="2479" y="2079"/>
                </a:lnTo>
                <a:lnTo>
                  <a:pt x="2485" y="2074"/>
                </a:lnTo>
                <a:lnTo>
                  <a:pt x="2493" y="2073"/>
                </a:lnTo>
                <a:lnTo>
                  <a:pt x="2500" y="2072"/>
                </a:lnTo>
                <a:lnTo>
                  <a:pt x="2500" y="2072"/>
                </a:lnTo>
                <a:lnTo>
                  <a:pt x="2507" y="2073"/>
                </a:lnTo>
                <a:lnTo>
                  <a:pt x="2514" y="2074"/>
                </a:lnTo>
                <a:lnTo>
                  <a:pt x="2520" y="2076"/>
                </a:lnTo>
                <a:lnTo>
                  <a:pt x="2525" y="2080"/>
                </a:lnTo>
                <a:lnTo>
                  <a:pt x="2530" y="2083"/>
                </a:lnTo>
                <a:lnTo>
                  <a:pt x="2534" y="2086"/>
                </a:lnTo>
                <a:lnTo>
                  <a:pt x="2539" y="2094"/>
                </a:lnTo>
                <a:lnTo>
                  <a:pt x="2539" y="2181"/>
                </a:lnTo>
                <a:lnTo>
                  <a:pt x="2539" y="2181"/>
                </a:lnTo>
                <a:lnTo>
                  <a:pt x="2533" y="2189"/>
                </a:lnTo>
                <a:lnTo>
                  <a:pt x="2525" y="2196"/>
                </a:lnTo>
                <a:lnTo>
                  <a:pt x="2520" y="2199"/>
                </a:lnTo>
                <a:lnTo>
                  <a:pt x="2514" y="2201"/>
                </a:lnTo>
                <a:lnTo>
                  <a:pt x="2507" y="2202"/>
                </a:lnTo>
                <a:lnTo>
                  <a:pt x="2501" y="2203"/>
                </a:lnTo>
                <a:lnTo>
                  <a:pt x="2501" y="2203"/>
                </a:lnTo>
                <a:close/>
                <a:moveTo>
                  <a:pt x="672" y="2089"/>
                </a:moveTo>
                <a:lnTo>
                  <a:pt x="672" y="2089"/>
                </a:lnTo>
                <a:lnTo>
                  <a:pt x="664" y="2084"/>
                </a:lnTo>
                <a:lnTo>
                  <a:pt x="656" y="2080"/>
                </a:lnTo>
                <a:lnTo>
                  <a:pt x="646" y="2078"/>
                </a:lnTo>
                <a:lnTo>
                  <a:pt x="636" y="2076"/>
                </a:lnTo>
                <a:lnTo>
                  <a:pt x="636" y="2076"/>
                </a:lnTo>
                <a:lnTo>
                  <a:pt x="627" y="2078"/>
                </a:lnTo>
                <a:lnTo>
                  <a:pt x="618" y="2080"/>
                </a:lnTo>
                <a:lnTo>
                  <a:pt x="611" y="2084"/>
                </a:lnTo>
                <a:lnTo>
                  <a:pt x="606" y="2090"/>
                </a:lnTo>
                <a:lnTo>
                  <a:pt x="601" y="2096"/>
                </a:lnTo>
                <a:lnTo>
                  <a:pt x="599" y="2105"/>
                </a:lnTo>
                <a:lnTo>
                  <a:pt x="597" y="2116"/>
                </a:lnTo>
                <a:lnTo>
                  <a:pt x="596" y="2128"/>
                </a:lnTo>
                <a:lnTo>
                  <a:pt x="596" y="2249"/>
                </a:lnTo>
                <a:lnTo>
                  <a:pt x="542" y="2249"/>
                </a:lnTo>
                <a:lnTo>
                  <a:pt x="542" y="2027"/>
                </a:lnTo>
                <a:lnTo>
                  <a:pt x="596" y="2027"/>
                </a:lnTo>
                <a:lnTo>
                  <a:pt x="596" y="2046"/>
                </a:lnTo>
                <a:lnTo>
                  <a:pt x="596" y="2046"/>
                </a:lnTo>
                <a:lnTo>
                  <a:pt x="601" y="2040"/>
                </a:lnTo>
                <a:lnTo>
                  <a:pt x="607" y="2035"/>
                </a:lnTo>
                <a:lnTo>
                  <a:pt x="613" y="2031"/>
                </a:lnTo>
                <a:lnTo>
                  <a:pt x="619" y="2028"/>
                </a:lnTo>
                <a:lnTo>
                  <a:pt x="625" y="2025"/>
                </a:lnTo>
                <a:lnTo>
                  <a:pt x="631" y="2024"/>
                </a:lnTo>
                <a:lnTo>
                  <a:pt x="639" y="2022"/>
                </a:lnTo>
                <a:lnTo>
                  <a:pt x="646" y="2021"/>
                </a:lnTo>
                <a:lnTo>
                  <a:pt x="646" y="2021"/>
                </a:lnTo>
                <a:lnTo>
                  <a:pt x="657" y="2022"/>
                </a:lnTo>
                <a:lnTo>
                  <a:pt x="668" y="2026"/>
                </a:lnTo>
                <a:lnTo>
                  <a:pt x="679" y="2030"/>
                </a:lnTo>
                <a:lnTo>
                  <a:pt x="688" y="2036"/>
                </a:lnTo>
                <a:lnTo>
                  <a:pt x="672" y="2089"/>
                </a:lnTo>
                <a:close/>
                <a:moveTo>
                  <a:pt x="241" y="2027"/>
                </a:moveTo>
                <a:lnTo>
                  <a:pt x="295" y="2027"/>
                </a:lnTo>
                <a:lnTo>
                  <a:pt x="232" y="2249"/>
                </a:lnTo>
                <a:lnTo>
                  <a:pt x="184" y="2249"/>
                </a:lnTo>
                <a:lnTo>
                  <a:pt x="160" y="2157"/>
                </a:lnTo>
                <a:lnTo>
                  <a:pt x="160" y="2157"/>
                </a:lnTo>
                <a:lnTo>
                  <a:pt x="148" y="2108"/>
                </a:lnTo>
                <a:lnTo>
                  <a:pt x="148" y="2108"/>
                </a:lnTo>
                <a:lnTo>
                  <a:pt x="142" y="2132"/>
                </a:lnTo>
                <a:lnTo>
                  <a:pt x="136" y="2158"/>
                </a:lnTo>
                <a:lnTo>
                  <a:pt x="110" y="2249"/>
                </a:lnTo>
                <a:lnTo>
                  <a:pt x="63" y="2249"/>
                </a:lnTo>
                <a:lnTo>
                  <a:pt x="63" y="2247"/>
                </a:lnTo>
                <a:lnTo>
                  <a:pt x="0" y="2027"/>
                </a:lnTo>
                <a:lnTo>
                  <a:pt x="57" y="2027"/>
                </a:lnTo>
                <a:lnTo>
                  <a:pt x="77" y="2110"/>
                </a:lnTo>
                <a:lnTo>
                  <a:pt x="77" y="2110"/>
                </a:lnTo>
                <a:lnTo>
                  <a:pt x="83" y="2136"/>
                </a:lnTo>
                <a:lnTo>
                  <a:pt x="88" y="2164"/>
                </a:lnTo>
                <a:lnTo>
                  <a:pt x="88" y="2164"/>
                </a:lnTo>
                <a:lnTo>
                  <a:pt x="95" y="2136"/>
                </a:lnTo>
                <a:lnTo>
                  <a:pt x="102" y="2108"/>
                </a:lnTo>
                <a:lnTo>
                  <a:pt x="125" y="2027"/>
                </a:lnTo>
                <a:lnTo>
                  <a:pt x="172" y="2027"/>
                </a:lnTo>
                <a:lnTo>
                  <a:pt x="195" y="2108"/>
                </a:lnTo>
                <a:lnTo>
                  <a:pt x="195" y="2108"/>
                </a:lnTo>
                <a:lnTo>
                  <a:pt x="202" y="2135"/>
                </a:lnTo>
                <a:lnTo>
                  <a:pt x="209" y="2165"/>
                </a:lnTo>
                <a:lnTo>
                  <a:pt x="209" y="2165"/>
                </a:lnTo>
                <a:lnTo>
                  <a:pt x="213" y="2139"/>
                </a:lnTo>
                <a:lnTo>
                  <a:pt x="220" y="2108"/>
                </a:lnTo>
                <a:lnTo>
                  <a:pt x="241" y="2027"/>
                </a:lnTo>
                <a:close/>
                <a:moveTo>
                  <a:pt x="406" y="2021"/>
                </a:moveTo>
                <a:lnTo>
                  <a:pt x="406" y="2021"/>
                </a:lnTo>
                <a:lnTo>
                  <a:pt x="396" y="2022"/>
                </a:lnTo>
                <a:lnTo>
                  <a:pt x="385" y="2024"/>
                </a:lnTo>
                <a:lnTo>
                  <a:pt x="375" y="2027"/>
                </a:lnTo>
                <a:lnTo>
                  <a:pt x="366" y="2030"/>
                </a:lnTo>
                <a:lnTo>
                  <a:pt x="358" y="2035"/>
                </a:lnTo>
                <a:lnTo>
                  <a:pt x="349" y="2040"/>
                </a:lnTo>
                <a:lnTo>
                  <a:pt x="341" y="2047"/>
                </a:lnTo>
                <a:lnTo>
                  <a:pt x="334" y="2054"/>
                </a:lnTo>
                <a:lnTo>
                  <a:pt x="328" y="2062"/>
                </a:lnTo>
                <a:lnTo>
                  <a:pt x="322" y="2071"/>
                </a:lnTo>
                <a:lnTo>
                  <a:pt x="317" y="2081"/>
                </a:lnTo>
                <a:lnTo>
                  <a:pt x="313" y="2091"/>
                </a:lnTo>
                <a:lnTo>
                  <a:pt x="310" y="2102"/>
                </a:lnTo>
                <a:lnTo>
                  <a:pt x="308" y="2113"/>
                </a:lnTo>
                <a:lnTo>
                  <a:pt x="306" y="2125"/>
                </a:lnTo>
                <a:lnTo>
                  <a:pt x="306" y="2138"/>
                </a:lnTo>
                <a:lnTo>
                  <a:pt x="306" y="2138"/>
                </a:lnTo>
                <a:lnTo>
                  <a:pt x="306" y="2150"/>
                </a:lnTo>
                <a:lnTo>
                  <a:pt x="308" y="2163"/>
                </a:lnTo>
                <a:lnTo>
                  <a:pt x="310" y="2174"/>
                </a:lnTo>
                <a:lnTo>
                  <a:pt x="313" y="2185"/>
                </a:lnTo>
                <a:lnTo>
                  <a:pt x="317" y="2194"/>
                </a:lnTo>
                <a:lnTo>
                  <a:pt x="322" y="2204"/>
                </a:lnTo>
                <a:lnTo>
                  <a:pt x="328" y="2213"/>
                </a:lnTo>
                <a:lnTo>
                  <a:pt x="334" y="2221"/>
                </a:lnTo>
                <a:lnTo>
                  <a:pt x="341" y="2229"/>
                </a:lnTo>
                <a:lnTo>
                  <a:pt x="349" y="2235"/>
                </a:lnTo>
                <a:lnTo>
                  <a:pt x="358" y="2241"/>
                </a:lnTo>
                <a:lnTo>
                  <a:pt x="366" y="2245"/>
                </a:lnTo>
                <a:lnTo>
                  <a:pt x="375" y="2249"/>
                </a:lnTo>
                <a:lnTo>
                  <a:pt x="385" y="2252"/>
                </a:lnTo>
                <a:lnTo>
                  <a:pt x="396" y="2253"/>
                </a:lnTo>
                <a:lnTo>
                  <a:pt x="406" y="2254"/>
                </a:lnTo>
                <a:lnTo>
                  <a:pt x="406" y="2254"/>
                </a:lnTo>
                <a:lnTo>
                  <a:pt x="417" y="2253"/>
                </a:lnTo>
                <a:lnTo>
                  <a:pt x="428" y="2252"/>
                </a:lnTo>
                <a:lnTo>
                  <a:pt x="438" y="2249"/>
                </a:lnTo>
                <a:lnTo>
                  <a:pt x="447" y="2245"/>
                </a:lnTo>
                <a:lnTo>
                  <a:pt x="456" y="2241"/>
                </a:lnTo>
                <a:lnTo>
                  <a:pt x="465" y="2235"/>
                </a:lnTo>
                <a:lnTo>
                  <a:pt x="472" y="2229"/>
                </a:lnTo>
                <a:lnTo>
                  <a:pt x="479" y="2221"/>
                </a:lnTo>
                <a:lnTo>
                  <a:pt x="486" y="2213"/>
                </a:lnTo>
                <a:lnTo>
                  <a:pt x="491" y="2204"/>
                </a:lnTo>
                <a:lnTo>
                  <a:pt x="496" y="2194"/>
                </a:lnTo>
                <a:lnTo>
                  <a:pt x="500" y="2185"/>
                </a:lnTo>
                <a:lnTo>
                  <a:pt x="503" y="2174"/>
                </a:lnTo>
                <a:lnTo>
                  <a:pt x="505" y="2163"/>
                </a:lnTo>
                <a:lnTo>
                  <a:pt x="508" y="2150"/>
                </a:lnTo>
                <a:lnTo>
                  <a:pt x="508" y="2138"/>
                </a:lnTo>
                <a:lnTo>
                  <a:pt x="508" y="2138"/>
                </a:lnTo>
                <a:lnTo>
                  <a:pt x="508" y="2125"/>
                </a:lnTo>
                <a:lnTo>
                  <a:pt x="505" y="2113"/>
                </a:lnTo>
                <a:lnTo>
                  <a:pt x="503" y="2102"/>
                </a:lnTo>
                <a:lnTo>
                  <a:pt x="500" y="2091"/>
                </a:lnTo>
                <a:lnTo>
                  <a:pt x="496" y="2081"/>
                </a:lnTo>
                <a:lnTo>
                  <a:pt x="491" y="2071"/>
                </a:lnTo>
                <a:lnTo>
                  <a:pt x="486" y="2062"/>
                </a:lnTo>
                <a:lnTo>
                  <a:pt x="479" y="2054"/>
                </a:lnTo>
                <a:lnTo>
                  <a:pt x="472" y="2047"/>
                </a:lnTo>
                <a:lnTo>
                  <a:pt x="465" y="2040"/>
                </a:lnTo>
                <a:lnTo>
                  <a:pt x="456" y="2035"/>
                </a:lnTo>
                <a:lnTo>
                  <a:pt x="447" y="2030"/>
                </a:lnTo>
                <a:lnTo>
                  <a:pt x="438" y="2027"/>
                </a:lnTo>
                <a:lnTo>
                  <a:pt x="428" y="2024"/>
                </a:lnTo>
                <a:lnTo>
                  <a:pt x="417" y="2022"/>
                </a:lnTo>
                <a:lnTo>
                  <a:pt x="406" y="2021"/>
                </a:lnTo>
                <a:lnTo>
                  <a:pt x="406" y="2021"/>
                </a:lnTo>
                <a:close/>
                <a:moveTo>
                  <a:pt x="406" y="2202"/>
                </a:moveTo>
                <a:lnTo>
                  <a:pt x="406" y="2202"/>
                </a:lnTo>
                <a:lnTo>
                  <a:pt x="396" y="2201"/>
                </a:lnTo>
                <a:lnTo>
                  <a:pt x="387" y="2198"/>
                </a:lnTo>
                <a:lnTo>
                  <a:pt x="381" y="2192"/>
                </a:lnTo>
                <a:lnTo>
                  <a:pt x="374" y="2185"/>
                </a:lnTo>
                <a:lnTo>
                  <a:pt x="369" y="2176"/>
                </a:lnTo>
                <a:lnTo>
                  <a:pt x="364" y="2165"/>
                </a:lnTo>
                <a:lnTo>
                  <a:pt x="362" y="2151"/>
                </a:lnTo>
                <a:lnTo>
                  <a:pt x="362" y="2138"/>
                </a:lnTo>
                <a:lnTo>
                  <a:pt x="362" y="2138"/>
                </a:lnTo>
                <a:lnTo>
                  <a:pt x="362" y="2124"/>
                </a:lnTo>
                <a:lnTo>
                  <a:pt x="364" y="2111"/>
                </a:lnTo>
                <a:lnTo>
                  <a:pt x="369" y="2101"/>
                </a:lnTo>
                <a:lnTo>
                  <a:pt x="374" y="2091"/>
                </a:lnTo>
                <a:lnTo>
                  <a:pt x="381" y="2083"/>
                </a:lnTo>
                <a:lnTo>
                  <a:pt x="387" y="2078"/>
                </a:lnTo>
                <a:lnTo>
                  <a:pt x="396" y="2074"/>
                </a:lnTo>
                <a:lnTo>
                  <a:pt x="406" y="2073"/>
                </a:lnTo>
                <a:lnTo>
                  <a:pt x="406" y="2073"/>
                </a:lnTo>
                <a:lnTo>
                  <a:pt x="416" y="2074"/>
                </a:lnTo>
                <a:lnTo>
                  <a:pt x="425" y="2078"/>
                </a:lnTo>
                <a:lnTo>
                  <a:pt x="433" y="2083"/>
                </a:lnTo>
                <a:lnTo>
                  <a:pt x="439" y="2091"/>
                </a:lnTo>
                <a:lnTo>
                  <a:pt x="445" y="2101"/>
                </a:lnTo>
                <a:lnTo>
                  <a:pt x="448" y="2111"/>
                </a:lnTo>
                <a:lnTo>
                  <a:pt x="450" y="2124"/>
                </a:lnTo>
                <a:lnTo>
                  <a:pt x="451" y="2138"/>
                </a:lnTo>
                <a:lnTo>
                  <a:pt x="451" y="2138"/>
                </a:lnTo>
                <a:lnTo>
                  <a:pt x="450" y="2151"/>
                </a:lnTo>
                <a:lnTo>
                  <a:pt x="448" y="2165"/>
                </a:lnTo>
                <a:lnTo>
                  <a:pt x="445" y="2176"/>
                </a:lnTo>
                <a:lnTo>
                  <a:pt x="439" y="2185"/>
                </a:lnTo>
                <a:lnTo>
                  <a:pt x="433" y="2192"/>
                </a:lnTo>
                <a:lnTo>
                  <a:pt x="425" y="2198"/>
                </a:lnTo>
                <a:lnTo>
                  <a:pt x="416" y="2201"/>
                </a:lnTo>
                <a:lnTo>
                  <a:pt x="406" y="2202"/>
                </a:lnTo>
                <a:lnTo>
                  <a:pt x="406" y="2202"/>
                </a:lnTo>
                <a:close/>
                <a:moveTo>
                  <a:pt x="2269" y="2089"/>
                </a:moveTo>
                <a:lnTo>
                  <a:pt x="2269" y="2089"/>
                </a:lnTo>
                <a:lnTo>
                  <a:pt x="2260" y="2084"/>
                </a:lnTo>
                <a:lnTo>
                  <a:pt x="2251" y="2080"/>
                </a:lnTo>
                <a:lnTo>
                  <a:pt x="2242" y="2078"/>
                </a:lnTo>
                <a:lnTo>
                  <a:pt x="2233" y="2076"/>
                </a:lnTo>
                <a:lnTo>
                  <a:pt x="2233" y="2076"/>
                </a:lnTo>
                <a:lnTo>
                  <a:pt x="2223" y="2078"/>
                </a:lnTo>
                <a:lnTo>
                  <a:pt x="2215" y="2080"/>
                </a:lnTo>
                <a:lnTo>
                  <a:pt x="2208" y="2084"/>
                </a:lnTo>
                <a:lnTo>
                  <a:pt x="2203" y="2090"/>
                </a:lnTo>
                <a:lnTo>
                  <a:pt x="2198" y="2096"/>
                </a:lnTo>
                <a:lnTo>
                  <a:pt x="2195" y="2105"/>
                </a:lnTo>
                <a:lnTo>
                  <a:pt x="2193" y="2116"/>
                </a:lnTo>
                <a:lnTo>
                  <a:pt x="2193" y="2128"/>
                </a:lnTo>
                <a:lnTo>
                  <a:pt x="2193" y="2249"/>
                </a:lnTo>
                <a:lnTo>
                  <a:pt x="2138" y="2249"/>
                </a:lnTo>
                <a:lnTo>
                  <a:pt x="2138" y="2027"/>
                </a:lnTo>
                <a:lnTo>
                  <a:pt x="2193" y="2027"/>
                </a:lnTo>
                <a:lnTo>
                  <a:pt x="2193" y="2046"/>
                </a:lnTo>
                <a:lnTo>
                  <a:pt x="2193" y="2046"/>
                </a:lnTo>
                <a:lnTo>
                  <a:pt x="2197" y="2040"/>
                </a:lnTo>
                <a:lnTo>
                  <a:pt x="2203" y="2035"/>
                </a:lnTo>
                <a:lnTo>
                  <a:pt x="2208" y="2031"/>
                </a:lnTo>
                <a:lnTo>
                  <a:pt x="2215" y="2028"/>
                </a:lnTo>
                <a:lnTo>
                  <a:pt x="2222" y="2025"/>
                </a:lnTo>
                <a:lnTo>
                  <a:pt x="2228" y="2024"/>
                </a:lnTo>
                <a:lnTo>
                  <a:pt x="2235" y="2022"/>
                </a:lnTo>
                <a:lnTo>
                  <a:pt x="2242" y="2021"/>
                </a:lnTo>
                <a:lnTo>
                  <a:pt x="2242" y="2021"/>
                </a:lnTo>
                <a:lnTo>
                  <a:pt x="2253" y="2022"/>
                </a:lnTo>
                <a:lnTo>
                  <a:pt x="2264" y="2026"/>
                </a:lnTo>
                <a:lnTo>
                  <a:pt x="2275" y="2030"/>
                </a:lnTo>
                <a:lnTo>
                  <a:pt x="2283" y="2036"/>
                </a:lnTo>
                <a:lnTo>
                  <a:pt x="2269" y="2089"/>
                </a:lnTo>
                <a:close/>
                <a:moveTo>
                  <a:pt x="1836" y="2027"/>
                </a:moveTo>
                <a:lnTo>
                  <a:pt x="1891" y="2027"/>
                </a:lnTo>
                <a:lnTo>
                  <a:pt x="1828" y="2249"/>
                </a:lnTo>
                <a:lnTo>
                  <a:pt x="1780" y="2249"/>
                </a:lnTo>
                <a:lnTo>
                  <a:pt x="1756" y="2157"/>
                </a:lnTo>
                <a:lnTo>
                  <a:pt x="1756" y="2157"/>
                </a:lnTo>
                <a:lnTo>
                  <a:pt x="1744" y="2108"/>
                </a:lnTo>
                <a:lnTo>
                  <a:pt x="1744" y="2108"/>
                </a:lnTo>
                <a:lnTo>
                  <a:pt x="1738" y="2132"/>
                </a:lnTo>
                <a:lnTo>
                  <a:pt x="1732" y="2158"/>
                </a:lnTo>
                <a:lnTo>
                  <a:pt x="1707" y="2249"/>
                </a:lnTo>
                <a:lnTo>
                  <a:pt x="1660" y="2249"/>
                </a:lnTo>
                <a:lnTo>
                  <a:pt x="1659" y="2247"/>
                </a:lnTo>
                <a:lnTo>
                  <a:pt x="1597" y="2027"/>
                </a:lnTo>
                <a:lnTo>
                  <a:pt x="1653" y="2027"/>
                </a:lnTo>
                <a:lnTo>
                  <a:pt x="1674" y="2110"/>
                </a:lnTo>
                <a:lnTo>
                  <a:pt x="1674" y="2110"/>
                </a:lnTo>
                <a:lnTo>
                  <a:pt x="1680" y="2136"/>
                </a:lnTo>
                <a:lnTo>
                  <a:pt x="1685" y="2164"/>
                </a:lnTo>
                <a:lnTo>
                  <a:pt x="1685" y="2164"/>
                </a:lnTo>
                <a:lnTo>
                  <a:pt x="1691" y="2136"/>
                </a:lnTo>
                <a:lnTo>
                  <a:pt x="1699" y="2108"/>
                </a:lnTo>
                <a:lnTo>
                  <a:pt x="1722" y="2027"/>
                </a:lnTo>
                <a:lnTo>
                  <a:pt x="1768" y="2027"/>
                </a:lnTo>
                <a:lnTo>
                  <a:pt x="1791" y="2108"/>
                </a:lnTo>
                <a:lnTo>
                  <a:pt x="1791" y="2108"/>
                </a:lnTo>
                <a:lnTo>
                  <a:pt x="1798" y="2135"/>
                </a:lnTo>
                <a:lnTo>
                  <a:pt x="1804" y="2165"/>
                </a:lnTo>
                <a:lnTo>
                  <a:pt x="1804" y="2165"/>
                </a:lnTo>
                <a:lnTo>
                  <a:pt x="1810" y="2139"/>
                </a:lnTo>
                <a:lnTo>
                  <a:pt x="1817" y="2108"/>
                </a:lnTo>
                <a:lnTo>
                  <a:pt x="1836" y="2027"/>
                </a:lnTo>
                <a:close/>
                <a:moveTo>
                  <a:pt x="2002" y="2021"/>
                </a:moveTo>
                <a:lnTo>
                  <a:pt x="2002" y="2021"/>
                </a:lnTo>
                <a:lnTo>
                  <a:pt x="1992" y="2022"/>
                </a:lnTo>
                <a:lnTo>
                  <a:pt x="1981" y="2024"/>
                </a:lnTo>
                <a:lnTo>
                  <a:pt x="1971" y="2027"/>
                </a:lnTo>
                <a:lnTo>
                  <a:pt x="1962" y="2030"/>
                </a:lnTo>
                <a:lnTo>
                  <a:pt x="1953" y="2035"/>
                </a:lnTo>
                <a:lnTo>
                  <a:pt x="1945" y="2041"/>
                </a:lnTo>
                <a:lnTo>
                  <a:pt x="1937" y="2047"/>
                </a:lnTo>
                <a:lnTo>
                  <a:pt x="1930" y="2054"/>
                </a:lnTo>
                <a:lnTo>
                  <a:pt x="1924" y="2062"/>
                </a:lnTo>
                <a:lnTo>
                  <a:pt x="1918" y="2071"/>
                </a:lnTo>
                <a:lnTo>
                  <a:pt x="1913" y="2081"/>
                </a:lnTo>
                <a:lnTo>
                  <a:pt x="1909" y="2091"/>
                </a:lnTo>
                <a:lnTo>
                  <a:pt x="1906" y="2102"/>
                </a:lnTo>
                <a:lnTo>
                  <a:pt x="1903" y="2114"/>
                </a:lnTo>
                <a:lnTo>
                  <a:pt x="1902" y="2125"/>
                </a:lnTo>
                <a:lnTo>
                  <a:pt x="1902" y="2138"/>
                </a:lnTo>
                <a:lnTo>
                  <a:pt x="1902" y="2138"/>
                </a:lnTo>
                <a:lnTo>
                  <a:pt x="1902" y="2150"/>
                </a:lnTo>
                <a:lnTo>
                  <a:pt x="1903" y="2163"/>
                </a:lnTo>
                <a:lnTo>
                  <a:pt x="1906" y="2174"/>
                </a:lnTo>
                <a:lnTo>
                  <a:pt x="1909" y="2185"/>
                </a:lnTo>
                <a:lnTo>
                  <a:pt x="1913" y="2194"/>
                </a:lnTo>
                <a:lnTo>
                  <a:pt x="1918" y="2204"/>
                </a:lnTo>
                <a:lnTo>
                  <a:pt x="1924" y="2213"/>
                </a:lnTo>
                <a:lnTo>
                  <a:pt x="1930" y="2221"/>
                </a:lnTo>
                <a:lnTo>
                  <a:pt x="1937" y="2229"/>
                </a:lnTo>
                <a:lnTo>
                  <a:pt x="1945" y="2235"/>
                </a:lnTo>
                <a:lnTo>
                  <a:pt x="1953" y="2241"/>
                </a:lnTo>
                <a:lnTo>
                  <a:pt x="1962" y="2245"/>
                </a:lnTo>
                <a:lnTo>
                  <a:pt x="1971" y="2249"/>
                </a:lnTo>
                <a:lnTo>
                  <a:pt x="1981" y="2252"/>
                </a:lnTo>
                <a:lnTo>
                  <a:pt x="1992" y="2253"/>
                </a:lnTo>
                <a:lnTo>
                  <a:pt x="2002" y="2254"/>
                </a:lnTo>
                <a:lnTo>
                  <a:pt x="2002" y="2254"/>
                </a:lnTo>
                <a:lnTo>
                  <a:pt x="2013" y="2253"/>
                </a:lnTo>
                <a:lnTo>
                  <a:pt x="2024" y="2252"/>
                </a:lnTo>
                <a:lnTo>
                  <a:pt x="2034" y="2249"/>
                </a:lnTo>
                <a:lnTo>
                  <a:pt x="2043" y="2245"/>
                </a:lnTo>
                <a:lnTo>
                  <a:pt x="2052" y="2241"/>
                </a:lnTo>
                <a:lnTo>
                  <a:pt x="2061" y="2235"/>
                </a:lnTo>
                <a:lnTo>
                  <a:pt x="2068" y="2229"/>
                </a:lnTo>
                <a:lnTo>
                  <a:pt x="2075" y="2221"/>
                </a:lnTo>
                <a:lnTo>
                  <a:pt x="2081" y="2213"/>
                </a:lnTo>
                <a:lnTo>
                  <a:pt x="2087" y="2204"/>
                </a:lnTo>
                <a:lnTo>
                  <a:pt x="2091" y="2194"/>
                </a:lnTo>
                <a:lnTo>
                  <a:pt x="2096" y="2185"/>
                </a:lnTo>
                <a:lnTo>
                  <a:pt x="2099" y="2174"/>
                </a:lnTo>
                <a:lnTo>
                  <a:pt x="2101" y="2163"/>
                </a:lnTo>
                <a:lnTo>
                  <a:pt x="2104" y="2150"/>
                </a:lnTo>
                <a:lnTo>
                  <a:pt x="2104" y="2138"/>
                </a:lnTo>
                <a:lnTo>
                  <a:pt x="2104" y="2138"/>
                </a:lnTo>
                <a:lnTo>
                  <a:pt x="2104" y="2125"/>
                </a:lnTo>
                <a:lnTo>
                  <a:pt x="2101" y="2114"/>
                </a:lnTo>
                <a:lnTo>
                  <a:pt x="2099" y="2102"/>
                </a:lnTo>
                <a:lnTo>
                  <a:pt x="2096" y="2091"/>
                </a:lnTo>
                <a:lnTo>
                  <a:pt x="2091" y="2081"/>
                </a:lnTo>
                <a:lnTo>
                  <a:pt x="2087" y="2071"/>
                </a:lnTo>
                <a:lnTo>
                  <a:pt x="2081" y="2062"/>
                </a:lnTo>
                <a:lnTo>
                  <a:pt x="2075" y="2054"/>
                </a:lnTo>
                <a:lnTo>
                  <a:pt x="2068" y="2047"/>
                </a:lnTo>
                <a:lnTo>
                  <a:pt x="2061" y="2041"/>
                </a:lnTo>
                <a:lnTo>
                  <a:pt x="2052" y="2035"/>
                </a:lnTo>
                <a:lnTo>
                  <a:pt x="2043" y="2030"/>
                </a:lnTo>
                <a:lnTo>
                  <a:pt x="2034" y="2027"/>
                </a:lnTo>
                <a:lnTo>
                  <a:pt x="2024" y="2024"/>
                </a:lnTo>
                <a:lnTo>
                  <a:pt x="2013" y="2022"/>
                </a:lnTo>
                <a:lnTo>
                  <a:pt x="2002" y="2021"/>
                </a:lnTo>
                <a:lnTo>
                  <a:pt x="2002" y="2021"/>
                </a:lnTo>
                <a:close/>
                <a:moveTo>
                  <a:pt x="2002" y="2202"/>
                </a:moveTo>
                <a:lnTo>
                  <a:pt x="2002" y="2202"/>
                </a:lnTo>
                <a:lnTo>
                  <a:pt x="1992" y="2201"/>
                </a:lnTo>
                <a:lnTo>
                  <a:pt x="1984" y="2198"/>
                </a:lnTo>
                <a:lnTo>
                  <a:pt x="1977" y="2192"/>
                </a:lnTo>
                <a:lnTo>
                  <a:pt x="1970" y="2185"/>
                </a:lnTo>
                <a:lnTo>
                  <a:pt x="1964" y="2176"/>
                </a:lnTo>
                <a:lnTo>
                  <a:pt x="1960" y="2165"/>
                </a:lnTo>
                <a:lnTo>
                  <a:pt x="1958" y="2151"/>
                </a:lnTo>
                <a:lnTo>
                  <a:pt x="1958" y="2138"/>
                </a:lnTo>
                <a:lnTo>
                  <a:pt x="1958" y="2138"/>
                </a:lnTo>
                <a:lnTo>
                  <a:pt x="1958" y="2124"/>
                </a:lnTo>
                <a:lnTo>
                  <a:pt x="1960" y="2112"/>
                </a:lnTo>
                <a:lnTo>
                  <a:pt x="1964" y="2101"/>
                </a:lnTo>
                <a:lnTo>
                  <a:pt x="1970" y="2091"/>
                </a:lnTo>
                <a:lnTo>
                  <a:pt x="1977" y="2083"/>
                </a:lnTo>
                <a:lnTo>
                  <a:pt x="1984" y="2078"/>
                </a:lnTo>
                <a:lnTo>
                  <a:pt x="1992" y="2074"/>
                </a:lnTo>
                <a:lnTo>
                  <a:pt x="2002" y="2073"/>
                </a:lnTo>
                <a:lnTo>
                  <a:pt x="2002" y="2073"/>
                </a:lnTo>
                <a:lnTo>
                  <a:pt x="2012" y="2074"/>
                </a:lnTo>
                <a:lnTo>
                  <a:pt x="2021" y="2078"/>
                </a:lnTo>
                <a:lnTo>
                  <a:pt x="2029" y="2083"/>
                </a:lnTo>
                <a:lnTo>
                  <a:pt x="2035" y="2091"/>
                </a:lnTo>
                <a:lnTo>
                  <a:pt x="2041" y="2101"/>
                </a:lnTo>
                <a:lnTo>
                  <a:pt x="2044" y="2112"/>
                </a:lnTo>
                <a:lnTo>
                  <a:pt x="2046" y="2124"/>
                </a:lnTo>
                <a:lnTo>
                  <a:pt x="2047" y="2138"/>
                </a:lnTo>
                <a:lnTo>
                  <a:pt x="2047" y="2138"/>
                </a:lnTo>
                <a:lnTo>
                  <a:pt x="2046" y="2151"/>
                </a:lnTo>
                <a:lnTo>
                  <a:pt x="2044" y="2165"/>
                </a:lnTo>
                <a:lnTo>
                  <a:pt x="2041" y="2176"/>
                </a:lnTo>
                <a:lnTo>
                  <a:pt x="2035" y="2185"/>
                </a:lnTo>
                <a:lnTo>
                  <a:pt x="2029" y="2192"/>
                </a:lnTo>
                <a:lnTo>
                  <a:pt x="2021" y="2198"/>
                </a:lnTo>
                <a:lnTo>
                  <a:pt x="2012" y="2201"/>
                </a:lnTo>
                <a:lnTo>
                  <a:pt x="2002" y="2202"/>
                </a:lnTo>
                <a:lnTo>
                  <a:pt x="2002" y="2202"/>
                </a:lnTo>
                <a:close/>
                <a:moveTo>
                  <a:pt x="837" y="2100"/>
                </a:moveTo>
                <a:lnTo>
                  <a:pt x="904" y="2249"/>
                </a:lnTo>
                <a:lnTo>
                  <a:pt x="843" y="2249"/>
                </a:lnTo>
                <a:lnTo>
                  <a:pt x="797" y="2146"/>
                </a:lnTo>
                <a:lnTo>
                  <a:pt x="767" y="2182"/>
                </a:lnTo>
                <a:lnTo>
                  <a:pt x="767" y="2249"/>
                </a:lnTo>
                <a:lnTo>
                  <a:pt x="713" y="2249"/>
                </a:lnTo>
                <a:lnTo>
                  <a:pt x="713" y="1962"/>
                </a:lnTo>
                <a:lnTo>
                  <a:pt x="767" y="1934"/>
                </a:lnTo>
                <a:lnTo>
                  <a:pt x="767" y="2112"/>
                </a:lnTo>
                <a:lnTo>
                  <a:pt x="767" y="2112"/>
                </a:lnTo>
                <a:lnTo>
                  <a:pt x="788" y="2083"/>
                </a:lnTo>
                <a:lnTo>
                  <a:pt x="832" y="2027"/>
                </a:lnTo>
                <a:lnTo>
                  <a:pt x="896" y="2027"/>
                </a:lnTo>
                <a:lnTo>
                  <a:pt x="837" y="2100"/>
                </a:lnTo>
                <a:close/>
                <a:moveTo>
                  <a:pt x="1097" y="2249"/>
                </a:moveTo>
                <a:lnTo>
                  <a:pt x="1042" y="2249"/>
                </a:lnTo>
                <a:lnTo>
                  <a:pt x="1042" y="2027"/>
                </a:lnTo>
                <a:lnTo>
                  <a:pt x="1097" y="2027"/>
                </a:lnTo>
                <a:lnTo>
                  <a:pt x="1097" y="2046"/>
                </a:lnTo>
                <a:lnTo>
                  <a:pt x="1097" y="2046"/>
                </a:lnTo>
                <a:lnTo>
                  <a:pt x="1103" y="2040"/>
                </a:lnTo>
                <a:lnTo>
                  <a:pt x="1108" y="2036"/>
                </a:lnTo>
                <a:lnTo>
                  <a:pt x="1115" y="2031"/>
                </a:lnTo>
                <a:lnTo>
                  <a:pt x="1121" y="2028"/>
                </a:lnTo>
                <a:lnTo>
                  <a:pt x="1129" y="2026"/>
                </a:lnTo>
                <a:lnTo>
                  <a:pt x="1137" y="2024"/>
                </a:lnTo>
                <a:lnTo>
                  <a:pt x="1144" y="2022"/>
                </a:lnTo>
                <a:lnTo>
                  <a:pt x="1153" y="2021"/>
                </a:lnTo>
                <a:lnTo>
                  <a:pt x="1153" y="2021"/>
                </a:lnTo>
                <a:lnTo>
                  <a:pt x="1163" y="2022"/>
                </a:lnTo>
                <a:lnTo>
                  <a:pt x="1172" y="2024"/>
                </a:lnTo>
                <a:lnTo>
                  <a:pt x="1180" y="2026"/>
                </a:lnTo>
                <a:lnTo>
                  <a:pt x="1189" y="2028"/>
                </a:lnTo>
                <a:lnTo>
                  <a:pt x="1195" y="2032"/>
                </a:lnTo>
                <a:lnTo>
                  <a:pt x="1202" y="2037"/>
                </a:lnTo>
                <a:lnTo>
                  <a:pt x="1208" y="2041"/>
                </a:lnTo>
                <a:lnTo>
                  <a:pt x="1214" y="2048"/>
                </a:lnTo>
                <a:lnTo>
                  <a:pt x="1218" y="2054"/>
                </a:lnTo>
                <a:lnTo>
                  <a:pt x="1223" y="2062"/>
                </a:lnTo>
                <a:lnTo>
                  <a:pt x="1226" y="2070"/>
                </a:lnTo>
                <a:lnTo>
                  <a:pt x="1229" y="2080"/>
                </a:lnTo>
                <a:lnTo>
                  <a:pt x="1232" y="2090"/>
                </a:lnTo>
                <a:lnTo>
                  <a:pt x="1233" y="2100"/>
                </a:lnTo>
                <a:lnTo>
                  <a:pt x="1234" y="2111"/>
                </a:lnTo>
                <a:lnTo>
                  <a:pt x="1235" y="2123"/>
                </a:lnTo>
                <a:lnTo>
                  <a:pt x="1235" y="2249"/>
                </a:lnTo>
                <a:lnTo>
                  <a:pt x="1180" y="2249"/>
                </a:lnTo>
                <a:lnTo>
                  <a:pt x="1180" y="2126"/>
                </a:lnTo>
                <a:lnTo>
                  <a:pt x="1180" y="2126"/>
                </a:lnTo>
                <a:lnTo>
                  <a:pt x="1179" y="2114"/>
                </a:lnTo>
                <a:lnTo>
                  <a:pt x="1178" y="2102"/>
                </a:lnTo>
                <a:lnTo>
                  <a:pt x="1174" y="2093"/>
                </a:lnTo>
                <a:lnTo>
                  <a:pt x="1170" y="2085"/>
                </a:lnTo>
                <a:lnTo>
                  <a:pt x="1164" y="2080"/>
                </a:lnTo>
                <a:lnTo>
                  <a:pt x="1158" y="2075"/>
                </a:lnTo>
                <a:lnTo>
                  <a:pt x="1149" y="2073"/>
                </a:lnTo>
                <a:lnTo>
                  <a:pt x="1139" y="2072"/>
                </a:lnTo>
                <a:lnTo>
                  <a:pt x="1139" y="2072"/>
                </a:lnTo>
                <a:lnTo>
                  <a:pt x="1130" y="2073"/>
                </a:lnTo>
                <a:lnTo>
                  <a:pt x="1121" y="2075"/>
                </a:lnTo>
                <a:lnTo>
                  <a:pt x="1114" y="2080"/>
                </a:lnTo>
                <a:lnTo>
                  <a:pt x="1108" y="2086"/>
                </a:lnTo>
                <a:lnTo>
                  <a:pt x="1104" y="2093"/>
                </a:lnTo>
                <a:lnTo>
                  <a:pt x="1100" y="2103"/>
                </a:lnTo>
                <a:lnTo>
                  <a:pt x="1098" y="2114"/>
                </a:lnTo>
                <a:lnTo>
                  <a:pt x="1097" y="2126"/>
                </a:lnTo>
                <a:lnTo>
                  <a:pt x="1097" y="2249"/>
                </a:lnTo>
                <a:close/>
                <a:moveTo>
                  <a:pt x="1408" y="2042"/>
                </a:moveTo>
                <a:lnTo>
                  <a:pt x="1408" y="2042"/>
                </a:lnTo>
                <a:lnTo>
                  <a:pt x="1403" y="2038"/>
                </a:lnTo>
                <a:lnTo>
                  <a:pt x="1397" y="2033"/>
                </a:lnTo>
                <a:lnTo>
                  <a:pt x="1392" y="2030"/>
                </a:lnTo>
                <a:lnTo>
                  <a:pt x="1385" y="2027"/>
                </a:lnTo>
                <a:lnTo>
                  <a:pt x="1378" y="2025"/>
                </a:lnTo>
                <a:lnTo>
                  <a:pt x="1372" y="2024"/>
                </a:lnTo>
                <a:lnTo>
                  <a:pt x="1365" y="2022"/>
                </a:lnTo>
                <a:lnTo>
                  <a:pt x="1359" y="2021"/>
                </a:lnTo>
                <a:lnTo>
                  <a:pt x="1359" y="2021"/>
                </a:lnTo>
                <a:lnTo>
                  <a:pt x="1349" y="2022"/>
                </a:lnTo>
                <a:lnTo>
                  <a:pt x="1340" y="2024"/>
                </a:lnTo>
                <a:lnTo>
                  <a:pt x="1331" y="2026"/>
                </a:lnTo>
                <a:lnTo>
                  <a:pt x="1322" y="2030"/>
                </a:lnTo>
                <a:lnTo>
                  <a:pt x="1314" y="2033"/>
                </a:lnTo>
                <a:lnTo>
                  <a:pt x="1308" y="2039"/>
                </a:lnTo>
                <a:lnTo>
                  <a:pt x="1301" y="2046"/>
                </a:lnTo>
                <a:lnTo>
                  <a:pt x="1295" y="2052"/>
                </a:lnTo>
                <a:lnTo>
                  <a:pt x="1289" y="2060"/>
                </a:lnTo>
                <a:lnTo>
                  <a:pt x="1285" y="2069"/>
                </a:lnTo>
                <a:lnTo>
                  <a:pt x="1280" y="2078"/>
                </a:lnTo>
                <a:lnTo>
                  <a:pt x="1277" y="2089"/>
                </a:lnTo>
                <a:lnTo>
                  <a:pt x="1275" y="2099"/>
                </a:lnTo>
                <a:lnTo>
                  <a:pt x="1273" y="2111"/>
                </a:lnTo>
                <a:lnTo>
                  <a:pt x="1271" y="2123"/>
                </a:lnTo>
                <a:lnTo>
                  <a:pt x="1271" y="2135"/>
                </a:lnTo>
                <a:lnTo>
                  <a:pt x="1271" y="2135"/>
                </a:lnTo>
                <a:lnTo>
                  <a:pt x="1271" y="2149"/>
                </a:lnTo>
                <a:lnTo>
                  <a:pt x="1273" y="2161"/>
                </a:lnTo>
                <a:lnTo>
                  <a:pt x="1275" y="2174"/>
                </a:lnTo>
                <a:lnTo>
                  <a:pt x="1277" y="2186"/>
                </a:lnTo>
                <a:lnTo>
                  <a:pt x="1280" y="2196"/>
                </a:lnTo>
                <a:lnTo>
                  <a:pt x="1285" y="2206"/>
                </a:lnTo>
                <a:lnTo>
                  <a:pt x="1289" y="2214"/>
                </a:lnTo>
                <a:lnTo>
                  <a:pt x="1295" y="2222"/>
                </a:lnTo>
                <a:lnTo>
                  <a:pt x="1300" y="2230"/>
                </a:lnTo>
                <a:lnTo>
                  <a:pt x="1307" y="2235"/>
                </a:lnTo>
                <a:lnTo>
                  <a:pt x="1313" y="2241"/>
                </a:lnTo>
                <a:lnTo>
                  <a:pt x="1321" y="2245"/>
                </a:lnTo>
                <a:lnTo>
                  <a:pt x="1330" y="2249"/>
                </a:lnTo>
                <a:lnTo>
                  <a:pt x="1339" y="2252"/>
                </a:lnTo>
                <a:lnTo>
                  <a:pt x="1348" y="2253"/>
                </a:lnTo>
                <a:lnTo>
                  <a:pt x="1357" y="2254"/>
                </a:lnTo>
                <a:lnTo>
                  <a:pt x="1357" y="2254"/>
                </a:lnTo>
                <a:lnTo>
                  <a:pt x="1364" y="2253"/>
                </a:lnTo>
                <a:lnTo>
                  <a:pt x="1372" y="2252"/>
                </a:lnTo>
                <a:lnTo>
                  <a:pt x="1378" y="2251"/>
                </a:lnTo>
                <a:lnTo>
                  <a:pt x="1385" y="2249"/>
                </a:lnTo>
                <a:lnTo>
                  <a:pt x="1391" y="2245"/>
                </a:lnTo>
                <a:lnTo>
                  <a:pt x="1397" y="2242"/>
                </a:lnTo>
                <a:lnTo>
                  <a:pt x="1403" y="2238"/>
                </a:lnTo>
                <a:lnTo>
                  <a:pt x="1408" y="2232"/>
                </a:lnTo>
                <a:lnTo>
                  <a:pt x="1408" y="2238"/>
                </a:lnTo>
                <a:lnTo>
                  <a:pt x="1408" y="2238"/>
                </a:lnTo>
                <a:lnTo>
                  <a:pt x="1408" y="2246"/>
                </a:lnTo>
                <a:lnTo>
                  <a:pt x="1407" y="2256"/>
                </a:lnTo>
                <a:lnTo>
                  <a:pt x="1404" y="2266"/>
                </a:lnTo>
                <a:lnTo>
                  <a:pt x="1402" y="2271"/>
                </a:lnTo>
                <a:lnTo>
                  <a:pt x="1399" y="2275"/>
                </a:lnTo>
                <a:lnTo>
                  <a:pt x="1395" y="2279"/>
                </a:lnTo>
                <a:lnTo>
                  <a:pt x="1391" y="2284"/>
                </a:lnTo>
                <a:lnTo>
                  <a:pt x="1385" y="2287"/>
                </a:lnTo>
                <a:lnTo>
                  <a:pt x="1378" y="2290"/>
                </a:lnTo>
                <a:lnTo>
                  <a:pt x="1370" y="2293"/>
                </a:lnTo>
                <a:lnTo>
                  <a:pt x="1361" y="2295"/>
                </a:lnTo>
                <a:lnTo>
                  <a:pt x="1350" y="2296"/>
                </a:lnTo>
                <a:lnTo>
                  <a:pt x="1337" y="2296"/>
                </a:lnTo>
                <a:lnTo>
                  <a:pt x="1334" y="2296"/>
                </a:lnTo>
                <a:lnTo>
                  <a:pt x="1354" y="2339"/>
                </a:lnTo>
                <a:lnTo>
                  <a:pt x="1355" y="2339"/>
                </a:lnTo>
                <a:lnTo>
                  <a:pt x="1355" y="2339"/>
                </a:lnTo>
                <a:lnTo>
                  <a:pt x="1369" y="2339"/>
                </a:lnTo>
                <a:lnTo>
                  <a:pt x="1381" y="2338"/>
                </a:lnTo>
                <a:lnTo>
                  <a:pt x="1392" y="2335"/>
                </a:lnTo>
                <a:lnTo>
                  <a:pt x="1403" y="2332"/>
                </a:lnTo>
                <a:lnTo>
                  <a:pt x="1413" y="2328"/>
                </a:lnTo>
                <a:lnTo>
                  <a:pt x="1421" y="2324"/>
                </a:lnTo>
                <a:lnTo>
                  <a:pt x="1429" y="2318"/>
                </a:lnTo>
                <a:lnTo>
                  <a:pt x="1436" y="2311"/>
                </a:lnTo>
                <a:lnTo>
                  <a:pt x="1442" y="2304"/>
                </a:lnTo>
                <a:lnTo>
                  <a:pt x="1448" y="2296"/>
                </a:lnTo>
                <a:lnTo>
                  <a:pt x="1452" y="2286"/>
                </a:lnTo>
                <a:lnTo>
                  <a:pt x="1456" y="2276"/>
                </a:lnTo>
                <a:lnTo>
                  <a:pt x="1459" y="2266"/>
                </a:lnTo>
                <a:lnTo>
                  <a:pt x="1461" y="2254"/>
                </a:lnTo>
                <a:lnTo>
                  <a:pt x="1462" y="2242"/>
                </a:lnTo>
                <a:lnTo>
                  <a:pt x="1462" y="2229"/>
                </a:lnTo>
                <a:lnTo>
                  <a:pt x="1462" y="2027"/>
                </a:lnTo>
                <a:lnTo>
                  <a:pt x="1408" y="2027"/>
                </a:lnTo>
                <a:lnTo>
                  <a:pt x="1408" y="2042"/>
                </a:lnTo>
                <a:close/>
                <a:moveTo>
                  <a:pt x="1408" y="2094"/>
                </a:moveTo>
                <a:lnTo>
                  <a:pt x="1408" y="2181"/>
                </a:lnTo>
                <a:lnTo>
                  <a:pt x="1408" y="2181"/>
                </a:lnTo>
                <a:lnTo>
                  <a:pt x="1401" y="2189"/>
                </a:lnTo>
                <a:lnTo>
                  <a:pt x="1393" y="2197"/>
                </a:lnTo>
                <a:lnTo>
                  <a:pt x="1387" y="2199"/>
                </a:lnTo>
                <a:lnTo>
                  <a:pt x="1382" y="2201"/>
                </a:lnTo>
                <a:lnTo>
                  <a:pt x="1376" y="2202"/>
                </a:lnTo>
                <a:lnTo>
                  <a:pt x="1369" y="2203"/>
                </a:lnTo>
                <a:lnTo>
                  <a:pt x="1369" y="2203"/>
                </a:lnTo>
                <a:lnTo>
                  <a:pt x="1362" y="2202"/>
                </a:lnTo>
                <a:lnTo>
                  <a:pt x="1354" y="2200"/>
                </a:lnTo>
                <a:lnTo>
                  <a:pt x="1348" y="2197"/>
                </a:lnTo>
                <a:lnTo>
                  <a:pt x="1341" y="2190"/>
                </a:lnTo>
                <a:lnTo>
                  <a:pt x="1335" y="2181"/>
                </a:lnTo>
                <a:lnTo>
                  <a:pt x="1331" y="2169"/>
                </a:lnTo>
                <a:lnTo>
                  <a:pt x="1329" y="2154"/>
                </a:lnTo>
                <a:lnTo>
                  <a:pt x="1328" y="2134"/>
                </a:lnTo>
                <a:lnTo>
                  <a:pt x="1328" y="2134"/>
                </a:lnTo>
                <a:lnTo>
                  <a:pt x="1329" y="2117"/>
                </a:lnTo>
                <a:lnTo>
                  <a:pt x="1331" y="2103"/>
                </a:lnTo>
                <a:lnTo>
                  <a:pt x="1335" y="2092"/>
                </a:lnTo>
                <a:lnTo>
                  <a:pt x="1341" y="2084"/>
                </a:lnTo>
                <a:lnTo>
                  <a:pt x="1348" y="2079"/>
                </a:lnTo>
                <a:lnTo>
                  <a:pt x="1354" y="2074"/>
                </a:lnTo>
                <a:lnTo>
                  <a:pt x="1362" y="2073"/>
                </a:lnTo>
                <a:lnTo>
                  <a:pt x="1369" y="2072"/>
                </a:lnTo>
                <a:lnTo>
                  <a:pt x="1369" y="2072"/>
                </a:lnTo>
                <a:lnTo>
                  <a:pt x="1376" y="2073"/>
                </a:lnTo>
                <a:lnTo>
                  <a:pt x="1383" y="2074"/>
                </a:lnTo>
                <a:lnTo>
                  <a:pt x="1388" y="2076"/>
                </a:lnTo>
                <a:lnTo>
                  <a:pt x="1394" y="2080"/>
                </a:lnTo>
                <a:lnTo>
                  <a:pt x="1398" y="2083"/>
                </a:lnTo>
                <a:lnTo>
                  <a:pt x="1402" y="2086"/>
                </a:lnTo>
                <a:lnTo>
                  <a:pt x="1408" y="2094"/>
                </a:lnTo>
                <a:lnTo>
                  <a:pt x="1408" y="2094"/>
                </a:lnTo>
                <a:close/>
                <a:moveTo>
                  <a:pt x="938" y="2027"/>
                </a:moveTo>
                <a:lnTo>
                  <a:pt x="993" y="2027"/>
                </a:lnTo>
                <a:lnTo>
                  <a:pt x="993" y="2123"/>
                </a:lnTo>
                <a:lnTo>
                  <a:pt x="993" y="2249"/>
                </a:lnTo>
                <a:lnTo>
                  <a:pt x="938" y="2249"/>
                </a:lnTo>
                <a:lnTo>
                  <a:pt x="938" y="2027"/>
                </a:lnTo>
                <a:close/>
                <a:moveTo>
                  <a:pt x="993" y="1967"/>
                </a:moveTo>
                <a:lnTo>
                  <a:pt x="993" y="1995"/>
                </a:lnTo>
                <a:lnTo>
                  <a:pt x="938" y="1995"/>
                </a:lnTo>
                <a:lnTo>
                  <a:pt x="938" y="1940"/>
                </a:lnTo>
                <a:lnTo>
                  <a:pt x="993" y="1940"/>
                </a:lnTo>
                <a:lnTo>
                  <a:pt x="993" y="1967"/>
                </a:lnTo>
                <a:close/>
                <a:moveTo>
                  <a:pt x="2309" y="1962"/>
                </a:moveTo>
                <a:lnTo>
                  <a:pt x="2364" y="1934"/>
                </a:lnTo>
                <a:lnTo>
                  <a:pt x="2364" y="2127"/>
                </a:lnTo>
                <a:lnTo>
                  <a:pt x="2364" y="2249"/>
                </a:lnTo>
                <a:lnTo>
                  <a:pt x="2309" y="2249"/>
                </a:lnTo>
                <a:lnTo>
                  <a:pt x="2309" y="1962"/>
                </a:lnTo>
                <a:close/>
                <a:moveTo>
                  <a:pt x="397" y="757"/>
                </a:moveTo>
                <a:lnTo>
                  <a:pt x="850" y="757"/>
                </a:lnTo>
                <a:lnTo>
                  <a:pt x="850" y="495"/>
                </a:lnTo>
                <a:lnTo>
                  <a:pt x="397" y="495"/>
                </a:lnTo>
                <a:lnTo>
                  <a:pt x="397" y="288"/>
                </a:lnTo>
                <a:lnTo>
                  <a:pt x="898" y="288"/>
                </a:lnTo>
                <a:lnTo>
                  <a:pt x="732" y="0"/>
                </a:lnTo>
                <a:lnTo>
                  <a:pt x="22" y="0"/>
                </a:lnTo>
                <a:lnTo>
                  <a:pt x="22" y="1251"/>
                </a:lnTo>
                <a:lnTo>
                  <a:pt x="1023" y="1251"/>
                </a:lnTo>
                <a:lnTo>
                  <a:pt x="1023" y="963"/>
                </a:lnTo>
                <a:lnTo>
                  <a:pt x="397" y="963"/>
                </a:lnTo>
                <a:lnTo>
                  <a:pt x="397" y="757"/>
                </a:lnTo>
                <a:close/>
                <a:moveTo>
                  <a:pt x="1690" y="0"/>
                </a:moveTo>
                <a:lnTo>
                  <a:pt x="1477" y="409"/>
                </a:lnTo>
                <a:lnTo>
                  <a:pt x="1265" y="0"/>
                </a:lnTo>
                <a:lnTo>
                  <a:pt x="850" y="0"/>
                </a:lnTo>
                <a:lnTo>
                  <a:pt x="1287" y="757"/>
                </a:lnTo>
                <a:lnTo>
                  <a:pt x="1287" y="1251"/>
                </a:lnTo>
                <a:lnTo>
                  <a:pt x="1661" y="1251"/>
                </a:lnTo>
                <a:lnTo>
                  <a:pt x="1661" y="757"/>
                </a:lnTo>
                <a:lnTo>
                  <a:pt x="2099" y="0"/>
                </a:lnTo>
                <a:lnTo>
                  <a:pt x="169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919592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2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altern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D5191F6F-994B-4ED6-83F0-8243A32B2B8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4200" t="21551" r="19301" b="11950"/>
          <a:stretch/>
        </p:blipFill>
        <p:spPr>
          <a:xfrm flipH="1">
            <a:off x="-2" y="1"/>
            <a:ext cx="12198349" cy="6858000"/>
          </a:xfrm>
          <a:prstGeom prst="rect">
            <a:avLst/>
          </a:prstGeom>
        </p:spPr>
      </p:pic>
      <p:sp>
        <p:nvSpPr>
          <p:cNvPr id="16" name="Freeform 56">
            <a:extLst>
              <a:ext uri="{FF2B5EF4-FFF2-40B4-BE49-F238E27FC236}">
                <a16:creationId xmlns:a16="http://schemas.microsoft.com/office/drawing/2014/main" id="{13A7AC18-CF42-4EC5-8D40-441EAE30A06C}"/>
              </a:ext>
            </a:extLst>
          </p:cNvPr>
          <p:cNvSpPr/>
          <p:nvPr userDrawn="1"/>
        </p:nvSpPr>
        <p:spPr>
          <a:xfrm>
            <a:off x="498115" y="795662"/>
            <a:ext cx="4930412" cy="3581484"/>
          </a:xfrm>
          <a:custGeom>
            <a:avLst/>
            <a:gdLst>
              <a:gd name="connsiteX0" fmla="*/ 4238387 w 4257675"/>
              <a:gd name="connsiteY0" fmla="*/ 0 h 3092804"/>
              <a:gd name="connsiteX1" fmla="*/ 4257675 w 4257675"/>
              <a:gd name="connsiteY1" fmla="*/ 0 h 3092804"/>
              <a:gd name="connsiteX2" fmla="*/ 4257675 w 4257675"/>
              <a:gd name="connsiteY2" fmla="*/ 3092804 h 3092804"/>
              <a:gd name="connsiteX3" fmla="*/ 0 w 4257675"/>
              <a:gd name="connsiteY3" fmla="*/ 3092804 h 3092804"/>
              <a:gd name="connsiteX4" fmla="*/ 0 w 4257675"/>
              <a:gd name="connsiteY4" fmla="*/ 747342 h 30928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7675" h="3092804">
                <a:moveTo>
                  <a:pt x="4238387" y="0"/>
                </a:moveTo>
                <a:lnTo>
                  <a:pt x="4257675" y="0"/>
                </a:lnTo>
                <a:lnTo>
                  <a:pt x="4257675" y="3092804"/>
                </a:lnTo>
                <a:lnTo>
                  <a:pt x="0" y="3092804"/>
                </a:lnTo>
                <a:lnTo>
                  <a:pt x="0" y="747342"/>
                </a:lnTo>
                <a:close/>
              </a:path>
            </a:pathLst>
          </a:custGeom>
          <a:solidFill>
            <a:srgbClr val="FFE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775504" y="1954221"/>
            <a:ext cx="4328932" cy="979702"/>
          </a:xfrm>
          <a:prstGeom prst="rect">
            <a:avLst/>
          </a:prstGeom>
        </p:spPr>
        <p:txBody>
          <a:bodyPr/>
          <a:lstStyle>
            <a:lvl1pPr>
              <a:defRPr sz="3000" b="0">
                <a:solidFill>
                  <a:schemeClr val="tx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2" name="Subtitle 2"/>
          <p:cNvSpPr>
            <a:spLocks noGrp="1"/>
          </p:cNvSpPr>
          <p:nvPr>
            <p:ph type="subTitle" idx="1"/>
          </p:nvPr>
        </p:nvSpPr>
        <p:spPr>
          <a:xfrm>
            <a:off x="775504" y="3046158"/>
            <a:ext cx="4328932" cy="1046323"/>
          </a:xfrm>
          <a:prstGeom prst="rect">
            <a:avLst/>
          </a:prstGeom>
        </p:spPr>
        <p:txBody>
          <a:bodyPr/>
          <a:lstStyle>
            <a:lvl1pPr marL="0" indent="0" algn="l">
              <a:spcAft>
                <a:spcPts val="1200"/>
              </a:spcAft>
              <a:buNone/>
              <a:defRPr sz="2000">
                <a:solidFill>
                  <a:schemeClr val="tx1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600" b="1">
                <a:solidFill>
                  <a:srgbClr val="404040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15" name="Freeform 5">
            <a:extLst>
              <a:ext uri="{FF2B5EF4-FFF2-40B4-BE49-F238E27FC236}">
                <a16:creationId xmlns:a16="http://schemas.microsoft.com/office/drawing/2014/main" id="{D19659BD-653C-4300-9060-420AFAE39587}"/>
              </a:ext>
            </a:extLst>
          </p:cNvPr>
          <p:cNvSpPr>
            <a:spLocks/>
          </p:cNvSpPr>
          <p:nvPr userDrawn="1"/>
        </p:nvSpPr>
        <p:spPr bwMode="auto">
          <a:xfrm>
            <a:off x="10364788" y="4960938"/>
            <a:ext cx="982663" cy="358775"/>
          </a:xfrm>
          <a:custGeom>
            <a:avLst/>
            <a:gdLst>
              <a:gd name="T0" fmla="*/ 2473 w 2473"/>
              <a:gd name="T1" fmla="*/ 0 h 902"/>
              <a:gd name="T2" fmla="*/ 0 w 2473"/>
              <a:gd name="T3" fmla="*/ 902 h 902"/>
              <a:gd name="T4" fmla="*/ 2473 w 2473"/>
              <a:gd name="T5" fmla="*/ 466 h 902"/>
              <a:gd name="T6" fmla="*/ 2473 w 2473"/>
              <a:gd name="T7" fmla="*/ 0 h 9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473" h="902">
                <a:moveTo>
                  <a:pt x="2473" y="0"/>
                </a:moveTo>
                <a:lnTo>
                  <a:pt x="0" y="902"/>
                </a:lnTo>
                <a:lnTo>
                  <a:pt x="2473" y="466"/>
                </a:lnTo>
                <a:lnTo>
                  <a:pt x="2473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7" name="Freeform 6">
            <a:extLst>
              <a:ext uri="{FF2B5EF4-FFF2-40B4-BE49-F238E27FC236}">
                <a16:creationId xmlns:a16="http://schemas.microsoft.com/office/drawing/2014/main" id="{A4669336-72A1-4233-827A-C41AB4C1CC04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364788" y="5467351"/>
            <a:ext cx="1225550" cy="928688"/>
          </a:xfrm>
          <a:custGeom>
            <a:avLst/>
            <a:gdLst>
              <a:gd name="T0" fmla="*/ 233 w 3088"/>
              <a:gd name="T1" fmla="*/ 1588 h 2339"/>
              <a:gd name="T2" fmla="*/ 253 w 3088"/>
              <a:gd name="T3" fmla="*/ 1795 h 2339"/>
              <a:gd name="T4" fmla="*/ 151 w 3088"/>
              <a:gd name="T5" fmla="*/ 1810 h 2339"/>
              <a:gd name="T6" fmla="*/ 351 w 3088"/>
              <a:gd name="T7" fmla="*/ 1761 h 2339"/>
              <a:gd name="T8" fmla="*/ 416 w 3088"/>
              <a:gd name="T9" fmla="*/ 1857 h 2339"/>
              <a:gd name="T10" fmla="*/ 1140 w 3088"/>
              <a:gd name="T11" fmla="*/ 1652 h 2339"/>
              <a:gd name="T12" fmla="*/ 1216 w 3088"/>
              <a:gd name="T13" fmla="*/ 1738 h 2339"/>
              <a:gd name="T14" fmla="*/ 696 w 3088"/>
              <a:gd name="T15" fmla="*/ 1546 h 2339"/>
              <a:gd name="T16" fmla="*/ 738 w 3088"/>
              <a:gd name="T17" fmla="*/ 1710 h 2339"/>
              <a:gd name="T18" fmla="*/ 860 w 3088"/>
              <a:gd name="T19" fmla="*/ 1854 h 2339"/>
              <a:gd name="T20" fmla="*/ 832 w 3088"/>
              <a:gd name="T21" fmla="*/ 1684 h 2339"/>
              <a:gd name="T22" fmla="*/ 2021 w 3088"/>
              <a:gd name="T23" fmla="*/ 1860 h 2339"/>
              <a:gd name="T24" fmla="*/ 2158 w 3088"/>
              <a:gd name="T25" fmla="*/ 1747 h 2339"/>
              <a:gd name="T26" fmla="*/ 2100 w 3088"/>
              <a:gd name="T27" fmla="*/ 1730 h 2339"/>
              <a:gd name="T28" fmla="*/ 2059 w 3088"/>
              <a:gd name="T29" fmla="*/ 1684 h 2339"/>
              <a:gd name="T30" fmla="*/ 1309 w 3088"/>
              <a:gd name="T31" fmla="*/ 1734 h 2339"/>
              <a:gd name="T32" fmla="*/ 1445 w 3088"/>
              <a:gd name="T33" fmla="*/ 1844 h 2339"/>
              <a:gd name="T34" fmla="*/ 1473 w 3088"/>
              <a:gd name="T35" fmla="*/ 1923 h 2339"/>
              <a:gd name="T36" fmla="*/ 1369 w 3088"/>
              <a:gd name="T37" fmla="*/ 1781 h 2339"/>
              <a:gd name="T38" fmla="*/ 1727 w 3088"/>
              <a:gd name="T39" fmla="*/ 1677 h 2339"/>
              <a:gd name="T40" fmla="*/ 1632 w 3088"/>
              <a:gd name="T41" fmla="*/ 1778 h 2339"/>
              <a:gd name="T42" fmla="*/ 1822 w 3088"/>
              <a:gd name="T43" fmla="*/ 1710 h 2339"/>
              <a:gd name="T44" fmla="*/ 1686 w 3088"/>
              <a:gd name="T45" fmla="*/ 1786 h 2339"/>
              <a:gd name="T46" fmla="*/ 1708 w 3088"/>
              <a:gd name="T47" fmla="*/ 1817 h 2339"/>
              <a:gd name="T48" fmla="*/ 2240 w 3088"/>
              <a:gd name="T49" fmla="*/ 1766 h 2339"/>
              <a:gd name="T50" fmla="*/ 2227 w 3088"/>
              <a:gd name="T51" fmla="*/ 1653 h 2339"/>
              <a:gd name="T52" fmla="*/ 2290 w 3088"/>
              <a:gd name="T53" fmla="*/ 1866 h 2339"/>
              <a:gd name="T54" fmla="*/ 2321 w 3088"/>
              <a:gd name="T55" fmla="*/ 1709 h 2339"/>
              <a:gd name="T56" fmla="*/ 2908 w 3088"/>
              <a:gd name="T57" fmla="*/ 1750 h 2339"/>
              <a:gd name="T58" fmla="*/ 2730 w 3088"/>
              <a:gd name="T59" fmla="*/ 1683 h 2339"/>
              <a:gd name="T60" fmla="*/ 2852 w 3088"/>
              <a:gd name="T61" fmla="*/ 1860 h 2339"/>
              <a:gd name="T62" fmla="*/ 2639 w 3088"/>
              <a:gd name="T63" fmla="*/ 1783 h 2339"/>
              <a:gd name="T64" fmla="*/ 2605 w 3088"/>
              <a:gd name="T65" fmla="*/ 1853 h 2339"/>
              <a:gd name="T66" fmla="*/ 2464 w 3088"/>
              <a:gd name="T67" fmla="*/ 1861 h 2339"/>
              <a:gd name="T68" fmla="*/ 2495 w 3088"/>
              <a:gd name="T69" fmla="*/ 1812 h 2339"/>
              <a:gd name="T70" fmla="*/ 2998 w 3088"/>
              <a:gd name="T71" fmla="*/ 1639 h 2339"/>
              <a:gd name="T72" fmla="*/ 975 w 3088"/>
              <a:gd name="T73" fmla="*/ 1860 h 2339"/>
              <a:gd name="T74" fmla="*/ 2416 w 3088"/>
              <a:gd name="T75" fmla="*/ 2069 h 2339"/>
              <a:gd name="T76" fmla="*/ 2510 w 3088"/>
              <a:gd name="T77" fmla="*/ 2251 h 2339"/>
              <a:gd name="T78" fmla="*/ 2485 w 3088"/>
              <a:gd name="T79" fmla="*/ 2074 h 2339"/>
              <a:gd name="T80" fmla="*/ 627 w 3088"/>
              <a:gd name="T81" fmla="*/ 2078 h 2339"/>
              <a:gd name="T82" fmla="*/ 672 w 3088"/>
              <a:gd name="T83" fmla="*/ 2089 h 2339"/>
              <a:gd name="T84" fmla="*/ 202 w 3088"/>
              <a:gd name="T85" fmla="*/ 2135 h 2339"/>
              <a:gd name="T86" fmla="*/ 310 w 3088"/>
              <a:gd name="T87" fmla="*/ 2174 h 2339"/>
              <a:gd name="T88" fmla="*/ 503 w 3088"/>
              <a:gd name="T89" fmla="*/ 2174 h 2339"/>
              <a:gd name="T90" fmla="*/ 374 w 3088"/>
              <a:gd name="T91" fmla="*/ 2185 h 2339"/>
              <a:gd name="T92" fmla="*/ 439 w 3088"/>
              <a:gd name="T93" fmla="*/ 2185 h 2339"/>
              <a:gd name="T94" fmla="*/ 2197 w 3088"/>
              <a:gd name="T95" fmla="*/ 2040 h 2339"/>
              <a:gd name="T96" fmla="*/ 1597 w 3088"/>
              <a:gd name="T97" fmla="*/ 2027 h 2339"/>
              <a:gd name="T98" fmla="*/ 1937 w 3088"/>
              <a:gd name="T99" fmla="*/ 2047 h 2339"/>
              <a:gd name="T100" fmla="*/ 2002 w 3088"/>
              <a:gd name="T101" fmla="*/ 2254 h 2339"/>
              <a:gd name="T102" fmla="*/ 2061 w 3088"/>
              <a:gd name="T103" fmla="*/ 2041 h 2339"/>
              <a:gd name="T104" fmla="*/ 2002 w 3088"/>
              <a:gd name="T105" fmla="*/ 2073 h 2339"/>
              <a:gd name="T106" fmla="*/ 767 w 3088"/>
              <a:gd name="T107" fmla="*/ 1934 h 2339"/>
              <a:gd name="T108" fmla="*/ 1202 w 3088"/>
              <a:gd name="T109" fmla="*/ 2037 h 2339"/>
              <a:gd name="T110" fmla="*/ 1108 w 3088"/>
              <a:gd name="T111" fmla="*/ 2086 h 2339"/>
              <a:gd name="T112" fmla="*/ 1280 w 3088"/>
              <a:gd name="T113" fmla="*/ 2078 h 2339"/>
              <a:gd name="T114" fmla="*/ 1385 w 3088"/>
              <a:gd name="T115" fmla="*/ 2249 h 2339"/>
              <a:gd name="T116" fmla="*/ 1403 w 3088"/>
              <a:gd name="T117" fmla="*/ 2332 h 2339"/>
              <a:gd name="T118" fmla="*/ 1354 w 3088"/>
              <a:gd name="T119" fmla="*/ 2200 h 2339"/>
              <a:gd name="T120" fmla="*/ 993 w 3088"/>
              <a:gd name="T121" fmla="*/ 2123 h 2339"/>
              <a:gd name="T122" fmla="*/ 397 w 3088"/>
              <a:gd name="T123" fmla="*/ 963 h 23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3088" h="2339">
                <a:moveTo>
                  <a:pt x="257" y="1763"/>
                </a:moveTo>
                <a:lnTo>
                  <a:pt x="257" y="1763"/>
                </a:lnTo>
                <a:lnTo>
                  <a:pt x="257" y="1755"/>
                </a:lnTo>
                <a:lnTo>
                  <a:pt x="256" y="1749"/>
                </a:lnTo>
                <a:lnTo>
                  <a:pt x="253" y="1736"/>
                </a:lnTo>
                <a:lnTo>
                  <a:pt x="247" y="1725"/>
                </a:lnTo>
                <a:lnTo>
                  <a:pt x="241" y="1716"/>
                </a:lnTo>
                <a:lnTo>
                  <a:pt x="233" y="1709"/>
                </a:lnTo>
                <a:lnTo>
                  <a:pt x="225" y="1704"/>
                </a:lnTo>
                <a:lnTo>
                  <a:pt x="219" y="1699"/>
                </a:lnTo>
                <a:lnTo>
                  <a:pt x="212" y="1696"/>
                </a:lnTo>
                <a:lnTo>
                  <a:pt x="212" y="1696"/>
                </a:lnTo>
                <a:lnTo>
                  <a:pt x="220" y="1690"/>
                </a:lnTo>
                <a:lnTo>
                  <a:pt x="226" y="1685"/>
                </a:lnTo>
                <a:lnTo>
                  <a:pt x="232" y="1678"/>
                </a:lnTo>
                <a:lnTo>
                  <a:pt x="237" y="1671"/>
                </a:lnTo>
                <a:lnTo>
                  <a:pt x="242" y="1663"/>
                </a:lnTo>
                <a:lnTo>
                  <a:pt x="244" y="1654"/>
                </a:lnTo>
                <a:lnTo>
                  <a:pt x="246" y="1645"/>
                </a:lnTo>
                <a:lnTo>
                  <a:pt x="246" y="1635"/>
                </a:lnTo>
                <a:lnTo>
                  <a:pt x="246" y="1635"/>
                </a:lnTo>
                <a:lnTo>
                  <a:pt x="246" y="1626"/>
                </a:lnTo>
                <a:lnTo>
                  <a:pt x="245" y="1618"/>
                </a:lnTo>
                <a:lnTo>
                  <a:pt x="243" y="1610"/>
                </a:lnTo>
                <a:lnTo>
                  <a:pt x="241" y="1602"/>
                </a:lnTo>
                <a:lnTo>
                  <a:pt x="237" y="1594"/>
                </a:lnTo>
                <a:lnTo>
                  <a:pt x="233" y="1588"/>
                </a:lnTo>
                <a:lnTo>
                  <a:pt x="227" y="1582"/>
                </a:lnTo>
                <a:lnTo>
                  <a:pt x="222" y="1577"/>
                </a:lnTo>
                <a:lnTo>
                  <a:pt x="215" y="1572"/>
                </a:lnTo>
                <a:lnTo>
                  <a:pt x="209" y="1568"/>
                </a:lnTo>
                <a:lnTo>
                  <a:pt x="201" y="1565"/>
                </a:lnTo>
                <a:lnTo>
                  <a:pt x="192" y="1561"/>
                </a:lnTo>
                <a:lnTo>
                  <a:pt x="183" y="1559"/>
                </a:lnTo>
                <a:lnTo>
                  <a:pt x="173" y="1557"/>
                </a:lnTo>
                <a:lnTo>
                  <a:pt x="163" y="1557"/>
                </a:lnTo>
                <a:lnTo>
                  <a:pt x="152" y="1556"/>
                </a:lnTo>
                <a:lnTo>
                  <a:pt x="22" y="1556"/>
                </a:lnTo>
                <a:lnTo>
                  <a:pt x="22" y="1860"/>
                </a:lnTo>
                <a:lnTo>
                  <a:pt x="151" y="1860"/>
                </a:lnTo>
                <a:lnTo>
                  <a:pt x="151" y="1860"/>
                </a:lnTo>
                <a:lnTo>
                  <a:pt x="163" y="1860"/>
                </a:lnTo>
                <a:lnTo>
                  <a:pt x="174" y="1859"/>
                </a:lnTo>
                <a:lnTo>
                  <a:pt x="185" y="1857"/>
                </a:lnTo>
                <a:lnTo>
                  <a:pt x="195" y="1854"/>
                </a:lnTo>
                <a:lnTo>
                  <a:pt x="205" y="1850"/>
                </a:lnTo>
                <a:lnTo>
                  <a:pt x="214" y="1846"/>
                </a:lnTo>
                <a:lnTo>
                  <a:pt x="222" y="1840"/>
                </a:lnTo>
                <a:lnTo>
                  <a:pt x="228" y="1835"/>
                </a:lnTo>
                <a:lnTo>
                  <a:pt x="235" y="1828"/>
                </a:lnTo>
                <a:lnTo>
                  <a:pt x="241" y="1821"/>
                </a:lnTo>
                <a:lnTo>
                  <a:pt x="246" y="1813"/>
                </a:lnTo>
                <a:lnTo>
                  <a:pt x="249" y="1804"/>
                </a:lnTo>
                <a:lnTo>
                  <a:pt x="253" y="1795"/>
                </a:lnTo>
                <a:lnTo>
                  <a:pt x="255" y="1785"/>
                </a:lnTo>
                <a:lnTo>
                  <a:pt x="256" y="1774"/>
                </a:lnTo>
                <a:lnTo>
                  <a:pt x="257" y="1763"/>
                </a:lnTo>
                <a:lnTo>
                  <a:pt x="257" y="1763"/>
                </a:lnTo>
                <a:close/>
                <a:moveTo>
                  <a:pt x="151" y="1810"/>
                </a:moveTo>
                <a:lnTo>
                  <a:pt x="78" y="1810"/>
                </a:lnTo>
                <a:lnTo>
                  <a:pt x="78" y="1722"/>
                </a:lnTo>
                <a:lnTo>
                  <a:pt x="151" y="1722"/>
                </a:lnTo>
                <a:lnTo>
                  <a:pt x="151" y="1722"/>
                </a:lnTo>
                <a:lnTo>
                  <a:pt x="162" y="1723"/>
                </a:lnTo>
                <a:lnTo>
                  <a:pt x="171" y="1725"/>
                </a:lnTo>
                <a:lnTo>
                  <a:pt x="179" y="1728"/>
                </a:lnTo>
                <a:lnTo>
                  <a:pt x="185" y="1733"/>
                </a:lnTo>
                <a:lnTo>
                  <a:pt x="191" y="1739"/>
                </a:lnTo>
                <a:lnTo>
                  <a:pt x="194" y="1747"/>
                </a:lnTo>
                <a:lnTo>
                  <a:pt x="196" y="1755"/>
                </a:lnTo>
                <a:lnTo>
                  <a:pt x="198" y="1765"/>
                </a:lnTo>
                <a:lnTo>
                  <a:pt x="198" y="1765"/>
                </a:lnTo>
                <a:lnTo>
                  <a:pt x="196" y="1775"/>
                </a:lnTo>
                <a:lnTo>
                  <a:pt x="194" y="1784"/>
                </a:lnTo>
                <a:lnTo>
                  <a:pt x="190" y="1792"/>
                </a:lnTo>
                <a:lnTo>
                  <a:pt x="185" y="1797"/>
                </a:lnTo>
                <a:lnTo>
                  <a:pt x="179" y="1803"/>
                </a:lnTo>
                <a:lnTo>
                  <a:pt x="171" y="1806"/>
                </a:lnTo>
                <a:lnTo>
                  <a:pt x="161" y="1808"/>
                </a:lnTo>
                <a:lnTo>
                  <a:pt x="151" y="1810"/>
                </a:lnTo>
                <a:lnTo>
                  <a:pt x="151" y="1810"/>
                </a:lnTo>
                <a:close/>
                <a:moveTo>
                  <a:pt x="150" y="1673"/>
                </a:moveTo>
                <a:lnTo>
                  <a:pt x="78" y="1673"/>
                </a:lnTo>
                <a:lnTo>
                  <a:pt x="78" y="1608"/>
                </a:lnTo>
                <a:lnTo>
                  <a:pt x="148" y="1608"/>
                </a:lnTo>
                <a:lnTo>
                  <a:pt x="148" y="1608"/>
                </a:lnTo>
                <a:lnTo>
                  <a:pt x="157" y="1609"/>
                </a:lnTo>
                <a:lnTo>
                  <a:pt x="166" y="1610"/>
                </a:lnTo>
                <a:lnTo>
                  <a:pt x="172" y="1612"/>
                </a:lnTo>
                <a:lnTo>
                  <a:pt x="178" y="1615"/>
                </a:lnTo>
                <a:lnTo>
                  <a:pt x="182" y="1621"/>
                </a:lnTo>
                <a:lnTo>
                  <a:pt x="185" y="1626"/>
                </a:lnTo>
                <a:lnTo>
                  <a:pt x="187" y="1633"/>
                </a:lnTo>
                <a:lnTo>
                  <a:pt x="188" y="1641"/>
                </a:lnTo>
                <a:lnTo>
                  <a:pt x="188" y="1641"/>
                </a:lnTo>
                <a:lnTo>
                  <a:pt x="188" y="1646"/>
                </a:lnTo>
                <a:lnTo>
                  <a:pt x="187" y="1652"/>
                </a:lnTo>
                <a:lnTo>
                  <a:pt x="184" y="1657"/>
                </a:lnTo>
                <a:lnTo>
                  <a:pt x="181" y="1662"/>
                </a:lnTo>
                <a:lnTo>
                  <a:pt x="175" y="1666"/>
                </a:lnTo>
                <a:lnTo>
                  <a:pt x="169" y="1669"/>
                </a:lnTo>
                <a:lnTo>
                  <a:pt x="161" y="1672"/>
                </a:lnTo>
                <a:lnTo>
                  <a:pt x="150" y="1673"/>
                </a:lnTo>
                <a:lnTo>
                  <a:pt x="150" y="1673"/>
                </a:lnTo>
                <a:close/>
                <a:moveTo>
                  <a:pt x="296" y="1764"/>
                </a:moveTo>
                <a:lnTo>
                  <a:pt x="296" y="1639"/>
                </a:lnTo>
                <a:lnTo>
                  <a:pt x="351" y="1639"/>
                </a:lnTo>
                <a:lnTo>
                  <a:pt x="351" y="1761"/>
                </a:lnTo>
                <a:lnTo>
                  <a:pt x="351" y="1761"/>
                </a:lnTo>
                <a:lnTo>
                  <a:pt x="351" y="1773"/>
                </a:lnTo>
                <a:lnTo>
                  <a:pt x="353" y="1785"/>
                </a:lnTo>
                <a:lnTo>
                  <a:pt x="356" y="1794"/>
                </a:lnTo>
                <a:lnTo>
                  <a:pt x="361" y="1802"/>
                </a:lnTo>
                <a:lnTo>
                  <a:pt x="366" y="1807"/>
                </a:lnTo>
                <a:lnTo>
                  <a:pt x="373" y="1812"/>
                </a:lnTo>
                <a:lnTo>
                  <a:pt x="382" y="1814"/>
                </a:lnTo>
                <a:lnTo>
                  <a:pt x="392" y="1815"/>
                </a:lnTo>
                <a:lnTo>
                  <a:pt x="392" y="1815"/>
                </a:lnTo>
                <a:lnTo>
                  <a:pt x="402" y="1814"/>
                </a:lnTo>
                <a:lnTo>
                  <a:pt x="409" y="1812"/>
                </a:lnTo>
                <a:lnTo>
                  <a:pt x="417" y="1807"/>
                </a:lnTo>
                <a:lnTo>
                  <a:pt x="423" y="1802"/>
                </a:lnTo>
                <a:lnTo>
                  <a:pt x="427" y="1794"/>
                </a:lnTo>
                <a:lnTo>
                  <a:pt x="430" y="1784"/>
                </a:lnTo>
                <a:lnTo>
                  <a:pt x="433" y="1773"/>
                </a:lnTo>
                <a:lnTo>
                  <a:pt x="433" y="1761"/>
                </a:lnTo>
                <a:lnTo>
                  <a:pt x="433" y="1639"/>
                </a:lnTo>
                <a:lnTo>
                  <a:pt x="488" y="1639"/>
                </a:lnTo>
                <a:lnTo>
                  <a:pt x="488" y="1860"/>
                </a:lnTo>
                <a:lnTo>
                  <a:pt x="433" y="1860"/>
                </a:lnTo>
                <a:lnTo>
                  <a:pt x="433" y="1843"/>
                </a:lnTo>
                <a:lnTo>
                  <a:pt x="433" y="1843"/>
                </a:lnTo>
                <a:lnTo>
                  <a:pt x="428" y="1848"/>
                </a:lnTo>
                <a:lnTo>
                  <a:pt x="422" y="1853"/>
                </a:lnTo>
                <a:lnTo>
                  <a:pt x="416" y="1857"/>
                </a:lnTo>
                <a:lnTo>
                  <a:pt x="409" y="1859"/>
                </a:lnTo>
                <a:lnTo>
                  <a:pt x="403" y="1862"/>
                </a:lnTo>
                <a:lnTo>
                  <a:pt x="395" y="1864"/>
                </a:lnTo>
                <a:lnTo>
                  <a:pt x="387" y="1865"/>
                </a:lnTo>
                <a:lnTo>
                  <a:pt x="380" y="1866"/>
                </a:lnTo>
                <a:lnTo>
                  <a:pt x="380" y="1866"/>
                </a:lnTo>
                <a:lnTo>
                  <a:pt x="366" y="1865"/>
                </a:lnTo>
                <a:lnTo>
                  <a:pt x="355" y="1862"/>
                </a:lnTo>
                <a:lnTo>
                  <a:pt x="345" y="1859"/>
                </a:lnTo>
                <a:lnTo>
                  <a:pt x="336" y="1855"/>
                </a:lnTo>
                <a:lnTo>
                  <a:pt x="328" y="1849"/>
                </a:lnTo>
                <a:lnTo>
                  <a:pt x="321" y="1844"/>
                </a:lnTo>
                <a:lnTo>
                  <a:pt x="316" y="1836"/>
                </a:lnTo>
                <a:lnTo>
                  <a:pt x="310" y="1828"/>
                </a:lnTo>
                <a:lnTo>
                  <a:pt x="307" y="1821"/>
                </a:lnTo>
                <a:lnTo>
                  <a:pt x="304" y="1813"/>
                </a:lnTo>
                <a:lnTo>
                  <a:pt x="299" y="1795"/>
                </a:lnTo>
                <a:lnTo>
                  <a:pt x="297" y="1779"/>
                </a:lnTo>
                <a:lnTo>
                  <a:pt x="296" y="1764"/>
                </a:lnTo>
                <a:lnTo>
                  <a:pt x="296" y="1764"/>
                </a:lnTo>
                <a:close/>
                <a:moveTo>
                  <a:pt x="1135" y="1860"/>
                </a:moveTo>
                <a:lnTo>
                  <a:pt x="1079" y="1860"/>
                </a:lnTo>
                <a:lnTo>
                  <a:pt x="1079" y="1639"/>
                </a:lnTo>
                <a:lnTo>
                  <a:pt x="1135" y="1639"/>
                </a:lnTo>
                <a:lnTo>
                  <a:pt x="1135" y="1657"/>
                </a:lnTo>
                <a:lnTo>
                  <a:pt x="1135" y="1657"/>
                </a:lnTo>
                <a:lnTo>
                  <a:pt x="1140" y="1652"/>
                </a:lnTo>
                <a:lnTo>
                  <a:pt x="1146" y="1646"/>
                </a:lnTo>
                <a:lnTo>
                  <a:pt x="1152" y="1643"/>
                </a:lnTo>
                <a:lnTo>
                  <a:pt x="1159" y="1640"/>
                </a:lnTo>
                <a:lnTo>
                  <a:pt x="1167" y="1636"/>
                </a:lnTo>
                <a:lnTo>
                  <a:pt x="1173" y="1635"/>
                </a:lnTo>
                <a:lnTo>
                  <a:pt x="1182" y="1634"/>
                </a:lnTo>
                <a:lnTo>
                  <a:pt x="1190" y="1633"/>
                </a:lnTo>
                <a:lnTo>
                  <a:pt x="1190" y="1633"/>
                </a:lnTo>
                <a:lnTo>
                  <a:pt x="1200" y="1634"/>
                </a:lnTo>
                <a:lnTo>
                  <a:pt x="1208" y="1635"/>
                </a:lnTo>
                <a:lnTo>
                  <a:pt x="1217" y="1637"/>
                </a:lnTo>
                <a:lnTo>
                  <a:pt x="1225" y="1640"/>
                </a:lnTo>
                <a:lnTo>
                  <a:pt x="1233" y="1643"/>
                </a:lnTo>
                <a:lnTo>
                  <a:pt x="1239" y="1648"/>
                </a:lnTo>
                <a:lnTo>
                  <a:pt x="1245" y="1653"/>
                </a:lnTo>
                <a:lnTo>
                  <a:pt x="1250" y="1659"/>
                </a:lnTo>
                <a:lnTo>
                  <a:pt x="1256" y="1666"/>
                </a:lnTo>
                <a:lnTo>
                  <a:pt x="1259" y="1674"/>
                </a:lnTo>
                <a:lnTo>
                  <a:pt x="1264" y="1682"/>
                </a:lnTo>
                <a:lnTo>
                  <a:pt x="1266" y="1690"/>
                </a:lnTo>
                <a:lnTo>
                  <a:pt x="1268" y="1700"/>
                </a:lnTo>
                <a:lnTo>
                  <a:pt x="1270" y="1711"/>
                </a:lnTo>
                <a:lnTo>
                  <a:pt x="1271" y="1722"/>
                </a:lnTo>
                <a:lnTo>
                  <a:pt x="1271" y="1734"/>
                </a:lnTo>
                <a:lnTo>
                  <a:pt x="1271" y="1860"/>
                </a:lnTo>
                <a:lnTo>
                  <a:pt x="1216" y="1860"/>
                </a:lnTo>
                <a:lnTo>
                  <a:pt x="1216" y="1738"/>
                </a:lnTo>
                <a:lnTo>
                  <a:pt x="1216" y="1738"/>
                </a:lnTo>
                <a:lnTo>
                  <a:pt x="1216" y="1725"/>
                </a:lnTo>
                <a:lnTo>
                  <a:pt x="1214" y="1714"/>
                </a:lnTo>
                <a:lnTo>
                  <a:pt x="1211" y="1705"/>
                </a:lnTo>
                <a:lnTo>
                  <a:pt x="1206" y="1697"/>
                </a:lnTo>
                <a:lnTo>
                  <a:pt x="1201" y="1691"/>
                </a:lnTo>
                <a:lnTo>
                  <a:pt x="1194" y="1687"/>
                </a:lnTo>
                <a:lnTo>
                  <a:pt x="1186" y="1685"/>
                </a:lnTo>
                <a:lnTo>
                  <a:pt x="1176" y="1684"/>
                </a:lnTo>
                <a:lnTo>
                  <a:pt x="1176" y="1684"/>
                </a:lnTo>
                <a:lnTo>
                  <a:pt x="1167" y="1685"/>
                </a:lnTo>
                <a:lnTo>
                  <a:pt x="1158" y="1687"/>
                </a:lnTo>
                <a:lnTo>
                  <a:pt x="1151" y="1691"/>
                </a:lnTo>
                <a:lnTo>
                  <a:pt x="1146" y="1697"/>
                </a:lnTo>
                <a:lnTo>
                  <a:pt x="1140" y="1705"/>
                </a:lnTo>
                <a:lnTo>
                  <a:pt x="1137" y="1715"/>
                </a:lnTo>
                <a:lnTo>
                  <a:pt x="1135" y="1726"/>
                </a:lnTo>
                <a:lnTo>
                  <a:pt x="1135" y="1738"/>
                </a:lnTo>
                <a:lnTo>
                  <a:pt x="1135" y="1860"/>
                </a:lnTo>
                <a:close/>
                <a:moveTo>
                  <a:pt x="593" y="1742"/>
                </a:moveTo>
                <a:lnTo>
                  <a:pt x="593" y="1860"/>
                </a:lnTo>
                <a:lnTo>
                  <a:pt x="537" y="1860"/>
                </a:lnTo>
                <a:lnTo>
                  <a:pt x="537" y="1639"/>
                </a:lnTo>
                <a:lnTo>
                  <a:pt x="593" y="1639"/>
                </a:lnTo>
                <a:lnTo>
                  <a:pt x="593" y="1742"/>
                </a:lnTo>
                <a:close/>
                <a:moveTo>
                  <a:pt x="641" y="1573"/>
                </a:moveTo>
                <a:lnTo>
                  <a:pt x="696" y="1546"/>
                </a:lnTo>
                <a:lnTo>
                  <a:pt x="696" y="1747"/>
                </a:lnTo>
                <a:lnTo>
                  <a:pt x="696" y="1860"/>
                </a:lnTo>
                <a:lnTo>
                  <a:pt x="641" y="1860"/>
                </a:lnTo>
                <a:lnTo>
                  <a:pt x="641" y="1573"/>
                </a:lnTo>
                <a:close/>
                <a:moveTo>
                  <a:pt x="871" y="1654"/>
                </a:moveTo>
                <a:lnTo>
                  <a:pt x="871" y="1654"/>
                </a:lnTo>
                <a:lnTo>
                  <a:pt x="866" y="1648"/>
                </a:lnTo>
                <a:lnTo>
                  <a:pt x="861" y="1645"/>
                </a:lnTo>
                <a:lnTo>
                  <a:pt x="854" y="1641"/>
                </a:lnTo>
                <a:lnTo>
                  <a:pt x="849" y="1639"/>
                </a:lnTo>
                <a:lnTo>
                  <a:pt x="842" y="1636"/>
                </a:lnTo>
                <a:lnTo>
                  <a:pt x="835" y="1634"/>
                </a:lnTo>
                <a:lnTo>
                  <a:pt x="822" y="1633"/>
                </a:lnTo>
                <a:lnTo>
                  <a:pt x="822" y="1633"/>
                </a:lnTo>
                <a:lnTo>
                  <a:pt x="812" y="1634"/>
                </a:lnTo>
                <a:lnTo>
                  <a:pt x="802" y="1635"/>
                </a:lnTo>
                <a:lnTo>
                  <a:pt x="794" y="1637"/>
                </a:lnTo>
                <a:lnTo>
                  <a:pt x="786" y="1641"/>
                </a:lnTo>
                <a:lnTo>
                  <a:pt x="778" y="1645"/>
                </a:lnTo>
                <a:lnTo>
                  <a:pt x="770" y="1651"/>
                </a:lnTo>
                <a:lnTo>
                  <a:pt x="764" y="1657"/>
                </a:lnTo>
                <a:lnTo>
                  <a:pt x="758" y="1664"/>
                </a:lnTo>
                <a:lnTo>
                  <a:pt x="753" y="1672"/>
                </a:lnTo>
                <a:lnTo>
                  <a:pt x="748" y="1680"/>
                </a:lnTo>
                <a:lnTo>
                  <a:pt x="744" y="1689"/>
                </a:lnTo>
                <a:lnTo>
                  <a:pt x="741" y="1699"/>
                </a:lnTo>
                <a:lnTo>
                  <a:pt x="738" y="1710"/>
                </a:lnTo>
                <a:lnTo>
                  <a:pt x="736" y="1722"/>
                </a:lnTo>
                <a:lnTo>
                  <a:pt x="735" y="1734"/>
                </a:lnTo>
                <a:lnTo>
                  <a:pt x="735" y="1747"/>
                </a:lnTo>
                <a:lnTo>
                  <a:pt x="735" y="1747"/>
                </a:lnTo>
                <a:lnTo>
                  <a:pt x="735" y="1761"/>
                </a:lnTo>
                <a:lnTo>
                  <a:pt x="736" y="1773"/>
                </a:lnTo>
                <a:lnTo>
                  <a:pt x="738" y="1785"/>
                </a:lnTo>
                <a:lnTo>
                  <a:pt x="741" y="1796"/>
                </a:lnTo>
                <a:lnTo>
                  <a:pt x="744" y="1807"/>
                </a:lnTo>
                <a:lnTo>
                  <a:pt x="747" y="1817"/>
                </a:lnTo>
                <a:lnTo>
                  <a:pt x="752" y="1826"/>
                </a:lnTo>
                <a:lnTo>
                  <a:pt x="757" y="1834"/>
                </a:lnTo>
                <a:lnTo>
                  <a:pt x="764" y="1841"/>
                </a:lnTo>
                <a:lnTo>
                  <a:pt x="769" y="1847"/>
                </a:lnTo>
                <a:lnTo>
                  <a:pt x="777" y="1853"/>
                </a:lnTo>
                <a:lnTo>
                  <a:pt x="785" y="1857"/>
                </a:lnTo>
                <a:lnTo>
                  <a:pt x="792" y="1860"/>
                </a:lnTo>
                <a:lnTo>
                  <a:pt x="801" y="1864"/>
                </a:lnTo>
                <a:lnTo>
                  <a:pt x="811" y="1865"/>
                </a:lnTo>
                <a:lnTo>
                  <a:pt x="821" y="1866"/>
                </a:lnTo>
                <a:lnTo>
                  <a:pt x="821" y="1866"/>
                </a:lnTo>
                <a:lnTo>
                  <a:pt x="828" y="1865"/>
                </a:lnTo>
                <a:lnTo>
                  <a:pt x="834" y="1864"/>
                </a:lnTo>
                <a:lnTo>
                  <a:pt x="841" y="1862"/>
                </a:lnTo>
                <a:lnTo>
                  <a:pt x="848" y="1860"/>
                </a:lnTo>
                <a:lnTo>
                  <a:pt x="853" y="1857"/>
                </a:lnTo>
                <a:lnTo>
                  <a:pt x="860" y="1854"/>
                </a:lnTo>
                <a:lnTo>
                  <a:pt x="865" y="1849"/>
                </a:lnTo>
                <a:lnTo>
                  <a:pt x="871" y="1844"/>
                </a:lnTo>
                <a:lnTo>
                  <a:pt x="871" y="1860"/>
                </a:lnTo>
                <a:lnTo>
                  <a:pt x="926" y="1860"/>
                </a:lnTo>
                <a:lnTo>
                  <a:pt x="926" y="1546"/>
                </a:lnTo>
                <a:lnTo>
                  <a:pt x="871" y="1573"/>
                </a:lnTo>
                <a:lnTo>
                  <a:pt x="871" y="1654"/>
                </a:lnTo>
                <a:close/>
                <a:moveTo>
                  <a:pt x="832" y="1815"/>
                </a:moveTo>
                <a:lnTo>
                  <a:pt x="832" y="1815"/>
                </a:lnTo>
                <a:lnTo>
                  <a:pt x="826" y="1814"/>
                </a:lnTo>
                <a:lnTo>
                  <a:pt x="818" y="1812"/>
                </a:lnTo>
                <a:lnTo>
                  <a:pt x="811" y="1808"/>
                </a:lnTo>
                <a:lnTo>
                  <a:pt x="805" y="1802"/>
                </a:lnTo>
                <a:lnTo>
                  <a:pt x="799" y="1793"/>
                </a:lnTo>
                <a:lnTo>
                  <a:pt x="795" y="1781"/>
                </a:lnTo>
                <a:lnTo>
                  <a:pt x="791" y="1765"/>
                </a:lnTo>
                <a:lnTo>
                  <a:pt x="790" y="1746"/>
                </a:lnTo>
                <a:lnTo>
                  <a:pt x="790" y="1746"/>
                </a:lnTo>
                <a:lnTo>
                  <a:pt x="791" y="1728"/>
                </a:lnTo>
                <a:lnTo>
                  <a:pt x="795" y="1715"/>
                </a:lnTo>
                <a:lnTo>
                  <a:pt x="799" y="1704"/>
                </a:lnTo>
                <a:lnTo>
                  <a:pt x="805" y="1696"/>
                </a:lnTo>
                <a:lnTo>
                  <a:pt x="810" y="1689"/>
                </a:lnTo>
                <a:lnTo>
                  <a:pt x="818" y="1686"/>
                </a:lnTo>
                <a:lnTo>
                  <a:pt x="824" y="1684"/>
                </a:lnTo>
                <a:lnTo>
                  <a:pt x="832" y="1684"/>
                </a:lnTo>
                <a:lnTo>
                  <a:pt x="832" y="1684"/>
                </a:lnTo>
                <a:lnTo>
                  <a:pt x="839" y="1684"/>
                </a:lnTo>
                <a:lnTo>
                  <a:pt x="845" y="1686"/>
                </a:lnTo>
                <a:lnTo>
                  <a:pt x="852" y="1688"/>
                </a:lnTo>
                <a:lnTo>
                  <a:pt x="856" y="1691"/>
                </a:lnTo>
                <a:lnTo>
                  <a:pt x="861" y="1695"/>
                </a:lnTo>
                <a:lnTo>
                  <a:pt x="865" y="1698"/>
                </a:lnTo>
                <a:lnTo>
                  <a:pt x="871" y="1706"/>
                </a:lnTo>
                <a:lnTo>
                  <a:pt x="871" y="1793"/>
                </a:lnTo>
                <a:lnTo>
                  <a:pt x="871" y="1793"/>
                </a:lnTo>
                <a:lnTo>
                  <a:pt x="864" y="1801"/>
                </a:lnTo>
                <a:lnTo>
                  <a:pt x="856" y="1807"/>
                </a:lnTo>
                <a:lnTo>
                  <a:pt x="852" y="1811"/>
                </a:lnTo>
                <a:lnTo>
                  <a:pt x="845" y="1813"/>
                </a:lnTo>
                <a:lnTo>
                  <a:pt x="840" y="1814"/>
                </a:lnTo>
                <a:lnTo>
                  <a:pt x="832" y="1815"/>
                </a:lnTo>
                <a:lnTo>
                  <a:pt x="832" y="1815"/>
                </a:lnTo>
                <a:close/>
                <a:moveTo>
                  <a:pt x="2069" y="1633"/>
                </a:moveTo>
                <a:lnTo>
                  <a:pt x="2069" y="1633"/>
                </a:lnTo>
                <a:lnTo>
                  <a:pt x="2064" y="1634"/>
                </a:lnTo>
                <a:lnTo>
                  <a:pt x="2057" y="1635"/>
                </a:lnTo>
                <a:lnTo>
                  <a:pt x="2044" y="1639"/>
                </a:lnTo>
                <a:lnTo>
                  <a:pt x="2032" y="1645"/>
                </a:lnTo>
                <a:lnTo>
                  <a:pt x="2021" y="1654"/>
                </a:lnTo>
                <a:lnTo>
                  <a:pt x="2021" y="1551"/>
                </a:lnTo>
                <a:lnTo>
                  <a:pt x="1966" y="1579"/>
                </a:lnTo>
                <a:lnTo>
                  <a:pt x="1966" y="1860"/>
                </a:lnTo>
                <a:lnTo>
                  <a:pt x="2021" y="1860"/>
                </a:lnTo>
                <a:lnTo>
                  <a:pt x="2021" y="1844"/>
                </a:lnTo>
                <a:lnTo>
                  <a:pt x="2021" y="1844"/>
                </a:lnTo>
                <a:lnTo>
                  <a:pt x="2025" y="1849"/>
                </a:lnTo>
                <a:lnTo>
                  <a:pt x="2032" y="1854"/>
                </a:lnTo>
                <a:lnTo>
                  <a:pt x="2037" y="1857"/>
                </a:lnTo>
                <a:lnTo>
                  <a:pt x="2044" y="1860"/>
                </a:lnTo>
                <a:lnTo>
                  <a:pt x="2049" y="1862"/>
                </a:lnTo>
                <a:lnTo>
                  <a:pt x="2057" y="1864"/>
                </a:lnTo>
                <a:lnTo>
                  <a:pt x="2064" y="1865"/>
                </a:lnTo>
                <a:lnTo>
                  <a:pt x="2070" y="1866"/>
                </a:lnTo>
                <a:lnTo>
                  <a:pt x="2070" y="1866"/>
                </a:lnTo>
                <a:lnTo>
                  <a:pt x="2080" y="1865"/>
                </a:lnTo>
                <a:lnTo>
                  <a:pt x="2090" y="1864"/>
                </a:lnTo>
                <a:lnTo>
                  <a:pt x="2099" y="1861"/>
                </a:lnTo>
                <a:lnTo>
                  <a:pt x="2108" y="1857"/>
                </a:lnTo>
                <a:lnTo>
                  <a:pt x="2116" y="1853"/>
                </a:lnTo>
                <a:lnTo>
                  <a:pt x="2122" y="1848"/>
                </a:lnTo>
                <a:lnTo>
                  <a:pt x="2129" y="1841"/>
                </a:lnTo>
                <a:lnTo>
                  <a:pt x="2134" y="1835"/>
                </a:lnTo>
                <a:lnTo>
                  <a:pt x="2140" y="1826"/>
                </a:lnTo>
                <a:lnTo>
                  <a:pt x="2144" y="1817"/>
                </a:lnTo>
                <a:lnTo>
                  <a:pt x="2148" y="1807"/>
                </a:lnTo>
                <a:lnTo>
                  <a:pt x="2151" y="1797"/>
                </a:lnTo>
                <a:lnTo>
                  <a:pt x="2154" y="1786"/>
                </a:lnTo>
                <a:lnTo>
                  <a:pt x="2155" y="1774"/>
                </a:lnTo>
                <a:lnTo>
                  <a:pt x="2157" y="1761"/>
                </a:lnTo>
                <a:lnTo>
                  <a:pt x="2158" y="1747"/>
                </a:lnTo>
                <a:lnTo>
                  <a:pt x="2158" y="1747"/>
                </a:lnTo>
                <a:lnTo>
                  <a:pt x="2157" y="1734"/>
                </a:lnTo>
                <a:lnTo>
                  <a:pt x="2155" y="1722"/>
                </a:lnTo>
                <a:lnTo>
                  <a:pt x="2153" y="1710"/>
                </a:lnTo>
                <a:lnTo>
                  <a:pt x="2151" y="1699"/>
                </a:lnTo>
                <a:lnTo>
                  <a:pt x="2148" y="1689"/>
                </a:lnTo>
                <a:lnTo>
                  <a:pt x="2143" y="1680"/>
                </a:lnTo>
                <a:lnTo>
                  <a:pt x="2139" y="1672"/>
                </a:lnTo>
                <a:lnTo>
                  <a:pt x="2133" y="1664"/>
                </a:lnTo>
                <a:lnTo>
                  <a:pt x="2128" y="1657"/>
                </a:lnTo>
                <a:lnTo>
                  <a:pt x="2121" y="1651"/>
                </a:lnTo>
                <a:lnTo>
                  <a:pt x="2113" y="1645"/>
                </a:lnTo>
                <a:lnTo>
                  <a:pt x="2106" y="1641"/>
                </a:lnTo>
                <a:lnTo>
                  <a:pt x="2098" y="1637"/>
                </a:lnTo>
                <a:lnTo>
                  <a:pt x="2089" y="1635"/>
                </a:lnTo>
                <a:lnTo>
                  <a:pt x="2079" y="1634"/>
                </a:lnTo>
                <a:lnTo>
                  <a:pt x="2069" y="1633"/>
                </a:lnTo>
                <a:lnTo>
                  <a:pt x="2069" y="1633"/>
                </a:lnTo>
                <a:close/>
                <a:moveTo>
                  <a:pt x="2059" y="1684"/>
                </a:moveTo>
                <a:lnTo>
                  <a:pt x="2059" y="1684"/>
                </a:lnTo>
                <a:lnTo>
                  <a:pt x="2067" y="1685"/>
                </a:lnTo>
                <a:lnTo>
                  <a:pt x="2075" y="1687"/>
                </a:lnTo>
                <a:lnTo>
                  <a:pt x="2081" y="1691"/>
                </a:lnTo>
                <a:lnTo>
                  <a:pt x="2088" y="1698"/>
                </a:lnTo>
                <a:lnTo>
                  <a:pt x="2094" y="1706"/>
                </a:lnTo>
                <a:lnTo>
                  <a:pt x="2097" y="1717"/>
                </a:lnTo>
                <a:lnTo>
                  <a:pt x="2100" y="1730"/>
                </a:lnTo>
                <a:lnTo>
                  <a:pt x="2101" y="1746"/>
                </a:lnTo>
                <a:lnTo>
                  <a:pt x="2101" y="1746"/>
                </a:lnTo>
                <a:lnTo>
                  <a:pt x="2100" y="1762"/>
                </a:lnTo>
                <a:lnTo>
                  <a:pt x="2098" y="1776"/>
                </a:lnTo>
                <a:lnTo>
                  <a:pt x="2096" y="1787"/>
                </a:lnTo>
                <a:lnTo>
                  <a:pt x="2091" y="1797"/>
                </a:lnTo>
                <a:lnTo>
                  <a:pt x="2085" y="1805"/>
                </a:lnTo>
                <a:lnTo>
                  <a:pt x="2078" y="1811"/>
                </a:lnTo>
                <a:lnTo>
                  <a:pt x="2070" y="1814"/>
                </a:lnTo>
                <a:lnTo>
                  <a:pt x="2061" y="1815"/>
                </a:lnTo>
                <a:lnTo>
                  <a:pt x="2061" y="1815"/>
                </a:lnTo>
                <a:lnTo>
                  <a:pt x="2053" y="1814"/>
                </a:lnTo>
                <a:lnTo>
                  <a:pt x="2046" y="1813"/>
                </a:lnTo>
                <a:lnTo>
                  <a:pt x="2041" y="1810"/>
                </a:lnTo>
                <a:lnTo>
                  <a:pt x="2035" y="1807"/>
                </a:lnTo>
                <a:lnTo>
                  <a:pt x="2026" y="1800"/>
                </a:lnTo>
                <a:lnTo>
                  <a:pt x="2021" y="1794"/>
                </a:lnTo>
                <a:lnTo>
                  <a:pt x="2021" y="1706"/>
                </a:lnTo>
                <a:lnTo>
                  <a:pt x="2021" y="1706"/>
                </a:lnTo>
                <a:lnTo>
                  <a:pt x="2024" y="1701"/>
                </a:lnTo>
                <a:lnTo>
                  <a:pt x="2029" y="1697"/>
                </a:lnTo>
                <a:lnTo>
                  <a:pt x="2033" y="1693"/>
                </a:lnTo>
                <a:lnTo>
                  <a:pt x="2037" y="1689"/>
                </a:lnTo>
                <a:lnTo>
                  <a:pt x="2043" y="1687"/>
                </a:lnTo>
                <a:lnTo>
                  <a:pt x="2048" y="1685"/>
                </a:lnTo>
                <a:lnTo>
                  <a:pt x="2054" y="1684"/>
                </a:lnTo>
                <a:lnTo>
                  <a:pt x="2059" y="1684"/>
                </a:lnTo>
                <a:lnTo>
                  <a:pt x="2059" y="1684"/>
                </a:lnTo>
                <a:close/>
                <a:moveTo>
                  <a:pt x="1445" y="1654"/>
                </a:moveTo>
                <a:lnTo>
                  <a:pt x="1445" y="1654"/>
                </a:lnTo>
                <a:lnTo>
                  <a:pt x="1440" y="1650"/>
                </a:lnTo>
                <a:lnTo>
                  <a:pt x="1435" y="1645"/>
                </a:lnTo>
                <a:lnTo>
                  <a:pt x="1428" y="1642"/>
                </a:lnTo>
                <a:lnTo>
                  <a:pt x="1423" y="1639"/>
                </a:lnTo>
                <a:lnTo>
                  <a:pt x="1416" y="1636"/>
                </a:lnTo>
                <a:lnTo>
                  <a:pt x="1409" y="1634"/>
                </a:lnTo>
                <a:lnTo>
                  <a:pt x="1403" y="1634"/>
                </a:lnTo>
                <a:lnTo>
                  <a:pt x="1396" y="1633"/>
                </a:lnTo>
                <a:lnTo>
                  <a:pt x="1396" y="1633"/>
                </a:lnTo>
                <a:lnTo>
                  <a:pt x="1386" y="1634"/>
                </a:lnTo>
                <a:lnTo>
                  <a:pt x="1376" y="1635"/>
                </a:lnTo>
                <a:lnTo>
                  <a:pt x="1367" y="1637"/>
                </a:lnTo>
                <a:lnTo>
                  <a:pt x="1360" y="1641"/>
                </a:lnTo>
                <a:lnTo>
                  <a:pt x="1352" y="1645"/>
                </a:lnTo>
                <a:lnTo>
                  <a:pt x="1344" y="1651"/>
                </a:lnTo>
                <a:lnTo>
                  <a:pt x="1338" y="1657"/>
                </a:lnTo>
                <a:lnTo>
                  <a:pt x="1332" y="1664"/>
                </a:lnTo>
                <a:lnTo>
                  <a:pt x="1327" y="1672"/>
                </a:lnTo>
                <a:lnTo>
                  <a:pt x="1322" y="1680"/>
                </a:lnTo>
                <a:lnTo>
                  <a:pt x="1318" y="1689"/>
                </a:lnTo>
                <a:lnTo>
                  <a:pt x="1314" y="1699"/>
                </a:lnTo>
                <a:lnTo>
                  <a:pt x="1312" y="1710"/>
                </a:lnTo>
                <a:lnTo>
                  <a:pt x="1310" y="1722"/>
                </a:lnTo>
                <a:lnTo>
                  <a:pt x="1309" y="1734"/>
                </a:lnTo>
                <a:lnTo>
                  <a:pt x="1309" y="1747"/>
                </a:lnTo>
                <a:lnTo>
                  <a:pt x="1309" y="1747"/>
                </a:lnTo>
                <a:lnTo>
                  <a:pt x="1309" y="1761"/>
                </a:lnTo>
                <a:lnTo>
                  <a:pt x="1310" y="1773"/>
                </a:lnTo>
                <a:lnTo>
                  <a:pt x="1312" y="1785"/>
                </a:lnTo>
                <a:lnTo>
                  <a:pt x="1314" y="1796"/>
                </a:lnTo>
                <a:lnTo>
                  <a:pt x="1318" y="1807"/>
                </a:lnTo>
                <a:lnTo>
                  <a:pt x="1321" y="1817"/>
                </a:lnTo>
                <a:lnTo>
                  <a:pt x="1327" y="1826"/>
                </a:lnTo>
                <a:lnTo>
                  <a:pt x="1331" y="1834"/>
                </a:lnTo>
                <a:lnTo>
                  <a:pt x="1338" y="1841"/>
                </a:lnTo>
                <a:lnTo>
                  <a:pt x="1343" y="1847"/>
                </a:lnTo>
                <a:lnTo>
                  <a:pt x="1351" y="1853"/>
                </a:lnTo>
                <a:lnTo>
                  <a:pt x="1359" y="1857"/>
                </a:lnTo>
                <a:lnTo>
                  <a:pt x="1366" y="1860"/>
                </a:lnTo>
                <a:lnTo>
                  <a:pt x="1375" y="1864"/>
                </a:lnTo>
                <a:lnTo>
                  <a:pt x="1385" y="1865"/>
                </a:lnTo>
                <a:lnTo>
                  <a:pt x="1395" y="1865"/>
                </a:lnTo>
                <a:lnTo>
                  <a:pt x="1395" y="1865"/>
                </a:lnTo>
                <a:lnTo>
                  <a:pt x="1402" y="1865"/>
                </a:lnTo>
                <a:lnTo>
                  <a:pt x="1408" y="1864"/>
                </a:lnTo>
                <a:lnTo>
                  <a:pt x="1415" y="1862"/>
                </a:lnTo>
                <a:lnTo>
                  <a:pt x="1421" y="1860"/>
                </a:lnTo>
                <a:lnTo>
                  <a:pt x="1428" y="1857"/>
                </a:lnTo>
                <a:lnTo>
                  <a:pt x="1434" y="1853"/>
                </a:lnTo>
                <a:lnTo>
                  <a:pt x="1439" y="1849"/>
                </a:lnTo>
                <a:lnTo>
                  <a:pt x="1445" y="1844"/>
                </a:lnTo>
                <a:lnTo>
                  <a:pt x="1445" y="1849"/>
                </a:lnTo>
                <a:lnTo>
                  <a:pt x="1445" y="1849"/>
                </a:lnTo>
                <a:lnTo>
                  <a:pt x="1445" y="1858"/>
                </a:lnTo>
                <a:lnTo>
                  <a:pt x="1444" y="1868"/>
                </a:lnTo>
                <a:lnTo>
                  <a:pt x="1441" y="1878"/>
                </a:lnTo>
                <a:lnTo>
                  <a:pt x="1439" y="1882"/>
                </a:lnTo>
                <a:lnTo>
                  <a:pt x="1436" y="1887"/>
                </a:lnTo>
                <a:lnTo>
                  <a:pt x="1433" y="1891"/>
                </a:lnTo>
                <a:lnTo>
                  <a:pt x="1428" y="1896"/>
                </a:lnTo>
                <a:lnTo>
                  <a:pt x="1421" y="1899"/>
                </a:lnTo>
                <a:lnTo>
                  <a:pt x="1415" y="1901"/>
                </a:lnTo>
                <a:lnTo>
                  <a:pt x="1407" y="1904"/>
                </a:lnTo>
                <a:lnTo>
                  <a:pt x="1397" y="1905"/>
                </a:lnTo>
                <a:lnTo>
                  <a:pt x="1386" y="1908"/>
                </a:lnTo>
                <a:lnTo>
                  <a:pt x="1374" y="1908"/>
                </a:lnTo>
                <a:lnTo>
                  <a:pt x="1372" y="1908"/>
                </a:lnTo>
                <a:lnTo>
                  <a:pt x="1391" y="1951"/>
                </a:lnTo>
                <a:lnTo>
                  <a:pt x="1392" y="1951"/>
                </a:lnTo>
                <a:lnTo>
                  <a:pt x="1392" y="1951"/>
                </a:lnTo>
                <a:lnTo>
                  <a:pt x="1405" y="1951"/>
                </a:lnTo>
                <a:lnTo>
                  <a:pt x="1417" y="1948"/>
                </a:lnTo>
                <a:lnTo>
                  <a:pt x="1429" y="1946"/>
                </a:lnTo>
                <a:lnTo>
                  <a:pt x="1439" y="1943"/>
                </a:lnTo>
                <a:lnTo>
                  <a:pt x="1449" y="1940"/>
                </a:lnTo>
                <a:lnTo>
                  <a:pt x="1458" y="1935"/>
                </a:lnTo>
                <a:lnTo>
                  <a:pt x="1466" y="1929"/>
                </a:lnTo>
                <a:lnTo>
                  <a:pt x="1473" y="1923"/>
                </a:lnTo>
                <a:lnTo>
                  <a:pt x="1480" y="1915"/>
                </a:lnTo>
                <a:lnTo>
                  <a:pt x="1484" y="1907"/>
                </a:lnTo>
                <a:lnTo>
                  <a:pt x="1490" y="1898"/>
                </a:lnTo>
                <a:lnTo>
                  <a:pt x="1493" y="1888"/>
                </a:lnTo>
                <a:lnTo>
                  <a:pt x="1497" y="1877"/>
                </a:lnTo>
                <a:lnTo>
                  <a:pt x="1499" y="1866"/>
                </a:lnTo>
                <a:lnTo>
                  <a:pt x="1500" y="1854"/>
                </a:lnTo>
                <a:lnTo>
                  <a:pt x="1500" y="1839"/>
                </a:lnTo>
                <a:lnTo>
                  <a:pt x="1500" y="1639"/>
                </a:lnTo>
                <a:lnTo>
                  <a:pt x="1445" y="1639"/>
                </a:lnTo>
                <a:lnTo>
                  <a:pt x="1445" y="1654"/>
                </a:lnTo>
                <a:close/>
                <a:moveTo>
                  <a:pt x="1445" y="1706"/>
                </a:moveTo>
                <a:lnTo>
                  <a:pt x="1445" y="1793"/>
                </a:lnTo>
                <a:lnTo>
                  <a:pt x="1445" y="1793"/>
                </a:lnTo>
                <a:lnTo>
                  <a:pt x="1438" y="1801"/>
                </a:lnTo>
                <a:lnTo>
                  <a:pt x="1429" y="1808"/>
                </a:lnTo>
                <a:lnTo>
                  <a:pt x="1425" y="1811"/>
                </a:lnTo>
                <a:lnTo>
                  <a:pt x="1419" y="1813"/>
                </a:lnTo>
                <a:lnTo>
                  <a:pt x="1413" y="1814"/>
                </a:lnTo>
                <a:lnTo>
                  <a:pt x="1406" y="1815"/>
                </a:lnTo>
                <a:lnTo>
                  <a:pt x="1406" y="1815"/>
                </a:lnTo>
                <a:lnTo>
                  <a:pt x="1398" y="1814"/>
                </a:lnTo>
                <a:lnTo>
                  <a:pt x="1392" y="1812"/>
                </a:lnTo>
                <a:lnTo>
                  <a:pt x="1384" y="1807"/>
                </a:lnTo>
                <a:lnTo>
                  <a:pt x="1378" y="1802"/>
                </a:lnTo>
                <a:lnTo>
                  <a:pt x="1373" y="1793"/>
                </a:lnTo>
                <a:lnTo>
                  <a:pt x="1369" y="1781"/>
                </a:lnTo>
                <a:lnTo>
                  <a:pt x="1365" y="1765"/>
                </a:lnTo>
                <a:lnTo>
                  <a:pt x="1364" y="1746"/>
                </a:lnTo>
                <a:lnTo>
                  <a:pt x="1364" y="1746"/>
                </a:lnTo>
                <a:lnTo>
                  <a:pt x="1365" y="1728"/>
                </a:lnTo>
                <a:lnTo>
                  <a:pt x="1369" y="1715"/>
                </a:lnTo>
                <a:lnTo>
                  <a:pt x="1373" y="1704"/>
                </a:lnTo>
                <a:lnTo>
                  <a:pt x="1378" y="1696"/>
                </a:lnTo>
                <a:lnTo>
                  <a:pt x="1384" y="1689"/>
                </a:lnTo>
                <a:lnTo>
                  <a:pt x="1392" y="1686"/>
                </a:lnTo>
                <a:lnTo>
                  <a:pt x="1398" y="1684"/>
                </a:lnTo>
                <a:lnTo>
                  <a:pt x="1406" y="1684"/>
                </a:lnTo>
                <a:lnTo>
                  <a:pt x="1406" y="1684"/>
                </a:lnTo>
                <a:lnTo>
                  <a:pt x="1413" y="1684"/>
                </a:lnTo>
                <a:lnTo>
                  <a:pt x="1419" y="1686"/>
                </a:lnTo>
                <a:lnTo>
                  <a:pt x="1426" y="1688"/>
                </a:lnTo>
                <a:lnTo>
                  <a:pt x="1430" y="1690"/>
                </a:lnTo>
                <a:lnTo>
                  <a:pt x="1435" y="1695"/>
                </a:lnTo>
                <a:lnTo>
                  <a:pt x="1439" y="1698"/>
                </a:lnTo>
                <a:lnTo>
                  <a:pt x="1445" y="1706"/>
                </a:lnTo>
                <a:lnTo>
                  <a:pt x="1445" y="1706"/>
                </a:lnTo>
                <a:close/>
                <a:moveTo>
                  <a:pt x="1671" y="1693"/>
                </a:moveTo>
                <a:lnTo>
                  <a:pt x="1671" y="1693"/>
                </a:lnTo>
                <a:lnTo>
                  <a:pt x="1684" y="1686"/>
                </a:lnTo>
                <a:lnTo>
                  <a:pt x="1697" y="1682"/>
                </a:lnTo>
                <a:lnTo>
                  <a:pt x="1712" y="1678"/>
                </a:lnTo>
                <a:lnTo>
                  <a:pt x="1727" y="1677"/>
                </a:lnTo>
                <a:lnTo>
                  <a:pt x="1727" y="1677"/>
                </a:lnTo>
                <a:lnTo>
                  <a:pt x="1737" y="1678"/>
                </a:lnTo>
                <a:lnTo>
                  <a:pt x="1745" y="1679"/>
                </a:lnTo>
                <a:lnTo>
                  <a:pt x="1751" y="1682"/>
                </a:lnTo>
                <a:lnTo>
                  <a:pt x="1757" y="1686"/>
                </a:lnTo>
                <a:lnTo>
                  <a:pt x="1761" y="1690"/>
                </a:lnTo>
                <a:lnTo>
                  <a:pt x="1765" y="1696"/>
                </a:lnTo>
                <a:lnTo>
                  <a:pt x="1767" y="1701"/>
                </a:lnTo>
                <a:lnTo>
                  <a:pt x="1767" y="1709"/>
                </a:lnTo>
                <a:lnTo>
                  <a:pt x="1767" y="1725"/>
                </a:lnTo>
                <a:lnTo>
                  <a:pt x="1767" y="1725"/>
                </a:lnTo>
                <a:lnTo>
                  <a:pt x="1757" y="1720"/>
                </a:lnTo>
                <a:lnTo>
                  <a:pt x="1745" y="1717"/>
                </a:lnTo>
                <a:lnTo>
                  <a:pt x="1733" y="1715"/>
                </a:lnTo>
                <a:lnTo>
                  <a:pt x="1719" y="1714"/>
                </a:lnTo>
                <a:lnTo>
                  <a:pt x="1719" y="1714"/>
                </a:lnTo>
                <a:lnTo>
                  <a:pt x="1704" y="1715"/>
                </a:lnTo>
                <a:lnTo>
                  <a:pt x="1689" y="1718"/>
                </a:lnTo>
                <a:lnTo>
                  <a:pt x="1674" y="1722"/>
                </a:lnTo>
                <a:lnTo>
                  <a:pt x="1667" y="1726"/>
                </a:lnTo>
                <a:lnTo>
                  <a:pt x="1660" y="1730"/>
                </a:lnTo>
                <a:lnTo>
                  <a:pt x="1654" y="1734"/>
                </a:lnTo>
                <a:lnTo>
                  <a:pt x="1649" y="1740"/>
                </a:lnTo>
                <a:lnTo>
                  <a:pt x="1643" y="1746"/>
                </a:lnTo>
                <a:lnTo>
                  <a:pt x="1639" y="1752"/>
                </a:lnTo>
                <a:lnTo>
                  <a:pt x="1636" y="1760"/>
                </a:lnTo>
                <a:lnTo>
                  <a:pt x="1633" y="1769"/>
                </a:lnTo>
                <a:lnTo>
                  <a:pt x="1632" y="1778"/>
                </a:lnTo>
                <a:lnTo>
                  <a:pt x="1631" y="1786"/>
                </a:lnTo>
                <a:lnTo>
                  <a:pt x="1631" y="1786"/>
                </a:lnTo>
                <a:lnTo>
                  <a:pt x="1632" y="1797"/>
                </a:lnTo>
                <a:lnTo>
                  <a:pt x="1633" y="1807"/>
                </a:lnTo>
                <a:lnTo>
                  <a:pt x="1636" y="1815"/>
                </a:lnTo>
                <a:lnTo>
                  <a:pt x="1639" y="1824"/>
                </a:lnTo>
                <a:lnTo>
                  <a:pt x="1642" y="1830"/>
                </a:lnTo>
                <a:lnTo>
                  <a:pt x="1648" y="1837"/>
                </a:lnTo>
                <a:lnTo>
                  <a:pt x="1652" y="1843"/>
                </a:lnTo>
                <a:lnTo>
                  <a:pt x="1659" y="1848"/>
                </a:lnTo>
                <a:lnTo>
                  <a:pt x="1664" y="1853"/>
                </a:lnTo>
                <a:lnTo>
                  <a:pt x="1671" y="1856"/>
                </a:lnTo>
                <a:lnTo>
                  <a:pt x="1685" y="1861"/>
                </a:lnTo>
                <a:lnTo>
                  <a:pt x="1700" y="1865"/>
                </a:lnTo>
                <a:lnTo>
                  <a:pt x="1714" y="1866"/>
                </a:lnTo>
                <a:lnTo>
                  <a:pt x="1714" y="1866"/>
                </a:lnTo>
                <a:lnTo>
                  <a:pt x="1726" y="1864"/>
                </a:lnTo>
                <a:lnTo>
                  <a:pt x="1734" y="1862"/>
                </a:lnTo>
                <a:lnTo>
                  <a:pt x="1740" y="1860"/>
                </a:lnTo>
                <a:lnTo>
                  <a:pt x="1748" y="1857"/>
                </a:lnTo>
                <a:lnTo>
                  <a:pt x="1755" y="1853"/>
                </a:lnTo>
                <a:lnTo>
                  <a:pt x="1761" y="1848"/>
                </a:lnTo>
                <a:lnTo>
                  <a:pt x="1767" y="1843"/>
                </a:lnTo>
                <a:lnTo>
                  <a:pt x="1767" y="1860"/>
                </a:lnTo>
                <a:lnTo>
                  <a:pt x="1822" y="1860"/>
                </a:lnTo>
                <a:lnTo>
                  <a:pt x="1822" y="1710"/>
                </a:lnTo>
                <a:lnTo>
                  <a:pt x="1822" y="1710"/>
                </a:lnTo>
                <a:lnTo>
                  <a:pt x="1822" y="1701"/>
                </a:lnTo>
                <a:lnTo>
                  <a:pt x="1821" y="1694"/>
                </a:lnTo>
                <a:lnTo>
                  <a:pt x="1819" y="1686"/>
                </a:lnTo>
                <a:lnTo>
                  <a:pt x="1817" y="1678"/>
                </a:lnTo>
                <a:lnTo>
                  <a:pt x="1812" y="1672"/>
                </a:lnTo>
                <a:lnTo>
                  <a:pt x="1809" y="1665"/>
                </a:lnTo>
                <a:lnTo>
                  <a:pt x="1803" y="1659"/>
                </a:lnTo>
                <a:lnTo>
                  <a:pt x="1798" y="1654"/>
                </a:lnTo>
                <a:lnTo>
                  <a:pt x="1792" y="1650"/>
                </a:lnTo>
                <a:lnTo>
                  <a:pt x="1786" y="1645"/>
                </a:lnTo>
                <a:lnTo>
                  <a:pt x="1778" y="1642"/>
                </a:lnTo>
                <a:lnTo>
                  <a:pt x="1770" y="1639"/>
                </a:lnTo>
                <a:lnTo>
                  <a:pt x="1761" y="1636"/>
                </a:lnTo>
                <a:lnTo>
                  <a:pt x="1753" y="1635"/>
                </a:lnTo>
                <a:lnTo>
                  <a:pt x="1743" y="1634"/>
                </a:lnTo>
                <a:lnTo>
                  <a:pt x="1733" y="1633"/>
                </a:lnTo>
                <a:lnTo>
                  <a:pt x="1733" y="1633"/>
                </a:lnTo>
                <a:lnTo>
                  <a:pt x="1721" y="1634"/>
                </a:lnTo>
                <a:lnTo>
                  <a:pt x="1711" y="1634"/>
                </a:lnTo>
                <a:lnTo>
                  <a:pt x="1700" y="1636"/>
                </a:lnTo>
                <a:lnTo>
                  <a:pt x="1689" y="1639"/>
                </a:lnTo>
                <a:lnTo>
                  <a:pt x="1679" y="1642"/>
                </a:lnTo>
                <a:lnTo>
                  <a:pt x="1669" y="1645"/>
                </a:lnTo>
                <a:lnTo>
                  <a:pt x="1659" y="1650"/>
                </a:lnTo>
                <a:lnTo>
                  <a:pt x="1649" y="1655"/>
                </a:lnTo>
                <a:lnTo>
                  <a:pt x="1671" y="1693"/>
                </a:lnTo>
                <a:close/>
                <a:moveTo>
                  <a:pt x="1686" y="1786"/>
                </a:moveTo>
                <a:lnTo>
                  <a:pt x="1686" y="1786"/>
                </a:lnTo>
                <a:lnTo>
                  <a:pt x="1686" y="1780"/>
                </a:lnTo>
                <a:lnTo>
                  <a:pt x="1689" y="1773"/>
                </a:lnTo>
                <a:lnTo>
                  <a:pt x="1692" y="1768"/>
                </a:lnTo>
                <a:lnTo>
                  <a:pt x="1696" y="1763"/>
                </a:lnTo>
                <a:lnTo>
                  <a:pt x="1702" y="1760"/>
                </a:lnTo>
                <a:lnTo>
                  <a:pt x="1708" y="1758"/>
                </a:lnTo>
                <a:lnTo>
                  <a:pt x="1716" y="1755"/>
                </a:lnTo>
                <a:lnTo>
                  <a:pt x="1724" y="1755"/>
                </a:lnTo>
                <a:lnTo>
                  <a:pt x="1724" y="1755"/>
                </a:lnTo>
                <a:lnTo>
                  <a:pt x="1736" y="1755"/>
                </a:lnTo>
                <a:lnTo>
                  <a:pt x="1747" y="1758"/>
                </a:lnTo>
                <a:lnTo>
                  <a:pt x="1757" y="1761"/>
                </a:lnTo>
                <a:lnTo>
                  <a:pt x="1767" y="1766"/>
                </a:lnTo>
                <a:lnTo>
                  <a:pt x="1767" y="1796"/>
                </a:lnTo>
                <a:lnTo>
                  <a:pt x="1767" y="1796"/>
                </a:lnTo>
                <a:lnTo>
                  <a:pt x="1765" y="1801"/>
                </a:lnTo>
                <a:lnTo>
                  <a:pt x="1760" y="1805"/>
                </a:lnTo>
                <a:lnTo>
                  <a:pt x="1756" y="1810"/>
                </a:lnTo>
                <a:lnTo>
                  <a:pt x="1750" y="1813"/>
                </a:lnTo>
                <a:lnTo>
                  <a:pt x="1745" y="1816"/>
                </a:lnTo>
                <a:lnTo>
                  <a:pt x="1738" y="1818"/>
                </a:lnTo>
                <a:lnTo>
                  <a:pt x="1732" y="1819"/>
                </a:lnTo>
                <a:lnTo>
                  <a:pt x="1724" y="1821"/>
                </a:lnTo>
                <a:lnTo>
                  <a:pt x="1724" y="1821"/>
                </a:lnTo>
                <a:lnTo>
                  <a:pt x="1716" y="1819"/>
                </a:lnTo>
                <a:lnTo>
                  <a:pt x="1708" y="1817"/>
                </a:lnTo>
                <a:lnTo>
                  <a:pt x="1702" y="1815"/>
                </a:lnTo>
                <a:lnTo>
                  <a:pt x="1696" y="1811"/>
                </a:lnTo>
                <a:lnTo>
                  <a:pt x="1692" y="1806"/>
                </a:lnTo>
                <a:lnTo>
                  <a:pt x="1689" y="1801"/>
                </a:lnTo>
                <a:lnTo>
                  <a:pt x="1687" y="1794"/>
                </a:lnTo>
                <a:lnTo>
                  <a:pt x="1686" y="1786"/>
                </a:lnTo>
                <a:lnTo>
                  <a:pt x="1686" y="1786"/>
                </a:lnTo>
                <a:close/>
                <a:moveTo>
                  <a:pt x="2333" y="1796"/>
                </a:moveTo>
                <a:lnTo>
                  <a:pt x="2333" y="1796"/>
                </a:lnTo>
                <a:lnTo>
                  <a:pt x="2325" y="1803"/>
                </a:lnTo>
                <a:lnTo>
                  <a:pt x="2315" y="1808"/>
                </a:lnTo>
                <a:lnTo>
                  <a:pt x="2310" y="1811"/>
                </a:lnTo>
                <a:lnTo>
                  <a:pt x="2303" y="1813"/>
                </a:lnTo>
                <a:lnTo>
                  <a:pt x="2297" y="1814"/>
                </a:lnTo>
                <a:lnTo>
                  <a:pt x="2290" y="1815"/>
                </a:lnTo>
                <a:lnTo>
                  <a:pt x="2290" y="1815"/>
                </a:lnTo>
                <a:lnTo>
                  <a:pt x="2285" y="1814"/>
                </a:lnTo>
                <a:lnTo>
                  <a:pt x="2278" y="1814"/>
                </a:lnTo>
                <a:lnTo>
                  <a:pt x="2270" y="1812"/>
                </a:lnTo>
                <a:lnTo>
                  <a:pt x="2261" y="1807"/>
                </a:lnTo>
                <a:lnTo>
                  <a:pt x="2254" y="1802"/>
                </a:lnTo>
                <a:lnTo>
                  <a:pt x="2250" y="1797"/>
                </a:lnTo>
                <a:lnTo>
                  <a:pt x="2247" y="1793"/>
                </a:lnTo>
                <a:lnTo>
                  <a:pt x="2245" y="1787"/>
                </a:lnTo>
                <a:lnTo>
                  <a:pt x="2243" y="1781"/>
                </a:lnTo>
                <a:lnTo>
                  <a:pt x="2242" y="1774"/>
                </a:lnTo>
                <a:lnTo>
                  <a:pt x="2240" y="1766"/>
                </a:lnTo>
                <a:lnTo>
                  <a:pt x="2376" y="1766"/>
                </a:lnTo>
                <a:lnTo>
                  <a:pt x="2376" y="1766"/>
                </a:lnTo>
                <a:lnTo>
                  <a:pt x="2377" y="1750"/>
                </a:lnTo>
                <a:lnTo>
                  <a:pt x="2377" y="1750"/>
                </a:lnTo>
                <a:lnTo>
                  <a:pt x="2377" y="1737"/>
                </a:lnTo>
                <a:lnTo>
                  <a:pt x="2375" y="1725"/>
                </a:lnTo>
                <a:lnTo>
                  <a:pt x="2374" y="1712"/>
                </a:lnTo>
                <a:lnTo>
                  <a:pt x="2371" y="1701"/>
                </a:lnTo>
                <a:lnTo>
                  <a:pt x="2367" y="1691"/>
                </a:lnTo>
                <a:lnTo>
                  <a:pt x="2363" y="1682"/>
                </a:lnTo>
                <a:lnTo>
                  <a:pt x="2357" y="1673"/>
                </a:lnTo>
                <a:lnTo>
                  <a:pt x="2352" y="1665"/>
                </a:lnTo>
                <a:lnTo>
                  <a:pt x="2345" y="1657"/>
                </a:lnTo>
                <a:lnTo>
                  <a:pt x="2339" y="1652"/>
                </a:lnTo>
                <a:lnTo>
                  <a:pt x="2331" y="1646"/>
                </a:lnTo>
                <a:lnTo>
                  <a:pt x="2322" y="1642"/>
                </a:lnTo>
                <a:lnTo>
                  <a:pt x="2313" y="1639"/>
                </a:lnTo>
                <a:lnTo>
                  <a:pt x="2304" y="1635"/>
                </a:lnTo>
                <a:lnTo>
                  <a:pt x="2294" y="1634"/>
                </a:lnTo>
                <a:lnTo>
                  <a:pt x="2283" y="1633"/>
                </a:lnTo>
                <a:lnTo>
                  <a:pt x="2283" y="1633"/>
                </a:lnTo>
                <a:lnTo>
                  <a:pt x="2274" y="1634"/>
                </a:lnTo>
                <a:lnTo>
                  <a:pt x="2264" y="1635"/>
                </a:lnTo>
                <a:lnTo>
                  <a:pt x="2254" y="1639"/>
                </a:lnTo>
                <a:lnTo>
                  <a:pt x="2244" y="1642"/>
                </a:lnTo>
                <a:lnTo>
                  <a:pt x="2235" y="1646"/>
                </a:lnTo>
                <a:lnTo>
                  <a:pt x="2227" y="1653"/>
                </a:lnTo>
                <a:lnTo>
                  <a:pt x="2219" y="1658"/>
                </a:lnTo>
                <a:lnTo>
                  <a:pt x="2213" y="1666"/>
                </a:lnTo>
                <a:lnTo>
                  <a:pt x="2206" y="1674"/>
                </a:lnTo>
                <a:lnTo>
                  <a:pt x="2201" y="1683"/>
                </a:lnTo>
                <a:lnTo>
                  <a:pt x="2196" y="1693"/>
                </a:lnTo>
                <a:lnTo>
                  <a:pt x="2192" y="1703"/>
                </a:lnTo>
                <a:lnTo>
                  <a:pt x="2189" y="1714"/>
                </a:lnTo>
                <a:lnTo>
                  <a:pt x="2186" y="1726"/>
                </a:lnTo>
                <a:lnTo>
                  <a:pt x="2185" y="1737"/>
                </a:lnTo>
                <a:lnTo>
                  <a:pt x="2184" y="1750"/>
                </a:lnTo>
                <a:lnTo>
                  <a:pt x="2184" y="1750"/>
                </a:lnTo>
                <a:lnTo>
                  <a:pt x="2185" y="1762"/>
                </a:lnTo>
                <a:lnTo>
                  <a:pt x="2186" y="1774"/>
                </a:lnTo>
                <a:lnTo>
                  <a:pt x="2189" y="1786"/>
                </a:lnTo>
                <a:lnTo>
                  <a:pt x="2192" y="1797"/>
                </a:lnTo>
                <a:lnTo>
                  <a:pt x="2196" y="1807"/>
                </a:lnTo>
                <a:lnTo>
                  <a:pt x="2201" y="1817"/>
                </a:lnTo>
                <a:lnTo>
                  <a:pt x="2206" y="1826"/>
                </a:lnTo>
                <a:lnTo>
                  <a:pt x="2213" y="1834"/>
                </a:lnTo>
                <a:lnTo>
                  <a:pt x="2221" y="1840"/>
                </a:lnTo>
                <a:lnTo>
                  <a:pt x="2228" y="1847"/>
                </a:lnTo>
                <a:lnTo>
                  <a:pt x="2237" y="1853"/>
                </a:lnTo>
                <a:lnTo>
                  <a:pt x="2246" y="1857"/>
                </a:lnTo>
                <a:lnTo>
                  <a:pt x="2256" y="1860"/>
                </a:lnTo>
                <a:lnTo>
                  <a:pt x="2267" y="1864"/>
                </a:lnTo>
                <a:lnTo>
                  <a:pt x="2278" y="1865"/>
                </a:lnTo>
                <a:lnTo>
                  <a:pt x="2290" y="1866"/>
                </a:lnTo>
                <a:lnTo>
                  <a:pt x="2290" y="1866"/>
                </a:lnTo>
                <a:lnTo>
                  <a:pt x="2301" y="1865"/>
                </a:lnTo>
                <a:lnTo>
                  <a:pt x="2311" y="1864"/>
                </a:lnTo>
                <a:lnTo>
                  <a:pt x="2322" y="1860"/>
                </a:lnTo>
                <a:lnTo>
                  <a:pt x="2332" y="1857"/>
                </a:lnTo>
                <a:lnTo>
                  <a:pt x="2342" y="1851"/>
                </a:lnTo>
                <a:lnTo>
                  <a:pt x="2351" y="1846"/>
                </a:lnTo>
                <a:lnTo>
                  <a:pt x="2360" y="1838"/>
                </a:lnTo>
                <a:lnTo>
                  <a:pt x="2368" y="1830"/>
                </a:lnTo>
                <a:lnTo>
                  <a:pt x="2333" y="1796"/>
                </a:lnTo>
                <a:close/>
                <a:moveTo>
                  <a:pt x="2242" y="1726"/>
                </a:moveTo>
                <a:lnTo>
                  <a:pt x="2242" y="1726"/>
                </a:lnTo>
                <a:lnTo>
                  <a:pt x="2243" y="1716"/>
                </a:lnTo>
                <a:lnTo>
                  <a:pt x="2245" y="1707"/>
                </a:lnTo>
                <a:lnTo>
                  <a:pt x="2248" y="1699"/>
                </a:lnTo>
                <a:lnTo>
                  <a:pt x="2254" y="1693"/>
                </a:lnTo>
                <a:lnTo>
                  <a:pt x="2259" y="1687"/>
                </a:lnTo>
                <a:lnTo>
                  <a:pt x="2266" y="1684"/>
                </a:lnTo>
                <a:lnTo>
                  <a:pt x="2274" y="1680"/>
                </a:lnTo>
                <a:lnTo>
                  <a:pt x="2282" y="1680"/>
                </a:lnTo>
                <a:lnTo>
                  <a:pt x="2282" y="1680"/>
                </a:lnTo>
                <a:lnTo>
                  <a:pt x="2292" y="1682"/>
                </a:lnTo>
                <a:lnTo>
                  <a:pt x="2301" y="1684"/>
                </a:lnTo>
                <a:lnTo>
                  <a:pt x="2308" y="1688"/>
                </a:lnTo>
                <a:lnTo>
                  <a:pt x="2313" y="1695"/>
                </a:lnTo>
                <a:lnTo>
                  <a:pt x="2318" y="1701"/>
                </a:lnTo>
                <a:lnTo>
                  <a:pt x="2321" y="1709"/>
                </a:lnTo>
                <a:lnTo>
                  <a:pt x="2323" y="1718"/>
                </a:lnTo>
                <a:lnTo>
                  <a:pt x="2324" y="1726"/>
                </a:lnTo>
                <a:lnTo>
                  <a:pt x="2242" y="1726"/>
                </a:lnTo>
                <a:close/>
                <a:moveTo>
                  <a:pt x="2864" y="1796"/>
                </a:moveTo>
                <a:lnTo>
                  <a:pt x="2864" y="1796"/>
                </a:lnTo>
                <a:lnTo>
                  <a:pt x="2855" y="1803"/>
                </a:lnTo>
                <a:lnTo>
                  <a:pt x="2846" y="1808"/>
                </a:lnTo>
                <a:lnTo>
                  <a:pt x="2840" y="1811"/>
                </a:lnTo>
                <a:lnTo>
                  <a:pt x="2834" y="1813"/>
                </a:lnTo>
                <a:lnTo>
                  <a:pt x="2828" y="1814"/>
                </a:lnTo>
                <a:lnTo>
                  <a:pt x="2820" y="1815"/>
                </a:lnTo>
                <a:lnTo>
                  <a:pt x="2820" y="1815"/>
                </a:lnTo>
                <a:lnTo>
                  <a:pt x="2814" y="1814"/>
                </a:lnTo>
                <a:lnTo>
                  <a:pt x="2808" y="1814"/>
                </a:lnTo>
                <a:lnTo>
                  <a:pt x="2800" y="1812"/>
                </a:lnTo>
                <a:lnTo>
                  <a:pt x="2792" y="1807"/>
                </a:lnTo>
                <a:lnTo>
                  <a:pt x="2784" y="1802"/>
                </a:lnTo>
                <a:lnTo>
                  <a:pt x="2781" y="1797"/>
                </a:lnTo>
                <a:lnTo>
                  <a:pt x="2778" y="1793"/>
                </a:lnTo>
                <a:lnTo>
                  <a:pt x="2776" y="1787"/>
                </a:lnTo>
                <a:lnTo>
                  <a:pt x="2773" y="1781"/>
                </a:lnTo>
                <a:lnTo>
                  <a:pt x="2771" y="1774"/>
                </a:lnTo>
                <a:lnTo>
                  <a:pt x="2770" y="1766"/>
                </a:lnTo>
                <a:lnTo>
                  <a:pt x="2907" y="1766"/>
                </a:lnTo>
                <a:lnTo>
                  <a:pt x="2907" y="1766"/>
                </a:lnTo>
                <a:lnTo>
                  <a:pt x="2908" y="1750"/>
                </a:lnTo>
                <a:lnTo>
                  <a:pt x="2908" y="1750"/>
                </a:lnTo>
                <a:lnTo>
                  <a:pt x="2907" y="1737"/>
                </a:lnTo>
                <a:lnTo>
                  <a:pt x="2906" y="1725"/>
                </a:lnTo>
                <a:lnTo>
                  <a:pt x="2904" y="1712"/>
                </a:lnTo>
                <a:lnTo>
                  <a:pt x="2901" y="1701"/>
                </a:lnTo>
                <a:lnTo>
                  <a:pt x="2897" y="1691"/>
                </a:lnTo>
                <a:lnTo>
                  <a:pt x="2893" y="1682"/>
                </a:lnTo>
                <a:lnTo>
                  <a:pt x="2888" y="1673"/>
                </a:lnTo>
                <a:lnTo>
                  <a:pt x="2883" y="1665"/>
                </a:lnTo>
                <a:lnTo>
                  <a:pt x="2876" y="1657"/>
                </a:lnTo>
                <a:lnTo>
                  <a:pt x="2868" y="1652"/>
                </a:lnTo>
                <a:lnTo>
                  <a:pt x="2861" y="1646"/>
                </a:lnTo>
                <a:lnTo>
                  <a:pt x="2853" y="1642"/>
                </a:lnTo>
                <a:lnTo>
                  <a:pt x="2844" y="1639"/>
                </a:lnTo>
                <a:lnTo>
                  <a:pt x="2834" y="1635"/>
                </a:lnTo>
                <a:lnTo>
                  <a:pt x="2824" y="1634"/>
                </a:lnTo>
                <a:lnTo>
                  <a:pt x="2814" y="1633"/>
                </a:lnTo>
                <a:lnTo>
                  <a:pt x="2814" y="1633"/>
                </a:lnTo>
                <a:lnTo>
                  <a:pt x="2803" y="1634"/>
                </a:lnTo>
                <a:lnTo>
                  <a:pt x="2793" y="1635"/>
                </a:lnTo>
                <a:lnTo>
                  <a:pt x="2783" y="1639"/>
                </a:lnTo>
                <a:lnTo>
                  <a:pt x="2775" y="1642"/>
                </a:lnTo>
                <a:lnTo>
                  <a:pt x="2766" y="1646"/>
                </a:lnTo>
                <a:lnTo>
                  <a:pt x="2757" y="1653"/>
                </a:lnTo>
                <a:lnTo>
                  <a:pt x="2750" y="1658"/>
                </a:lnTo>
                <a:lnTo>
                  <a:pt x="2743" y="1666"/>
                </a:lnTo>
                <a:lnTo>
                  <a:pt x="2736" y="1674"/>
                </a:lnTo>
                <a:lnTo>
                  <a:pt x="2730" y="1683"/>
                </a:lnTo>
                <a:lnTo>
                  <a:pt x="2726" y="1693"/>
                </a:lnTo>
                <a:lnTo>
                  <a:pt x="2722" y="1703"/>
                </a:lnTo>
                <a:lnTo>
                  <a:pt x="2719" y="1714"/>
                </a:lnTo>
                <a:lnTo>
                  <a:pt x="2716" y="1726"/>
                </a:lnTo>
                <a:lnTo>
                  <a:pt x="2715" y="1737"/>
                </a:lnTo>
                <a:lnTo>
                  <a:pt x="2715" y="1750"/>
                </a:lnTo>
                <a:lnTo>
                  <a:pt x="2715" y="1750"/>
                </a:lnTo>
                <a:lnTo>
                  <a:pt x="2715" y="1762"/>
                </a:lnTo>
                <a:lnTo>
                  <a:pt x="2716" y="1774"/>
                </a:lnTo>
                <a:lnTo>
                  <a:pt x="2718" y="1786"/>
                </a:lnTo>
                <a:lnTo>
                  <a:pt x="2722" y="1797"/>
                </a:lnTo>
                <a:lnTo>
                  <a:pt x="2726" y="1807"/>
                </a:lnTo>
                <a:lnTo>
                  <a:pt x="2732" y="1817"/>
                </a:lnTo>
                <a:lnTo>
                  <a:pt x="2737" y="1826"/>
                </a:lnTo>
                <a:lnTo>
                  <a:pt x="2744" y="1834"/>
                </a:lnTo>
                <a:lnTo>
                  <a:pt x="2750" y="1840"/>
                </a:lnTo>
                <a:lnTo>
                  <a:pt x="2758" y="1847"/>
                </a:lnTo>
                <a:lnTo>
                  <a:pt x="2767" y="1853"/>
                </a:lnTo>
                <a:lnTo>
                  <a:pt x="2777" y="1857"/>
                </a:lnTo>
                <a:lnTo>
                  <a:pt x="2787" y="1860"/>
                </a:lnTo>
                <a:lnTo>
                  <a:pt x="2797" y="1864"/>
                </a:lnTo>
                <a:lnTo>
                  <a:pt x="2809" y="1865"/>
                </a:lnTo>
                <a:lnTo>
                  <a:pt x="2820" y="1866"/>
                </a:lnTo>
                <a:lnTo>
                  <a:pt x="2820" y="1866"/>
                </a:lnTo>
                <a:lnTo>
                  <a:pt x="2831" y="1865"/>
                </a:lnTo>
                <a:lnTo>
                  <a:pt x="2842" y="1864"/>
                </a:lnTo>
                <a:lnTo>
                  <a:pt x="2852" y="1860"/>
                </a:lnTo>
                <a:lnTo>
                  <a:pt x="2862" y="1857"/>
                </a:lnTo>
                <a:lnTo>
                  <a:pt x="2872" y="1851"/>
                </a:lnTo>
                <a:lnTo>
                  <a:pt x="2882" y="1846"/>
                </a:lnTo>
                <a:lnTo>
                  <a:pt x="2890" y="1838"/>
                </a:lnTo>
                <a:lnTo>
                  <a:pt x="2898" y="1830"/>
                </a:lnTo>
                <a:lnTo>
                  <a:pt x="2864" y="1796"/>
                </a:lnTo>
                <a:close/>
                <a:moveTo>
                  <a:pt x="2771" y="1726"/>
                </a:moveTo>
                <a:lnTo>
                  <a:pt x="2771" y="1726"/>
                </a:lnTo>
                <a:lnTo>
                  <a:pt x="2772" y="1716"/>
                </a:lnTo>
                <a:lnTo>
                  <a:pt x="2776" y="1707"/>
                </a:lnTo>
                <a:lnTo>
                  <a:pt x="2779" y="1699"/>
                </a:lnTo>
                <a:lnTo>
                  <a:pt x="2783" y="1693"/>
                </a:lnTo>
                <a:lnTo>
                  <a:pt x="2790" y="1687"/>
                </a:lnTo>
                <a:lnTo>
                  <a:pt x="2797" y="1684"/>
                </a:lnTo>
                <a:lnTo>
                  <a:pt x="2804" y="1680"/>
                </a:lnTo>
                <a:lnTo>
                  <a:pt x="2813" y="1680"/>
                </a:lnTo>
                <a:lnTo>
                  <a:pt x="2813" y="1680"/>
                </a:lnTo>
                <a:lnTo>
                  <a:pt x="2823" y="1682"/>
                </a:lnTo>
                <a:lnTo>
                  <a:pt x="2831" y="1684"/>
                </a:lnTo>
                <a:lnTo>
                  <a:pt x="2839" y="1688"/>
                </a:lnTo>
                <a:lnTo>
                  <a:pt x="2844" y="1695"/>
                </a:lnTo>
                <a:lnTo>
                  <a:pt x="2849" y="1701"/>
                </a:lnTo>
                <a:lnTo>
                  <a:pt x="2852" y="1709"/>
                </a:lnTo>
                <a:lnTo>
                  <a:pt x="2854" y="1718"/>
                </a:lnTo>
                <a:lnTo>
                  <a:pt x="2855" y="1726"/>
                </a:lnTo>
                <a:lnTo>
                  <a:pt x="2771" y="1726"/>
                </a:lnTo>
                <a:close/>
                <a:moveTo>
                  <a:pt x="2639" y="1783"/>
                </a:moveTo>
                <a:lnTo>
                  <a:pt x="2639" y="1783"/>
                </a:lnTo>
                <a:lnTo>
                  <a:pt x="2639" y="1791"/>
                </a:lnTo>
                <a:lnTo>
                  <a:pt x="2640" y="1796"/>
                </a:lnTo>
                <a:lnTo>
                  <a:pt x="2642" y="1802"/>
                </a:lnTo>
                <a:lnTo>
                  <a:pt x="2644" y="1806"/>
                </a:lnTo>
                <a:lnTo>
                  <a:pt x="2648" y="1810"/>
                </a:lnTo>
                <a:lnTo>
                  <a:pt x="2652" y="1812"/>
                </a:lnTo>
                <a:lnTo>
                  <a:pt x="2656" y="1813"/>
                </a:lnTo>
                <a:lnTo>
                  <a:pt x="2663" y="1813"/>
                </a:lnTo>
                <a:lnTo>
                  <a:pt x="2663" y="1813"/>
                </a:lnTo>
                <a:lnTo>
                  <a:pt x="2671" y="1813"/>
                </a:lnTo>
                <a:lnTo>
                  <a:pt x="2680" y="1811"/>
                </a:lnTo>
                <a:lnTo>
                  <a:pt x="2688" y="1807"/>
                </a:lnTo>
                <a:lnTo>
                  <a:pt x="2696" y="1803"/>
                </a:lnTo>
                <a:lnTo>
                  <a:pt x="2690" y="1855"/>
                </a:lnTo>
                <a:lnTo>
                  <a:pt x="2690" y="1855"/>
                </a:lnTo>
                <a:lnTo>
                  <a:pt x="2680" y="1859"/>
                </a:lnTo>
                <a:lnTo>
                  <a:pt x="2668" y="1862"/>
                </a:lnTo>
                <a:lnTo>
                  <a:pt x="2655" y="1865"/>
                </a:lnTo>
                <a:lnTo>
                  <a:pt x="2643" y="1866"/>
                </a:lnTo>
                <a:lnTo>
                  <a:pt x="2643" y="1866"/>
                </a:lnTo>
                <a:lnTo>
                  <a:pt x="2636" y="1865"/>
                </a:lnTo>
                <a:lnTo>
                  <a:pt x="2628" y="1864"/>
                </a:lnTo>
                <a:lnTo>
                  <a:pt x="2621" y="1861"/>
                </a:lnTo>
                <a:lnTo>
                  <a:pt x="2616" y="1859"/>
                </a:lnTo>
                <a:lnTo>
                  <a:pt x="2610" y="1856"/>
                </a:lnTo>
                <a:lnTo>
                  <a:pt x="2605" y="1853"/>
                </a:lnTo>
                <a:lnTo>
                  <a:pt x="2601" y="1848"/>
                </a:lnTo>
                <a:lnTo>
                  <a:pt x="2597" y="1843"/>
                </a:lnTo>
                <a:lnTo>
                  <a:pt x="2591" y="1833"/>
                </a:lnTo>
                <a:lnTo>
                  <a:pt x="2587" y="1821"/>
                </a:lnTo>
                <a:lnTo>
                  <a:pt x="2585" y="1810"/>
                </a:lnTo>
                <a:lnTo>
                  <a:pt x="2584" y="1797"/>
                </a:lnTo>
                <a:lnTo>
                  <a:pt x="2584" y="1689"/>
                </a:lnTo>
                <a:lnTo>
                  <a:pt x="2549" y="1689"/>
                </a:lnTo>
                <a:lnTo>
                  <a:pt x="2549" y="1639"/>
                </a:lnTo>
                <a:lnTo>
                  <a:pt x="2584" y="1639"/>
                </a:lnTo>
                <a:lnTo>
                  <a:pt x="2584" y="1581"/>
                </a:lnTo>
                <a:lnTo>
                  <a:pt x="2639" y="1554"/>
                </a:lnTo>
                <a:lnTo>
                  <a:pt x="2639" y="1639"/>
                </a:lnTo>
                <a:lnTo>
                  <a:pt x="2688" y="1639"/>
                </a:lnTo>
                <a:lnTo>
                  <a:pt x="2688" y="1689"/>
                </a:lnTo>
                <a:lnTo>
                  <a:pt x="2639" y="1689"/>
                </a:lnTo>
                <a:lnTo>
                  <a:pt x="2639" y="1783"/>
                </a:lnTo>
                <a:close/>
                <a:moveTo>
                  <a:pt x="2532" y="1855"/>
                </a:moveTo>
                <a:lnTo>
                  <a:pt x="2532" y="1855"/>
                </a:lnTo>
                <a:lnTo>
                  <a:pt x="2522" y="1859"/>
                </a:lnTo>
                <a:lnTo>
                  <a:pt x="2511" y="1862"/>
                </a:lnTo>
                <a:lnTo>
                  <a:pt x="2499" y="1865"/>
                </a:lnTo>
                <a:lnTo>
                  <a:pt x="2487" y="1866"/>
                </a:lnTo>
                <a:lnTo>
                  <a:pt x="2487" y="1866"/>
                </a:lnTo>
                <a:lnTo>
                  <a:pt x="2478" y="1865"/>
                </a:lnTo>
                <a:lnTo>
                  <a:pt x="2471" y="1864"/>
                </a:lnTo>
                <a:lnTo>
                  <a:pt x="2464" y="1861"/>
                </a:lnTo>
                <a:lnTo>
                  <a:pt x="2458" y="1859"/>
                </a:lnTo>
                <a:lnTo>
                  <a:pt x="2453" y="1856"/>
                </a:lnTo>
                <a:lnTo>
                  <a:pt x="2448" y="1853"/>
                </a:lnTo>
                <a:lnTo>
                  <a:pt x="2443" y="1848"/>
                </a:lnTo>
                <a:lnTo>
                  <a:pt x="2440" y="1843"/>
                </a:lnTo>
                <a:lnTo>
                  <a:pt x="2434" y="1833"/>
                </a:lnTo>
                <a:lnTo>
                  <a:pt x="2430" y="1821"/>
                </a:lnTo>
                <a:lnTo>
                  <a:pt x="2427" y="1810"/>
                </a:lnTo>
                <a:lnTo>
                  <a:pt x="2427" y="1797"/>
                </a:lnTo>
                <a:lnTo>
                  <a:pt x="2427" y="1689"/>
                </a:lnTo>
                <a:lnTo>
                  <a:pt x="2393" y="1689"/>
                </a:lnTo>
                <a:lnTo>
                  <a:pt x="2393" y="1639"/>
                </a:lnTo>
                <a:lnTo>
                  <a:pt x="2427" y="1639"/>
                </a:lnTo>
                <a:lnTo>
                  <a:pt x="2427" y="1581"/>
                </a:lnTo>
                <a:lnTo>
                  <a:pt x="2482" y="1554"/>
                </a:lnTo>
                <a:lnTo>
                  <a:pt x="2482" y="1639"/>
                </a:lnTo>
                <a:lnTo>
                  <a:pt x="2528" y="1639"/>
                </a:lnTo>
                <a:lnTo>
                  <a:pt x="2528" y="1689"/>
                </a:lnTo>
                <a:lnTo>
                  <a:pt x="2482" y="1689"/>
                </a:lnTo>
                <a:lnTo>
                  <a:pt x="2482" y="1783"/>
                </a:lnTo>
                <a:lnTo>
                  <a:pt x="2482" y="1783"/>
                </a:lnTo>
                <a:lnTo>
                  <a:pt x="2482" y="1791"/>
                </a:lnTo>
                <a:lnTo>
                  <a:pt x="2483" y="1796"/>
                </a:lnTo>
                <a:lnTo>
                  <a:pt x="2485" y="1802"/>
                </a:lnTo>
                <a:lnTo>
                  <a:pt x="2488" y="1806"/>
                </a:lnTo>
                <a:lnTo>
                  <a:pt x="2491" y="1810"/>
                </a:lnTo>
                <a:lnTo>
                  <a:pt x="2495" y="1812"/>
                </a:lnTo>
                <a:lnTo>
                  <a:pt x="2500" y="1813"/>
                </a:lnTo>
                <a:lnTo>
                  <a:pt x="2505" y="1813"/>
                </a:lnTo>
                <a:lnTo>
                  <a:pt x="2505" y="1813"/>
                </a:lnTo>
                <a:lnTo>
                  <a:pt x="2514" y="1813"/>
                </a:lnTo>
                <a:lnTo>
                  <a:pt x="2523" y="1811"/>
                </a:lnTo>
                <a:lnTo>
                  <a:pt x="2531" y="1807"/>
                </a:lnTo>
                <a:lnTo>
                  <a:pt x="2538" y="1803"/>
                </a:lnTo>
                <a:lnTo>
                  <a:pt x="2532" y="1855"/>
                </a:lnTo>
                <a:close/>
                <a:moveTo>
                  <a:pt x="3074" y="1700"/>
                </a:moveTo>
                <a:lnTo>
                  <a:pt x="3074" y="1700"/>
                </a:lnTo>
                <a:lnTo>
                  <a:pt x="3066" y="1695"/>
                </a:lnTo>
                <a:lnTo>
                  <a:pt x="3057" y="1691"/>
                </a:lnTo>
                <a:lnTo>
                  <a:pt x="3047" y="1689"/>
                </a:lnTo>
                <a:lnTo>
                  <a:pt x="3037" y="1688"/>
                </a:lnTo>
                <a:lnTo>
                  <a:pt x="3037" y="1688"/>
                </a:lnTo>
                <a:lnTo>
                  <a:pt x="3028" y="1689"/>
                </a:lnTo>
                <a:lnTo>
                  <a:pt x="3020" y="1691"/>
                </a:lnTo>
                <a:lnTo>
                  <a:pt x="3013" y="1696"/>
                </a:lnTo>
                <a:lnTo>
                  <a:pt x="3007" y="1701"/>
                </a:lnTo>
                <a:lnTo>
                  <a:pt x="3003" y="1708"/>
                </a:lnTo>
                <a:lnTo>
                  <a:pt x="3001" y="1717"/>
                </a:lnTo>
                <a:lnTo>
                  <a:pt x="2999" y="1728"/>
                </a:lnTo>
                <a:lnTo>
                  <a:pt x="2998" y="1740"/>
                </a:lnTo>
                <a:lnTo>
                  <a:pt x="2998" y="1860"/>
                </a:lnTo>
                <a:lnTo>
                  <a:pt x="2943" y="1860"/>
                </a:lnTo>
                <a:lnTo>
                  <a:pt x="2943" y="1639"/>
                </a:lnTo>
                <a:lnTo>
                  <a:pt x="2998" y="1639"/>
                </a:lnTo>
                <a:lnTo>
                  <a:pt x="2998" y="1657"/>
                </a:lnTo>
                <a:lnTo>
                  <a:pt x="2998" y="1657"/>
                </a:lnTo>
                <a:lnTo>
                  <a:pt x="3003" y="1652"/>
                </a:lnTo>
                <a:lnTo>
                  <a:pt x="3009" y="1646"/>
                </a:lnTo>
                <a:lnTo>
                  <a:pt x="3014" y="1643"/>
                </a:lnTo>
                <a:lnTo>
                  <a:pt x="3021" y="1640"/>
                </a:lnTo>
                <a:lnTo>
                  <a:pt x="3026" y="1636"/>
                </a:lnTo>
                <a:lnTo>
                  <a:pt x="3033" y="1635"/>
                </a:lnTo>
                <a:lnTo>
                  <a:pt x="3039" y="1634"/>
                </a:lnTo>
                <a:lnTo>
                  <a:pt x="3047" y="1633"/>
                </a:lnTo>
                <a:lnTo>
                  <a:pt x="3047" y="1633"/>
                </a:lnTo>
                <a:lnTo>
                  <a:pt x="3058" y="1634"/>
                </a:lnTo>
                <a:lnTo>
                  <a:pt x="3069" y="1637"/>
                </a:lnTo>
                <a:lnTo>
                  <a:pt x="3079" y="1641"/>
                </a:lnTo>
                <a:lnTo>
                  <a:pt x="3088" y="1646"/>
                </a:lnTo>
                <a:lnTo>
                  <a:pt x="3074" y="1700"/>
                </a:lnTo>
                <a:close/>
                <a:moveTo>
                  <a:pt x="593" y="1579"/>
                </a:moveTo>
                <a:lnTo>
                  <a:pt x="593" y="1607"/>
                </a:lnTo>
                <a:lnTo>
                  <a:pt x="537" y="1607"/>
                </a:lnTo>
                <a:lnTo>
                  <a:pt x="537" y="1551"/>
                </a:lnTo>
                <a:lnTo>
                  <a:pt x="593" y="1551"/>
                </a:lnTo>
                <a:lnTo>
                  <a:pt x="593" y="1579"/>
                </a:lnTo>
                <a:close/>
                <a:moveTo>
                  <a:pt x="975" y="1639"/>
                </a:moveTo>
                <a:lnTo>
                  <a:pt x="1030" y="1639"/>
                </a:lnTo>
                <a:lnTo>
                  <a:pt x="1030" y="1738"/>
                </a:lnTo>
                <a:lnTo>
                  <a:pt x="1030" y="1860"/>
                </a:lnTo>
                <a:lnTo>
                  <a:pt x="975" y="1860"/>
                </a:lnTo>
                <a:lnTo>
                  <a:pt x="975" y="1639"/>
                </a:lnTo>
                <a:close/>
                <a:moveTo>
                  <a:pt x="1030" y="1579"/>
                </a:moveTo>
                <a:lnTo>
                  <a:pt x="1030" y="1607"/>
                </a:lnTo>
                <a:lnTo>
                  <a:pt x="975" y="1607"/>
                </a:lnTo>
                <a:lnTo>
                  <a:pt x="975" y="1551"/>
                </a:lnTo>
                <a:lnTo>
                  <a:pt x="1030" y="1551"/>
                </a:lnTo>
                <a:lnTo>
                  <a:pt x="1030" y="1579"/>
                </a:lnTo>
                <a:close/>
                <a:moveTo>
                  <a:pt x="2539" y="2042"/>
                </a:moveTo>
                <a:lnTo>
                  <a:pt x="2539" y="2042"/>
                </a:lnTo>
                <a:lnTo>
                  <a:pt x="2534" y="2038"/>
                </a:lnTo>
                <a:lnTo>
                  <a:pt x="2528" y="2033"/>
                </a:lnTo>
                <a:lnTo>
                  <a:pt x="2523" y="2030"/>
                </a:lnTo>
                <a:lnTo>
                  <a:pt x="2516" y="2027"/>
                </a:lnTo>
                <a:lnTo>
                  <a:pt x="2511" y="2025"/>
                </a:lnTo>
                <a:lnTo>
                  <a:pt x="2504" y="2024"/>
                </a:lnTo>
                <a:lnTo>
                  <a:pt x="2490" y="2021"/>
                </a:lnTo>
                <a:lnTo>
                  <a:pt x="2490" y="2021"/>
                </a:lnTo>
                <a:lnTo>
                  <a:pt x="2480" y="2022"/>
                </a:lnTo>
                <a:lnTo>
                  <a:pt x="2471" y="2024"/>
                </a:lnTo>
                <a:lnTo>
                  <a:pt x="2462" y="2027"/>
                </a:lnTo>
                <a:lnTo>
                  <a:pt x="2453" y="2030"/>
                </a:lnTo>
                <a:lnTo>
                  <a:pt x="2446" y="2035"/>
                </a:lnTo>
                <a:lnTo>
                  <a:pt x="2439" y="2039"/>
                </a:lnTo>
                <a:lnTo>
                  <a:pt x="2432" y="2046"/>
                </a:lnTo>
                <a:lnTo>
                  <a:pt x="2426" y="2052"/>
                </a:lnTo>
                <a:lnTo>
                  <a:pt x="2421" y="2060"/>
                </a:lnTo>
                <a:lnTo>
                  <a:pt x="2416" y="2069"/>
                </a:lnTo>
                <a:lnTo>
                  <a:pt x="2413" y="2078"/>
                </a:lnTo>
                <a:lnTo>
                  <a:pt x="2409" y="2089"/>
                </a:lnTo>
                <a:lnTo>
                  <a:pt x="2406" y="2099"/>
                </a:lnTo>
                <a:lnTo>
                  <a:pt x="2405" y="2111"/>
                </a:lnTo>
                <a:lnTo>
                  <a:pt x="2404" y="2123"/>
                </a:lnTo>
                <a:lnTo>
                  <a:pt x="2403" y="2136"/>
                </a:lnTo>
                <a:lnTo>
                  <a:pt x="2403" y="2136"/>
                </a:lnTo>
                <a:lnTo>
                  <a:pt x="2404" y="2149"/>
                </a:lnTo>
                <a:lnTo>
                  <a:pt x="2405" y="2161"/>
                </a:lnTo>
                <a:lnTo>
                  <a:pt x="2406" y="2174"/>
                </a:lnTo>
                <a:lnTo>
                  <a:pt x="2409" y="2186"/>
                </a:lnTo>
                <a:lnTo>
                  <a:pt x="2411" y="2196"/>
                </a:lnTo>
                <a:lnTo>
                  <a:pt x="2416" y="2206"/>
                </a:lnTo>
                <a:lnTo>
                  <a:pt x="2420" y="2214"/>
                </a:lnTo>
                <a:lnTo>
                  <a:pt x="2426" y="2222"/>
                </a:lnTo>
                <a:lnTo>
                  <a:pt x="2431" y="2230"/>
                </a:lnTo>
                <a:lnTo>
                  <a:pt x="2438" y="2235"/>
                </a:lnTo>
                <a:lnTo>
                  <a:pt x="2445" y="2241"/>
                </a:lnTo>
                <a:lnTo>
                  <a:pt x="2452" y="2245"/>
                </a:lnTo>
                <a:lnTo>
                  <a:pt x="2461" y="2250"/>
                </a:lnTo>
                <a:lnTo>
                  <a:pt x="2470" y="2252"/>
                </a:lnTo>
                <a:lnTo>
                  <a:pt x="2479" y="2253"/>
                </a:lnTo>
                <a:lnTo>
                  <a:pt x="2489" y="2254"/>
                </a:lnTo>
                <a:lnTo>
                  <a:pt x="2489" y="2254"/>
                </a:lnTo>
                <a:lnTo>
                  <a:pt x="2495" y="2253"/>
                </a:lnTo>
                <a:lnTo>
                  <a:pt x="2503" y="2252"/>
                </a:lnTo>
                <a:lnTo>
                  <a:pt x="2510" y="2251"/>
                </a:lnTo>
                <a:lnTo>
                  <a:pt x="2515" y="2249"/>
                </a:lnTo>
                <a:lnTo>
                  <a:pt x="2522" y="2245"/>
                </a:lnTo>
                <a:lnTo>
                  <a:pt x="2528" y="2242"/>
                </a:lnTo>
                <a:lnTo>
                  <a:pt x="2534" y="2238"/>
                </a:lnTo>
                <a:lnTo>
                  <a:pt x="2539" y="2232"/>
                </a:lnTo>
                <a:lnTo>
                  <a:pt x="2539" y="2249"/>
                </a:lnTo>
                <a:lnTo>
                  <a:pt x="2595" y="2249"/>
                </a:lnTo>
                <a:lnTo>
                  <a:pt x="2595" y="1934"/>
                </a:lnTo>
                <a:lnTo>
                  <a:pt x="2539" y="1962"/>
                </a:lnTo>
                <a:lnTo>
                  <a:pt x="2539" y="2042"/>
                </a:lnTo>
                <a:close/>
                <a:moveTo>
                  <a:pt x="2501" y="2203"/>
                </a:moveTo>
                <a:lnTo>
                  <a:pt x="2501" y="2203"/>
                </a:lnTo>
                <a:lnTo>
                  <a:pt x="2493" y="2202"/>
                </a:lnTo>
                <a:lnTo>
                  <a:pt x="2487" y="2200"/>
                </a:lnTo>
                <a:lnTo>
                  <a:pt x="2479" y="2197"/>
                </a:lnTo>
                <a:lnTo>
                  <a:pt x="2472" y="2190"/>
                </a:lnTo>
                <a:lnTo>
                  <a:pt x="2467" y="2181"/>
                </a:lnTo>
                <a:lnTo>
                  <a:pt x="2462" y="2169"/>
                </a:lnTo>
                <a:lnTo>
                  <a:pt x="2460" y="2154"/>
                </a:lnTo>
                <a:lnTo>
                  <a:pt x="2459" y="2134"/>
                </a:lnTo>
                <a:lnTo>
                  <a:pt x="2459" y="2134"/>
                </a:lnTo>
                <a:lnTo>
                  <a:pt x="2460" y="2117"/>
                </a:lnTo>
                <a:lnTo>
                  <a:pt x="2462" y="2103"/>
                </a:lnTo>
                <a:lnTo>
                  <a:pt x="2467" y="2092"/>
                </a:lnTo>
                <a:lnTo>
                  <a:pt x="2472" y="2084"/>
                </a:lnTo>
                <a:lnTo>
                  <a:pt x="2479" y="2079"/>
                </a:lnTo>
                <a:lnTo>
                  <a:pt x="2485" y="2074"/>
                </a:lnTo>
                <a:lnTo>
                  <a:pt x="2493" y="2073"/>
                </a:lnTo>
                <a:lnTo>
                  <a:pt x="2500" y="2072"/>
                </a:lnTo>
                <a:lnTo>
                  <a:pt x="2500" y="2072"/>
                </a:lnTo>
                <a:lnTo>
                  <a:pt x="2507" y="2073"/>
                </a:lnTo>
                <a:lnTo>
                  <a:pt x="2514" y="2074"/>
                </a:lnTo>
                <a:lnTo>
                  <a:pt x="2520" y="2076"/>
                </a:lnTo>
                <a:lnTo>
                  <a:pt x="2525" y="2080"/>
                </a:lnTo>
                <a:lnTo>
                  <a:pt x="2530" y="2083"/>
                </a:lnTo>
                <a:lnTo>
                  <a:pt x="2534" y="2086"/>
                </a:lnTo>
                <a:lnTo>
                  <a:pt x="2539" y="2094"/>
                </a:lnTo>
                <a:lnTo>
                  <a:pt x="2539" y="2181"/>
                </a:lnTo>
                <a:lnTo>
                  <a:pt x="2539" y="2181"/>
                </a:lnTo>
                <a:lnTo>
                  <a:pt x="2533" y="2189"/>
                </a:lnTo>
                <a:lnTo>
                  <a:pt x="2525" y="2196"/>
                </a:lnTo>
                <a:lnTo>
                  <a:pt x="2520" y="2199"/>
                </a:lnTo>
                <a:lnTo>
                  <a:pt x="2514" y="2201"/>
                </a:lnTo>
                <a:lnTo>
                  <a:pt x="2507" y="2202"/>
                </a:lnTo>
                <a:lnTo>
                  <a:pt x="2501" y="2203"/>
                </a:lnTo>
                <a:lnTo>
                  <a:pt x="2501" y="2203"/>
                </a:lnTo>
                <a:close/>
                <a:moveTo>
                  <a:pt x="672" y="2089"/>
                </a:moveTo>
                <a:lnTo>
                  <a:pt x="672" y="2089"/>
                </a:lnTo>
                <a:lnTo>
                  <a:pt x="664" y="2084"/>
                </a:lnTo>
                <a:lnTo>
                  <a:pt x="656" y="2080"/>
                </a:lnTo>
                <a:lnTo>
                  <a:pt x="646" y="2078"/>
                </a:lnTo>
                <a:lnTo>
                  <a:pt x="636" y="2076"/>
                </a:lnTo>
                <a:lnTo>
                  <a:pt x="636" y="2076"/>
                </a:lnTo>
                <a:lnTo>
                  <a:pt x="627" y="2078"/>
                </a:lnTo>
                <a:lnTo>
                  <a:pt x="618" y="2080"/>
                </a:lnTo>
                <a:lnTo>
                  <a:pt x="611" y="2084"/>
                </a:lnTo>
                <a:lnTo>
                  <a:pt x="606" y="2090"/>
                </a:lnTo>
                <a:lnTo>
                  <a:pt x="601" y="2096"/>
                </a:lnTo>
                <a:lnTo>
                  <a:pt x="599" y="2105"/>
                </a:lnTo>
                <a:lnTo>
                  <a:pt x="597" y="2116"/>
                </a:lnTo>
                <a:lnTo>
                  <a:pt x="596" y="2128"/>
                </a:lnTo>
                <a:lnTo>
                  <a:pt x="596" y="2249"/>
                </a:lnTo>
                <a:lnTo>
                  <a:pt x="542" y="2249"/>
                </a:lnTo>
                <a:lnTo>
                  <a:pt x="542" y="2027"/>
                </a:lnTo>
                <a:lnTo>
                  <a:pt x="596" y="2027"/>
                </a:lnTo>
                <a:lnTo>
                  <a:pt x="596" y="2046"/>
                </a:lnTo>
                <a:lnTo>
                  <a:pt x="596" y="2046"/>
                </a:lnTo>
                <a:lnTo>
                  <a:pt x="601" y="2040"/>
                </a:lnTo>
                <a:lnTo>
                  <a:pt x="607" y="2035"/>
                </a:lnTo>
                <a:lnTo>
                  <a:pt x="613" y="2031"/>
                </a:lnTo>
                <a:lnTo>
                  <a:pt x="619" y="2028"/>
                </a:lnTo>
                <a:lnTo>
                  <a:pt x="625" y="2025"/>
                </a:lnTo>
                <a:lnTo>
                  <a:pt x="631" y="2024"/>
                </a:lnTo>
                <a:lnTo>
                  <a:pt x="639" y="2022"/>
                </a:lnTo>
                <a:lnTo>
                  <a:pt x="646" y="2021"/>
                </a:lnTo>
                <a:lnTo>
                  <a:pt x="646" y="2021"/>
                </a:lnTo>
                <a:lnTo>
                  <a:pt x="657" y="2022"/>
                </a:lnTo>
                <a:lnTo>
                  <a:pt x="668" y="2026"/>
                </a:lnTo>
                <a:lnTo>
                  <a:pt x="679" y="2030"/>
                </a:lnTo>
                <a:lnTo>
                  <a:pt x="688" y="2036"/>
                </a:lnTo>
                <a:lnTo>
                  <a:pt x="672" y="2089"/>
                </a:lnTo>
                <a:close/>
                <a:moveTo>
                  <a:pt x="241" y="2027"/>
                </a:moveTo>
                <a:lnTo>
                  <a:pt x="295" y="2027"/>
                </a:lnTo>
                <a:lnTo>
                  <a:pt x="232" y="2249"/>
                </a:lnTo>
                <a:lnTo>
                  <a:pt x="184" y="2249"/>
                </a:lnTo>
                <a:lnTo>
                  <a:pt x="160" y="2157"/>
                </a:lnTo>
                <a:lnTo>
                  <a:pt x="160" y="2157"/>
                </a:lnTo>
                <a:lnTo>
                  <a:pt x="148" y="2108"/>
                </a:lnTo>
                <a:lnTo>
                  <a:pt x="148" y="2108"/>
                </a:lnTo>
                <a:lnTo>
                  <a:pt x="142" y="2132"/>
                </a:lnTo>
                <a:lnTo>
                  <a:pt x="136" y="2158"/>
                </a:lnTo>
                <a:lnTo>
                  <a:pt x="110" y="2249"/>
                </a:lnTo>
                <a:lnTo>
                  <a:pt x="63" y="2249"/>
                </a:lnTo>
                <a:lnTo>
                  <a:pt x="63" y="2247"/>
                </a:lnTo>
                <a:lnTo>
                  <a:pt x="0" y="2027"/>
                </a:lnTo>
                <a:lnTo>
                  <a:pt x="57" y="2027"/>
                </a:lnTo>
                <a:lnTo>
                  <a:pt x="77" y="2110"/>
                </a:lnTo>
                <a:lnTo>
                  <a:pt x="77" y="2110"/>
                </a:lnTo>
                <a:lnTo>
                  <a:pt x="83" y="2136"/>
                </a:lnTo>
                <a:lnTo>
                  <a:pt x="88" y="2164"/>
                </a:lnTo>
                <a:lnTo>
                  <a:pt x="88" y="2164"/>
                </a:lnTo>
                <a:lnTo>
                  <a:pt x="95" y="2136"/>
                </a:lnTo>
                <a:lnTo>
                  <a:pt x="102" y="2108"/>
                </a:lnTo>
                <a:lnTo>
                  <a:pt x="125" y="2027"/>
                </a:lnTo>
                <a:lnTo>
                  <a:pt x="172" y="2027"/>
                </a:lnTo>
                <a:lnTo>
                  <a:pt x="195" y="2108"/>
                </a:lnTo>
                <a:lnTo>
                  <a:pt x="195" y="2108"/>
                </a:lnTo>
                <a:lnTo>
                  <a:pt x="202" y="2135"/>
                </a:lnTo>
                <a:lnTo>
                  <a:pt x="209" y="2165"/>
                </a:lnTo>
                <a:lnTo>
                  <a:pt x="209" y="2165"/>
                </a:lnTo>
                <a:lnTo>
                  <a:pt x="213" y="2139"/>
                </a:lnTo>
                <a:lnTo>
                  <a:pt x="220" y="2108"/>
                </a:lnTo>
                <a:lnTo>
                  <a:pt x="241" y="2027"/>
                </a:lnTo>
                <a:close/>
                <a:moveTo>
                  <a:pt x="406" y="2021"/>
                </a:moveTo>
                <a:lnTo>
                  <a:pt x="406" y="2021"/>
                </a:lnTo>
                <a:lnTo>
                  <a:pt x="396" y="2022"/>
                </a:lnTo>
                <a:lnTo>
                  <a:pt x="385" y="2024"/>
                </a:lnTo>
                <a:lnTo>
                  <a:pt x="375" y="2027"/>
                </a:lnTo>
                <a:lnTo>
                  <a:pt x="366" y="2030"/>
                </a:lnTo>
                <a:lnTo>
                  <a:pt x="358" y="2035"/>
                </a:lnTo>
                <a:lnTo>
                  <a:pt x="349" y="2040"/>
                </a:lnTo>
                <a:lnTo>
                  <a:pt x="341" y="2047"/>
                </a:lnTo>
                <a:lnTo>
                  <a:pt x="334" y="2054"/>
                </a:lnTo>
                <a:lnTo>
                  <a:pt x="328" y="2062"/>
                </a:lnTo>
                <a:lnTo>
                  <a:pt x="322" y="2071"/>
                </a:lnTo>
                <a:lnTo>
                  <a:pt x="317" y="2081"/>
                </a:lnTo>
                <a:lnTo>
                  <a:pt x="313" y="2091"/>
                </a:lnTo>
                <a:lnTo>
                  <a:pt x="310" y="2102"/>
                </a:lnTo>
                <a:lnTo>
                  <a:pt x="308" y="2113"/>
                </a:lnTo>
                <a:lnTo>
                  <a:pt x="306" y="2125"/>
                </a:lnTo>
                <a:lnTo>
                  <a:pt x="306" y="2138"/>
                </a:lnTo>
                <a:lnTo>
                  <a:pt x="306" y="2138"/>
                </a:lnTo>
                <a:lnTo>
                  <a:pt x="306" y="2150"/>
                </a:lnTo>
                <a:lnTo>
                  <a:pt x="308" y="2163"/>
                </a:lnTo>
                <a:lnTo>
                  <a:pt x="310" y="2174"/>
                </a:lnTo>
                <a:lnTo>
                  <a:pt x="313" y="2185"/>
                </a:lnTo>
                <a:lnTo>
                  <a:pt x="317" y="2194"/>
                </a:lnTo>
                <a:lnTo>
                  <a:pt x="322" y="2204"/>
                </a:lnTo>
                <a:lnTo>
                  <a:pt x="328" y="2213"/>
                </a:lnTo>
                <a:lnTo>
                  <a:pt x="334" y="2221"/>
                </a:lnTo>
                <a:lnTo>
                  <a:pt x="341" y="2229"/>
                </a:lnTo>
                <a:lnTo>
                  <a:pt x="349" y="2235"/>
                </a:lnTo>
                <a:lnTo>
                  <a:pt x="358" y="2241"/>
                </a:lnTo>
                <a:lnTo>
                  <a:pt x="366" y="2245"/>
                </a:lnTo>
                <a:lnTo>
                  <a:pt x="375" y="2249"/>
                </a:lnTo>
                <a:lnTo>
                  <a:pt x="385" y="2252"/>
                </a:lnTo>
                <a:lnTo>
                  <a:pt x="396" y="2253"/>
                </a:lnTo>
                <a:lnTo>
                  <a:pt x="406" y="2254"/>
                </a:lnTo>
                <a:lnTo>
                  <a:pt x="406" y="2254"/>
                </a:lnTo>
                <a:lnTo>
                  <a:pt x="417" y="2253"/>
                </a:lnTo>
                <a:lnTo>
                  <a:pt x="428" y="2252"/>
                </a:lnTo>
                <a:lnTo>
                  <a:pt x="438" y="2249"/>
                </a:lnTo>
                <a:lnTo>
                  <a:pt x="447" y="2245"/>
                </a:lnTo>
                <a:lnTo>
                  <a:pt x="456" y="2241"/>
                </a:lnTo>
                <a:lnTo>
                  <a:pt x="465" y="2235"/>
                </a:lnTo>
                <a:lnTo>
                  <a:pt x="472" y="2229"/>
                </a:lnTo>
                <a:lnTo>
                  <a:pt x="479" y="2221"/>
                </a:lnTo>
                <a:lnTo>
                  <a:pt x="486" y="2213"/>
                </a:lnTo>
                <a:lnTo>
                  <a:pt x="491" y="2204"/>
                </a:lnTo>
                <a:lnTo>
                  <a:pt x="496" y="2194"/>
                </a:lnTo>
                <a:lnTo>
                  <a:pt x="500" y="2185"/>
                </a:lnTo>
                <a:lnTo>
                  <a:pt x="503" y="2174"/>
                </a:lnTo>
                <a:lnTo>
                  <a:pt x="505" y="2163"/>
                </a:lnTo>
                <a:lnTo>
                  <a:pt x="508" y="2150"/>
                </a:lnTo>
                <a:lnTo>
                  <a:pt x="508" y="2138"/>
                </a:lnTo>
                <a:lnTo>
                  <a:pt x="508" y="2138"/>
                </a:lnTo>
                <a:lnTo>
                  <a:pt x="508" y="2125"/>
                </a:lnTo>
                <a:lnTo>
                  <a:pt x="505" y="2113"/>
                </a:lnTo>
                <a:lnTo>
                  <a:pt x="503" y="2102"/>
                </a:lnTo>
                <a:lnTo>
                  <a:pt x="500" y="2091"/>
                </a:lnTo>
                <a:lnTo>
                  <a:pt x="496" y="2081"/>
                </a:lnTo>
                <a:lnTo>
                  <a:pt x="491" y="2071"/>
                </a:lnTo>
                <a:lnTo>
                  <a:pt x="486" y="2062"/>
                </a:lnTo>
                <a:lnTo>
                  <a:pt x="479" y="2054"/>
                </a:lnTo>
                <a:lnTo>
                  <a:pt x="472" y="2047"/>
                </a:lnTo>
                <a:lnTo>
                  <a:pt x="465" y="2040"/>
                </a:lnTo>
                <a:lnTo>
                  <a:pt x="456" y="2035"/>
                </a:lnTo>
                <a:lnTo>
                  <a:pt x="447" y="2030"/>
                </a:lnTo>
                <a:lnTo>
                  <a:pt x="438" y="2027"/>
                </a:lnTo>
                <a:lnTo>
                  <a:pt x="428" y="2024"/>
                </a:lnTo>
                <a:lnTo>
                  <a:pt x="417" y="2022"/>
                </a:lnTo>
                <a:lnTo>
                  <a:pt x="406" y="2021"/>
                </a:lnTo>
                <a:lnTo>
                  <a:pt x="406" y="2021"/>
                </a:lnTo>
                <a:close/>
                <a:moveTo>
                  <a:pt x="406" y="2202"/>
                </a:moveTo>
                <a:lnTo>
                  <a:pt x="406" y="2202"/>
                </a:lnTo>
                <a:lnTo>
                  <a:pt x="396" y="2201"/>
                </a:lnTo>
                <a:lnTo>
                  <a:pt x="387" y="2198"/>
                </a:lnTo>
                <a:lnTo>
                  <a:pt x="381" y="2192"/>
                </a:lnTo>
                <a:lnTo>
                  <a:pt x="374" y="2185"/>
                </a:lnTo>
                <a:lnTo>
                  <a:pt x="369" y="2176"/>
                </a:lnTo>
                <a:lnTo>
                  <a:pt x="364" y="2165"/>
                </a:lnTo>
                <a:lnTo>
                  <a:pt x="362" y="2151"/>
                </a:lnTo>
                <a:lnTo>
                  <a:pt x="362" y="2138"/>
                </a:lnTo>
                <a:lnTo>
                  <a:pt x="362" y="2138"/>
                </a:lnTo>
                <a:lnTo>
                  <a:pt x="362" y="2124"/>
                </a:lnTo>
                <a:lnTo>
                  <a:pt x="364" y="2111"/>
                </a:lnTo>
                <a:lnTo>
                  <a:pt x="369" y="2101"/>
                </a:lnTo>
                <a:lnTo>
                  <a:pt x="374" y="2091"/>
                </a:lnTo>
                <a:lnTo>
                  <a:pt x="381" y="2083"/>
                </a:lnTo>
                <a:lnTo>
                  <a:pt x="387" y="2078"/>
                </a:lnTo>
                <a:lnTo>
                  <a:pt x="396" y="2074"/>
                </a:lnTo>
                <a:lnTo>
                  <a:pt x="406" y="2073"/>
                </a:lnTo>
                <a:lnTo>
                  <a:pt x="406" y="2073"/>
                </a:lnTo>
                <a:lnTo>
                  <a:pt x="416" y="2074"/>
                </a:lnTo>
                <a:lnTo>
                  <a:pt x="425" y="2078"/>
                </a:lnTo>
                <a:lnTo>
                  <a:pt x="433" y="2083"/>
                </a:lnTo>
                <a:lnTo>
                  <a:pt x="439" y="2091"/>
                </a:lnTo>
                <a:lnTo>
                  <a:pt x="445" y="2101"/>
                </a:lnTo>
                <a:lnTo>
                  <a:pt x="448" y="2111"/>
                </a:lnTo>
                <a:lnTo>
                  <a:pt x="450" y="2124"/>
                </a:lnTo>
                <a:lnTo>
                  <a:pt x="451" y="2138"/>
                </a:lnTo>
                <a:lnTo>
                  <a:pt x="451" y="2138"/>
                </a:lnTo>
                <a:lnTo>
                  <a:pt x="450" y="2151"/>
                </a:lnTo>
                <a:lnTo>
                  <a:pt x="448" y="2165"/>
                </a:lnTo>
                <a:lnTo>
                  <a:pt x="445" y="2176"/>
                </a:lnTo>
                <a:lnTo>
                  <a:pt x="439" y="2185"/>
                </a:lnTo>
                <a:lnTo>
                  <a:pt x="433" y="2192"/>
                </a:lnTo>
                <a:lnTo>
                  <a:pt x="425" y="2198"/>
                </a:lnTo>
                <a:lnTo>
                  <a:pt x="416" y="2201"/>
                </a:lnTo>
                <a:lnTo>
                  <a:pt x="406" y="2202"/>
                </a:lnTo>
                <a:lnTo>
                  <a:pt x="406" y="2202"/>
                </a:lnTo>
                <a:close/>
                <a:moveTo>
                  <a:pt x="2269" y="2089"/>
                </a:moveTo>
                <a:lnTo>
                  <a:pt x="2269" y="2089"/>
                </a:lnTo>
                <a:lnTo>
                  <a:pt x="2260" y="2084"/>
                </a:lnTo>
                <a:lnTo>
                  <a:pt x="2251" y="2080"/>
                </a:lnTo>
                <a:lnTo>
                  <a:pt x="2242" y="2078"/>
                </a:lnTo>
                <a:lnTo>
                  <a:pt x="2233" y="2076"/>
                </a:lnTo>
                <a:lnTo>
                  <a:pt x="2233" y="2076"/>
                </a:lnTo>
                <a:lnTo>
                  <a:pt x="2223" y="2078"/>
                </a:lnTo>
                <a:lnTo>
                  <a:pt x="2215" y="2080"/>
                </a:lnTo>
                <a:lnTo>
                  <a:pt x="2208" y="2084"/>
                </a:lnTo>
                <a:lnTo>
                  <a:pt x="2203" y="2090"/>
                </a:lnTo>
                <a:lnTo>
                  <a:pt x="2198" y="2096"/>
                </a:lnTo>
                <a:lnTo>
                  <a:pt x="2195" y="2105"/>
                </a:lnTo>
                <a:lnTo>
                  <a:pt x="2193" y="2116"/>
                </a:lnTo>
                <a:lnTo>
                  <a:pt x="2193" y="2128"/>
                </a:lnTo>
                <a:lnTo>
                  <a:pt x="2193" y="2249"/>
                </a:lnTo>
                <a:lnTo>
                  <a:pt x="2138" y="2249"/>
                </a:lnTo>
                <a:lnTo>
                  <a:pt x="2138" y="2027"/>
                </a:lnTo>
                <a:lnTo>
                  <a:pt x="2193" y="2027"/>
                </a:lnTo>
                <a:lnTo>
                  <a:pt x="2193" y="2046"/>
                </a:lnTo>
                <a:lnTo>
                  <a:pt x="2193" y="2046"/>
                </a:lnTo>
                <a:lnTo>
                  <a:pt x="2197" y="2040"/>
                </a:lnTo>
                <a:lnTo>
                  <a:pt x="2203" y="2035"/>
                </a:lnTo>
                <a:lnTo>
                  <a:pt x="2208" y="2031"/>
                </a:lnTo>
                <a:lnTo>
                  <a:pt x="2215" y="2028"/>
                </a:lnTo>
                <a:lnTo>
                  <a:pt x="2222" y="2025"/>
                </a:lnTo>
                <a:lnTo>
                  <a:pt x="2228" y="2024"/>
                </a:lnTo>
                <a:lnTo>
                  <a:pt x="2235" y="2022"/>
                </a:lnTo>
                <a:lnTo>
                  <a:pt x="2242" y="2021"/>
                </a:lnTo>
                <a:lnTo>
                  <a:pt x="2242" y="2021"/>
                </a:lnTo>
                <a:lnTo>
                  <a:pt x="2253" y="2022"/>
                </a:lnTo>
                <a:lnTo>
                  <a:pt x="2264" y="2026"/>
                </a:lnTo>
                <a:lnTo>
                  <a:pt x="2275" y="2030"/>
                </a:lnTo>
                <a:lnTo>
                  <a:pt x="2283" y="2036"/>
                </a:lnTo>
                <a:lnTo>
                  <a:pt x="2269" y="2089"/>
                </a:lnTo>
                <a:close/>
                <a:moveTo>
                  <a:pt x="1836" y="2027"/>
                </a:moveTo>
                <a:lnTo>
                  <a:pt x="1891" y="2027"/>
                </a:lnTo>
                <a:lnTo>
                  <a:pt x="1828" y="2249"/>
                </a:lnTo>
                <a:lnTo>
                  <a:pt x="1780" y="2249"/>
                </a:lnTo>
                <a:lnTo>
                  <a:pt x="1756" y="2157"/>
                </a:lnTo>
                <a:lnTo>
                  <a:pt x="1756" y="2157"/>
                </a:lnTo>
                <a:lnTo>
                  <a:pt x="1744" y="2108"/>
                </a:lnTo>
                <a:lnTo>
                  <a:pt x="1744" y="2108"/>
                </a:lnTo>
                <a:lnTo>
                  <a:pt x="1738" y="2132"/>
                </a:lnTo>
                <a:lnTo>
                  <a:pt x="1732" y="2158"/>
                </a:lnTo>
                <a:lnTo>
                  <a:pt x="1707" y="2249"/>
                </a:lnTo>
                <a:lnTo>
                  <a:pt x="1660" y="2249"/>
                </a:lnTo>
                <a:lnTo>
                  <a:pt x="1659" y="2247"/>
                </a:lnTo>
                <a:lnTo>
                  <a:pt x="1597" y="2027"/>
                </a:lnTo>
                <a:lnTo>
                  <a:pt x="1653" y="2027"/>
                </a:lnTo>
                <a:lnTo>
                  <a:pt x="1674" y="2110"/>
                </a:lnTo>
                <a:lnTo>
                  <a:pt x="1674" y="2110"/>
                </a:lnTo>
                <a:lnTo>
                  <a:pt x="1680" y="2136"/>
                </a:lnTo>
                <a:lnTo>
                  <a:pt x="1685" y="2164"/>
                </a:lnTo>
                <a:lnTo>
                  <a:pt x="1685" y="2164"/>
                </a:lnTo>
                <a:lnTo>
                  <a:pt x="1691" y="2136"/>
                </a:lnTo>
                <a:lnTo>
                  <a:pt x="1699" y="2108"/>
                </a:lnTo>
                <a:lnTo>
                  <a:pt x="1722" y="2027"/>
                </a:lnTo>
                <a:lnTo>
                  <a:pt x="1768" y="2027"/>
                </a:lnTo>
                <a:lnTo>
                  <a:pt x="1791" y="2108"/>
                </a:lnTo>
                <a:lnTo>
                  <a:pt x="1791" y="2108"/>
                </a:lnTo>
                <a:lnTo>
                  <a:pt x="1798" y="2135"/>
                </a:lnTo>
                <a:lnTo>
                  <a:pt x="1804" y="2165"/>
                </a:lnTo>
                <a:lnTo>
                  <a:pt x="1804" y="2165"/>
                </a:lnTo>
                <a:lnTo>
                  <a:pt x="1810" y="2139"/>
                </a:lnTo>
                <a:lnTo>
                  <a:pt x="1817" y="2108"/>
                </a:lnTo>
                <a:lnTo>
                  <a:pt x="1836" y="2027"/>
                </a:lnTo>
                <a:close/>
                <a:moveTo>
                  <a:pt x="2002" y="2021"/>
                </a:moveTo>
                <a:lnTo>
                  <a:pt x="2002" y="2021"/>
                </a:lnTo>
                <a:lnTo>
                  <a:pt x="1992" y="2022"/>
                </a:lnTo>
                <a:lnTo>
                  <a:pt x="1981" y="2024"/>
                </a:lnTo>
                <a:lnTo>
                  <a:pt x="1971" y="2027"/>
                </a:lnTo>
                <a:lnTo>
                  <a:pt x="1962" y="2030"/>
                </a:lnTo>
                <a:lnTo>
                  <a:pt x="1953" y="2035"/>
                </a:lnTo>
                <a:lnTo>
                  <a:pt x="1945" y="2041"/>
                </a:lnTo>
                <a:lnTo>
                  <a:pt x="1937" y="2047"/>
                </a:lnTo>
                <a:lnTo>
                  <a:pt x="1930" y="2054"/>
                </a:lnTo>
                <a:lnTo>
                  <a:pt x="1924" y="2062"/>
                </a:lnTo>
                <a:lnTo>
                  <a:pt x="1918" y="2071"/>
                </a:lnTo>
                <a:lnTo>
                  <a:pt x="1913" y="2081"/>
                </a:lnTo>
                <a:lnTo>
                  <a:pt x="1909" y="2091"/>
                </a:lnTo>
                <a:lnTo>
                  <a:pt x="1906" y="2102"/>
                </a:lnTo>
                <a:lnTo>
                  <a:pt x="1903" y="2114"/>
                </a:lnTo>
                <a:lnTo>
                  <a:pt x="1902" y="2125"/>
                </a:lnTo>
                <a:lnTo>
                  <a:pt x="1902" y="2138"/>
                </a:lnTo>
                <a:lnTo>
                  <a:pt x="1902" y="2138"/>
                </a:lnTo>
                <a:lnTo>
                  <a:pt x="1902" y="2150"/>
                </a:lnTo>
                <a:lnTo>
                  <a:pt x="1903" y="2163"/>
                </a:lnTo>
                <a:lnTo>
                  <a:pt x="1906" y="2174"/>
                </a:lnTo>
                <a:lnTo>
                  <a:pt x="1909" y="2185"/>
                </a:lnTo>
                <a:lnTo>
                  <a:pt x="1913" y="2194"/>
                </a:lnTo>
                <a:lnTo>
                  <a:pt x="1918" y="2204"/>
                </a:lnTo>
                <a:lnTo>
                  <a:pt x="1924" y="2213"/>
                </a:lnTo>
                <a:lnTo>
                  <a:pt x="1930" y="2221"/>
                </a:lnTo>
                <a:lnTo>
                  <a:pt x="1937" y="2229"/>
                </a:lnTo>
                <a:lnTo>
                  <a:pt x="1945" y="2235"/>
                </a:lnTo>
                <a:lnTo>
                  <a:pt x="1953" y="2241"/>
                </a:lnTo>
                <a:lnTo>
                  <a:pt x="1962" y="2245"/>
                </a:lnTo>
                <a:lnTo>
                  <a:pt x="1971" y="2249"/>
                </a:lnTo>
                <a:lnTo>
                  <a:pt x="1981" y="2252"/>
                </a:lnTo>
                <a:lnTo>
                  <a:pt x="1992" y="2253"/>
                </a:lnTo>
                <a:lnTo>
                  <a:pt x="2002" y="2254"/>
                </a:lnTo>
                <a:lnTo>
                  <a:pt x="2002" y="2254"/>
                </a:lnTo>
                <a:lnTo>
                  <a:pt x="2013" y="2253"/>
                </a:lnTo>
                <a:lnTo>
                  <a:pt x="2024" y="2252"/>
                </a:lnTo>
                <a:lnTo>
                  <a:pt x="2034" y="2249"/>
                </a:lnTo>
                <a:lnTo>
                  <a:pt x="2043" y="2245"/>
                </a:lnTo>
                <a:lnTo>
                  <a:pt x="2052" y="2241"/>
                </a:lnTo>
                <a:lnTo>
                  <a:pt x="2061" y="2235"/>
                </a:lnTo>
                <a:lnTo>
                  <a:pt x="2068" y="2229"/>
                </a:lnTo>
                <a:lnTo>
                  <a:pt x="2075" y="2221"/>
                </a:lnTo>
                <a:lnTo>
                  <a:pt x="2081" y="2213"/>
                </a:lnTo>
                <a:lnTo>
                  <a:pt x="2087" y="2204"/>
                </a:lnTo>
                <a:lnTo>
                  <a:pt x="2091" y="2194"/>
                </a:lnTo>
                <a:lnTo>
                  <a:pt x="2096" y="2185"/>
                </a:lnTo>
                <a:lnTo>
                  <a:pt x="2099" y="2174"/>
                </a:lnTo>
                <a:lnTo>
                  <a:pt x="2101" y="2163"/>
                </a:lnTo>
                <a:lnTo>
                  <a:pt x="2104" y="2150"/>
                </a:lnTo>
                <a:lnTo>
                  <a:pt x="2104" y="2138"/>
                </a:lnTo>
                <a:lnTo>
                  <a:pt x="2104" y="2138"/>
                </a:lnTo>
                <a:lnTo>
                  <a:pt x="2104" y="2125"/>
                </a:lnTo>
                <a:lnTo>
                  <a:pt x="2101" y="2114"/>
                </a:lnTo>
                <a:lnTo>
                  <a:pt x="2099" y="2102"/>
                </a:lnTo>
                <a:lnTo>
                  <a:pt x="2096" y="2091"/>
                </a:lnTo>
                <a:lnTo>
                  <a:pt x="2091" y="2081"/>
                </a:lnTo>
                <a:lnTo>
                  <a:pt x="2087" y="2071"/>
                </a:lnTo>
                <a:lnTo>
                  <a:pt x="2081" y="2062"/>
                </a:lnTo>
                <a:lnTo>
                  <a:pt x="2075" y="2054"/>
                </a:lnTo>
                <a:lnTo>
                  <a:pt x="2068" y="2047"/>
                </a:lnTo>
                <a:lnTo>
                  <a:pt x="2061" y="2041"/>
                </a:lnTo>
                <a:lnTo>
                  <a:pt x="2052" y="2035"/>
                </a:lnTo>
                <a:lnTo>
                  <a:pt x="2043" y="2030"/>
                </a:lnTo>
                <a:lnTo>
                  <a:pt x="2034" y="2027"/>
                </a:lnTo>
                <a:lnTo>
                  <a:pt x="2024" y="2024"/>
                </a:lnTo>
                <a:lnTo>
                  <a:pt x="2013" y="2022"/>
                </a:lnTo>
                <a:lnTo>
                  <a:pt x="2002" y="2021"/>
                </a:lnTo>
                <a:lnTo>
                  <a:pt x="2002" y="2021"/>
                </a:lnTo>
                <a:close/>
                <a:moveTo>
                  <a:pt x="2002" y="2202"/>
                </a:moveTo>
                <a:lnTo>
                  <a:pt x="2002" y="2202"/>
                </a:lnTo>
                <a:lnTo>
                  <a:pt x="1992" y="2201"/>
                </a:lnTo>
                <a:lnTo>
                  <a:pt x="1984" y="2198"/>
                </a:lnTo>
                <a:lnTo>
                  <a:pt x="1977" y="2192"/>
                </a:lnTo>
                <a:lnTo>
                  <a:pt x="1970" y="2185"/>
                </a:lnTo>
                <a:lnTo>
                  <a:pt x="1964" y="2176"/>
                </a:lnTo>
                <a:lnTo>
                  <a:pt x="1960" y="2165"/>
                </a:lnTo>
                <a:lnTo>
                  <a:pt x="1958" y="2151"/>
                </a:lnTo>
                <a:lnTo>
                  <a:pt x="1958" y="2138"/>
                </a:lnTo>
                <a:lnTo>
                  <a:pt x="1958" y="2138"/>
                </a:lnTo>
                <a:lnTo>
                  <a:pt x="1958" y="2124"/>
                </a:lnTo>
                <a:lnTo>
                  <a:pt x="1960" y="2112"/>
                </a:lnTo>
                <a:lnTo>
                  <a:pt x="1964" y="2101"/>
                </a:lnTo>
                <a:lnTo>
                  <a:pt x="1970" y="2091"/>
                </a:lnTo>
                <a:lnTo>
                  <a:pt x="1977" y="2083"/>
                </a:lnTo>
                <a:lnTo>
                  <a:pt x="1984" y="2078"/>
                </a:lnTo>
                <a:lnTo>
                  <a:pt x="1992" y="2074"/>
                </a:lnTo>
                <a:lnTo>
                  <a:pt x="2002" y="2073"/>
                </a:lnTo>
                <a:lnTo>
                  <a:pt x="2002" y="2073"/>
                </a:lnTo>
                <a:lnTo>
                  <a:pt x="2012" y="2074"/>
                </a:lnTo>
                <a:lnTo>
                  <a:pt x="2021" y="2078"/>
                </a:lnTo>
                <a:lnTo>
                  <a:pt x="2029" y="2083"/>
                </a:lnTo>
                <a:lnTo>
                  <a:pt x="2035" y="2091"/>
                </a:lnTo>
                <a:lnTo>
                  <a:pt x="2041" y="2101"/>
                </a:lnTo>
                <a:lnTo>
                  <a:pt x="2044" y="2112"/>
                </a:lnTo>
                <a:lnTo>
                  <a:pt x="2046" y="2124"/>
                </a:lnTo>
                <a:lnTo>
                  <a:pt x="2047" y="2138"/>
                </a:lnTo>
                <a:lnTo>
                  <a:pt x="2047" y="2138"/>
                </a:lnTo>
                <a:lnTo>
                  <a:pt x="2046" y="2151"/>
                </a:lnTo>
                <a:lnTo>
                  <a:pt x="2044" y="2165"/>
                </a:lnTo>
                <a:lnTo>
                  <a:pt x="2041" y="2176"/>
                </a:lnTo>
                <a:lnTo>
                  <a:pt x="2035" y="2185"/>
                </a:lnTo>
                <a:lnTo>
                  <a:pt x="2029" y="2192"/>
                </a:lnTo>
                <a:lnTo>
                  <a:pt x="2021" y="2198"/>
                </a:lnTo>
                <a:lnTo>
                  <a:pt x="2012" y="2201"/>
                </a:lnTo>
                <a:lnTo>
                  <a:pt x="2002" y="2202"/>
                </a:lnTo>
                <a:lnTo>
                  <a:pt x="2002" y="2202"/>
                </a:lnTo>
                <a:close/>
                <a:moveTo>
                  <a:pt x="837" y="2100"/>
                </a:moveTo>
                <a:lnTo>
                  <a:pt x="904" y="2249"/>
                </a:lnTo>
                <a:lnTo>
                  <a:pt x="843" y="2249"/>
                </a:lnTo>
                <a:lnTo>
                  <a:pt x="797" y="2146"/>
                </a:lnTo>
                <a:lnTo>
                  <a:pt x="767" y="2182"/>
                </a:lnTo>
                <a:lnTo>
                  <a:pt x="767" y="2249"/>
                </a:lnTo>
                <a:lnTo>
                  <a:pt x="713" y="2249"/>
                </a:lnTo>
                <a:lnTo>
                  <a:pt x="713" y="1962"/>
                </a:lnTo>
                <a:lnTo>
                  <a:pt x="767" y="1934"/>
                </a:lnTo>
                <a:lnTo>
                  <a:pt x="767" y="2112"/>
                </a:lnTo>
                <a:lnTo>
                  <a:pt x="767" y="2112"/>
                </a:lnTo>
                <a:lnTo>
                  <a:pt x="788" y="2083"/>
                </a:lnTo>
                <a:lnTo>
                  <a:pt x="832" y="2027"/>
                </a:lnTo>
                <a:lnTo>
                  <a:pt x="896" y="2027"/>
                </a:lnTo>
                <a:lnTo>
                  <a:pt x="837" y="2100"/>
                </a:lnTo>
                <a:close/>
                <a:moveTo>
                  <a:pt x="1097" y="2249"/>
                </a:moveTo>
                <a:lnTo>
                  <a:pt x="1042" y="2249"/>
                </a:lnTo>
                <a:lnTo>
                  <a:pt x="1042" y="2027"/>
                </a:lnTo>
                <a:lnTo>
                  <a:pt x="1097" y="2027"/>
                </a:lnTo>
                <a:lnTo>
                  <a:pt x="1097" y="2046"/>
                </a:lnTo>
                <a:lnTo>
                  <a:pt x="1097" y="2046"/>
                </a:lnTo>
                <a:lnTo>
                  <a:pt x="1103" y="2040"/>
                </a:lnTo>
                <a:lnTo>
                  <a:pt x="1108" y="2036"/>
                </a:lnTo>
                <a:lnTo>
                  <a:pt x="1115" y="2031"/>
                </a:lnTo>
                <a:lnTo>
                  <a:pt x="1121" y="2028"/>
                </a:lnTo>
                <a:lnTo>
                  <a:pt x="1129" y="2026"/>
                </a:lnTo>
                <a:lnTo>
                  <a:pt x="1137" y="2024"/>
                </a:lnTo>
                <a:lnTo>
                  <a:pt x="1144" y="2022"/>
                </a:lnTo>
                <a:lnTo>
                  <a:pt x="1153" y="2021"/>
                </a:lnTo>
                <a:lnTo>
                  <a:pt x="1153" y="2021"/>
                </a:lnTo>
                <a:lnTo>
                  <a:pt x="1163" y="2022"/>
                </a:lnTo>
                <a:lnTo>
                  <a:pt x="1172" y="2024"/>
                </a:lnTo>
                <a:lnTo>
                  <a:pt x="1180" y="2026"/>
                </a:lnTo>
                <a:lnTo>
                  <a:pt x="1189" y="2028"/>
                </a:lnTo>
                <a:lnTo>
                  <a:pt x="1195" y="2032"/>
                </a:lnTo>
                <a:lnTo>
                  <a:pt x="1202" y="2037"/>
                </a:lnTo>
                <a:lnTo>
                  <a:pt x="1208" y="2041"/>
                </a:lnTo>
                <a:lnTo>
                  <a:pt x="1214" y="2048"/>
                </a:lnTo>
                <a:lnTo>
                  <a:pt x="1218" y="2054"/>
                </a:lnTo>
                <a:lnTo>
                  <a:pt x="1223" y="2062"/>
                </a:lnTo>
                <a:lnTo>
                  <a:pt x="1226" y="2070"/>
                </a:lnTo>
                <a:lnTo>
                  <a:pt x="1229" y="2080"/>
                </a:lnTo>
                <a:lnTo>
                  <a:pt x="1232" y="2090"/>
                </a:lnTo>
                <a:lnTo>
                  <a:pt x="1233" y="2100"/>
                </a:lnTo>
                <a:lnTo>
                  <a:pt x="1234" y="2111"/>
                </a:lnTo>
                <a:lnTo>
                  <a:pt x="1235" y="2123"/>
                </a:lnTo>
                <a:lnTo>
                  <a:pt x="1235" y="2249"/>
                </a:lnTo>
                <a:lnTo>
                  <a:pt x="1180" y="2249"/>
                </a:lnTo>
                <a:lnTo>
                  <a:pt x="1180" y="2126"/>
                </a:lnTo>
                <a:lnTo>
                  <a:pt x="1180" y="2126"/>
                </a:lnTo>
                <a:lnTo>
                  <a:pt x="1179" y="2114"/>
                </a:lnTo>
                <a:lnTo>
                  <a:pt x="1178" y="2102"/>
                </a:lnTo>
                <a:lnTo>
                  <a:pt x="1174" y="2093"/>
                </a:lnTo>
                <a:lnTo>
                  <a:pt x="1170" y="2085"/>
                </a:lnTo>
                <a:lnTo>
                  <a:pt x="1164" y="2080"/>
                </a:lnTo>
                <a:lnTo>
                  <a:pt x="1158" y="2075"/>
                </a:lnTo>
                <a:lnTo>
                  <a:pt x="1149" y="2073"/>
                </a:lnTo>
                <a:lnTo>
                  <a:pt x="1139" y="2072"/>
                </a:lnTo>
                <a:lnTo>
                  <a:pt x="1139" y="2072"/>
                </a:lnTo>
                <a:lnTo>
                  <a:pt x="1130" y="2073"/>
                </a:lnTo>
                <a:lnTo>
                  <a:pt x="1121" y="2075"/>
                </a:lnTo>
                <a:lnTo>
                  <a:pt x="1114" y="2080"/>
                </a:lnTo>
                <a:lnTo>
                  <a:pt x="1108" y="2086"/>
                </a:lnTo>
                <a:lnTo>
                  <a:pt x="1104" y="2093"/>
                </a:lnTo>
                <a:lnTo>
                  <a:pt x="1100" y="2103"/>
                </a:lnTo>
                <a:lnTo>
                  <a:pt x="1098" y="2114"/>
                </a:lnTo>
                <a:lnTo>
                  <a:pt x="1097" y="2126"/>
                </a:lnTo>
                <a:lnTo>
                  <a:pt x="1097" y="2249"/>
                </a:lnTo>
                <a:close/>
                <a:moveTo>
                  <a:pt x="1408" y="2042"/>
                </a:moveTo>
                <a:lnTo>
                  <a:pt x="1408" y="2042"/>
                </a:lnTo>
                <a:lnTo>
                  <a:pt x="1403" y="2038"/>
                </a:lnTo>
                <a:lnTo>
                  <a:pt x="1397" y="2033"/>
                </a:lnTo>
                <a:lnTo>
                  <a:pt x="1392" y="2030"/>
                </a:lnTo>
                <a:lnTo>
                  <a:pt x="1385" y="2027"/>
                </a:lnTo>
                <a:lnTo>
                  <a:pt x="1378" y="2025"/>
                </a:lnTo>
                <a:lnTo>
                  <a:pt x="1372" y="2024"/>
                </a:lnTo>
                <a:lnTo>
                  <a:pt x="1365" y="2022"/>
                </a:lnTo>
                <a:lnTo>
                  <a:pt x="1359" y="2021"/>
                </a:lnTo>
                <a:lnTo>
                  <a:pt x="1359" y="2021"/>
                </a:lnTo>
                <a:lnTo>
                  <a:pt x="1349" y="2022"/>
                </a:lnTo>
                <a:lnTo>
                  <a:pt x="1340" y="2024"/>
                </a:lnTo>
                <a:lnTo>
                  <a:pt x="1331" y="2026"/>
                </a:lnTo>
                <a:lnTo>
                  <a:pt x="1322" y="2030"/>
                </a:lnTo>
                <a:lnTo>
                  <a:pt x="1314" y="2033"/>
                </a:lnTo>
                <a:lnTo>
                  <a:pt x="1308" y="2039"/>
                </a:lnTo>
                <a:lnTo>
                  <a:pt x="1301" y="2046"/>
                </a:lnTo>
                <a:lnTo>
                  <a:pt x="1295" y="2052"/>
                </a:lnTo>
                <a:lnTo>
                  <a:pt x="1289" y="2060"/>
                </a:lnTo>
                <a:lnTo>
                  <a:pt x="1285" y="2069"/>
                </a:lnTo>
                <a:lnTo>
                  <a:pt x="1280" y="2078"/>
                </a:lnTo>
                <a:lnTo>
                  <a:pt x="1277" y="2089"/>
                </a:lnTo>
                <a:lnTo>
                  <a:pt x="1275" y="2099"/>
                </a:lnTo>
                <a:lnTo>
                  <a:pt x="1273" y="2111"/>
                </a:lnTo>
                <a:lnTo>
                  <a:pt x="1271" y="2123"/>
                </a:lnTo>
                <a:lnTo>
                  <a:pt x="1271" y="2135"/>
                </a:lnTo>
                <a:lnTo>
                  <a:pt x="1271" y="2135"/>
                </a:lnTo>
                <a:lnTo>
                  <a:pt x="1271" y="2149"/>
                </a:lnTo>
                <a:lnTo>
                  <a:pt x="1273" y="2161"/>
                </a:lnTo>
                <a:lnTo>
                  <a:pt x="1275" y="2174"/>
                </a:lnTo>
                <a:lnTo>
                  <a:pt x="1277" y="2186"/>
                </a:lnTo>
                <a:lnTo>
                  <a:pt x="1280" y="2196"/>
                </a:lnTo>
                <a:lnTo>
                  <a:pt x="1285" y="2206"/>
                </a:lnTo>
                <a:lnTo>
                  <a:pt x="1289" y="2214"/>
                </a:lnTo>
                <a:lnTo>
                  <a:pt x="1295" y="2222"/>
                </a:lnTo>
                <a:lnTo>
                  <a:pt x="1300" y="2230"/>
                </a:lnTo>
                <a:lnTo>
                  <a:pt x="1307" y="2235"/>
                </a:lnTo>
                <a:lnTo>
                  <a:pt x="1313" y="2241"/>
                </a:lnTo>
                <a:lnTo>
                  <a:pt x="1321" y="2245"/>
                </a:lnTo>
                <a:lnTo>
                  <a:pt x="1330" y="2249"/>
                </a:lnTo>
                <a:lnTo>
                  <a:pt x="1339" y="2252"/>
                </a:lnTo>
                <a:lnTo>
                  <a:pt x="1348" y="2253"/>
                </a:lnTo>
                <a:lnTo>
                  <a:pt x="1357" y="2254"/>
                </a:lnTo>
                <a:lnTo>
                  <a:pt x="1357" y="2254"/>
                </a:lnTo>
                <a:lnTo>
                  <a:pt x="1364" y="2253"/>
                </a:lnTo>
                <a:lnTo>
                  <a:pt x="1372" y="2252"/>
                </a:lnTo>
                <a:lnTo>
                  <a:pt x="1378" y="2251"/>
                </a:lnTo>
                <a:lnTo>
                  <a:pt x="1385" y="2249"/>
                </a:lnTo>
                <a:lnTo>
                  <a:pt x="1391" y="2245"/>
                </a:lnTo>
                <a:lnTo>
                  <a:pt x="1397" y="2242"/>
                </a:lnTo>
                <a:lnTo>
                  <a:pt x="1403" y="2238"/>
                </a:lnTo>
                <a:lnTo>
                  <a:pt x="1408" y="2232"/>
                </a:lnTo>
                <a:lnTo>
                  <a:pt x="1408" y="2238"/>
                </a:lnTo>
                <a:lnTo>
                  <a:pt x="1408" y="2238"/>
                </a:lnTo>
                <a:lnTo>
                  <a:pt x="1408" y="2246"/>
                </a:lnTo>
                <a:lnTo>
                  <a:pt x="1407" y="2256"/>
                </a:lnTo>
                <a:lnTo>
                  <a:pt x="1404" y="2266"/>
                </a:lnTo>
                <a:lnTo>
                  <a:pt x="1402" y="2271"/>
                </a:lnTo>
                <a:lnTo>
                  <a:pt x="1399" y="2275"/>
                </a:lnTo>
                <a:lnTo>
                  <a:pt x="1395" y="2279"/>
                </a:lnTo>
                <a:lnTo>
                  <a:pt x="1391" y="2284"/>
                </a:lnTo>
                <a:lnTo>
                  <a:pt x="1385" y="2287"/>
                </a:lnTo>
                <a:lnTo>
                  <a:pt x="1378" y="2290"/>
                </a:lnTo>
                <a:lnTo>
                  <a:pt x="1370" y="2293"/>
                </a:lnTo>
                <a:lnTo>
                  <a:pt x="1361" y="2295"/>
                </a:lnTo>
                <a:lnTo>
                  <a:pt x="1350" y="2296"/>
                </a:lnTo>
                <a:lnTo>
                  <a:pt x="1337" y="2296"/>
                </a:lnTo>
                <a:lnTo>
                  <a:pt x="1334" y="2296"/>
                </a:lnTo>
                <a:lnTo>
                  <a:pt x="1354" y="2339"/>
                </a:lnTo>
                <a:lnTo>
                  <a:pt x="1355" y="2339"/>
                </a:lnTo>
                <a:lnTo>
                  <a:pt x="1355" y="2339"/>
                </a:lnTo>
                <a:lnTo>
                  <a:pt x="1369" y="2339"/>
                </a:lnTo>
                <a:lnTo>
                  <a:pt x="1381" y="2338"/>
                </a:lnTo>
                <a:lnTo>
                  <a:pt x="1392" y="2335"/>
                </a:lnTo>
                <a:lnTo>
                  <a:pt x="1403" y="2332"/>
                </a:lnTo>
                <a:lnTo>
                  <a:pt x="1413" y="2328"/>
                </a:lnTo>
                <a:lnTo>
                  <a:pt x="1421" y="2324"/>
                </a:lnTo>
                <a:lnTo>
                  <a:pt x="1429" y="2318"/>
                </a:lnTo>
                <a:lnTo>
                  <a:pt x="1436" y="2311"/>
                </a:lnTo>
                <a:lnTo>
                  <a:pt x="1442" y="2304"/>
                </a:lnTo>
                <a:lnTo>
                  <a:pt x="1448" y="2296"/>
                </a:lnTo>
                <a:lnTo>
                  <a:pt x="1452" y="2286"/>
                </a:lnTo>
                <a:lnTo>
                  <a:pt x="1456" y="2276"/>
                </a:lnTo>
                <a:lnTo>
                  <a:pt x="1459" y="2266"/>
                </a:lnTo>
                <a:lnTo>
                  <a:pt x="1461" y="2254"/>
                </a:lnTo>
                <a:lnTo>
                  <a:pt x="1462" y="2242"/>
                </a:lnTo>
                <a:lnTo>
                  <a:pt x="1462" y="2229"/>
                </a:lnTo>
                <a:lnTo>
                  <a:pt x="1462" y="2027"/>
                </a:lnTo>
                <a:lnTo>
                  <a:pt x="1408" y="2027"/>
                </a:lnTo>
                <a:lnTo>
                  <a:pt x="1408" y="2042"/>
                </a:lnTo>
                <a:close/>
                <a:moveTo>
                  <a:pt x="1408" y="2094"/>
                </a:moveTo>
                <a:lnTo>
                  <a:pt x="1408" y="2181"/>
                </a:lnTo>
                <a:lnTo>
                  <a:pt x="1408" y="2181"/>
                </a:lnTo>
                <a:lnTo>
                  <a:pt x="1401" y="2189"/>
                </a:lnTo>
                <a:lnTo>
                  <a:pt x="1393" y="2197"/>
                </a:lnTo>
                <a:lnTo>
                  <a:pt x="1387" y="2199"/>
                </a:lnTo>
                <a:lnTo>
                  <a:pt x="1382" y="2201"/>
                </a:lnTo>
                <a:lnTo>
                  <a:pt x="1376" y="2202"/>
                </a:lnTo>
                <a:lnTo>
                  <a:pt x="1369" y="2203"/>
                </a:lnTo>
                <a:lnTo>
                  <a:pt x="1369" y="2203"/>
                </a:lnTo>
                <a:lnTo>
                  <a:pt x="1362" y="2202"/>
                </a:lnTo>
                <a:lnTo>
                  <a:pt x="1354" y="2200"/>
                </a:lnTo>
                <a:lnTo>
                  <a:pt x="1348" y="2197"/>
                </a:lnTo>
                <a:lnTo>
                  <a:pt x="1341" y="2190"/>
                </a:lnTo>
                <a:lnTo>
                  <a:pt x="1335" y="2181"/>
                </a:lnTo>
                <a:lnTo>
                  <a:pt x="1331" y="2169"/>
                </a:lnTo>
                <a:lnTo>
                  <a:pt x="1329" y="2154"/>
                </a:lnTo>
                <a:lnTo>
                  <a:pt x="1328" y="2134"/>
                </a:lnTo>
                <a:lnTo>
                  <a:pt x="1328" y="2134"/>
                </a:lnTo>
                <a:lnTo>
                  <a:pt x="1329" y="2117"/>
                </a:lnTo>
                <a:lnTo>
                  <a:pt x="1331" y="2103"/>
                </a:lnTo>
                <a:lnTo>
                  <a:pt x="1335" y="2092"/>
                </a:lnTo>
                <a:lnTo>
                  <a:pt x="1341" y="2084"/>
                </a:lnTo>
                <a:lnTo>
                  <a:pt x="1348" y="2079"/>
                </a:lnTo>
                <a:lnTo>
                  <a:pt x="1354" y="2074"/>
                </a:lnTo>
                <a:lnTo>
                  <a:pt x="1362" y="2073"/>
                </a:lnTo>
                <a:lnTo>
                  <a:pt x="1369" y="2072"/>
                </a:lnTo>
                <a:lnTo>
                  <a:pt x="1369" y="2072"/>
                </a:lnTo>
                <a:lnTo>
                  <a:pt x="1376" y="2073"/>
                </a:lnTo>
                <a:lnTo>
                  <a:pt x="1383" y="2074"/>
                </a:lnTo>
                <a:lnTo>
                  <a:pt x="1388" y="2076"/>
                </a:lnTo>
                <a:lnTo>
                  <a:pt x="1394" y="2080"/>
                </a:lnTo>
                <a:lnTo>
                  <a:pt x="1398" y="2083"/>
                </a:lnTo>
                <a:lnTo>
                  <a:pt x="1402" y="2086"/>
                </a:lnTo>
                <a:lnTo>
                  <a:pt x="1408" y="2094"/>
                </a:lnTo>
                <a:lnTo>
                  <a:pt x="1408" y="2094"/>
                </a:lnTo>
                <a:close/>
                <a:moveTo>
                  <a:pt x="938" y="2027"/>
                </a:moveTo>
                <a:lnTo>
                  <a:pt x="993" y="2027"/>
                </a:lnTo>
                <a:lnTo>
                  <a:pt x="993" y="2123"/>
                </a:lnTo>
                <a:lnTo>
                  <a:pt x="993" y="2249"/>
                </a:lnTo>
                <a:lnTo>
                  <a:pt x="938" y="2249"/>
                </a:lnTo>
                <a:lnTo>
                  <a:pt x="938" y="2027"/>
                </a:lnTo>
                <a:close/>
                <a:moveTo>
                  <a:pt x="993" y="1967"/>
                </a:moveTo>
                <a:lnTo>
                  <a:pt x="993" y="1995"/>
                </a:lnTo>
                <a:lnTo>
                  <a:pt x="938" y="1995"/>
                </a:lnTo>
                <a:lnTo>
                  <a:pt x="938" y="1940"/>
                </a:lnTo>
                <a:lnTo>
                  <a:pt x="993" y="1940"/>
                </a:lnTo>
                <a:lnTo>
                  <a:pt x="993" y="1967"/>
                </a:lnTo>
                <a:close/>
                <a:moveTo>
                  <a:pt x="2309" y="1962"/>
                </a:moveTo>
                <a:lnTo>
                  <a:pt x="2364" y="1934"/>
                </a:lnTo>
                <a:lnTo>
                  <a:pt x="2364" y="2127"/>
                </a:lnTo>
                <a:lnTo>
                  <a:pt x="2364" y="2249"/>
                </a:lnTo>
                <a:lnTo>
                  <a:pt x="2309" y="2249"/>
                </a:lnTo>
                <a:lnTo>
                  <a:pt x="2309" y="1962"/>
                </a:lnTo>
                <a:close/>
                <a:moveTo>
                  <a:pt x="397" y="757"/>
                </a:moveTo>
                <a:lnTo>
                  <a:pt x="850" y="757"/>
                </a:lnTo>
                <a:lnTo>
                  <a:pt x="850" y="495"/>
                </a:lnTo>
                <a:lnTo>
                  <a:pt x="397" y="495"/>
                </a:lnTo>
                <a:lnTo>
                  <a:pt x="397" y="288"/>
                </a:lnTo>
                <a:lnTo>
                  <a:pt x="898" y="288"/>
                </a:lnTo>
                <a:lnTo>
                  <a:pt x="732" y="0"/>
                </a:lnTo>
                <a:lnTo>
                  <a:pt x="22" y="0"/>
                </a:lnTo>
                <a:lnTo>
                  <a:pt x="22" y="1251"/>
                </a:lnTo>
                <a:lnTo>
                  <a:pt x="1023" y="1251"/>
                </a:lnTo>
                <a:lnTo>
                  <a:pt x="1023" y="963"/>
                </a:lnTo>
                <a:lnTo>
                  <a:pt x="397" y="963"/>
                </a:lnTo>
                <a:lnTo>
                  <a:pt x="397" y="757"/>
                </a:lnTo>
                <a:close/>
                <a:moveTo>
                  <a:pt x="1690" y="0"/>
                </a:moveTo>
                <a:lnTo>
                  <a:pt x="1477" y="409"/>
                </a:lnTo>
                <a:lnTo>
                  <a:pt x="1265" y="0"/>
                </a:lnTo>
                <a:lnTo>
                  <a:pt x="850" y="0"/>
                </a:lnTo>
                <a:lnTo>
                  <a:pt x="1287" y="757"/>
                </a:lnTo>
                <a:lnTo>
                  <a:pt x="1287" y="1251"/>
                </a:lnTo>
                <a:lnTo>
                  <a:pt x="1661" y="1251"/>
                </a:lnTo>
                <a:lnTo>
                  <a:pt x="1661" y="757"/>
                </a:lnTo>
                <a:lnTo>
                  <a:pt x="2099" y="0"/>
                </a:lnTo>
                <a:lnTo>
                  <a:pt x="169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>
              <a:solidFill>
                <a:schemeClr val="bg1"/>
              </a:solidFill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218C1C37-D629-4912-94B0-CC62B250361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892"/>
            <a:ext cx="12198350" cy="68562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92821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2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glass wall of a building with a staircase and a large room&#10;&#10;Description automatically generated with medium confidence">
            <a:extLst>
              <a:ext uri="{FF2B5EF4-FFF2-40B4-BE49-F238E27FC236}">
                <a16:creationId xmlns:a16="http://schemas.microsoft.com/office/drawing/2014/main" id="{21089A82-E1C1-D634-FF72-CCF3D8A3610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829" b="7829"/>
          <a:stretch/>
        </p:blipFill>
        <p:spPr>
          <a:xfrm>
            <a:off x="7920" y="0"/>
            <a:ext cx="12198350" cy="6858000"/>
          </a:xfrm>
          <a:prstGeom prst="rect">
            <a:avLst/>
          </a:prstGeom>
        </p:spPr>
      </p:pic>
      <p:grpSp>
        <p:nvGrpSpPr>
          <p:cNvPr id="2" name="Group 4">
            <a:extLst>
              <a:ext uri="{FF2B5EF4-FFF2-40B4-BE49-F238E27FC236}">
                <a16:creationId xmlns:a16="http://schemas.microsoft.com/office/drawing/2014/main" id="{532D83A6-8265-4F7E-B894-27FC604AF182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287125" y="6356350"/>
            <a:ext cx="303213" cy="311150"/>
            <a:chOff x="7110" y="4004"/>
            <a:chExt cx="191" cy="196"/>
          </a:xfrm>
        </p:grpSpPr>
        <p:sp>
          <p:nvSpPr>
            <p:cNvPr id="3" name="Freeform 5">
              <a:extLst>
                <a:ext uri="{FF2B5EF4-FFF2-40B4-BE49-F238E27FC236}">
                  <a16:creationId xmlns:a16="http://schemas.microsoft.com/office/drawing/2014/main" id="{9F8DFC28-643E-4AB3-9759-31A17DE4660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4" name="Freeform 6">
              <a:extLst>
                <a:ext uri="{FF2B5EF4-FFF2-40B4-BE49-F238E27FC236}">
                  <a16:creationId xmlns:a16="http://schemas.microsoft.com/office/drawing/2014/main" id="{EAD0A289-D86F-4D57-BBEC-17E6A7D6B68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5" name="Freeform 7">
              <a:extLst>
                <a:ext uri="{FF2B5EF4-FFF2-40B4-BE49-F238E27FC236}">
                  <a16:creationId xmlns:a16="http://schemas.microsoft.com/office/drawing/2014/main" id="{8F0DEC33-1332-4BB5-B434-CDF64C7DC7C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sp>
        <p:nvSpPr>
          <p:cNvPr id="10" name="Rectangle 9">
            <a:extLst>
              <a:ext uri="{FF2B5EF4-FFF2-40B4-BE49-F238E27FC236}">
                <a16:creationId xmlns:a16="http://schemas.microsoft.com/office/drawing/2014/main" id="{39F3668C-5C2C-4FD5-8234-C7556836154F}"/>
              </a:ext>
            </a:extLst>
          </p:cNvPr>
          <p:cNvSpPr/>
          <p:nvPr userDrawn="1"/>
        </p:nvSpPr>
        <p:spPr>
          <a:xfrm>
            <a:off x="15840" y="0"/>
            <a:ext cx="12190430" cy="6858000"/>
          </a:xfrm>
          <a:prstGeom prst="rect">
            <a:avLst/>
          </a:prstGeom>
          <a:gradFill>
            <a:gsLst>
              <a:gs pos="0">
                <a:schemeClr val="bg2">
                  <a:alpha val="44000"/>
                </a:schemeClr>
              </a:gs>
              <a:gs pos="50000">
                <a:schemeClr val="bg2">
                  <a:alpha val="24000"/>
                </a:schemeClr>
              </a:gs>
              <a:gs pos="100000">
                <a:schemeClr val="bg2">
                  <a:alpha val="21000"/>
                </a:schemeClr>
              </a:gs>
            </a:gsLst>
            <a:lin ang="0" scaled="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IN" sz="12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294055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 4">
            <a:extLst>
              <a:ext uri="{FF2B5EF4-FFF2-40B4-BE49-F238E27FC236}">
                <a16:creationId xmlns:a16="http://schemas.microsoft.com/office/drawing/2014/main" id="{F6AF4AF3-7CF7-4A0E-9CBD-E584B7DF4434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287125" y="6356350"/>
            <a:ext cx="303213" cy="311150"/>
            <a:chOff x="7110" y="4004"/>
            <a:chExt cx="191" cy="196"/>
          </a:xfrm>
        </p:grpSpPr>
        <p:sp>
          <p:nvSpPr>
            <p:cNvPr id="12" name="Freeform 5">
              <a:extLst>
                <a:ext uri="{FF2B5EF4-FFF2-40B4-BE49-F238E27FC236}">
                  <a16:creationId xmlns:a16="http://schemas.microsoft.com/office/drawing/2014/main" id="{DF175A7B-4653-4F6D-AEF4-75B72CEBC79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3" name="Freeform 6">
              <a:extLst>
                <a:ext uri="{FF2B5EF4-FFF2-40B4-BE49-F238E27FC236}">
                  <a16:creationId xmlns:a16="http://schemas.microsoft.com/office/drawing/2014/main" id="{84C57EA4-8E30-4ABC-9B54-28E8F3DC6D3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4" name="Freeform 7">
              <a:extLst>
                <a:ext uri="{FF2B5EF4-FFF2-40B4-BE49-F238E27FC236}">
                  <a16:creationId xmlns:a16="http://schemas.microsoft.com/office/drawing/2014/main" id="{7B27E8BE-1714-48FB-977E-741A7DF67A2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sp>
        <p:nvSpPr>
          <p:cNvPr id="15" name="Date Placeholder 1">
            <a:extLst>
              <a:ext uri="{FF2B5EF4-FFF2-40B4-BE49-F238E27FC236}">
                <a16:creationId xmlns:a16="http://schemas.microsoft.com/office/drawing/2014/main" id="{7872000A-B571-4863-850B-1477F6A49295}"/>
              </a:ext>
            </a:extLst>
          </p:cNvPr>
          <p:cNvSpPr txBox="1">
            <a:spLocks/>
          </p:cNvSpPr>
          <p:nvPr userDrawn="1"/>
        </p:nvSpPr>
        <p:spPr>
          <a:xfrm>
            <a:off x="1097544" y="6471244"/>
            <a:ext cx="1191258" cy="1800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7DBDBB20-DA7B-4EA8-9594-84A1D3A4EA29}" type="datetime3">
              <a:rPr lang="en-US" smtClean="0"/>
              <a:t>14 March 2025</a:t>
            </a:fld>
            <a:endParaRPr lang="en-IN"/>
          </a:p>
        </p:txBody>
      </p:sp>
      <p:sp>
        <p:nvSpPr>
          <p:cNvPr id="16" name="Footer Placeholder 2">
            <a:extLst>
              <a:ext uri="{FF2B5EF4-FFF2-40B4-BE49-F238E27FC236}">
                <a16:creationId xmlns:a16="http://schemas.microsoft.com/office/drawing/2014/main" id="{90C11F2C-B491-4099-9440-B9FD7EEFF5EE}"/>
              </a:ext>
            </a:extLst>
          </p:cNvPr>
          <p:cNvSpPr txBox="1">
            <a:spLocks/>
          </p:cNvSpPr>
          <p:nvPr userDrawn="1"/>
        </p:nvSpPr>
        <p:spPr>
          <a:xfrm>
            <a:off x="3162988" y="6471244"/>
            <a:ext cx="3086100" cy="1800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N" b="1">
                <a:solidFill>
                  <a:schemeClr val="tx2"/>
                </a:solidFill>
                <a:latin typeface="EYInterstate" panose="02000503020000020004" pitchFamily="2" charset="0"/>
              </a:rPr>
              <a:t>| </a:t>
            </a:r>
            <a:r>
              <a:rPr lang="en-US"/>
              <a:t>EY@Work Small Projects Guide</a:t>
            </a:r>
            <a:endParaRPr lang="en-IN"/>
          </a:p>
        </p:txBody>
      </p:sp>
      <p:sp>
        <p:nvSpPr>
          <p:cNvPr id="17" name="Slide Number Placeholder 4">
            <a:extLst>
              <a:ext uri="{FF2B5EF4-FFF2-40B4-BE49-F238E27FC236}">
                <a16:creationId xmlns:a16="http://schemas.microsoft.com/office/drawing/2014/main" id="{9EE3DC99-69E0-4E1B-A41E-424911E9963A}"/>
              </a:ext>
            </a:extLst>
          </p:cNvPr>
          <p:cNvSpPr txBox="1">
            <a:spLocks/>
          </p:cNvSpPr>
          <p:nvPr userDrawn="1"/>
        </p:nvSpPr>
        <p:spPr>
          <a:xfrm>
            <a:off x="642826" y="6471244"/>
            <a:ext cx="541538" cy="180000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l"/>
            <a:fld id="{D5B76411-544C-4F9A-8EDE-9EEB2BD21F95}" type="slidenum">
              <a:rPr lang="en-IN" smtClean="0">
                <a:solidFill>
                  <a:srgbClr val="FFFFFF"/>
                </a:solidFill>
              </a:rPr>
              <a:pPr lvl="0" algn="l"/>
              <a:t>‹#›</a:t>
            </a:fld>
            <a:endParaRPr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31252486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loorpla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A91A76C4-C7F8-4415-96B3-FC0A174A0BD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5923"/>
                    </a14:imgEffect>
                    <a14:imgEffect>
                      <a14:saturation sat="4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8589" y="1484313"/>
            <a:ext cx="10964974" cy="4568739"/>
          </a:xfrm>
          <a:prstGeom prst="rect">
            <a:avLst/>
          </a:prstGeom>
        </p:spPr>
      </p:pic>
      <p:grpSp>
        <p:nvGrpSpPr>
          <p:cNvPr id="13" name="Group 4">
            <a:extLst>
              <a:ext uri="{FF2B5EF4-FFF2-40B4-BE49-F238E27FC236}">
                <a16:creationId xmlns:a16="http://schemas.microsoft.com/office/drawing/2014/main" id="{C80E3A5E-CF39-4A06-82A1-EBA8524CE896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287125" y="6356350"/>
            <a:ext cx="303213" cy="311150"/>
            <a:chOff x="7110" y="4004"/>
            <a:chExt cx="191" cy="196"/>
          </a:xfrm>
        </p:grpSpPr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id="{BDAF0750-3EC1-4283-8852-9BD4FA1AB3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5" name="Freeform 6">
              <a:extLst>
                <a:ext uri="{FF2B5EF4-FFF2-40B4-BE49-F238E27FC236}">
                  <a16:creationId xmlns:a16="http://schemas.microsoft.com/office/drawing/2014/main" id="{2C1C7064-3539-4BBC-8618-7D5706099A6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7F60CD00-6A4F-40C0-BD5B-7C60ACF92EF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sp>
        <p:nvSpPr>
          <p:cNvPr id="17" name="Date Placeholder 1">
            <a:extLst>
              <a:ext uri="{FF2B5EF4-FFF2-40B4-BE49-F238E27FC236}">
                <a16:creationId xmlns:a16="http://schemas.microsoft.com/office/drawing/2014/main" id="{4FD70837-F170-4EB1-A52A-F08161281421}"/>
              </a:ext>
            </a:extLst>
          </p:cNvPr>
          <p:cNvSpPr txBox="1">
            <a:spLocks/>
          </p:cNvSpPr>
          <p:nvPr userDrawn="1"/>
        </p:nvSpPr>
        <p:spPr>
          <a:xfrm>
            <a:off x="1097544" y="6471244"/>
            <a:ext cx="1191258" cy="1800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7DBDBB20-DA7B-4EA8-9594-84A1D3A4EA29}" type="datetime3">
              <a:rPr lang="en-US" smtClean="0"/>
              <a:t>14 March 2025</a:t>
            </a:fld>
            <a:endParaRPr lang="en-IN"/>
          </a:p>
        </p:txBody>
      </p:sp>
      <p:sp>
        <p:nvSpPr>
          <p:cNvPr id="18" name="Footer Placeholder 2">
            <a:extLst>
              <a:ext uri="{FF2B5EF4-FFF2-40B4-BE49-F238E27FC236}">
                <a16:creationId xmlns:a16="http://schemas.microsoft.com/office/drawing/2014/main" id="{BF36CD2D-2F4E-4096-BDE0-E733F69FC529}"/>
              </a:ext>
            </a:extLst>
          </p:cNvPr>
          <p:cNvSpPr txBox="1">
            <a:spLocks/>
          </p:cNvSpPr>
          <p:nvPr userDrawn="1"/>
        </p:nvSpPr>
        <p:spPr>
          <a:xfrm>
            <a:off x="3162988" y="6471244"/>
            <a:ext cx="3086100" cy="1800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N" b="1">
                <a:solidFill>
                  <a:schemeClr val="tx2"/>
                </a:solidFill>
                <a:latin typeface="EYInterstate" panose="02000503020000020004" pitchFamily="2" charset="0"/>
              </a:rPr>
              <a:t>| </a:t>
            </a:r>
            <a:r>
              <a:rPr lang="en-US"/>
              <a:t>EY@Work Small Projects Guide</a:t>
            </a:r>
            <a:endParaRPr lang="en-IN"/>
          </a:p>
        </p:txBody>
      </p:sp>
      <p:sp>
        <p:nvSpPr>
          <p:cNvPr id="19" name="Slide Number Placeholder 4">
            <a:extLst>
              <a:ext uri="{FF2B5EF4-FFF2-40B4-BE49-F238E27FC236}">
                <a16:creationId xmlns:a16="http://schemas.microsoft.com/office/drawing/2014/main" id="{E2D8570A-48FE-408C-902D-54BF99C71AE2}"/>
              </a:ext>
            </a:extLst>
          </p:cNvPr>
          <p:cNvSpPr txBox="1">
            <a:spLocks/>
          </p:cNvSpPr>
          <p:nvPr userDrawn="1"/>
        </p:nvSpPr>
        <p:spPr>
          <a:xfrm>
            <a:off x="642826" y="6471244"/>
            <a:ext cx="541538" cy="180000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l"/>
            <a:fld id="{D5B76411-544C-4F9A-8EDE-9EEB2BD21F95}" type="slidenum">
              <a:rPr lang="en-IN" smtClean="0">
                <a:solidFill>
                  <a:srgbClr val="FFFFFF"/>
                </a:solidFill>
              </a:rPr>
              <a:pPr lvl="0" algn="l"/>
              <a:t>‹#›</a:t>
            </a:fld>
            <a:endParaRPr>
              <a:solidFill>
                <a:srgbClr val="FFFFFF"/>
              </a:solidFill>
            </a:endParaRP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2A2C82F5-9803-42F7-B768-117A6E0645BE}"/>
              </a:ext>
            </a:extLst>
          </p:cNvPr>
          <p:cNvCxnSpPr/>
          <p:nvPr userDrawn="1"/>
        </p:nvCxnSpPr>
        <p:spPr>
          <a:xfrm flipV="1">
            <a:off x="10682514" y="5123543"/>
            <a:ext cx="934357" cy="934357"/>
          </a:xfrm>
          <a:prstGeom prst="line">
            <a:avLst/>
          </a:prstGeom>
          <a:ln w="9525">
            <a:solidFill>
              <a:srgbClr val="747480">
                <a:alpha val="9000"/>
              </a:srgb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D0D19C11-CE13-4725-A7EE-83CD61B65A9C}"/>
              </a:ext>
            </a:extLst>
          </p:cNvPr>
          <p:cNvCxnSpPr>
            <a:cxnSpLocks/>
          </p:cNvCxnSpPr>
          <p:nvPr userDrawn="1"/>
        </p:nvCxnSpPr>
        <p:spPr>
          <a:xfrm>
            <a:off x="8755063" y="1484313"/>
            <a:ext cx="2868500" cy="0"/>
          </a:xfrm>
          <a:prstGeom prst="line">
            <a:avLst/>
          </a:prstGeom>
          <a:ln w="9525">
            <a:solidFill>
              <a:srgbClr val="747480">
                <a:alpha val="9000"/>
              </a:srgb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9C21151A-6100-47C4-8CDF-E9A463F5C7CC}"/>
              </a:ext>
            </a:extLst>
          </p:cNvPr>
          <p:cNvCxnSpPr>
            <a:cxnSpLocks/>
          </p:cNvCxnSpPr>
          <p:nvPr userDrawn="1"/>
        </p:nvCxnSpPr>
        <p:spPr>
          <a:xfrm>
            <a:off x="957137" y="6057900"/>
            <a:ext cx="6387092" cy="0"/>
          </a:xfrm>
          <a:prstGeom prst="line">
            <a:avLst/>
          </a:prstGeom>
          <a:ln w="9525">
            <a:solidFill>
              <a:srgbClr val="747480">
                <a:alpha val="9000"/>
              </a:srgb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971E403A-4580-47E4-BC64-792D43EE39DF}"/>
              </a:ext>
            </a:extLst>
          </p:cNvPr>
          <p:cNvCxnSpPr>
            <a:cxnSpLocks/>
          </p:cNvCxnSpPr>
          <p:nvPr userDrawn="1"/>
        </p:nvCxnSpPr>
        <p:spPr>
          <a:xfrm>
            <a:off x="627063" y="1750060"/>
            <a:ext cx="0" cy="659311"/>
          </a:xfrm>
          <a:prstGeom prst="line">
            <a:avLst/>
          </a:prstGeom>
          <a:ln w="9525">
            <a:solidFill>
              <a:srgbClr val="747480">
                <a:alpha val="9000"/>
              </a:srgb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2F8CBE6E-D913-45CA-B7FC-B0E8581F987C}"/>
              </a:ext>
            </a:extLst>
          </p:cNvPr>
          <p:cNvCxnSpPr/>
          <p:nvPr userDrawn="1"/>
        </p:nvCxnSpPr>
        <p:spPr>
          <a:xfrm>
            <a:off x="627063" y="3759199"/>
            <a:ext cx="0" cy="91440"/>
          </a:xfrm>
          <a:prstGeom prst="line">
            <a:avLst/>
          </a:prstGeom>
          <a:ln w="9525">
            <a:solidFill>
              <a:srgbClr val="747480">
                <a:alpha val="9000"/>
              </a:srgb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BB15AB41-FFF1-46EA-A8BD-833CA3AA3625}"/>
              </a:ext>
            </a:extLst>
          </p:cNvPr>
          <p:cNvCxnSpPr>
            <a:cxnSpLocks/>
          </p:cNvCxnSpPr>
          <p:nvPr userDrawn="1"/>
        </p:nvCxnSpPr>
        <p:spPr>
          <a:xfrm>
            <a:off x="944880" y="1484313"/>
            <a:ext cx="3441140" cy="0"/>
          </a:xfrm>
          <a:prstGeom prst="line">
            <a:avLst/>
          </a:prstGeom>
          <a:ln w="9525">
            <a:solidFill>
              <a:srgbClr val="747480">
                <a:alpha val="9000"/>
              </a:srgb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A4D4D306-F284-44A2-822B-A4EC4B6BA749}"/>
              </a:ext>
            </a:extLst>
          </p:cNvPr>
          <p:cNvCxnSpPr>
            <a:cxnSpLocks/>
          </p:cNvCxnSpPr>
          <p:nvPr userDrawn="1"/>
        </p:nvCxnSpPr>
        <p:spPr>
          <a:xfrm>
            <a:off x="11623563" y="2588217"/>
            <a:ext cx="0" cy="1030026"/>
          </a:xfrm>
          <a:prstGeom prst="line">
            <a:avLst/>
          </a:prstGeom>
          <a:ln w="9525">
            <a:solidFill>
              <a:srgbClr val="747480">
                <a:alpha val="9000"/>
              </a:srgb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2376140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9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4">
            <a:extLst>
              <a:ext uri="{FF2B5EF4-FFF2-40B4-BE49-F238E27FC236}">
                <a16:creationId xmlns:a16="http://schemas.microsoft.com/office/drawing/2014/main" id="{0DECF998-2C65-4A7D-9389-6A6F45FEE15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287125" y="6356350"/>
            <a:ext cx="303213" cy="311150"/>
            <a:chOff x="7110" y="4004"/>
            <a:chExt cx="191" cy="196"/>
          </a:xfrm>
        </p:grpSpPr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9B7592BA-4DF9-45EB-9010-161FB883882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6" name="Freeform 6">
              <a:extLst>
                <a:ext uri="{FF2B5EF4-FFF2-40B4-BE49-F238E27FC236}">
                  <a16:creationId xmlns:a16="http://schemas.microsoft.com/office/drawing/2014/main" id="{48B168B8-992D-4EC8-89D2-A1BBC6A9E0C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7" name="Freeform 7">
              <a:extLst>
                <a:ext uri="{FF2B5EF4-FFF2-40B4-BE49-F238E27FC236}">
                  <a16:creationId xmlns:a16="http://schemas.microsoft.com/office/drawing/2014/main" id="{B56B77D1-2F9C-440B-95E6-07F1CA3E9E2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sp>
        <p:nvSpPr>
          <p:cNvPr id="19" name="Footer Placeholder 2">
            <a:extLst>
              <a:ext uri="{FF2B5EF4-FFF2-40B4-BE49-F238E27FC236}">
                <a16:creationId xmlns:a16="http://schemas.microsoft.com/office/drawing/2014/main" id="{BB56A396-9367-4551-B61B-9FEB81A03866}"/>
              </a:ext>
            </a:extLst>
          </p:cNvPr>
          <p:cNvSpPr txBox="1">
            <a:spLocks/>
          </p:cNvSpPr>
          <p:nvPr userDrawn="1"/>
        </p:nvSpPr>
        <p:spPr>
          <a:xfrm>
            <a:off x="3162988" y="6471244"/>
            <a:ext cx="3086100" cy="1800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/>
              <a:t>Introduction to </a:t>
            </a:r>
            <a:r>
              <a:rPr lang="en-US" err="1"/>
              <a:t>EY@Work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73954370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Image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 4">
            <a:extLst>
              <a:ext uri="{FF2B5EF4-FFF2-40B4-BE49-F238E27FC236}">
                <a16:creationId xmlns:a16="http://schemas.microsoft.com/office/drawing/2014/main" id="{4D78A6CF-30AF-4A7A-8375-4CE9AE4CD2F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287125" y="6356350"/>
            <a:ext cx="303213" cy="311150"/>
            <a:chOff x="7110" y="4004"/>
            <a:chExt cx="191" cy="196"/>
          </a:xfrm>
        </p:grpSpPr>
        <p:sp>
          <p:nvSpPr>
            <p:cNvPr id="12" name="Freeform 5">
              <a:extLst>
                <a:ext uri="{FF2B5EF4-FFF2-40B4-BE49-F238E27FC236}">
                  <a16:creationId xmlns:a16="http://schemas.microsoft.com/office/drawing/2014/main" id="{D4F762ED-6E19-4D31-BD0C-09576339FEC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3" name="Freeform 6">
              <a:extLst>
                <a:ext uri="{FF2B5EF4-FFF2-40B4-BE49-F238E27FC236}">
                  <a16:creationId xmlns:a16="http://schemas.microsoft.com/office/drawing/2014/main" id="{91EA99E5-4BD6-4166-8AA5-0D57080D03A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4" name="Freeform 7">
              <a:extLst>
                <a:ext uri="{FF2B5EF4-FFF2-40B4-BE49-F238E27FC236}">
                  <a16:creationId xmlns:a16="http://schemas.microsoft.com/office/drawing/2014/main" id="{C7E839E2-B6AC-40D2-AA17-0113405024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sp>
        <p:nvSpPr>
          <p:cNvPr id="15" name="Date Placeholder 1">
            <a:extLst>
              <a:ext uri="{FF2B5EF4-FFF2-40B4-BE49-F238E27FC236}">
                <a16:creationId xmlns:a16="http://schemas.microsoft.com/office/drawing/2014/main" id="{8DBCCD6A-1DEC-427B-87F0-ADE1748CE749}"/>
              </a:ext>
            </a:extLst>
          </p:cNvPr>
          <p:cNvSpPr txBox="1">
            <a:spLocks/>
          </p:cNvSpPr>
          <p:nvPr userDrawn="1"/>
        </p:nvSpPr>
        <p:spPr>
          <a:xfrm>
            <a:off x="1097544" y="6471244"/>
            <a:ext cx="1191258" cy="1800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7DBDBB20-DA7B-4EA8-9594-84A1D3A4EA29}" type="datetime3">
              <a:rPr lang="en-US" smtClean="0"/>
              <a:t>14 March 2025</a:t>
            </a:fld>
            <a:endParaRPr lang="en-IN"/>
          </a:p>
        </p:txBody>
      </p:sp>
      <p:sp>
        <p:nvSpPr>
          <p:cNvPr id="16" name="Footer Placeholder 2">
            <a:extLst>
              <a:ext uri="{FF2B5EF4-FFF2-40B4-BE49-F238E27FC236}">
                <a16:creationId xmlns:a16="http://schemas.microsoft.com/office/drawing/2014/main" id="{F0FCD60E-D66A-4E1E-9AA0-148C173F4B4D}"/>
              </a:ext>
            </a:extLst>
          </p:cNvPr>
          <p:cNvSpPr txBox="1">
            <a:spLocks/>
          </p:cNvSpPr>
          <p:nvPr userDrawn="1"/>
        </p:nvSpPr>
        <p:spPr>
          <a:xfrm>
            <a:off x="3162988" y="6471244"/>
            <a:ext cx="3086100" cy="1800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N" b="1">
                <a:solidFill>
                  <a:schemeClr val="tx2"/>
                </a:solidFill>
                <a:latin typeface="EYInterstate" panose="02000503020000020004" pitchFamily="2" charset="0"/>
              </a:rPr>
              <a:t>| </a:t>
            </a:r>
            <a:r>
              <a:rPr lang="en-US"/>
              <a:t>EY@Work Small Projects Guide</a:t>
            </a:r>
            <a:endParaRPr lang="en-IN"/>
          </a:p>
        </p:txBody>
      </p:sp>
      <p:sp>
        <p:nvSpPr>
          <p:cNvPr id="17" name="Slide Number Placeholder 4">
            <a:extLst>
              <a:ext uri="{FF2B5EF4-FFF2-40B4-BE49-F238E27FC236}">
                <a16:creationId xmlns:a16="http://schemas.microsoft.com/office/drawing/2014/main" id="{B2276C59-8E70-4EA9-B15E-0B3531D0D740}"/>
              </a:ext>
            </a:extLst>
          </p:cNvPr>
          <p:cNvSpPr txBox="1">
            <a:spLocks/>
          </p:cNvSpPr>
          <p:nvPr userDrawn="1"/>
        </p:nvSpPr>
        <p:spPr>
          <a:xfrm>
            <a:off x="642826" y="6471244"/>
            <a:ext cx="541538" cy="180000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l"/>
            <a:fld id="{D5B76411-544C-4F9A-8EDE-9EEB2BD21F95}" type="slidenum">
              <a:rPr lang="en-IN" smtClean="0">
                <a:solidFill>
                  <a:srgbClr val="FFFFFF"/>
                </a:solidFill>
              </a:rPr>
              <a:pPr lvl="0" algn="l"/>
              <a:t>‹#›</a:t>
            </a:fld>
            <a:endParaRPr>
              <a:solidFill>
                <a:srgbClr val="FFFFFF"/>
              </a:solidFill>
            </a:endParaRP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99236C7-AF08-4D3C-AFDA-1909D498205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42938" y="1484313"/>
            <a:ext cx="5456237" cy="457358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5DD93A2A-A91F-45A1-A1B5-79D893971E0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235234" y="1484312"/>
            <a:ext cx="5336054" cy="457358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9204475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Image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 4">
            <a:extLst>
              <a:ext uri="{FF2B5EF4-FFF2-40B4-BE49-F238E27FC236}">
                <a16:creationId xmlns:a16="http://schemas.microsoft.com/office/drawing/2014/main" id="{4D78A6CF-30AF-4A7A-8375-4CE9AE4CD2F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287125" y="6356350"/>
            <a:ext cx="303213" cy="311150"/>
            <a:chOff x="7110" y="4004"/>
            <a:chExt cx="191" cy="196"/>
          </a:xfrm>
        </p:grpSpPr>
        <p:sp>
          <p:nvSpPr>
            <p:cNvPr id="12" name="Freeform 5">
              <a:extLst>
                <a:ext uri="{FF2B5EF4-FFF2-40B4-BE49-F238E27FC236}">
                  <a16:creationId xmlns:a16="http://schemas.microsoft.com/office/drawing/2014/main" id="{D4F762ED-6E19-4D31-BD0C-09576339FEC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3" name="Freeform 6">
              <a:extLst>
                <a:ext uri="{FF2B5EF4-FFF2-40B4-BE49-F238E27FC236}">
                  <a16:creationId xmlns:a16="http://schemas.microsoft.com/office/drawing/2014/main" id="{91EA99E5-4BD6-4166-8AA5-0D57080D03A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4" name="Freeform 7">
              <a:extLst>
                <a:ext uri="{FF2B5EF4-FFF2-40B4-BE49-F238E27FC236}">
                  <a16:creationId xmlns:a16="http://schemas.microsoft.com/office/drawing/2014/main" id="{C7E839E2-B6AC-40D2-AA17-0113405024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sp>
        <p:nvSpPr>
          <p:cNvPr id="15" name="Date Placeholder 1">
            <a:extLst>
              <a:ext uri="{FF2B5EF4-FFF2-40B4-BE49-F238E27FC236}">
                <a16:creationId xmlns:a16="http://schemas.microsoft.com/office/drawing/2014/main" id="{8DBCCD6A-1DEC-427B-87F0-ADE1748CE749}"/>
              </a:ext>
            </a:extLst>
          </p:cNvPr>
          <p:cNvSpPr txBox="1">
            <a:spLocks/>
          </p:cNvSpPr>
          <p:nvPr userDrawn="1"/>
        </p:nvSpPr>
        <p:spPr>
          <a:xfrm>
            <a:off x="1097544" y="6471244"/>
            <a:ext cx="1191258" cy="1800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7DBDBB20-DA7B-4EA8-9594-84A1D3A4EA29}" type="datetime3">
              <a:rPr lang="en-US" smtClean="0"/>
              <a:t>14 March 2025</a:t>
            </a:fld>
            <a:endParaRPr lang="en-IN"/>
          </a:p>
        </p:txBody>
      </p:sp>
      <p:sp>
        <p:nvSpPr>
          <p:cNvPr id="16" name="Footer Placeholder 2">
            <a:extLst>
              <a:ext uri="{FF2B5EF4-FFF2-40B4-BE49-F238E27FC236}">
                <a16:creationId xmlns:a16="http://schemas.microsoft.com/office/drawing/2014/main" id="{F0FCD60E-D66A-4E1E-9AA0-148C173F4B4D}"/>
              </a:ext>
            </a:extLst>
          </p:cNvPr>
          <p:cNvSpPr txBox="1">
            <a:spLocks/>
          </p:cNvSpPr>
          <p:nvPr userDrawn="1"/>
        </p:nvSpPr>
        <p:spPr>
          <a:xfrm>
            <a:off x="3162988" y="6471244"/>
            <a:ext cx="3086100" cy="1800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err="1"/>
              <a:t>EY@Work</a:t>
            </a:r>
            <a:r>
              <a:rPr lang="en-US"/>
              <a:t> Schematic Design Presentation</a:t>
            </a:r>
          </a:p>
        </p:txBody>
      </p:sp>
      <p:sp>
        <p:nvSpPr>
          <p:cNvPr id="17" name="Slide Number Placeholder 4">
            <a:extLst>
              <a:ext uri="{FF2B5EF4-FFF2-40B4-BE49-F238E27FC236}">
                <a16:creationId xmlns:a16="http://schemas.microsoft.com/office/drawing/2014/main" id="{B2276C59-8E70-4EA9-B15E-0B3531D0D740}"/>
              </a:ext>
            </a:extLst>
          </p:cNvPr>
          <p:cNvSpPr txBox="1">
            <a:spLocks/>
          </p:cNvSpPr>
          <p:nvPr userDrawn="1"/>
        </p:nvSpPr>
        <p:spPr>
          <a:xfrm>
            <a:off x="642826" y="6471244"/>
            <a:ext cx="541538" cy="180000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l"/>
            <a:fld id="{D5B76411-544C-4F9A-8EDE-9EEB2BD21F95}" type="slidenum">
              <a:rPr lang="en-IN" smtClean="0">
                <a:solidFill>
                  <a:srgbClr val="FFFFFF"/>
                </a:solidFill>
              </a:rPr>
              <a:pPr lvl="0" algn="l"/>
              <a:t>‹#›</a:t>
            </a:fld>
            <a:endParaRPr>
              <a:solidFill>
                <a:srgbClr val="FFFFFF"/>
              </a:solidFill>
            </a:endParaRP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99236C7-AF08-4D3C-AFDA-1909D498205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42938" y="1484313"/>
            <a:ext cx="6877050" cy="457358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5DD93A2A-A91F-45A1-A1B5-79D893971E0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612064" y="1484313"/>
            <a:ext cx="3959224" cy="2241550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19" name="Picture Placeholder 4">
            <a:extLst>
              <a:ext uri="{FF2B5EF4-FFF2-40B4-BE49-F238E27FC236}">
                <a16:creationId xmlns:a16="http://schemas.microsoft.com/office/drawing/2014/main" id="{C05D0D04-C82B-464D-BCD5-E405C531ACB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612064" y="3805482"/>
            <a:ext cx="3959224" cy="2241550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43309403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Images slide_alt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 4">
            <a:extLst>
              <a:ext uri="{FF2B5EF4-FFF2-40B4-BE49-F238E27FC236}">
                <a16:creationId xmlns:a16="http://schemas.microsoft.com/office/drawing/2014/main" id="{4D78A6CF-30AF-4A7A-8375-4CE9AE4CD2F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287125" y="6356350"/>
            <a:ext cx="303213" cy="311150"/>
            <a:chOff x="7110" y="4004"/>
            <a:chExt cx="191" cy="196"/>
          </a:xfrm>
        </p:grpSpPr>
        <p:sp>
          <p:nvSpPr>
            <p:cNvPr id="12" name="Freeform 5">
              <a:extLst>
                <a:ext uri="{FF2B5EF4-FFF2-40B4-BE49-F238E27FC236}">
                  <a16:creationId xmlns:a16="http://schemas.microsoft.com/office/drawing/2014/main" id="{D4F762ED-6E19-4D31-BD0C-09576339FEC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3" name="Freeform 6">
              <a:extLst>
                <a:ext uri="{FF2B5EF4-FFF2-40B4-BE49-F238E27FC236}">
                  <a16:creationId xmlns:a16="http://schemas.microsoft.com/office/drawing/2014/main" id="{91EA99E5-4BD6-4166-8AA5-0D57080D03A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4" name="Freeform 7">
              <a:extLst>
                <a:ext uri="{FF2B5EF4-FFF2-40B4-BE49-F238E27FC236}">
                  <a16:creationId xmlns:a16="http://schemas.microsoft.com/office/drawing/2014/main" id="{C7E839E2-B6AC-40D2-AA17-0113405024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sp>
        <p:nvSpPr>
          <p:cNvPr id="15" name="Date Placeholder 1">
            <a:extLst>
              <a:ext uri="{FF2B5EF4-FFF2-40B4-BE49-F238E27FC236}">
                <a16:creationId xmlns:a16="http://schemas.microsoft.com/office/drawing/2014/main" id="{8DBCCD6A-1DEC-427B-87F0-ADE1748CE749}"/>
              </a:ext>
            </a:extLst>
          </p:cNvPr>
          <p:cNvSpPr txBox="1">
            <a:spLocks/>
          </p:cNvSpPr>
          <p:nvPr userDrawn="1"/>
        </p:nvSpPr>
        <p:spPr>
          <a:xfrm>
            <a:off x="1097544" y="6471244"/>
            <a:ext cx="1191258" cy="1800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7DBDBB20-DA7B-4EA8-9594-84A1D3A4EA29}" type="datetime3">
              <a:rPr lang="en-US" smtClean="0"/>
              <a:t>14 March 2025</a:t>
            </a:fld>
            <a:endParaRPr lang="en-IN"/>
          </a:p>
        </p:txBody>
      </p:sp>
      <p:sp>
        <p:nvSpPr>
          <p:cNvPr id="16" name="Footer Placeholder 2">
            <a:extLst>
              <a:ext uri="{FF2B5EF4-FFF2-40B4-BE49-F238E27FC236}">
                <a16:creationId xmlns:a16="http://schemas.microsoft.com/office/drawing/2014/main" id="{F0FCD60E-D66A-4E1E-9AA0-148C173F4B4D}"/>
              </a:ext>
            </a:extLst>
          </p:cNvPr>
          <p:cNvSpPr txBox="1">
            <a:spLocks/>
          </p:cNvSpPr>
          <p:nvPr userDrawn="1"/>
        </p:nvSpPr>
        <p:spPr>
          <a:xfrm>
            <a:off x="3162988" y="6471244"/>
            <a:ext cx="3086100" cy="1800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err="1"/>
              <a:t>EY@Work</a:t>
            </a:r>
            <a:r>
              <a:rPr lang="en-US"/>
              <a:t> Schematic Design Presentation</a:t>
            </a:r>
          </a:p>
        </p:txBody>
      </p:sp>
      <p:sp>
        <p:nvSpPr>
          <p:cNvPr id="17" name="Slide Number Placeholder 4">
            <a:extLst>
              <a:ext uri="{FF2B5EF4-FFF2-40B4-BE49-F238E27FC236}">
                <a16:creationId xmlns:a16="http://schemas.microsoft.com/office/drawing/2014/main" id="{B2276C59-8E70-4EA9-B15E-0B3531D0D740}"/>
              </a:ext>
            </a:extLst>
          </p:cNvPr>
          <p:cNvSpPr txBox="1">
            <a:spLocks/>
          </p:cNvSpPr>
          <p:nvPr userDrawn="1"/>
        </p:nvSpPr>
        <p:spPr>
          <a:xfrm>
            <a:off x="642826" y="6471244"/>
            <a:ext cx="541538" cy="180000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l"/>
            <a:fld id="{D5B76411-544C-4F9A-8EDE-9EEB2BD21F95}" type="slidenum">
              <a:rPr lang="en-IN" smtClean="0">
                <a:solidFill>
                  <a:srgbClr val="FFFFFF"/>
                </a:solidFill>
              </a:rPr>
              <a:pPr lvl="0" algn="l"/>
              <a:t>‹#›</a:t>
            </a:fld>
            <a:endParaRPr>
              <a:solidFill>
                <a:srgbClr val="FFFFFF"/>
              </a:solidFill>
            </a:endParaRP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99236C7-AF08-4D3C-AFDA-1909D498205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42938" y="1484313"/>
            <a:ext cx="3597592" cy="457358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5DD93A2A-A91F-45A1-A1B5-79D893971E0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4331970" y="1484312"/>
            <a:ext cx="3554730" cy="457358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19" name="Picture Placeholder 4">
            <a:extLst>
              <a:ext uri="{FF2B5EF4-FFF2-40B4-BE49-F238E27FC236}">
                <a16:creationId xmlns:a16="http://schemas.microsoft.com/office/drawing/2014/main" id="{C05D0D04-C82B-464D-BCD5-E405C531ACB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978140" y="1484313"/>
            <a:ext cx="3593148" cy="4562719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6631495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 Image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 4">
            <a:extLst>
              <a:ext uri="{FF2B5EF4-FFF2-40B4-BE49-F238E27FC236}">
                <a16:creationId xmlns:a16="http://schemas.microsoft.com/office/drawing/2014/main" id="{4D78A6CF-30AF-4A7A-8375-4CE9AE4CD2F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287125" y="6356350"/>
            <a:ext cx="303213" cy="311150"/>
            <a:chOff x="7110" y="4004"/>
            <a:chExt cx="191" cy="196"/>
          </a:xfrm>
        </p:grpSpPr>
        <p:sp>
          <p:nvSpPr>
            <p:cNvPr id="12" name="Freeform 5">
              <a:extLst>
                <a:ext uri="{FF2B5EF4-FFF2-40B4-BE49-F238E27FC236}">
                  <a16:creationId xmlns:a16="http://schemas.microsoft.com/office/drawing/2014/main" id="{D4F762ED-6E19-4D31-BD0C-09576339FEC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3" name="Freeform 6">
              <a:extLst>
                <a:ext uri="{FF2B5EF4-FFF2-40B4-BE49-F238E27FC236}">
                  <a16:creationId xmlns:a16="http://schemas.microsoft.com/office/drawing/2014/main" id="{91EA99E5-4BD6-4166-8AA5-0D57080D03A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4" name="Freeform 7">
              <a:extLst>
                <a:ext uri="{FF2B5EF4-FFF2-40B4-BE49-F238E27FC236}">
                  <a16:creationId xmlns:a16="http://schemas.microsoft.com/office/drawing/2014/main" id="{C7E839E2-B6AC-40D2-AA17-0113405024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sp>
        <p:nvSpPr>
          <p:cNvPr id="15" name="Date Placeholder 1">
            <a:extLst>
              <a:ext uri="{FF2B5EF4-FFF2-40B4-BE49-F238E27FC236}">
                <a16:creationId xmlns:a16="http://schemas.microsoft.com/office/drawing/2014/main" id="{8DBCCD6A-1DEC-427B-87F0-ADE1748CE749}"/>
              </a:ext>
            </a:extLst>
          </p:cNvPr>
          <p:cNvSpPr txBox="1">
            <a:spLocks/>
          </p:cNvSpPr>
          <p:nvPr userDrawn="1"/>
        </p:nvSpPr>
        <p:spPr>
          <a:xfrm>
            <a:off x="1097544" y="6471244"/>
            <a:ext cx="1191258" cy="1800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7DBDBB20-DA7B-4EA8-9594-84A1D3A4EA29}" type="datetime3">
              <a:rPr lang="en-US" smtClean="0"/>
              <a:t>14 March 2025</a:t>
            </a:fld>
            <a:endParaRPr lang="en-IN"/>
          </a:p>
        </p:txBody>
      </p:sp>
      <p:sp>
        <p:nvSpPr>
          <p:cNvPr id="16" name="Footer Placeholder 2">
            <a:extLst>
              <a:ext uri="{FF2B5EF4-FFF2-40B4-BE49-F238E27FC236}">
                <a16:creationId xmlns:a16="http://schemas.microsoft.com/office/drawing/2014/main" id="{F0FCD60E-D66A-4E1E-9AA0-148C173F4B4D}"/>
              </a:ext>
            </a:extLst>
          </p:cNvPr>
          <p:cNvSpPr txBox="1">
            <a:spLocks/>
          </p:cNvSpPr>
          <p:nvPr userDrawn="1"/>
        </p:nvSpPr>
        <p:spPr>
          <a:xfrm>
            <a:off x="3162988" y="6471244"/>
            <a:ext cx="3086100" cy="1800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err="1"/>
              <a:t>EY@Work</a:t>
            </a:r>
            <a:r>
              <a:rPr lang="en-US"/>
              <a:t> Schematic Design Presentation</a:t>
            </a:r>
          </a:p>
        </p:txBody>
      </p:sp>
      <p:sp>
        <p:nvSpPr>
          <p:cNvPr id="17" name="Slide Number Placeholder 4">
            <a:extLst>
              <a:ext uri="{FF2B5EF4-FFF2-40B4-BE49-F238E27FC236}">
                <a16:creationId xmlns:a16="http://schemas.microsoft.com/office/drawing/2014/main" id="{B2276C59-8E70-4EA9-B15E-0B3531D0D740}"/>
              </a:ext>
            </a:extLst>
          </p:cNvPr>
          <p:cNvSpPr txBox="1">
            <a:spLocks/>
          </p:cNvSpPr>
          <p:nvPr userDrawn="1"/>
        </p:nvSpPr>
        <p:spPr>
          <a:xfrm>
            <a:off x="642826" y="6471244"/>
            <a:ext cx="541538" cy="180000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l"/>
            <a:fld id="{D5B76411-544C-4F9A-8EDE-9EEB2BD21F95}" type="slidenum">
              <a:rPr lang="en-IN" smtClean="0">
                <a:solidFill>
                  <a:srgbClr val="FFFFFF"/>
                </a:solidFill>
              </a:rPr>
              <a:pPr lvl="0" algn="l"/>
              <a:t>‹#›</a:t>
            </a:fld>
            <a:endParaRPr>
              <a:solidFill>
                <a:srgbClr val="FFFFFF"/>
              </a:solidFill>
            </a:endParaRP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99236C7-AF08-4D3C-AFDA-1909D498205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42938" y="1484313"/>
            <a:ext cx="6043612" cy="205898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5DD93A2A-A91F-45A1-A1B5-79D893971E0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5527676" y="3634740"/>
            <a:ext cx="6043612" cy="2423159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19" name="Picture Placeholder 4">
            <a:extLst>
              <a:ext uri="{FF2B5EF4-FFF2-40B4-BE49-F238E27FC236}">
                <a16:creationId xmlns:a16="http://schemas.microsoft.com/office/drawing/2014/main" id="{C05D0D04-C82B-464D-BCD5-E405C531ACB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777990" y="1484313"/>
            <a:ext cx="4793298" cy="205898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21" name="Picture Placeholder 4">
            <a:extLst>
              <a:ext uri="{FF2B5EF4-FFF2-40B4-BE49-F238E27FC236}">
                <a16:creationId xmlns:a16="http://schemas.microsoft.com/office/drawing/2014/main" id="{2A8F064D-0DFB-44AC-98CC-D7C27312D61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42938" y="3634740"/>
            <a:ext cx="4791456" cy="2423159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9416552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 Images slide_alt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 4">
            <a:extLst>
              <a:ext uri="{FF2B5EF4-FFF2-40B4-BE49-F238E27FC236}">
                <a16:creationId xmlns:a16="http://schemas.microsoft.com/office/drawing/2014/main" id="{4D78A6CF-30AF-4A7A-8375-4CE9AE4CD2F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287125" y="6356350"/>
            <a:ext cx="303213" cy="311150"/>
            <a:chOff x="7110" y="4004"/>
            <a:chExt cx="191" cy="196"/>
          </a:xfrm>
        </p:grpSpPr>
        <p:sp>
          <p:nvSpPr>
            <p:cNvPr id="12" name="Freeform 5">
              <a:extLst>
                <a:ext uri="{FF2B5EF4-FFF2-40B4-BE49-F238E27FC236}">
                  <a16:creationId xmlns:a16="http://schemas.microsoft.com/office/drawing/2014/main" id="{D4F762ED-6E19-4D31-BD0C-09576339FEC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3" name="Freeform 6">
              <a:extLst>
                <a:ext uri="{FF2B5EF4-FFF2-40B4-BE49-F238E27FC236}">
                  <a16:creationId xmlns:a16="http://schemas.microsoft.com/office/drawing/2014/main" id="{91EA99E5-4BD6-4166-8AA5-0D57080D03A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4" name="Freeform 7">
              <a:extLst>
                <a:ext uri="{FF2B5EF4-FFF2-40B4-BE49-F238E27FC236}">
                  <a16:creationId xmlns:a16="http://schemas.microsoft.com/office/drawing/2014/main" id="{C7E839E2-B6AC-40D2-AA17-0113405024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sp>
        <p:nvSpPr>
          <p:cNvPr id="15" name="Date Placeholder 1">
            <a:extLst>
              <a:ext uri="{FF2B5EF4-FFF2-40B4-BE49-F238E27FC236}">
                <a16:creationId xmlns:a16="http://schemas.microsoft.com/office/drawing/2014/main" id="{8DBCCD6A-1DEC-427B-87F0-ADE1748CE749}"/>
              </a:ext>
            </a:extLst>
          </p:cNvPr>
          <p:cNvSpPr txBox="1">
            <a:spLocks/>
          </p:cNvSpPr>
          <p:nvPr userDrawn="1"/>
        </p:nvSpPr>
        <p:spPr>
          <a:xfrm>
            <a:off x="1097544" y="6471244"/>
            <a:ext cx="1191258" cy="1800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7DBDBB20-DA7B-4EA8-9594-84A1D3A4EA29}" type="datetime3">
              <a:rPr lang="en-US" smtClean="0"/>
              <a:t>14 March 2025</a:t>
            </a:fld>
            <a:endParaRPr lang="en-IN"/>
          </a:p>
        </p:txBody>
      </p:sp>
      <p:sp>
        <p:nvSpPr>
          <p:cNvPr id="16" name="Footer Placeholder 2">
            <a:extLst>
              <a:ext uri="{FF2B5EF4-FFF2-40B4-BE49-F238E27FC236}">
                <a16:creationId xmlns:a16="http://schemas.microsoft.com/office/drawing/2014/main" id="{F0FCD60E-D66A-4E1E-9AA0-148C173F4B4D}"/>
              </a:ext>
            </a:extLst>
          </p:cNvPr>
          <p:cNvSpPr txBox="1">
            <a:spLocks/>
          </p:cNvSpPr>
          <p:nvPr userDrawn="1"/>
        </p:nvSpPr>
        <p:spPr>
          <a:xfrm>
            <a:off x="3162988" y="6471244"/>
            <a:ext cx="3086100" cy="1800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err="1"/>
              <a:t>EY@Work</a:t>
            </a:r>
            <a:r>
              <a:rPr lang="en-US"/>
              <a:t> Schematic Design Presentation</a:t>
            </a:r>
          </a:p>
        </p:txBody>
      </p:sp>
      <p:sp>
        <p:nvSpPr>
          <p:cNvPr id="17" name="Slide Number Placeholder 4">
            <a:extLst>
              <a:ext uri="{FF2B5EF4-FFF2-40B4-BE49-F238E27FC236}">
                <a16:creationId xmlns:a16="http://schemas.microsoft.com/office/drawing/2014/main" id="{B2276C59-8E70-4EA9-B15E-0B3531D0D740}"/>
              </a:ext>
            </a:extLst>
          </p:cNvPr>
          <p:cNvSpPr txBox="1">
            <a:spLocks/>
          </p:cNvSpPr>
          <p:nvPr userDrawn="1"/>
        </p:nvSpPr>
        <p:spPr>
          <a:xfrm>
            <a:off x="642826" y="6471244"/>
            <a:ext cx="541538" cy="180000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l"/>
            <a:fld id="{D5B76411-544C-4F9A-8EDE-9EEB2BD21F95}" type="slidenum">
              <a:rPr lang="en-IN" smtClean="0">
                <a:solidFill>
                  <a:srgbClr val="FFFFFF"/>
                </a:solidFill>
              </a:rPr>
              <a:pPr lvl="0" algn="l"/>
              <a:t>‹#›</a:t>
            </a:fld>
            <a:endParaRPr>
              <a:solidFill>
                <a:srgbClr val="FFFFFF"/>
              </a:solidFill>
            </a:endParaRP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99236C7-AF08-4D3C-AFDA-1909D498205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42938" y="1484313"/>
            <a:ext cx="3494722" cy="4573586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5DD93A2A-A91F-45A1-A1B5-79D893971E0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8177534" y="1484314"/>
            <a:ext cx="3393754" cy="4573586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19" name="Picture Placeholder 4">
            <a:extLst>
              <a:ext uri="{FF2B5EF4-FFF2-40B4-BE49-F238E27FC236}">
                <a16:creationId xmlns:a16="http://schemas.microsoft.com/office/drawing/2014/main" id="{C05D0D04-C82B-464D-BCD5-E405C531ACB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229100" y="1484313"/>
            <a:ext cx="3831592" cy="205898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21" name="Picture Placeholder 4">
            <a:extLst>
              <a:ext uri="{FF2B5EF4-FFF2-40B4-BE49-F238E27FC236}">
                <a16:creationId xmlns:a16="http://schemas.microsoft.com/office/drawing/2014/main" id="{2A8F064D-0DFB-44AC-98CC-D7C27312D61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29100" y="3634740"/>
            <a:ext cx="3831592" cy="2423159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31638752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 Image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 4">
            <a:extLst>
              <a:ext uri="{FF2B5EF4-FFF2-40B4-BE49-F238E27FC236}">
                <a16:creationId xmlns:a16="http://schemas.microsoft.com/office/drawing/2014/main" id="{4D78A6CF-30AF-4A7A-8375-4CE9AE4CD2F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287125" y="6356350"/>
            <a:ext cx="303213" cy="311150"/>
            <a:chOff x="7110" y="4004"/>
            <a:chExt cx="191" cy="196"/>
          </a:xfrm>
        </p:grpSpPr>
        <p:sp>
          <p:nvSpPr>
            <p:cNvPr id="12" name="Freeform 5">
              <a:extLst>
                <a:ext uri="{FF2B5EF4-FFF2-40B4-BE49-F238E27FC236}">
                  <a16:creationId xmlns:a16="http://schemas.microsoft.com/office/drawing/2014/main" id="{D4F762ED-6E19-4D31-BD0C-09576339FEC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3" name="Freeform 6">
              <a:extLst>
                <a:ext uri="{FF2B5EF4-FFF2-40B4-BE49-F238E27FC236}">
                  <a16:creationId xmlns:a16="http://schemas.microsoft.com/office/drawing/2014/main" id="{91EA99E5-4BD6-4166-8AA5-0D57080D03A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4" name="Freeform 7">
              <a:extLst>
                <a:ext uri="{FF2B5EF4-FFF2-40B4-BE49-F238E27FC236}">
                  <a16:creationId xmlns:a16="http://schemas.microsoft.com/office/drawing/2014/main" id="{C7E839E2-B6AC-40D2-AA17-0113405024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sp>
        <p:nvSpPr>
          <p:cNvPr id="15" name="Date Placeholder 1">
            <a:extLst>
              <a:ext uri="{FF2B5EF4-FFF2-40B4-BE49-F238E27FC236}">
                <a16:creationId xmlns:a16="http://schemas.microsoft.com/office/drawing/2014/main" id="{8DBCCD6A-1DEC-427B-87F0-ADE1748CE749}"/>
              </a:ext>
            </a:extLst>
          </p:cNvPr>
          <p:cNvSpPr txBox="1">
            <a:spLocks/>
          </p:cNvSpPr>
          <p:nvPr userDrawn="1"/>
        </p:nvSpPr>
        <p:spPr>
          <a:xfrm>
            <a:off x="1097544" y="6471244"/>
            <a:ext cx="1191258" cy="1800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7DBDBB20-DA7B-4EA8-9594-84A1D3A4EA29}" type="datetime3">
              <a:rPr lang="en-US" smtClean="0"/>
              <a:t>14 March 2025</a:t>
            </a:fld>
            <a:endParaRPr lang="en-IN"/>
          </a:p>
        </p:txBody>
      </p:sp>
      <p:sp>
        <p:nvSpPr>
          <p:cNvPr id="16" name="Footer Placeholder 2">
            <a:extLst>
              <a:ext uri="{FF2B5EF4-FFF2-40B4-BE49-F238E27FC236}">
                <a16:creationId xmlns:a16="http://schemas.microsoft.com/office/drawing/2014/main" id="{F0FCD60E-D66A-4E1E-9AA0-148C173F4B4D}"/>
              </a:ext>
            </a:extLst>
          </p:cNvPr>
          <p:cNvSpPr txBox="1">
            <a:spLocks/>
          </p:cNvSpPr>
          <p:nvPr userDrawn="1"/>
        </p:nvSpPr>
        <p:spPr>
          <a:xfrm>
            <a:off x="3162988" y="6471244"/>
            <a:ext cx="3086100" cy="1800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err="1"/>
              <a:t>EY@Work</a:t>
            </a:r>
            <a:r>
              <a:rPr lang="en-US"/>
              <a:t> Schematic Design Presentation</a:t>
            </a:r>
          </a:p>
        </p:txBody>
      </p:sp>
      <p:sp>
        <p:nvSpPr>
          <p:cNvPr id="17" name="Slide Number Placeholder 4">
            <a:extLst>
              <a:ext uri="{FF2B5EF4-FFF2-40B4-BE49-F238E27FC236}">
                <a16:creationId xmlns:a16="http://schemas.microsoft.com/office/drawing/2014/main" id="{B2276C59-8E70-4EA9-B15E-0B3531D0D740}"/>
              </a:ext>
            </a:extLst>
          </p:cNvPr>
          <p:cNvSpPr txBox="1">
            <a:spLocks/>
          </p:cNvSpPr>
          <p:nvPr userDrawn="1"/>
        </p:nvSpPr>
        <p:spPr>
          <a:xfrm>
            <a:off x="642826" y="6471244"/>
            <a:ext cx="541538" cy="180000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l"/>
            <a:fld id="{D5B76411-544C-4F9A-8EDE-9EEB2BD21F95}" type="slidenum">
              <a:rPr lang="en-IN" smtClean="0">
                <a:solidFill>
                  <a:srgbClr val="FFFFFF"/>
                </a:solidFill>
              </a:rPr>
              <a:pPr lvl="0" algn="l"/>
              <a:t>‹#›</a:t>
            </a:fld>
            <a:endParaRPr>
              <a:solidFill>
                <a:srgbClr val="FFFFFF"/>
              </a:solidFill>
            </a:endParaRP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99236C7-AF08-4D3C-AFDA-1909D498205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42938" y="1484313"/>
            <a:ext cx="5560430" cy="2253436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5DD93A2A-A91F-45A1-A1B5-79D893971E0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294808" y="1484313"/>
            <a:ext cx="5276480" cy="2253435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19" name="Picture Placeholder 4">
            <a:extLst>
              <a:ext uri="{FF2B5EF4-FFF2-40B4-BE49-F238E27FC236}">
                <a16:creationId xmlns:a16="http://schemas.microsoft.com/office/drawing/2014/main" id="{C05D0D04-C82B-464D-BCD5-E405C531ACB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560570" y="3829190"/>
            <a:ext cx="3404660" cy="2228709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21" name="Picture Placeholder 4">
            <a:extLst>
              <a:ext uri="{FF2B5EF4-FFF2-40B4-BE49-F238E27FC236}">
                <a16:creationId xmlns:a16="http://schemas.microsoft.com/office/drawing/2014/main" id="{2A8F064D-0DFB-44AC-98CC-D7C27312D61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060692" y="3829190"/>
            <a:ext cx="3510596" cy="2228709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22" name="Picture Placeholder 4">
            <a:extLst>
              <a:ext uri="{FF2B5EF4-FFF2-40B4-BE49-F238E27FC236}">
                <a16:creationId xmlns:a16="http://schemas.microsoft.com/office/drawing/2014/main" id="{F3872E90-C912-43E5-B791-45F35DB539E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42826" y="3829190"/>
            <a:ext cx="3822282" cy="2228709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64684590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 Images slide_alt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 4">
            <a:extLst>
              <a:ext uri="{FF2B5EF4-FFF2-40B4-BE49-F238E27FC236}">
                <a16:creationId xmlns:a16="http://schemas.microsoft.com/office/drawing/2014/main" id="{4D78A6CF-30AF-4A7A-8375-4CE9AE4CD2F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287125" y="6356350"/>
            <a:ext cx="303213" cy="311150"/>
            <a:chOff x="7110" y="4004"/>
            <a:chExt cx="191" cy="196"/>
          </a:xfrm>
        </p:grpSpPr>
        <p:sp>
          <p:nvSpPr>
            <p:cNvPr id="12" name="Freeform 5">
              <a:extLst>
                <a:ext uri="{FF2B5EF4-FFF2-40B4-BE49-F238E27FC236}">
                  <a16:creationId xmlns:a16="http://schemas.microsoft.com/office/drawing/2014/main" id="{D4F762ED-6E19-4D31-BD0C-09576339FEC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3" name="Freeform 6">
              <a:extLst>
                <a:ext uri="{FF2B5EF4-FFF2-40B4-BE49-F238E27FC236}">
                  <a16:creationId xmlns:a16="http://schemas.microsoft.com/office/drawing/2014/main" id="{91EA99E5-4BD6-4166-8AA5-0D57080D03A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4" name="Freeform 7">
              <a:extLst>
                <a:ext uri="{FF2B5EF4-FFF2-40B4-BE49-F238E27FC236}">
                  <a16:creationId xmlns:a16="http://schemas.microsoft.com/office/drawing/2014/main" id="{C7E839E2-B6AC-40D2-AA17-0113405024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sp>
        <p:nvSpPr>
          <p:cNvPr id="15" name="Date Placeholder 1">
            <a:extLst>
              <a:ext uri="{FF2B5EF4-FFF2-40B4-BE49-F238E27FC236}">
                <a16:creationId xmlns:a16="http://schemas.microsoft.com/office/drawing/2014/main" id="{8DBCCD6A-1DEC-427B-87F0-ADE1748CE749}"/>
              </a:ext>
            </a:extLst>
          </p:cNvPr>
          <p:cNvSpPr txBox="1">
            <a:spLocks/>
          </p:cNvSpPr>
          <p:nvPr userDrawn="1"/>
        </p:nvSpPr>
        <p:spPr>
          <a:xfrm>
            <a:off x="1097544" y="6471244"/>
            <a:ext cx="1191258" cy="1800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7DBDBB20-DA7B-4EA8-9594-84A1D3A4EA29}" type="datetime3">
              <a:rPr lang="en-US" smtClean="0"/>
              <a:t>14 March 2025</a:t>
            </a:fld>
            <a:endParaRPr lang="en-IN"/>
          </a:p>
        </p:txBody>
      </p:sp>
      <p:sp>
        <p:nvSpPr>
          <p:cNvPr id="16" name="Footer Placeholder 2">
            <a:extLst>
              <a:ext uri="{FF2B5EF4-FFF2-40B4-BE49-F238E27FC236}">
                <a16:creationId xmlns:a16="http://schemas.microsoft.com/office/drawing/2014/main" id="{F0FCD60E-D66A-4E1E-9AA0-148C173F4B4D}"/>
              </a:ext>
            </a:extLst>
          </p:cNvPr>
          <p:cNvSpPr txBox="1">
            <a:spLocks/>
          </p:cNvSpPr>
          <p:nvPr userDrawn="1"/>
        </p:nvSpPr>
        <p:spPr>
          <a:xfrm>
            <a:off x="3162988" y="6471244"/>
            <a:ext cx="3086100" cy="1800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err="1"/>
              <a:t>EY@Work</a:t>
            </a:r>
            <a:r>
              <a:rPr lang="en-US"/>
              <a:t> Schematic Design Presentation</a:t>
            </a:r>
          </a:p>
        </p:txBody>
      </p:sp>
      <p:sp>
        <p:nvSpPr>
          <p:cNvPr id="17" name="Slide Number Placeholder 4">
            <a:extLst>
              <a:ext uri="{FF2B5EF4-FFF2-40B4-BE49-F238E27FC236}">
                <a16:creationId xmlns:a16="http://schemas.microsoft.com/office/drawing/2014/main" id="{B2276C59-8E70-4EA9-B15E-0B3531D0D740}"/>
              </a:ext>
            </a:extLst>
          </p:cNvPr>
          <p:cNvSpPr txBox="1">
            <a:spLocks/>
          </p:cNvSpPr>
          <p:nvPr userDrawn="1"/>
        </p:nvSpPr>
        <p:spPr>
          <a:xfrm>
            <a:off x="642826" y="6471244"/>
            <a:ext cx="541538" cy="180000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l"/>
            <a:fld id="{D5B76411-544C-4F9A-8EDE-9EEB2BD21F95}" type="slidenum">
              <a:rPr lang="en-IN" smtClean="0">
                <a:solidFill>
                  <a:srgbClr val="FFFFFF"/>
                </a:solidFill>
              </a:rPr>
              <a:pPr lvl="0" algn="l"/>
              <a:t>‹#›</a:t>
            </a:fld>
            <a:endParaRPr>
              <a:solidFill>
                <a:srgbClr val="FFFFFF"/>
              </a:solidFill>
            </a:endParaRP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99236C7-AF08-4D3C-AFDA-1909D498205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137659" y="1484313"/>
            <a:ext cx="3511296" cy="2253436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5DD93A2A-A91F-45A1-A1B5-79D893971E0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739128" y="1484313"/>
            <a:ext cx="3832160" cy="2253435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19" name="Picture Placeholder 4">
            <a:extLst>
              <a:ext uri="{FF2B5EF4-FFF2-40B4-BE49-F238E27FC236}">
                <a16:creationId xmlns:a16="http://schemas.microsoft.com/office/drawing/2014/main" id="{C05D0D04-C82B-464D-BCD5-E405C531ACB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137659" y="3829190"/>
            <a:ext cx="3827571" cy="2228709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21" name="Picture Placeholder 4">
            <a:extLst>
              <a:ext uri="{FF2B5EF4-FFF2-40B4-BE49-F238E27FC236}">
                <a16:creationId xmlns:a16="http://schemas.microsoft.com/office/drawing/2014/main" id="{2A8F064D-0DFB-44AC-98CC-D7C27312D61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060692" y="3829190"/>
            <a:ext cx="3510596" cy="2228709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22" name="Picture Placeholder 4">
            <a:extLst>
              <a:ext uri="{FF2B5EF4-FFF2-40B4-BE49-F238E27FC236}">
                <a16:creationId xmlns:a16="http://schemas.microsoft.com/office/drawing/2014/main" id="{F3872E90-C912-43E5-B791-45F35DB539E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42826" y="1484314"/>
            <a:ext cx="3404660" cy="4573586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12573631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 Image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 4">
            <a:extLst>
              <a:ext uri="{FF2B5EF4-FFF2-40B4-BE49-F238E27FC236}">
                <a16:creationId xmlns:a16="http://schemas.microsoft.com/office/drawing/2014/main" id="{4D78A6CF-30AF-4A7A-8375-4CE9AE4CD2F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287125" y="6356350"/>
            <a:ext cx="303213" cy="311150"/>
            <a:chOff x="7110" y="4004"/>
            <a:chExt cx="191" cy="196"/>
          </a:xfrm>
        </p:grpSpPr>
        <p:sp>
          <p:nvSpPr>
            <p:cNvPr id="12" name="Freeform 5">
              <a:extLst>
                <a:ext uri="{FF2B5EF4-FFF2-40B4-BE49-F238E27FC236}">
                  <a16:creationId xmlns:a16="http://schemas.microsoft.com/office/drawing/2014/main" id="{D4F762ED-6E19-4D31-BD0C-09576339FEC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3" name="Freeform 6">
              <a:extLst>
                <a:ext uri="{FF2B5EF4-FFF2-40B4-BE49-F238E27FC236}">
                  <a16:creationId xmlns:a16="http://schemas.microsoft.com/office/drawing/2014/main" id="{91EA99E5-4BD6-4166-8AA5-0D57080D03A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4" name="Freeform 7">
              <a:extLst>
                <a:ext uri="{FF2B5EF4-FFF2-40B4-BE49-F238E27FC236}">
                  <a16:creationId xmlns:a16="http://schemas.microsoft.com/office/drawing/2014/main" id="{C7E839E2-B6AC-40D2-AA17-0113405024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sp>
        <p:nvSpPr>
          <p:cNvPr id="15" name="Date Placeholder 1">
            <a:extLst>
              <a:ext uri="{FF2B5EF4-FFF2-40B4-BE49-F238E27FC236}">
                <a16:creationId xmlns:a16="http://schemas.microsoft.com/office/drawing/2014/main" id="{8DBCCD6A-1DEC-427B-87F0-ADE1748CE749}"/>
              </a:ext>
            </a:extLst>
          </p:cNvPr>
          <p:cNvSpPr txBox="1">
            <a:spLocks/>
          </p:cNvSpPr>
          <p:nvPr userDrawn="1"/>
        </p:nvSpPr>
        <p:spPr>
          <a:xfrm>
            <a:off x="1097544" y="6471244"/>
            <a:ext cx="1191258" cy="1800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7DBDBB20-DA7B-4EA8-9594-84A1D3A4EA29}" type="datetime3">
              <a:rPr lang="en-US" smtClean="0"/>
              <a:t>14 March 2025</a:t>
            </a:fld>
            <a:endParaRPr lang="en-IN"/>
          </a:p>
        </p:txBody>
      </p:sp>
      <p:sp>
        <p:nvSpPr>
          <p:cNvPr id="16" name="Footer Placeholder 2">
            <a:extLst>
              <a:ext uri="{FF2B5EF4-FFF2-40B4-BE49-F238E27FC236}">
                <a16:creationId xmlns:a16="http://schemas.microsoft.com/office/drawing/2014/main" id="{F0FCD60E-D66A-4E1E-9AA0-148C173F4B4D}"/>
              </a:ext>
            </a:extLst>
          </p:cNvPr>
          <p:cNvSpPr txBox="1">
            <a:spLocks/>
          </p:cNvSpPr>
          <p:nvPr userDrawn="1"/>
        </p:nvSpPr>
        <p:spPr>
          <a:xfrm>
            <a:off x="3162988" y="6471244"/>
            <a:ext cx="3086100" cy="1800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err="1"/>
              <a:t>EY@Work</a:t>
            </a:r>
            <a:r>
              <a:rPr lang="en-US"/>
              <a:t> Schematic Design Presentation</a:t>
            </a:r>
          </a:p>
        </p:txBody>
      </p:sp>
      <p:sp>
        <p:nvSpPr>
          <p:cNvPr id="17" name="Slide Number Placeholder 4">
            <a:extLst>
              <a:ext uri="{FF2B5EF4-FFF2-40B4-BE49-F238E27FC236}">
                <a16:creationId xmlns:a16="http://schemas.microsoft.com/office/drawing/2014/main" id="{B2276C59-8E70-4EA9-B15E-0B3531D0D740}"/>
              </a:ext>
            </a:extLst>
          </p:cNvPr>
          <p:cNvSpPr txBox="1">
            <a:spLocks/>
          </p:cNvSpPr>
          <p:nvPr userDrawn="1"/>
        </p:nvSpPr>
        <p:spPr>
          <a:xfrm>
            <a:off x="642826" y="6471244"/>
            <a:ext cx="541538" cy="180000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l"/>
            <a:fld id="{D5B76411-544C-4F9A-8EDE-9EEB2BD21F95}" type="slidenum">
              <a:rPr lang="en-IN" smtClean="0">
                <a:solidFill>
                  <a:srgbClr val="FFFFFF"/>
                </a:solidFill>
              </a:rPr>
              <a:pPr lvl="0" algn="l"/>
              <a:t>‹#›</a:t>
            </a:fld>
            <a:endParaRPr>
              <a:solidFill>
                <a:srgbClr val="FFFFFF"/>
              </a:solidFill>
            </a:endParaRP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99236C7-AF08-4D3C-AFDA-1909D498205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255723" y="1484313"/>
            <a:ext cx="3393231" cy="2253436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5DD93A2A-A91F-45A1-A1B5-79D893971E0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739128" y="1484313"/>
            <a:ext cx="3832160" cy="2253435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19" name="Picture Placeholder 4">
            <a:extLst>
              <a:ext uri="{FF2B5EF4-FFF2-40B4-BE49-F238E27FC236}">
                <a16:creationId xmlns:a16="http://schemas.microsoft.com/office/drawing/2014/main" id="{C05D0D04-C82B-464D-BCD5-E405C531ACB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572000" y="3829190"/>
            <a:ext cx="3393230" cy="2228709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21" name="Picture Placeholder 4">
            <a:extLst>
              <a:ext uri="{FF2B5EF4-FFF2-40B4-BE49-F238E27FC236}">
                <a16:creationId xmlns:a16="http://schemas.microsoft.com/office/drawing/2014/main" id="{2A8F064D-0DFB-44AC-98CC-D7C27312D61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060692" y="3829190"/>
            <a:ext cx="3510596" cy="2228709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22" name="Picture Placeholder 4">
            <a:extLst>
              <a:ext uri="{FF2B5EF4-FFF2-40B4-BE49-F238E27FC236}">
                <a16:creationId xmlns:a16="http://schemas.microsoft.com/office/drawing/2014/main" id="{F3872E90-C912-43E5-B791-45F35DB539E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42826" y="3829190"/>
            <a:ext cx="3831336" cy="2228710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18" name="Picture Placeholder 4">
            <a:extLst>
              <a:ext uri="{FF2B5EF4-FFF2-40B4-BE49-F238E27FC236}">
                <a16:creationId xmlns:a16="http://schemas.microsoft.com/office/drawing/2014/main" id="{529C6131-DCC0-4522-BB55-858E29316D22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42826" y="1484313"/>
            <a:ext cx="3511296" cy="2253436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25037323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9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4">
            <a:extLst>
              <a:ext uri="{FF2B5EF4-FFF2-40B4-BE49-F238E27FC236}">
                <a16:creationId xmlns:a16="http://schemas.microsoft.com/office/drawing/2014/main" id="{0DECF998-2C65-4A7D-9389-6A6F45FEE15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287125" y="6356350"/>
            <a:ext cx="303213" cy="311150"/>
            <a:chOff x="7110" y="4004"/>
            <a:chExt cx="191" cy="196"/>
          </a:xfrm>
        </p:grpSpPr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9B7592BA-4DF9-45EB-9010-161FB883882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6" name="Freeform 6">
              <a:extLst>
                <a:ext uri="{FF2B5EF4-FFF2-40B4-BE49-F238E27FC236}">
                  <a16:creationId xmlns:a16="http://schemas.microsoft.com/office/drawing/2014/main" id="{48B168B8-992D-4EC8-89D2-A1BBC6A9E0C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7" name="Freeform 7">
              <a:extLst>
                <a:ext uri="{FF2B5EF4-FFF2-40B4-BE49-F238E27FC236}">
                  <a16:creationId xmlns:a16="http://schemas.microsoft.com/office/drawing/2014/main" id="{B56B77D1-2F9C-440B-95E6-07F1CA3E9E2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sp>
        <p:nvSpPr>
          <p:cNvPr id="18" name="Date Placeholder 1">
            <a:extLst>
              <a:ext uri="{FF2B5EF4-FFF2-40B4-BE49-F238E27FC236}">
                <a16:creationId xmlns:a16="http://schemas.microsoft.com/office/drawing/2014/main" id="{B6316B3F-B435-41A9-AA06-352A12B16593}"/>
              </a:ext>
            </a:extLst>
          </p:cNvPr>
          <p:cNvSpPr txBox="1">
            <a:spLocks/>
          </p:cNvSpPr>
          <p:nvPr userDrawn="1"/>
        </p:nvSpPr>
        <p:spPr>
          <a:xfrm>
            <a:off x="1097544" y="6471244"/>
            <a:ext cx="1191258" cy="1800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7DBDBB20-DA7B-4EA8-9594-84A1D3A4EA29}" type="datetime3">
              <a:rPr lang="en-US" smtClean="0"/>
              <a:t>14 March 2025</a:t>
            </a:fld>
            <a:endParaRPr lang="en-IN"/>
          </a:p>
        </p:txBody>
      </p:sp>
      <p:sp>
        <p:nvSpPr>
          <p:cNvPr id="19" name="Footer Placeholder 2">
            <a:extLst>
              <a:ext uri="{FF2B5EF4-FFF2-40B4-BE49-F238E27FC236}">
                <a16:creationId xmlns:a16="http://schemas.microsoft.com/office/drawing/2014/main" id="{BB56A396-9367-4551-B61B-9FEB81A03866}"/>
              </a:ext>
            </a:extLst>
          </p:cNvPr>
          <p:cNvSpPr txBox="1">
            <a:spLocks/>
          </p:cNvSpPr>
          <p:nvPr userDrawn="1"/>
        </p:nvSpPr>
        <p:spPr>
          <a:xfrm>
            <a:off x="3162988" y="6471244"/>
            <a:ext cx="3086100" cy="1800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N" b="1">
                <a:solidFill>
                  <a:schemeClr val="tx2"/>
                </a:solidFill>
                <a:latin typeface="EYInterstate" panose="02000503020000020004" pitchFamily="2" charset="0"/>
              </a:rPr>
              <a:t>| </a:t>
            </a:r>
            <a:r>
              <a:rPr lang="en-US"/>
              <a:t>EY@Work Small Projects Guide</a:t>
            </a:r>
            <a:endParaRPr lang="en-IN"/>
          </a:p>
        </p:txBody>
      </p:sp>
      <p:sp>
        <p:nvSpPr>
          <p:cNvPr id="20" name="Slide Number Placeholder 4">
            <a:extLst>
              <a:ext uri="{FF2B5EF4-FFF2-40B4-BE49-F238E27FC236}">
                <a16:creationId xmlns:a16="http://schemas.microsoft.com/office/drawing/2014/main" id="{B4235BE6-0CC8-420C-8EDC-6DAFCE1BF1B1}"/>
              </a:ext>
            </a:extLst>
          </p:cNvPr>
          <p:cNvSpPr txBox="1">
            <a:spLocks/>
          </p:cNvSpPr>
          <p:nvPr userDrawn="1"/>
        </p:nvSpPr>
        <p:spPr>
          <a:xfrm>
            <a:off x="642826" y="6471244"/>
            <a:ext cx="541538" cy="180000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l"/>
            <a:fld id="{D5B76411-544C-4F9A-8EDE-9EEB2BD21F95}" type="slidenum">
              <a:rPr lang="en-IN" smtClean="0">
                <a:solidFill>
                  <a:srgbClr val="FFFFFF"/>
                </a:solidFill>
              </a:rPr>
              <a:pPr lvl="0" algn="l"/>
              <a:t>‹#›</a:t>
            </a:fld>
            <a:endParaRPr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3283578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lank">
    <p:bg>
      <p:bgPr>
        <a:solidFill>
          <a:schemeClr val="tx1">
            <a:alpha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E50FF280-6C88-44E3-A978-0BFCF9739FE7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175" y="0"/>
            <a:ext cx="12192000" cy="6858000"/>
          </a:xfrm>
          <a:prstGeom prst="rect">
            <a:avLst/>
          </a:prstGeom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A69B0CC2-BC26-4633-8227-9FB69D5306F7}"/>
              </a:ext>
            </a:extLst>
          </p:cNvPr>
          <p:cNvSpPr>
            <a:spLocks/>
          </p:cNvSpPr>
          <p:nvPr userDrawn="1"/>
        </p:nvSpPr>
        <p:spPr>
          <a:xfrm>
            <a:off x="-4745" y="0"/>
            <a:ext cx="12198350" cy="6858000"/>
          </a:xfrm>
          <a:prstGeom prst="rect">
            <a:avLst/>
          </a:prstGeom>
          <a:solidFill>
            <a:schemeClr val="bg1">
              <a:alpha val="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IN" sz="1200">
              <a:solidFill>
                <a:schemeClr val="tx1"/>
              </a:solidFill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22C3567-870C-4F85-8F5F-079EDA12A1A4}"/>
              </a:ext>
            </a:extLst>
          </p:cNvPr>
          <p:cNvSpPr/>
          <p:nvPr userDrawn="1"/>
        </p:nvSpPr>
        <p:spPr>
          <a:xfrm>
            <a:off x="3175" y="0"/>
            <a:ext cx="12190430" cy="6858000"/>
          </a:xfrm>
          <a:prstGeom prst="rect">
            <a:avLst/>
          </a:prstGeom>
          <a:solidFill>
            <a:schemeClr val="bg2">
              <a:alpha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IN" sz="12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052159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blurry image of a colorful light&#10;&#10;Description automatically generated">
            <a:extLst>
              <a:ext uri="{FF2B5EF4-FFF2-40B4-BE49-F238E27FC236}">
                <a16:creationId xmlns:a16="http://schemas.microsoft.com/office/drawing/2014/main" id="{388CF986-E6D2-86D0-6501-D59429EAD0A3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0"/>
            <a:ext cx="12199551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CB74E28-9D0B-F1B4-F101-2628EB1EA4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6029" y="1970406"/>
            <a:ext cx="7398426" cy="2869882"/>
          </a:xfrm>
        </p:spPr>
        <p:txBody>
          <a:bodyPr anchor="t"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475298B-22BF-3DF1-FBE7-DF673E5A273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86029" y="370800"/>
            <a:ext cx="7398426" cy="313932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buNone/>
              <a:defRPr lang="en-US" sz="2400" b="1" i="0" kern="1200" dirty="0">
                <a:solidFill>
                  <a:schemeClr val="tx2"/>
                </a:solidFill>
                <a:latin typeface="+mj-lt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GB"/>
              <a:t>Chapter 00</a:t>
            </a:r>
            <a:endParaRPr lang="en-US"/>
          </a:p>
        </p:txBody>
      </p:sp>
      <p:sp>
        <p:nvSpPr>
          <p:cNvPr id="16" name="Date Placeholder 15">
            <a:extLst>
              <a:ext uri="{FF2B5EF4-FFF2-40B4-BE49-F238E27FC236}">
                <a16:creationId xmlns:a16="http://schemas.microsoft.com/office/drawing/2014/main" id="{DB4372B3-E211-F19D-CBD9-6CEDF871BD0C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587AE7D4-D909-4109-A95D-3FC199CCB2C0}" type="datetime1">
              <a:rPr lang="en-US" smtClean="0"/>
              <a:t>3/14/25</a:t>
            </a:fld>
            <a:endParaRPr lang="en-US"/>
          </a:p>
        </p:txBody>
      </p:sp>
      <p:sp>
        <p:nvSpPr>
          <p:cNvPr id="17" name="Footer Placeholder 16">
            <a:extLst>
              <a:ext uri="{FF2B5EF4-FFF2-40B4-BE49-F238E27FC236}">
                <a16:creationId xmlns:a16="http://schemas.microsoft.com/office/drawing/2014/main" id="{53173B02-1E93-D358-4602-350A7447C76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Insert footer text here</a:t>
            </a:r>
          </a:p>
        </p:txBody>
      </p:sp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A5E3423F-0FF8-8E54-CEB8-1F15261AFD0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1BC30E3-FFE5-4B91-AA19-87A149EBB9EE}" type="slidenum">
              <a:rPr lang="en-GB" smtClean="0"/>
              <a:pPr/>
              <a:t>‹#›</a:t>
            </a:fld>
            <a:endParaRPr lang="en-GB"/>
          </a:p>
        </p:txBody>
      </p:sp>
      <p:grpSp>
        <p:nvGrpSpPr>
          <p:cNvPr id="3" name="Group 4">
            <a:extLst>
              <a:ext uri="{FF2B5EF4-FFF2-40B4-BE49-F238E27FC236}">
                <a16:creationId xmlns:a16="http://schemas.microsoft.com/office/drawing/2014/main" id="{D3CF5FC1-8EBA-8F68-D0E5-727D21919CEC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11629954" y="6276978"/>
            <a:ext cx="346338" cy="355219"/>
            <a:chOff x="7110" y="4004"/>
            <a:chExt cx="191" cy="196"/>
          </a:xfrm>
        </p:grpSpPr>
        <p:sp>
          <p:nvSpPr>
            <p:cNvPr id="4" name="Freeform 5">
              <a:extLst>
                <a:ext uri="{FF2B5EF4-FFF2-40B4-BE49-F238E27FC236}">
                  <a16:creationId xmlns:a16="http://schemas.microsoft.com/office/drawing/2014/main" id="{AE5FDF1F-8E3A-FB66-7C81-266601DA4005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  <p:sp>
          <p:nvSpPr>
            <p:cNvPr id="5" name="Freeform 6">
              <a:extLst>
                <a:ext uri="{FF2B5EF4-FFF2-40B4-BE49-F238E27FC236}">
                  <a16:creationId xmlns:a16="http://schemas.microsoft.com/office/drawing/2014/main" id="{91C765C7-1DD0-DFBB-9089-29849D42BA8D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  <p:sp>
          <p:nvSpPr>
            <p:cNvPr id="6" name="Freeform 7">
              <a:extLst>
                <a:ext uri="{FF2B5EF4-FFF2-40B4-BE49-F238E27FC236}">
                  <a16:creationId xmlns:a16="http://schemas.microsoft.com/office/drawing/2014/main" id="{50B43463-538D-A50A-4299-A6C5A973766D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60391408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4011D3B6-538A-4B2A-980D-F9B09FECEEF6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174" y="0"/>
            <a:ext cx="12192000" cy="6858000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0541E971-3EBE-4ADE-A743-1E94AA100804}"/>
              </a:ext>
            </a:extLst>
          </p:cNvPr>
          <p:cNvSpPr>
            <a:spLocks/>
          </p:cNvSpPr>
          <p:nvPr userDrawn="1"/>
        </p:nvSpPr>
        <p:spPr>
          <a:xfrm>
            <a:off x="-1" y="0"/>
            <a:ext cx="12198349" cy="6858000"/>
          </a:xfrm>
          <a:prstGeom prst="rect">
            <a:avLst/>
          </a:prstGeom>
          <a:solidFill>
            <a:schemeClr val="bg2">
              <a:alpha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IN" sz="12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7494549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 4">
            <a:extLst>
              <a:ext uri="{FF2B5EF4-FFF2-40B4-BE49-F238E27FC236}">
                <a16:creationId xmlns:a16="http://schemas.microsoft.com/office/drawing/2014/main" id="{1CA99849-5A04-4869-89F7-8AC1B3043504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287125" y="6356350"/>
            <a:ext cx="303213" cy="311150"/>
            <a:chOff x="7110" y="4004"/>
            <a:chExt cx="191" cy="196"/>
          </a:xfrm>
        </p:grpSpPr>
        <p:sp>
          <p:nvSpPr>
            <p:cNvPr id="12" name="Freeform 5">
              <a:extLst>
                <a:ext uri="{FF2B5EF4-FFF2-40B4-BE49-F238E27FC236}">
                  <a16:creationId xmlns:a16="http://schemas.microsoft.com/office/drawing/2014/main" id="{F3046E73-2500-4E81-BF0A-62AE7CD777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3" name="Freeform 6">
              <a:extLst>
                <a:ext uri="{FF2B5EF4-FFF2-40B4-BE49-F238E27FC236}">
                  <a16:creationId xmlns:a16="http://schemas.microsoft.com/office/drawing/2014/main" id="{51A4D0B7-781A-4456-B560-EDC98B6F9FE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4" name="Freeform 7">
              <a:extLst>
                <a:ext uri="{FF2B5EF4-FFF2-40B4-BE49-F238E27FC236}">
                  <a16:creationId xmlns:a16="http://schemas.microsoft.com/office/drawing/2014/main" id="{EB69D5B9-ABD3-4730-A6B5-7C864FC5020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sp>
        <p:nvSpPr>
          <p:cNvPr id="15" name="Date Placeholder 1">
            <a:extLst>
              <a:ext uri="{FF2B5EF4-FFF2-40B4-BE49-F238E27FC236}">
                <a16:creationId xmlns:a16="http://schemas.microsoft.com/office/drawing/2014/main" id="{3A526B65-2F56-442F-8B99-E9E846995CEA}"/>
              </a:ext>
            </a:extLst>
          </p:cNvPr>
          <p:cNvSpPr txBox="1">
            <a:spLocks/>
          </p:cNvSpPr>
          <p:nvPr userDrawn="1"/>
        </p:nvSpPr>
        <p:spPr>
          <a:xfrm>
            <a:off x="1097544" y="6471244"/>
            <a:ext cx="1191258" cy="1800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7DBDBB20-DA7B-4EA8-9594-84A1D3A4EA29}" type="datetime3">
              <a:rPr lang="en-US" smtClean="0"/>
              <a:t>14 March 2025</a:t>
            </a:fld>
            <a:endParaRPr lang="en-IN"/>
          </a:p>
        </p:txBody>
      </p:sp>
      <p:sp>
        <p:nvSpPr>
          <p:cNvPr id="16" name="Footer Placeholder 2">
            <a:extLst>
              <a:ext uri="{FF2B5EF4-FFF2-40B4-BE49-F238E27FC236}">
                <a16:creationId xmlns:a16="http://schemas.microsoft.com/office/drawing/2014/main" id="{48A14746-3306-4948-85B6-A17FD5B749EA}"/>
              </a:ext>
            </a:extLst>
          </p:cNvPr>
          <p:cNvSpPr txBox="1">
            <a:spLocks/>
          </p:cNvSpPr>
          <p:nvPr userDrawn="1"/>
        </p:nvSpPr>
        <p:spPr>
          <a:xfrm>
            <a:off x="3162988" y="6471244"/>
            <a:ext cx="3086100" cy="1800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N" b="1">
                <a:solidFill>
                  <a:schemeClr val="tx2"/>
                </a:solidFill>
                <a:latin typeface="EYInterstate" panose="02000503020000020004" pitchFamily="2" charset="0"/>
              </a:rPr>
              <a:t>| </a:t>
            </a:r>
            <a:r>
              <a:rPr lang="en-US"/>
              <a:t>EY@Work Small Projects Guide</a:t>
            </a:r>
            <a:endParaRPr lang="en-IN"/>
          </a:p>
        </p:txBody>
      </p:sp>
      <p:sp>
        <p:nvSpPr>
          <p:cNvPr id="17" name="Slide Number Placeholder 4">
            <a:extLst>
              <a:ext uri="{FF2B5EF4-FFF2-40B4-BE49-F238E27FC236}">
                <a16:creationId xmlns:a16="http://schemas.microsoft.com/office/drawing/2014/main" id="{05810686-81BC-4C92-9BC0-A5772529DEB3}"/>
              </a:ext>
            </a:extLst>
          </p:cNvPr>
          <p:cNvSpPr txBox="1">
            <a:spLocks/>
          </p:cNvSpPr>
          <p:nvPr userDrawn="1"/>
        </p:nvSpPr>
        <p:spPr>
          <a:xfrm>
            <a:off x="642826" y="6471244"/>
            <a:ext cx="541538" cy="180000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l"/>
            <a:fld id="{D5B76411-544C-4F9A-8EDE-9EEB2BD21F95}" type="slidenum">
              <a:rPr lang="en-IN" smtClean="0">
                <a:solidFill>
                  <a:srgbClr val="FFFFFF"/>
                </a:solidFill>
              </a:rPr>
              <a:pPr lvl="0" algn="l"/>
              <a:t>‹#›</a:t>
            </a:fld>
            <a:endParaRPr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16736822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bg>
      <p:bgPr>
        <a:solidFill>
          <a:srgbClr val="2E2E3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24309966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blurry image of a rainbow&#10;&#10;Description automatically generated">
            <a:extLst>
              <a:ext uri="{FF2B5EF4-FFF2-40B4-BE49-F238E27FC236}">
                <a16:creationId xmlns:a16="http://schemas.microsoft.com/office/drawing/2014/main" id="{317BE7A3-A673-B58A-8BE4-D36A0E590D33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0"/>
            <a:ext cx="12199551" cy="6858000"/>
          </a:xfrm>
          <a:prstGeom prst="rect">
            <a:avLst/>
          </a:prstGeom>
        </p:spPr>
      </p:pic>
      <p:grpSp>
        <p:nvGrpSpPr>
          <p:cNvPr id="5" name="Group 4">
            <a:extLst>
              <a:ext uri="{FF2B5EF4-FFF2-40B4-BE49-F238E27FC236}">
                <a16:creationId xmlns:a16="http://schemas.microsoft.com/office/drawing/2014/main" id="{3D8D2553-DCAF-2D9D-2138-FE4E794B7FFA}"/>
              </a:ext>
            </a:extLst>
          </p:cNvPr>
          <p:cNvGrpSpPr/>
          <p:nvPr userDrawn="1"/>
        </p:nvGrpSpPr>
        <p:grpSpPr>
          <a:xfrm>
            <a:off x="486029" y="6164633"/>
            <a:ext cx="4943508" cy="318770"/>
            <a:chOff x="485775" y="6164633"/>
            <a:chExt cx="4940935" cy="318770"/>
          </a:xfrm>
        </p:grpSpPr>
        <p:sp>
          <p:nvSpPr>
            <p:cNvPr id="297" name="Freeform 296">
              <a:extLst>
                <a:ext uri="{FF2B5EF4-FFF2-40B4-BE49-F238E27FC236}">
                  <a16:creationId xmlns:a16="http://schemas.microsoft.com/office/drawing/2014/main" id="{AD4E5D8B-12B4-19F3-17D4-D12BF368FC85}"/>
                </a:ext>
              </a:extLst>
            </p:cNvPr>
            <p:cNvSpPr/>
            <p:nvPr/>
          </p:nvSpPr>
          <p:spPr>
            <a:xfrm>
              <a:off x="485775" y="6164633"/>
              <a:ext cx="405765" cy="81280"/>
            </a:xfrm>
            <a:custGeom>
              <a:avLst/>
              <a:gdLst>
                <a:gd name="connsiteX0" fmla="*/ 324485 w 405765"/>
                <a:gd name="connsiteY0" fmla="*/ 0 h 81280"/>
                <a:gd name="connsiteX1" fmla="*/ 405765 w 405765"/>
                <a:gd name="connsiteY1" fmla="*/ 0 h 81280"/>
                <a:gd name="connsiteX2" fmla="*/ 405765 w 405765"/>
                <a:gd name="connsiteY2" fmla="*/ 81280 h 81280"/>
                <a:gd name="connsiteX3" fmla="*/ 324485 w 405765"/>
                <a:gd name="connsiteY3" fmla="*/ 81280 h 81280"/>
                <a:gd name="connsiteX4" fmla="*/ 161925 w 405765"/>
                <a:gd name="connsiteY4" fmla="*/ 0 h 81280"/>
                <a:gd name="connsiteX5" fmla="*/ 243205 w 405765"/>
                <a:gd name="connsiteY5" fmla="*/ 0 h 81280"/>
                <a:gd name="connsiteX6" fmla="*/ 243205 w 405765"/>
                <a:gd name="connsiteY6" fmla="*/ 81280 h 81280"/>
                <a:gd name="connsiteX7" fmla="*/ 161925 w 405765"/>
                <a:gd name="connsiteY7" fmla="*/ 81280 h 81280"/>
                <a:gd name="connsiteX8" fmla="*/ 0 w 405765"/>
                <a:gd name="connsiteY8" fmla="*/ 0 h 81280"/>
                <a:gd name="connsiteX9" fmla="*/ 81280 w 405765"/>
                <a:gd name="connsiteY9" fmla="*/ 0 h 81280"/>
                <a:gd name="connsiteX10" fmla="*/ 81280 w 405765"/>
                <a:gd name="connsiteY10" fmla="*/ 81280 h 81280"/>
                <a:gd name="connsiteX11" fmla="*/ 0 w 405765"/>
                <a:gd name="connsiteY11" fmla="*/ 81280 h 812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05765" h="81280">
                  <a:moveTo>
                    <a:pt x="324485" y="0"/>
                  </a:moveTo>
                  <a:lnTo>
                    <a:pt x="405765" y="0"/>
                  </a:lnTo>
                  <a:lnTo>
                    <a:pt x="405765" y="81280"/>
                  </a:lnTo>
                  <a:lnTo>
                    <a:pt x="324485" y="81280"/>
                  </a:lnTo>
                  <a:close/>
                  <a:moveTo>
                    <a:pt x="161925" y="0"/>
                  </a:moveTo>
                  <a:lnTo>
                    <a:pt x="243205" y="0"/>
                  </a:lnTo>
                  <a:lnTo>
                    <a:pt x="243205" y="81280"/>
                  </a:lnTo>
                  <a:lnTo>
                    <a:pt x="161925" y="81280"/>
                  </a:lnTo>
                  <a:close/>
                  <a:moveTo>
                    <a:pt x="0" y="0"/>
                  </a:moveTo>
                  <a:lnTo>
                    <a:pt x="81280" y="0"/>
                  </a:lnTo>
                  <a:lnTo>
                    <a:pt x="81280" y="81280"/>
                  </a:lnTo>
                  <a:lnTo>
                    <a:pt x="0" y="81280"/>
                  </a:lnTo>
                  <a:close/>
                </a:path>
              </a:pathLst>
            </a:custGeom>
            <a:solidFill>
              <a:srgbClr val="FFE600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298" name="Freeform 297">
              <a:extLst>
                <a:ext uri="{FF2B5EF4-FFF2-40B4-BE49-F238E27FC236}">
                  <a16:creationId xmlns:a16="http://schemas.microsoft.com/office/drawing/2014/main" id="{219789D6-6B07-F2E6-06BE-8CA9DC83E385}"/>
                </a:ext>
              </a:extLst>
            </p:cNvPr>
            <p:cNvSpPr/>
            <p:nvPr/>
          </p:nvSpPr>
          <p:spPr bwMode="black">
            <a:xfrm>
              <a:off x="485779" y="6344974"/>
              <a:ext cx="4940931" cy="138429"/>
            </a:xfrm>
            <a:custGeom>
              <a:avLst/>
              <a:gdLst>
                <a:gd name="connsiteX0" fmla="*/ 1032512 w 4940931"/>
                <a:gd name="connsiteY0" fmla="*/ 137477 h 138429"/>
                <a:gd name="connsiteX1" fmla="*/ 1032512 w 4940931"/>
                <a:gd name="connsiteY1" fmla="*/ 137794 h 138429"/>
                <a:gd name="connsiteX2" fmla="*/ 1030607 w 4940931"/>
                <a:gd name="connsiteY2" fmla="*/ 138429 h 138429"/>
                <a:gd name="connsiteX3" fmla="*/ 4929501 w 4940931"/>
                <a:gd name="connsiteY3" fmla="*/ 87629 h 138429"/>
                <a:gd name="connsiteX4" fmla="*/ 4933946 w 4940931"/>
                <a:gd name="connsiteY4" fmla="*/ 88264 h 138429"/>
                <a:gd name="connsiteX5" fmla="*/ 4937756 w 4940931"/>
                <a:gd name="connsiteY5" fmla="*/ 90804 h 138429"/>
                <a:gd name="connsiteX6" fmla="*/ 4940296 w 4940931"/>
                <a:gd name="connsiteY6" fmla="*/ 94614 h 138429"/>
                <a:gd name="connsiteX7" fmla="*/ 4940931 w 4940931"/>
                <a:gd name="connsiteY7" fmla="*/ 99059 h 138429"/>
                <a:gd name="connsiteX8" fmla="*/ 4940296 w 4940931"/>
                <a:gd name="connsiteY8" fmla="*/ 103504 h 138429"/>
                <a:gd name="connsiteX9" fmla="*/ 4937756 w 4940931"/>
                <a:gd name="connsiteY9" fmla="*/ 107314 h 138429"/>
                <a:gd name="connsiteX10" fmla="*/ 4933946 w 4940931"/>
                <a:gd name="connsiteY10" fmla="*/ 109854 h 138429"/>
                <a:gd name="connsiteX11" fmla="*/ 4929501 w 4940931"/>
                <a:gd name="connsiteY11" fmla="*/ 110489 h 138429"/>
                <a:gd name="connsiteX12" fmla="*/ 4925056 w 4940931"/>
                <a:gd name="connsiteY12" fmla="*/ 109854 h 138429"/>
                <a:gd name="connsiteX13" fmla="*/ 4921246 w 4940931"/>
                <a:gd name="connsiteY13" fmla="*/ 107314 h 138429"/>
                <a:gd name="connsiteX14" fmla="*/ 4918706 w 4940931"/>
                <a:gd name="connsiteY14" fmla="*/ 103504 h 138429"/>
                <a:gd name="connsiteX15" fmla="*/ 4918071 w 4940931"/>
                <a:gd name="connsiteY15" fmla="*/ 99059 h 138429"/>
                <a:gd name="connsiteX16" fmla="*/ 4918706 w 4940931"/>
                <a:gd name="connsiteY16" fmla="*/ 94614 h 138429"/>
                <a:gd name="connsiteX17" fmla="*/ 4921246 w 4940931"/>
                <a:gd name="connsiteY17" fmla="*/ 90804 h 138429"/>
                <a:gd name="connsiteX18" fmla="*/ 4925056 w 4940931"/>
                <a:gd name="connsiteY18" fmla="*/ 88264 h 138429"/>
                <a:gd name="connsiteX19" fmla="*/ 4929501 w 4940931"/>
                <a:gd name="connsiteY19" fmla="*/ 87629 h 138429"/>
                <a:gd name="connsiteX20" fmla="*/ 3079110 w 4940931"/>
                <a:gd name="connsiteY20" fmla="*/ 87629 h 138429"/>
                <a:gd name="connsiteX21" fmla="*/ 3083555 w 4940931"/>
                <a:gd name="connsiteY21" fmla="*/ 88264 h 138429"/>
                <a:gd name="connsiteX22" fmla="*/ 3087365 w 4940931"/>
                <a:gd name="connsiteY22" fmla="*/ 90804 h 138429"/>
                <a:gd name="connsiteX23" fmla="*/ 3089905 w 4940931"/>
                <a:gd name="connsiteY23" fmla="*/ 94614 h 138429"/>
                <a:gd name="connsiteX24" fmla="*/ 3090540 w 4940931"/>
                <a:gd name="connsiteY24" fmla="*/ 99059 h 138429"/>
                <a:gd name="connsiteX25" fmla="*/ 3089905 w 4940931"/>
                <a:gd name="connsiteY25" fmla="*/ 103504 h 138429"/>
                <a:gd name="connsiteX26" fmla="*/ 3087365 w 4940931"/>
                <a:gd name="connsiteY26" fmla="*/ 107314 h 138429"/>
                <a:gd name="connsiteX27" fmla="*/ 3083555 w 4940931"/>
                <a:gd name="connsiteY27" fmla="*/ 109854 h 138429"/>
                <a:gd name="connsiteX28" fmla="*/ 3079110 w 4940931"/>
                <a:gd name="connsiteY28" fmla="*/ 110489 h 138429"/>
                <a:gd name="connsiteX29" fmla="*/ 3074665 w 4940931"/>
                <a:gd name="connsiteY29" fmla="*/ 109854 h 138429"/>
                <a:gd name="connsiteX30" fmla="*/ 3070855 w 4940931"/>
                <a:gd name="connsiteY30" fmla="*/ 107314 h 138429"/>
                <a:gd name="connsiteX31" fmla="*/ 3068315 w 4940931"/>
                <a:gd name="connsiteY31" fmla="*/ 103504 h 138429"/>
                <a:gd name="connsiteX32" fmla="*/ 3067680 w 4940931"/>
                <a:gd name="connsiteY32" fmla="*/ 99059 h 138429"/>
                <a:gd name="connsiteX33" fmla="*/ 3068315 w 4940931"/>
                <a:gd name="connsiteY33" fmla="*/ 94614 h 138429"/>
                <a:gd name="connsiteX34" fmla="*/ 3070855 w 4940931"/>
                <a:gd name="connsiteY34" fmla="*/ 90804 h 138429"/>
                <a:gd name="connsiteX35" fmla="*/ 3074665 w 4940931"/>
                <a:gd name="connsiteY35" fmla="*/ 88264 h 138429"/>
                <a:gd name="connsiteX36" fmla="*/ 3079110 w 4940931"/>
                <a:gd name="connsiteY36" fmla="*/ 87629 h 138429"/>
                <a:gd name="connsiteX37" fmla="*/ 1565275 w 4940931"/>
                <a:gd name="connsiteY37" fmla="*/ 87629 h 138429"/>
                <a:gd name="connsiteX38" fmla="*/ 1569720 w 4940931"/>
                <a:gd name="connsiteY38" fmla="*/ 88264 h 138429"/>
                <a:gd name="connsiteX39" fmla="*/ 1573529 w 4940931"/>
                <a:gd name="connsiteY39" fmla="*/ 90804 h 138429"/>
                <a:gd name="connsiteX40" fmla="*/ 1576069 w 4940931"/>
                <a:gd name="connsiteY40" fmla="*/ 94614 h 138429"/>
                <a:gd name="connsiteX41" fmla="*/ 1576705 w 4940931"/>
                <a:gd name="connsiteY41" fmla="*/ 99059 h 138429"/>
                <a:gd name="connsiteX42" fmla="*/ 1576069 w 4940931"/>
                <a:gd name="connsiteY42" fmla="*/ 103504 h 138429"/>
                <a:gd name="connsiteX43" fmla="*/ 1573529 w 4940931"/>
                <a:gd name="connsiteY43" fmla="*/ 107314 h 138429"/>
                <a:gd name="connsiteX44" fmla="*/ 1569720 w 4940931"/>
                <a:gd name="connsiteY44" fmla="*/ 109854 h 138429"/>
                <a:gd name="connsiteX45" fmla="*/ 1565275 w 4940931"/>
                <a:gd name="connsiteY45" fmla="*/ 110489 h 138429"/>
                <a:gd name="connsiteX46" fmla="*/ 1560830 w 4940931"/>
                <a:gd name="connsiteY46" fmla="*/ 109854 h 138429"/>
                <a:gd name="connsiteX47" fmla="*/ 1557020 w 4940931"/>
                <a:gd name="connsiteY47" fmla="*/ 107314 h 138429"/>
                <a:gd name="connsiteX48" fmla="*/ 1554479 w 4940931"/>
                <a:gd name="connsiteY48" fmla="*/ 103504 h 138429"/>
                <a:gd name="connsiteX49" fmla="*/ 1553844 w 4940931"/>
                <a:gd name="connsiteY49" fmla="*/ 99059 h 138429"/>
                <a:gd name="connsiteX50" fmla="*/ 1554479 w 4940931"/>
                <a:gd name="connsiteY50" fmla="*/ 94614 h 138429"/>
                <a:gd name="connsiteX51" fmla="*/ 1557020 w 4940931"/>
                <a:gd name="connsiteY51" fmla="*/ 90804 h 138429"/>
                <a:gd name="connsiteX52" fmla="*/ 1560830 w 4940931"/>
                <a:gd name="connsiteY52" fmla="*/ 88264 h 138429"/>
                <a:gd name="connsiteX53" fmla="*/ 1565275 w 4940931"/>
                <a:gd name="connsiteY53" fmla="*/ 87629 h 138429"/>
                <a:gd name="connsiteX54" fmla="*/ 2642230 w 4940931"/>
                <a:gd name="connsiteY54" fmla="*/ 73024 h 138429"/>
                <a:gd name="connsiteX55" fmla="*/ 2630800 w 4940931"/>
                <a:gd name="connsiteY55" fmla="*/ 76199 h 138429"/>
                <a:gd name="connsiteX56" fmla="*/ 2626355 w 4940931"/>
                <a:gd name="connsiteY56" fmla="*/ 84454 h 138429"/>
                <a:gd name="connsiteX57" fmla="*/ 2627625 w 4940931"/>
                <a:gd name="connsiteY57" fmla="*/ 90169 h 138429"/>
                <a:gd name="connsiteX58" fmla="*/ 2630800 w 4940931"/>
                <a:gd name="connsiteY58" fmla="*/ 93979 h 138429"/>
                <a:gd name="connsiteX59" fmla="*/ 2635245 w 4940931"/>
                <a:gd name="connsiteY59" fmla="*/ 96519 h 138429"/>
                <a:gd name="connsiteX60" fmla="*/ 2641595 w 4940931"/>
                <a:gd name="connsiteY60" fmla="*/ 97154 h 138429"/>
                <a:gd name="connsiteX61" fmla="*/ 2647310 w 4940931"/>
                <a:gd name="connsiteY61" fmla="*/ 96519 h 138429"/>
                <a:gd name="connsiteX62" fmla="*/ 2652390 w 4940931"/>
                <a:gd name="connsiteY62" fmla="*/ 93979 h 138429"/>
                <a:gd name="connsiteX63" fmla="*/ 2656835 w 4940931"/>
                <a:gd name="connsiteY63" fmla="*/ 90804 h 138429"/>
                <a:gd name="connsiteX64" fmla="*/ 2660010 w 4940931"/>
                <a:gd name="connsiteY64" fmla="*/ 86994 h 138429"/>
                <a:gd name="connsiteX65" fmla="*/ 2660010 w 4940931"/>
                <a:gd name="connsiteY65" fmla="*/ 75564 h 138429"/>
                <a:gd name="connsiteX66" fmla="*/ 2656200 w 4940931"/>
                <a:gd name="connsiteY66" fmla="*/ 74294 h 138429"/>
                <a:gd name="connsiteX67" fmla="*/ 2652390 w 4940931"/>
                <a:gd name="connsiteY67" fmla="*/ 73659 h 138429"/>
                <a:gd name="connsiteX68" fmla="*/ 2647945 w 4940931"/>
                <a:gd name="connsiteY68" fmla="*/ 73024 h 138429"/>
                <a:gd name="connsiteX69" fmla="*/ 2642230 w 4940931"/>
                <a:gd name="connsiteY69" fmla="*/ 73024 h 138429"/>
                <a:gd name="connsiteX70" fmla="*/ 4664706 w 4940931"/>
                <a:gd name="connsiteY70" fmla="*/ 43814 h 138429"/>
                <a:gd name="connsiteX71" fmla="*/ 4657086 w 4940931"/>
                <a:gd name="connsiteY71" fmla="*/ 45719 h 138429"/>
                <a:gd name="connsiteX72" fmla="*/ 4651371 w 4940931"/>
                <a:gd name="connsiteY72" fmla="*/ 50799 h 138429"/>
                <a:gd name="connsiteX73" fmla="*/ 4647561 w 4940931"/>
                <a:gd name="connsiteY73" fmla="*/ 59054 h 138429"/>
                <a:gd name="connsiteX74" fmla="*/ 4646291 w 4940931"/>
                <a:gd name="connsiteY74" fmla="*/ 69849 h 138429"/>
                <a:gd name="connsiteX75" fmla="*/ 4647561 w 4940931"/>
                <a:gd name="connsiteY75" fmla="*/ 81279 h 138429"/>
                <a:gd name="connsiteX76" fmla="*/ 4651371 w 4940931"/>
                <a:gd name="connsiteY76" fmla="*/ 89534 h 138429"/>
                <a:gd name="connsiteX77" fmla="*/ 4657721 w 4940931"/>
                <a:gd name="connsiteY77" fmla="*/ 94614 h 138429"/>
                <a:gd name="connsiteX78" fmla="*/ 4665341 w 4940931"/>
                <a:gd name="connsiteY78" fmla="*/ 96519 h 138429"/>
                <a:gd name="connsiteX79" fmla="*/ 4672961 w 4940931"/>
                <a:gd name="connsiteY79" fmla="*/ 94614 h 138429"/>
                <a:gd name="connsiteX80" fmla="*/ 4678676 w 4940931"/>
                <a:gd name="connsiteY80" fmla="*/ 88899 h 138429"/>
                <a:gd name="connsiteX81" fmla="*/ 4682486 w 4940931"/>
                <a:gd name="connsiteY81" fmla="*/ 80644 h 138429"/>
                <a:gd name="connsiteX82" fmla="*/ 4683756 w 4940931"/>
                <a:gd name="connsiteY82" fmla="*/ 70484 h 138429"/>
                <a:gd name="connsiteX83" fmla="*/ 4684391 w 4940931"/>
                <a:gd name="connsiteY83" fmla="*/ 69849 h 138429"/>
                <a:gd name="connsiteX84" fmla="*/ 4683121 w 4940931"/>
                <a:gd name="connsiteY84" fmla="*/ 59054 h 138429"/>
                <a:gd name="connsiteX85" fmla="*/ 4679311 w 4940931"/>
                <a:gd name="connsiteY85" fmla="*/ 50799 h 138429"/>
                <a:gd name="connsiteX86" fmla="*/ 4672961 w 4940931"/>
                <a:gd name="connsiteY86" fmla="*/ 45719 h 138429"/>
                <a:gd name="connsiteX87" fmla="*/ 4664706 w 4940931"/>
                <a:gd name="connsiteY87" fmla="*/ 43814 h 138429"/>
                <a:gd name="connsiteX88" fmla="*/ 4264020 w 4940931"/>
                <a:gd name="connsiteY88" fmla="*/ 43814 h 138429"/>
                <a:gd name="connsiteX89" fmla="*/ 4256400 w 4940931"/>
                <a:gd name="connsiteY89" fmla="*/ 45719 h 138429"/>
                <a:gd name="connsiteX90" fmla="*/ 4250685 w 4940931"/>
                <a:gd name="connsiteY90" fmla="*/ 50799 h 138429"/>
                <a:gd name="connsiteX91" fmla="*/ 4246875 w 4940931"/>
                <a:gd name="connsiteY91" fmla="*/ 59054 h 138429"/>
                <a:gd name="connsiteX92" fmla="*/ 4245605 w 4940931"/>
                <a:gd name="connsiteY92" fmla="*/ 69849 h 138429"/>
                <a:gd name="connsiteX93" fmla="*/ 4246875 w 4940931"/>
                <a:gd name="connsiteY93" fmla="*/ 81279 h 138429"/>
                <a:gd name="connsiteX94" fmla="*/ 4250685 w 4940931"/>
                <a:gd name="connsiteY94" fmla="*/ 89534 h 138429"/>
                <a:gd name="connsiteX95" fmla="*/ 4257035 w 4940931"/>
                <a:gd name="connsiteY95" fmla="*/ 94614 h 138429"/>
                <a:gd name="connsiteX96" fmla="*/ 4264655 w 4940931"/>
                <a:gd name="connsiteY96" fmla="*/ 96519 h 138429"/>
                <a:gd name="connsiteX97" fmla="*/ 4272275 w 4940931"/>
                <a:gd name="connsiteY97" fmla="*/ 94614 h 138429"/>
                <a:gd name="connsiteX98" fmla="*/ 4277990 w 4940931"/>
                <a:gd name="connsiteY98" fmla="*/ 88899 h 138429"/>
                <a:gd name="connsiteX99" fmla="*/ 4281800 w 4940931"/>
                <a:gd name="connsiteY99" fmla="*/ 80644 h 138429"/>
                <a:gd name="connsiteX100" fmla="*/ 4283070 w 4940931"/>
                <a:gd name="connsiteY100" fmla="*/ 70484 h 138429"/>
                <a:gd name="connsiteX101" fmla="*/ 4283705 w 4940931"/>
                <a:gd name="connsiteY101" fmla="*/ 69849 h 138429"/>
                <a:gd name="connsiteX102" fmla="*/ 4282435 w 4940931"/>
                <a:gd name="connsiteY102" fmla="*/ 59054 h 138429"/>
                <a:gd name="connsiteX103" fmla="*/ 4278625 w 4940931"/>
                <a:gd name="connsiteY103" fmla="*/ 50799 h 138429"/>
                <a:gd name="connsiteX104" fmla="*/ 4272275 w 4940931"/>
                <a:gd name="connsiteY104" fmla="*/ 45719 h 138429"/>
                <a:gd name="connsiteX105" fmla="*/ 4264020 w 4940931"/>
                <a:gd name="connsiteY105" fmla="*/ 43814 h 138429"/>
                <a:gd name="connsiteX106" fmla="*/ 1420495 w 4940931"/>
                <a:gd name="connsiteY106" fmla="*/ 43814 h 138429"/>
                <a:gd name="connsiteX107" fmla="*/ 1412875 w 4940931"/>
                <a:gd name="connsiteY107" fmla="*/ 45719 h 138429"/>
                <a:gd name="connsiteX108" fmla="*/ 1407160 w 4940931"/>
                <a:gd name="connsiteY108" fmla="*/ 50799 h 138429"/>
                <a:gd name="connsiteX109" fmla="*/ 1403350 w 4940931"/>
                <a:gd name="connsiteY109" fmla="*/ 59054 h 138429"/>
                <a:gd name="connsiteX110" fmla="*/ 1402080 w 4940931"/>
                <a:gd name="connsiteY110" fmla="*/ 69849 h 138429"/>
                <a:gd name="connsiteX111" fmla="*/ 1403350 w 4940931"/>
                <a:gd name="connsiteY111" fmla="*/ 81279 h 138429"/>
                <a:gd name="connsiteX112" fmla="*/ 1407160 w 4940931"/>
                <a:gd name="connsiteY112" fmla="*/ 89534 h 138429"/>
                <a:gd name="connsiteX113" fmla="*/ 1413510 w 4940931"/>
                <a:gd name="connsiteY113" fmla="*/ 94614 h 138429"/>
                <a:gd name="connsiteX114" fmla="*/ 1421130 w 4940931"/>
                <a:gd name="connsiteY114" fmla="*/ 96519 h 138429"/>
                <a:gd name="connsiteX115" fmla="*/ 1428750 w 4940931"/>
                <a:gd name="connsiteY115" fmla="*/ 94614 h 138429"/>
                <a:gd name="connsiteX116" fmla="*/ 1434465 w 4940931"/>
                <a:gd name="connsiteY116" fmla="*/ 88899 h 138429"/>
                <a:gd name="connsiteX117" fmla="*/ 1438275 w 4940931"/>
                <a:gd name="connsiteY117" fmla="*/ 80644 h 138429"/>
                <a:gd name="connsiteX118" fmla="*/ 1439545 w 4940931"/>
                <a:gd name="connsiteY118" fmla="*/ 70484 h 138429"/>
                <a:gd name="connsiteX119" fmla="*/ 1440180 w 4940931"/>
                <a:gd name="connsiteY119" fmla="*/ 69849 h 138429"/>
                <a:gd name="connsiteX120" fmla="*/ 1438910 w 4940931"/>
                <a:gd name="connsiteY120" fmla="*/ 59054 h 138429"/>
                <a:gd name="connsiteX121" fmla="*/ 1435100 w 4940931"/>
                <a:gd name="connsiteY121" fmla="*/ 50799 h 138429"/>
                <a:gd name="connsiteX122" fmla="*/ 1428750 w 4940931"/>
                <a:gd name="connsiteY122" fmla="*/ 45719 h 138429"/>
                <a:gd name="connsiteX123" fmla="*/ 1420495 w 4940931"/>
                <a:gd name="connsiteY123" fmla="*/ 43814 h 138429"/>
                <a:gd name="connsiteX124" fmla="*/ 4041770 w 4940931"/>
                <a:gd name="connsiteY124" fmla="*/ 43180 h 138429"/>
                <a:gd name="connsiteX125" fmla="*/ 4034785 w 4940931"/>
                <a:gd name="connsiteY125" fmla="*/ 44450 h 138429"/>
                <a:gd name="connsiteX126" fmla="*/ 4029705 w 4940931"/>
                <a:gd name="connsiteY126" fmla="*/ 48260 h 138429"/>
                <a:gd name="connsiteX127" fmla="*/ 4025895 w 4940931"/>
                <a:gd name="connsiteY127" fmla="*/ 54610 h 138429"/>
                <a:gd name="connsiteX128" fmla="*/ 4023990 w 4940931"/>
                <a:gd name="connsiteY128" fmla="*/ 62865 h 138429"/>
                <a:gd name="connsiteX129" fmla="*/ 4060185 w 4940931"/>
                <a:gd name="connsiteY129" fmla="*/ 62865 h 138429"/>
                <a:gd name="connsiteX130" fmla="*/ 4058915 w 4940931"/>
                <a:gd name="connsiteY130" fmla="*/ 55245 h 138429"/>
                <a:gd name="connsiteX131" fmla="*/ 4055740 w 4940931"/>
                <a:gd name="connsiteY131" fmla="*/ 48895 h 138429"/>
                <a:gd name="connsiteX132" fmla="*/ 4050025 w 4940931"/>
                <a:gd name="connsiteY132" fmla="*/ 44450 h 138429"/>
                <a:gd name="connsiteX133" fmla="*/ 4041770 w 4940931"/>
                <a:gd name="connsiteY133" fmla="*/ 43180 h 138429"/>
                <a:gd name="connsiteX134" fmla="*/ 3728081 w 4940931"/>
                <a:gd name="connsiteY134" fmla="*/ 43180 h 138429"/>
                <a:gd name="connsiteX135" fmla="*/ 3721096 w 4940931"/>
                <a:gd name="connsiteY135" fmla="*/ 44450 h 138429"/>
                <a:gd name="connsiteX136" fmla="*/ 3716016 w 4940931"/>
                <a:gd name="connsiteY136" fmla="*/ 48260 h 138429"/>
                <a:gd name="connsiteX137" fmla="*/ 3712206 w 4940931"/>
                <a:gd name="connsiteY137" fmla="*/ 54610 h 138429"/>
                <a:gd name="connsiteX138" fmla="*/ 3710301 w 4940931"/>
                <a:gd name="connsiteY138" fmla="*/ 62865 h 138429"/>
                <a:gd name="connsiteX139" fmla="*/ 3746496 w 4940931"/>
                <a:gd name="connsiteY139" fmla="*/ 62865 h 138429"/>
                <a:gd name="connsiteX140" fmla="*/ 3745226 w 4940931"/>
                <a:gd name="connsiteY140" fmla="*/ 55245 h 138429"/>
                <a:gd name="connsiteX141" fmla="*/ 3742051 w 4940931"/>
                <a:gd name="connsiteY141" fmla="*/ 48895 h 138429"/>
                <a:gd name="connsiteX142" fmla="*/ 3736336 w 4940931"/>
                <a:gd name="connsiteY142" fmla="*/ 44450 h 138429"/>
                <a:gd name="connsiteX143" fmla="*/ 3728081 w 4940931"/>
                <a:gd name="connsiteY143" fmla="*/ 43180 h 138429"/>
                <a:gd name="connsiteX144" fmla="*/ 3541391 w 4940931"/>
                <a:gd name="connsiteY144" fmla="*/ 43180 h 138429"/>
                <a:gd name="connsiteX145" fmla="*/ 3534406 w 4940931"/>
                <a:gd name="connsiteY145" fmla="*/ 44450 h 138429"/>
                <a:gd name="connsiteX146" fmla="*/ 3529326 w 4940931"/>
                <a:gd name="connsiteY146" fmla="*/ 48260 h 138429"/>
                <a:gd name="connsiteX147" fmla="*/ 3525516 w 4940931"/>
                <a:gd name="connsiteY147" fmla="*/ 54610 h 138429"/>
                <a:gd name="connsiteX148" fmla="*/ 3523611 w 4940931"/>
                <a:gd name="connsiteY148" fmla="*/ 62865 h 138429"/>
                <a:gd name="connsiteX149" fmla="*/ 3559806 w 4940931"/>
                <a:gd name="connsiteY149" fmla="*/ 62865 h 138429"/>
                <a:gd name="connsiteX150" fmla="*/ 3558536 w 4940931"/>
                <a:gd name="connsiteY150" fmla="*/ 55245 h 138429"/>
                <a:gd name="connsiteX151" fmla="*/ 3555361 w 4940931"/>
                <a:gd name="connsiteY151" fmla="*/ 48895 h 138429"/>
                <a:gd name="connsiteX152" fmla="*/ 3549646 w 4940931"/>
                <a:gd name="connsiteY152" fmla="*/ 44450 h 138429"/>
                <a:gd name="connsiteX153" fmla="*/ 3541391 w 4940931"/>
                <a:gd name="connsiteY153" fmla="*/ 43180 h 138429"/>
                <a:gd name="connsiteX154" fmla="*/ 3463285 w 4940931"/>
                <a:gd name="connsiteY154" fmla="*/ 43180 h 138429"/>
                <a:gd name="connsiteX155" fmla="*/ 3458205 w 4940931"/>
                <a:gd name="connsiteY155" fmla="*/ 43815 h 138429"/>
                <a:gd name="connsiteX156" fmla="*/ 3453125 w 4940931"/>
                <a:gd name="connsiteY156" fmla="*/ 45720 h 138429"/>
                <a:gd name="connsiteX157" fmla="*/ 3448680 w 4940931"/>
                <a:gd name="connsiteY157" fmla="*/ 48895 h 138429"/>
                <a:gd name="connsiteX158" fmla="*/ 3445505 w 4940931"/>
                <a:gd name="connsiteY158" fmla="*/ 52705 h 138429"/>
                <a:gd name="connsiteX159" fmla="*/ 3445505 w 4940931"/>
                <a:gd name="connsiteY159" fmla="*/ 85725 h 138429"/>
                <a:gd name="connsiteX160" fmla="*/ 3448680 w 4940931"/>
                <a:gd name="connsiteY160" fmla="*/ 89535 h 138429"/>
                <a:gd name="connsiteX161" fmla="*/ 3453125 w 4940931"/>
                <a:gd name="connsiteY161" fmla="*/ 92710 h 138429"/>
                <a:gd name="connsiteX162" fmla="*/ 3458205 w 4940931"/>
                <a:gd name="connsiteY162" fmla="*/ 95250 h 138429"/>
                <a:gd name="connsiteX163" fmla="*/ 3463920 w 4940931"/>
                <a:gd name="connsiteY163" fmla="*/ 95885 h 138429"/>
                <a:gd name="connsiteX164" fmla="*/ 3476620 w 4940931"/>
                <a:gd name="connsiteY164" fmla="*/ 89535 h 138429"/>
                <a:gd name="connsiteX165" fmla="*/ 3481065 w 4940931"/>
                <a:gd name="connsiteY165" fmla="*/ 71120 h 138429"/>
                <a:gd name="connsiteX166" fmla="*/ 3480430 w 4940931"/>
                <a:gd name="connsiteY166" fmla="*/ 71755 h 138429"/>
                <a:gd name="connsiteX167" fmla="*/ 3475985 w 4940931"/>
                <a:gd name="connsiteY167" fmla="*/ 50165 h 138429"/>
                <a:gd name="connsiteX168" fmla="*/ 3463285 w 4940931"/>
                <a:gd name="connsiteY168" fmla="*/ 43180 h 138429"/>
                <a:gd name="connsiteX169" fmla="*/ 3343271 w 4940931"/>
                <a:gd name="connsiteY169" fmla="*/ 43180 h 138429"/>
                <a:gd name="connsiteX170" fmla="*/ 3336286 w 4940931"/>
                <a:gd name="connsiteY170" fmla="*/ 44450 h 138429"/>
                <a:gd name="connsiteX171" fmla="*/ 3331206 w 4940931"/>
                <a:gd name="connsiteY171" fmla="*/ 48260 h 138429"/>
                <a:gd name="connsiteX172" fmla="*/ 3327396 w 4940931"/>
                <a:gd name="connsiteY172" fmla="*/ 54610 h 138429"/>
                <a:gd name="connsiteX173" fmla="*/ 3325491 w 4940931"/>
                <a:gd name="connsiteY173" fmla="*/ 62865 h 138429"/>
                <a:gd name="connsiteX174" fmla="*/ 3361686 w 4940931"/>
                <a:gd name="connsiteY174" fmla="*/ 62865 h 138429"/>
                <a:gd name="connsiteX175" fmla="*/ 3360416 w 4940931"/>
                <a:gd name="connsiteY175" fmla="*/ 55245 h 138429"/>
                <a:gd name="connsiteX176" fmla="*/ 3357241 w 4940931"/>
                <a:gd name="connsiteY176" fmla="*/ 48895 h 138429"/>
                <a:gd name="connsiteX177" fmla="*/ 3351526 w 4940931"/>
                <a:gd name="connsiteY177" fmla="*/ 44450 h 138429"/>
                <a:gd name="connsiteX178" fmla="*/ 3343271 w 4940931"/>
                <a:gd name="connsiteY178" fmla="*/ 43180 h 138429"/>
                <a:gd name="connsiteX179" fmla="*/ 2976876 w 4940931"/>
                <a:gd name="connsiteY179" fmla="*/ 43180 h 138429"/>
                <a:gd name="connsiteX180" fmla="*/ 2969891 w 4940931"/>
                <a:gd name="connsiteY180" fmla="*/ 44450 h 138429"/>
                <a:gd name="connsiteX181" fmla="*/ 2964811 w 4940931"/>
                <a:gd name="connsiteY181" fmla="*/ 48260 h 138429"/>
                <a:gd name="connsiteX182" fmla="*/ 2961001 w 4940931"/>
                <a:gd name="connsiteY182" fmla="*/ 54610 h 138429"/>
                <a:gd name="connsiteX183" fmla="*/ 2959096 w 4940931"/>
                <a:gd name="connsiteY183" fmla="*/ 62865 h 138429"/>
                <a:gd name="connsiteX184" fmla="*/ 2995291 w 4940931"/>
                <a:gd name="connsiteY184" fmla="*/ 62865 h 138429"/>
                <a:gd name="connsiteX185" fmla="*/ 2994021 w 4940931"/>
                <a:gd name="connsiteY185" fmla="*/ 55245 h 138429"/>
                <a:gd name="connsiteX186" fmla="*/ 2990846 w 4940931"/>
                <a:gd name="connsiteY186" fmla="*/ 48895 h 138429"/>
                <a:gd name="connsiteX187" fmla="*/ 2985131 w 4940931"/>
                <a:gd name="connsiteY187" fmla="*/ 44450 h 138429"/>
                <a:gd name="connsiteX188" fmla="*/ 2976876 w 4940931"/>
                <a:gd name="connsiteY188" fmla="*/ 43180 h 138429"/>
                <a:gd name="connsiteX189" fmla="*/ 2527930 w 4940931"/>
                <a:gd name="connsiteY189" fmla="*/ 43180 h 138429"/>
                <a:gd name="connsiteX190" fmla="*/ 2520945 w 4940931"/>
                <a:gd name="connsiteY190" fmla="*/ 44450 h 138429"/>
                <a:gd name="connsiteX191" fmla="*/ 2515865 w 4940931"/>
                <a:gd name="connsiteY191" fmla="*/ 48260 h 138429"/>
                <a:gd name="connsiteX192" fmla="*/ 2512055 w 4940931"/>
                <a:gd name="connsiteY192" fmla="*/ 54610 h 138429"/>
                <a:gd name="connsiteX193" fmla="*/ 2510150 w 4940931"/>
                <a:gd name="connsiteY193" fmla="*/ 62865 h 138429"/>
                <a:gd name="connsiteX194" fmla="*/ 2546345 w 4940931"/>
                <a:gd name="connsiteY194" fmla="*/ 62865 h 138429"/>
                <a:gd name="connsiteX195" fmla="*/ 2545075 w 4940931"/>
                <a:gd name="connsiteY195" fmla="*/ 55245 h 138429"/>
                <a:gd name="connsiteX196" fmla="*/ 2541900 w 4940931"/>
                <a:gd name="connsiteY196" fmla="*/ 48895 h 138429"/>
                <a:gd name="connsiteX197" fmla="*/ 2536185 w 4940931"/>
                <a:gd name="connsiteY197" fmla="*/ 44450 h 138429"/>
                <a:gd name="connsiteX198" fmla="*/ 2527930 w 4940931"/>
                <a:gd name="connsiteY198" fmla="*/ 43180 h 138429"/>
                <a:gd name="connsiteX199" fmla="*/ 2214240 w 4940931"/>
                <a:gd name="connsiteY199" fmla="*/ 43180 h 138429"/>
                <a:gd name="connsiteX200" fmla="*/ 2207255 w 4940931"/>
                <a:gd name="connsiteY200" fmla="*/ 44450 h 138429"/>
                <a:gd name="connsiteX201" fmla="*/ 2202175 w 4940931"/>
                <a:gd name="connsiteY201" fmla="*/ 48260 h 138429"/>
                <a:gd name="connsiteX202" fmla="*/ 2198365 w 4940931"/>
                <a:gd name="connsiteY202" fmla="*/ 54610 h 138429"/>
                <a:gd name="connsiteX203" fmla="*/ 2196460 w 4940931"/>
                <a:gd name="connsiteY203" fmla="*/ 62865 h 138429"/>
                <a:gd name="connsiteX204" fmla="*/ 2232655 w 4940931"/>
                <a:gd name="connsiteY204" fmla="*/ 62865 h 138429"/>
                <a:gd name="connsiteX205" fmla="*/ 2231385 w 4940931"/>
                <a:gd name="connsiteY205" fmla="*/ 55245 h 138429"/>
                <a:gd name="connsiteX206" fmla="*/ 2228210 w 4940931"/>
                <a:gd name="connsiteY206" fmla="*/ 48895 h 138429"/>
                <a:gd name="connsiteX207" fmla="*/ 2222495 w 4940931"/>
                <a:gd name="connsiteY207" fmla="*/ 44450 h 138429"/>
                <a:gd name="connsiteX208" fmla="*/ 2214240 w 4940931"/>
                <a:gd name="connsiteY208" fmla="*/ 43180 h 138429"/>
                <a:gd name="connsiteX209" fmla="*/ 2027551 w 4940931"/>
                <a:gd name="connsiteY209" fmla="*/ 43180 h 138429"/>
                <a:gd name="connsiteX210" fmla="*/ 2020566 w 4940931"/>
                <a:gd name="connsiteY210" fmla="*/ 44450 h 138429"/>
                <a:gd name="connsiteX211" fmla="*/ 2015486 w 4940931"/>
                <a:gd name="connsiteY211" fmla="*/ 48260 h 138429"/>
                <a:gd name="connsiteX212" fmla="*/ 2011676 w 4940931"/>
                <a:gd name="connsiteY212" fmla="*/ 54610 h 138429"/>
                <a:gd name="connsiteX213" fmla="*/ 2009771 w 4940931"/>
                <a:gd name="connsiteY213" fmla="*/ 62865 h 138429"/>
                <a:gd name="connsiteX214" fmla="*/ 2045966 w 4940931"/>
                <a:gd name="connsiteY214" fmla="*/ 62865 h 138429"/>
                <a:gd name="connsiteX215" fmla="*/ 2044696 w 4940931"/>
                <a:gd name="connsiteY215" fmla="*/ 55245 h 138429"/>
                <a:gd name="connsiteX216" fmla="*/ 2041521 w 4940931"/>
                <a:gd name="connsiteY216" fmla="*/ 48895 h 138429"/>
                <a:gd name="connsiteX217" fmla="*/ 2035806 w 4940931"/>
                <a:gd name="connsiteY217" fmla="*/ 44450 h 138429"/>
                <a:gd name="connsiteX218" fmla="*/ 2027551 w 4940931"/>
                <a:gd name="connsiteY218" fmla="*/ 43180 h 138429"/>
                <a:gd name="connsiteX219" fmla="*/ 1949445 w 4940931"/>
                <a:gd name="connsiteY219" fmla="*/ 43180 h 138429"/>
                <a:gd name="connsiteX220" fmla="*/ 1944365 w 4940931"/>
                <a:gd name="connsiteY220" fmla="*/ 43815 h 138429"/>
                <a:gd name="connsiteX221" fmla="*/ 1939285 w 4940931"/>
                <a:gd name="connsiteY221" fmla="*/ 45720 h 138429"/>
                <a:gd name="connsiteX222" fmla="*/ 1934840 w 4940931"/>
                <a:gd name="connsiteY222" fmla="*/ 48895 h 138429"/>
                <a:gd name="connsiteX223" fmla="*/ 1931665 w 4940931"/>
                <a:gd name="connsiteY223" fmla="*/ 52705 h 138429"/>
                <a:gd name="connsiteX224" fmla="*/ 1931665 w 4940931"/>
                <a:gd name="connsiteY224" fmla="*/ 85725 h 138429"/>
                <a:gd name="connsiteX225" fmla="*/ 1934840 w 4940931"/>
                <a:gd name="connsiteY225" fmla="*/ 89535 h 138429"/>
                <a:gd name="connsiteX226" fmla="*/ 1939285 w 4940931"/>
                <a:gd name="connsiteY226" fmla="*/ 92710 h 138429"/>
                <a:gd name="connsiteX227" fmla="*/ 1944365 w 4940931"/>
                <a:gd name="connsiteY227" fmla="*/ 95250 h 138429"/>
                <a:gd name="connsiteX228" fmla="*/ 1950080 w 4940931"/>
                <a:gd name="connsiteY228" fmla="*/ 95885 h 138429"/>
                <a:gd name="connsiteX229" fmla="*/ 1962780 w 4940931"/>
                <a:gd name="connsiteY229" fmla="*/ 89535 h 138429"/>
                <a:gd name="connsiteX230" fmla="*/ 1967225 w 4940931"/>
                <a:gd name="connsiteY230" fmla="*/ 71120 h 138429"/>
                <a:gd name="connsiteX231" fmla="*/ 1966590 w 4940931"/>
                <a:gd name="connsiteY231" fmla="*/ 71755 h 138429"/>
                <a:gd name="connsiteX232" fmla="*/ 1962145 w 4940931"/>
                <a:gd name="connsiteY232" fmla="*/ 50165 h 138429"/>
                <a:gd name="connsiteX233" fmla="*/ 1949445 w 4940931"/>
                <a:gd name="connsiteY233" fmla="*/ 43180 h 138429"/>
                <a:gd name="connsiteX234" fmla="*/ 1829431 w 4940931"/>
                <a:gd name="connsiteY234" fmla="*/ 43180 h 138429"/>
                <a:gd name="connsiteX235" fmla="*/ 1822446 w 4940931"/>
                <a:gd name="connsiteY235" fmla="*/ 44450 h 138429"/>
                <a:gd name="connsiteX236" fmla="*/ 1817366 w 4940931"/>
                <a:gd name="connsiteY236" fmla="*/ 48260 h 138429"/>
                <a:gd name="connsiteX237" fmla="*/ 1813556 w 4940931"/>
                <a:gd name="connsiteY237" fmla="*/ 54610 h 138429"/>
                <a:gd name="connsiteX238" fmla="*/ 1811651 w 4940931"/>
                <a:gd name="connsiteY238" fmla="*/ 62865 h 138429"/>
                <a:gd name="connsiteX239" fmla="*/ 1847846 w 4940931"/>
                <a:gd name="connsiteY239" fmla="*/ 62865 h 138429"/>
                <a:gd name="connsiteX240" fmla="*/ 1846576 w 4940931"/>
                <a:gd name="connsiteY240" fmla="*/ 55245 h 138429"/>
                <a:gd name="connsiteX241" fmla="*/ 1843401 w 4940931"/>
                <a:gd name="connsiteY241" fmla="*/ 48895 h 138429"/>
                <a:gd name="connsiteX242" fmla="*/ 1837686 w 4940931"/>
                <a:gd name="connsiteY242" fmla="*/ 44450 h 138429"/>
                <a:gd name="connsiteX243" fmla="*/ 1829431 w 4940931"/>
                <a:gd name="connsiteY243" fmla="*/ 43180 h 138429"/>
                <a:gd name="connsiteX244" fmla="*/ 1178561 w 4940931"/>
                <a:gd name="connsiteY244" fmla="*/ 43180 h 138429"/>
                <a:gd name="connsiteX245" fmla="*/ 1171576 w 4940931"/>
                <a:gd name="connsiteY245" fmla="*/ 44450 h 138429"/>
                <a:gd name="connsiteX246" fmla="*/ 1166496 w 4940931"/>
                <a:gd name="connsiteY246" fmla="*/ 48260 h 138429"/>
                <a:gd name="connsiteX247" fmla="*/ 1162686 w 4940931"/>
                <a:gd name="connsiteY247" fmla="*/ 54610 h 138429"/>
                <a:gd name="connsiteX248" fmla="*/ 1160781 w 4940931"/>
                <a:gd name="connsiteY248" fmla="*/ 62865 h 138429"/>
                <a:gd name="connsiteX249" fmla="*/ 1196976 w 4940931"/>
                <a:gd name="connsiteY249" fmla="*/ 62865 h 138429"/>
                <a:gd name="connsiteX250" fmla="*/ 1195706 w 4940931"/>
                <a:gd name="connsiteY250" fmla="*/ 55245 h 138429"/>
                <a:gd name="connsiteX251" fmla="*/ 1192531 w 4940931"/>
                <a:gd name="connsiteY251" fmla="*/ 48895 h 138429"/>
                <a:gd name="connsiteX252" fmla="*/ 1186816 w 4940931"/>
                <a:gd name="connsiteY252" fmla="*/ 44450 h 138429"/>
                <a:gd name="connsiteX253" fmla="*/ 1178561 w 4940931"/>
                <a:gd name="connsiteY253" fmla="*/ 43180 h 138429"/>
                <a:gd name="connsiteX254" fmla="*/ 898525 w 4940931"/>
                <a:gd name="connsiteY254" fmla="*/ 43180 h 138429"/>
                <a:gd name="connsiteX255" fmla="*/ 891540 w 4940931"/>
                <a:gd name="connsiteY255" fmla="*/ 44450 h 138429"/>
                <a:gd name="connsiteX256" fmla="*/ 886460 w 4940931"/>
                <a:gd name="connsiteY256" fmla="*/ 48260 h 138429"/>
                <a:gd name="connsiteX257" fmla="*/ 882650 w 4940931"/>
                <a:gd name="connsiteY257" fmla="*/ 54610 h 138429"/>
                <a:gd name="connsiteX258" fmla="*/ 880745 w 4940931"/>
                <a:gd name="connsiteY258" fmla="*/ 62865 h 138429"/>
                <a:gd name="connsiteX259" fmla="*/ 916940 w 4940931"/>
                <a:gd name="connsiteY259" fmla="*/ 62865 h 138429"/>
                <a:gd name="connsiteX260" fmla="*/ 915670 w 4940931"/>
                <a:gd name="connsiteY260" fmla="*/ 55245 h 138429"/>
                <a:gd name="connsiteX261" fmla="*/ 912495 w 4940931"/>
                <a:gd name="connsiteY261" fmla="*/ 48895 h 138429"/>
                <a:gd name="connsiteX262" fmla="*/ 906780 w 4940931"/>
                <a:gd name="connsiteY262" fmla="*/ 44450 h 138429"/>
                <a:gd name="connsiteX263" fmla="*/ 898525 w 4940931"/>
                <a:gd name="connsiteY263" fmla="*/ 43180 h 138429"/>
                <a:gd name="connsiteX264" fmla="*/ 584834 w 4940931"/>
                <a:gd name="connsiteY264" fmla="*/ 43180 h 138429"/>
                <a:gd name="connsiteX265" fmla="*/ 577849 w 4940931"/>
                <a:gd name="connsiteY265" fmla="*/ 44450 h 138429"/>
                <a:gd name="connsiteX266" fmla="*/ 572769 w 4940931"/>
                <a:gd name="connsiteY266" fmla="*/ 48260 h 138429"/>
                <a:gd name="connsiteX267" fmla="*/ 568959 w 4940931"/>
                <a:gd name="connsiteY267" fmla="*/ 54610 h 138429"/>
                <a:gd name="connsiteX268" fmla="*/ 567054 w 4940931"/>
                <a:gd name="connsiteY268" fmla="*/ 62865 h 138429"/>
                <a:gd name="connsiteX269" fmla="*/ 603249 w 4940931"/>
                <a:gd name="connsiteY269" fmla="*/ 62865 h 138429"/>
                <a:gd name="connsiteX270" fmla="*/ 601979 w 4940931"/>
                <a:gd name="connsiteY270" fmla="*/ 55245 h 138429"/>
                <a:gd name="connsiteX271" fmla="*/ 598804 w 4940931"/>
                <a:gd name="connsiteY271" fmla="*/ 48895 h 138429"/>
                <a:gd name="connsiteX272" fmla="*/ 593089 w 4940931"/>
                <a:gd name="connsiteY272" fmla="*/ 44450 h 138429"/>
                <a:gd name="connsiteX273" fmla="*/ 584834 w 4940931"/>
                <a:gd name="connsiteY273" fmla="*/ 43180 h 138429"/>
                <a:gd name="connsiteX274" fmla="*/ 398145 w 4940931"/>
                <a:gd name="connsiteY274" fmla="*/ 43180 h 138429"/>
                <a:gd name="connsiteX275" fmla="*/ 391160 w 4940931"/>
                <a:gd name="connsiteY275" fmla="*/ 44450 h 138429"/>
                <a:gd name="connsiteX276" fmla="*/ 386080 w 4940931"/>
                <a:gd name="connsiteY276" fmla="*/ 48260 h 138429"/>
                <a:gd name="connsiteX277" fmla="*/ 382270 w 4940931"/>
                <a:gd name="connsiteY277" fmla="*/ 54610 h 138429"/>
                <a:gd name="connsiteX278" fmla="*/ 380365 w 4940931"/>
                <a:gd name="connsiteY278" fmla="*/ 62865 h 138429"/>
                <a:gd name="connsiteX279" fmla="*/ 416560 w 4940931"/>
                <a:gd name="connsiteY279" fmla="*/ 62865 h 138429"/>
                <a:gd name="connsiteX280" fmla="*/ 415290 w 4940931"/>
                <a:gd name="connsiteY280" fmla="*/ 55245 h 138429"/>
                <a:gd name="connsiteX281" fmla="*/ 412115 w 4940931"/>
                <a:gd name="connsiteY281" fmla="*/ 48895 h 138429"/>
                <a:gd name="connsiteX282" fmla="*/ 406400 w 4940931"/>
                <a:gd name="connsiteY282" fmla="*/ 44450 h 138429"/>
                <a:gd name="connsiteX283" fmla="*/ 398145 w 4940931"/>
                <a:gd name="connsiteY283" fmla="*/ 43180 h 138429"/>
                <a:gd name="connsiteX284" fmla="*/ 320039 w 4940931"/>
                <a:gd name="connsiteY284" fmla="*/ 43180 h 138429"/>
                <a:gd name="connsiteX285" fmla="*/ 314959 w 4940931"/>
                <a:gd name="connsiteY285" fmla="*/ 43815 h 138429"/>
                <a:gd name="connsiteX286" fmla="*/ 309879 w 4940931"/>
                <a:gd name="connsiteY286" fmla="*/ 45720 h 138429"/>
                <a:gd name="connsiteX287" fmla="*/ 305434 w 4940931"/>
                <a:gd name="connsiteY287" fmla="*/ 48895 h 138429"/>
                <a:gd name="connsiteX288" fmla="*/ 302259 w 4940931"/>
                <a:gd name="connsiteY288" fmla="*/ 52705 h 138429"/>
                <a:gd name="connsiteX289" fmla="*/ 302259 w 4940931"/>
                <a:gd name="connsiteY289" fmla="*/ 85725 h 138429"/>
                <a:gd name="connsiteX290" fmla="*/ 305434 w 4940931"/>
                <a:gd name="connsiteY290" fmla="*/ 89535 h 138429"/>
                <a:gd name="connsiteX291" fmla="*/ 309879 w 4940931"/>
                <a:gd name="connsiteY291" fmla="*/ 92710 h 138429"/>
                <a:gd name="connsiteX292" fmla="*/ 314959 w 4940931"/>
                <a:gd name="connsiteY292" fmla="*/ 95250 h 138429"/>
                <a:gd name="connsiteX293" fmla="*/ 320674 w 4940931"/>
                <a:gd name="connsiteY293" fmla="*/ 95885 h 138429"/>
                <a:gd name="connsiteX294" fmla="*/ 333374 w 4940931"/>
                <a:gd name="connsiteY294" fmla="*/ 89535 h 138429"/>
                <a:gd name="connsiteX295" fmla="*/ 337819 w 4940931"/>
                <a:gd name="connsiteY295" fmla="*/ 71120 h 138429"/>
                <a:gd name="connsiteX296" fmla="*/ 337184 w 4940931"/>
                <a:gd name="connsiteY296" fmla="*/ 71755 h 138429"/>
                <a:gd name="connsiteX297" fmla="*/ 332739 w 4940931"/>
                <a:gd name="connsiteY297" fmla="*/ 50165 h 138429"/>
                <a:gd name="connsiteX298" fmla="*/ 320039 w 4940931"/>
                <a:gd name="connsiteY298" fmla="*/ 43180 h 138429"/>
                <a:gd name="connsiteX299" fmla="*/ 200025 w 4940931"/>
                <a:gd name="connsiteY299" fmla="*/ 43180 h 138429"/>
                <a:gd name="connsiteX300" fmla="*/ 193040 w 4940931"/>
                <a:gd name="connsiteY300" fmla="*/ 44450 h 138429"/>
                <a:gd name="connsiteX301" fmla="*/ 187960 w 4940931"/>
                <a:gd name="connsiteY301" fmla="*/ 48260 h 138429"/>
                <a:gd name="connsiteX302" fmla="*/ 184150 w 4940931"/>
                <a:gd name="connsiteY302" fmla="*/ 54610 h 138429"/>
                <a:gd name="connsiteX303" fmla="*/ 182245 w 4940931"/>
                <a:gd name="connsiteY303" fmla="*/ 62865 h 138429"/>
                <a:gd name="connsiteX304" fmla="*/ 218440 w 4940931"/>
                <a:gd name="connsiteY304" fmla="*/ 62865 h 138429"/>
                <a:gd name="connsiteX305" fmla="*/ 217170 w 4940931"/>
                <a:gd name="connsiteY305" fmla="*/ 55245 h 138429"/>
                <a:gd name="connsiteX306" fmla="*/ 213995 w 4940931"/>
                <a:gd name="connsiteY306" fmla="*/ 48895 h 138429"/>
                <a:gd name="connsiteX307" fmla="*/ 208280 w 4940931"/>
                <a:gd name="connsiteY307" fmla="*/ 44450 h 138429"/>
                <a:gd name="connsiteX308" fmla="*/ 200025 w 4940931"/>
                <a:gd name="connsiteY308" fmla="*/ 43180 h 138429"/>
                <a:gd name="connsiteX309" fmla="*/ 4439281 w 4940931"/>
                <a:gd name="connsiteY309" fmla="*/ 43179 h 138429"/>
                <a:gd name="connsiteX310" fmla="*/ 4426581 w 4940931"/>
                <a:gd name="connsiteY310" fmla="*/ 49529 h 138429"/>
                <a:gd name="connsiteX311" fmla="*/ 4422136 w 4940931"/>
                <a:gd name="connsiteY311" fmla="*/ 67944 h 138429"/>
                <a:gd name="connsiteX312" fmla="*/ 4423406 w 4940931"/>
                <a:gd name="connsiteY312" fmla="*/ 80644 h 138429"/>
                <a:gd name="connsiteX313" fmla="*/ 4426581 w 4940931"/>
                <a:gd name="connsiteY313" fmla="*/ 89534 h 138429"/>
                <a:gd name="connsiteX314" fmla="*/ 4432296 w 4940931"/>
                <a:gd name="connsiteY314" fmla="*/ 94614 h 138429"/>
                <a:gd name="connsiteX315" fmla="*/ 4439916 w 4940931"/>
                <a:gd name="connsiteY315" fmla="*/ 96519 h 138429"/>
                <a:gd name="connsiteX316" fmla="*/ 4444996 w 4940931"/>
                <a:gd name="connsiteY316" fmla="*/ 95884 h 138429"/>
                <a:gd name="connsiteX317" fmla="*/ 4450076 w 4940931"/>
                <a:gd name="connsiteY317" fmla="*/ 93344 h 138429"/>
                <a:gd name="connsiteX318" fmla="*/ 4454521 w 4940931"/>
                <a:gd name="connsiteY318" fmla="*/ 90169 h 138429"/>
                <a:gd name="connsiteX319" fmla="*/ 4457696 w 4940931"/>
                <a:gd name="connsiteY319" fmla="*/ 86359 h 138429"/>
                <a:gd name="connsiteX320" fmla="*/ 4457696 w 4940931"/>
                <a:gd name="connsiteY320" fmla="*/ 53339 h 138429"/>
                <a:gd name="connsiteX321" fmla="*/ 4454521 w 4940931"/>
                <a:gd name="connsiteY321" fmla="*/ 49529 h 138429"/>
                <a:gd name="connsiteX322" fmla="*/ 4450076 w 4940931"/>
                <a:gd name="connsiteY322" fmla="*/ 46354 h 138429"/>
                <a:gd name="connsiteX323" fmla="*/ 4444996 w 4940931"/>
                <a:gd name="connsiteY323" fmla="*/ 43814 h 138429"/>
                <a:gd name="connsiteX324" fmla="*/ 4439281 w 4940931"/>
                <a:gd name="connsiteY324" fmla="*/ 43179 h 138429"/>
                <a:gd name="connsiteX325" fmla="*/ 1014731 w 4940931"/>
                <a:gd name="connsiteY325" fmla="*/ 43179 h 138429"/>
                <a:gd name="connsiteX326" fmla="*/ 1002032 w 4940931"/>
                <a:gd name="connsiteY326" fmla="*/ 49529 h 138429"/>
                <a:gd name="connsiteX327" fmla="*/ 997587 w 4940931"/>
                <a:gd name="connsiteY327" fmla="*/ 67944 h 138429"/>
                <a:gd name="connsiteX328" fmla="*/ 1002032 w 4940931"/>
                <a:gd name="connsiteY328" fmla="*/ 88899 h 138429"/>
                <a:gd name="connsiteX329" fmla="*/ 1015367 w 4940931"/>
                <a:gd name="connsiteY329" fmla="*/ 95884 h 138429"/>
                <a:gd name="connsiteX330" fmla="*/ 1024891 w 4940931"/>
                <a:gd name="connsiteY330" fmla="*/ 93344 h 138429"/>
                <a:gd name="connsiteX331" fmla="*/ 1033147 w 4940931"/>
                <a:gd name="connsiteY331" fmla="*/ 86359 h 138429"/>
                <a:gd name="connsiteX332" fmla="*/ 1033147 w 4940931"/>
                <a:gd name="connsiteY332" fmla="*/ 53339 h 138429"/>
                <a:gd name="connsiteX333" fmla="*/ 1029971 w 4940931"/>
                <a:gd name="connsiteY333" fmla="*/ 49529 h 138429"/>
                <a:gd name="connsiteX334" fmla="*/ 1025526 w 4940931"/>
                <a:gd name="connsiteY334" fmla="*/ 46354 h 138429"/>
                <a:gd name="connsiteX335" fmla="*/ 1020446 w 4940931"/>
                <a:gd name="connsiteY335" fmla="*/ 43814 h 138429"/>
                <a:gd name="connsiteX336" fmla="*/ 1014731 w 4940931"/>
                <a:gd name="connsiteY336" fmla="*/ 43179 h 138429"/>
                <a:gd name="connsiteX337" fmla="*/ 4524370 w 4940931"/>
                <a:gd name="connsiteY337" fmla="*/ 31114 h 138429"/>
                <a:gd name="connsiteX338" fmla="*/ 4538975 w 4940931"/>
                <a:gd name="connsiteY338" fmla="*/ 31114 h 138429"/>
                <a:gd name="connsiteX339" fmla="*/ 4552310 w 4940931"/>
                <a:gd name="connsiteY339" fmla="*/ 84454 h 138429"/>
                <a:gd name="connsiteX340" fmla="*/ 4566915 w 4940931"/>
                <a:gd name="connsiteY340" fmla="*/ 31114 h 138429"/>
                <a:gd name="connsiteX341" fmla="*/ 4579615 w 4940931"/>
                <a:gd name="connsiteY341" fmla="*/ 31114 h 138429"/>
                <a:gd name="connsiteX342" fmla="*/ 4594220 w 4940931"/>
                <a:gd name="connsiteY342" fmla="*/ 84454 h 138429"/>
                <a:gd name="connsiteX343" fmla="*/ 4606920 w 4940931"/>
                <a:gd name="connsiteY343" fmla="*/ 31114 h 138429"/>
                <a:gd name="connsiteX344" fmla="*/ 4622160 w 4940931"/>
                <a:gd name="connsiteY344" fmla="*/ 31114 h 138429"/>
                <a:gd name="connsiteX345" fmla="*/ 4600570 w 4940931"/>
                <a:gd name="connsiteY345" fmla="*/ 108584 h 138429"/>
                <a:gd name="connsiteX346" fmla="*/ 4587235 w 4940931"/>
                <a:gd name="connsiteY346" fmla="*/ 108584 h 138429"/>
                <a:gd name="connsiteX347" fmla="*/ 4572630 w 4940931"/>
                <a:gd name="connsiteY347" fmla="*/ 54609 h 138429"/>
                <a:gd name="connsiteX348" fmla="*/ 4558660 w 4940931"/>
                <a:gd name="connsiteY348" fmla="*/ 108584 h 138429"/>
                <a:gd name="connsiteX349" fmla="*/ 4545325 w 4940931"/>
                <a:gd name="connsiteY349" fmla="*/ 108584 h 138429"/>
                <a:gd name="connsiteX350" fmla="*/ 4123686 w 4940931"/>
                <a:gd name="connsiteY350" fmla="*/ 31114 h 138429"/>
                <a:gd name="connsiteX351" fmla="*/ 4138926 w 4940931"/>
                <a:gd name="connsiteY351" fmla="*/ 31114 h 138429"/>
                <a:gd name="connsiteX352" fmla="*/ 4152261 w 4940931"/>
                <a:gd name="connsiteY352" fmla="*/ 84454 h 138429"/>
                <a:gd name="connsiteX353" fmla="*/ 4166866 w 4940931"/>
                <a:gd name="connsiteY353" fmla="*/ 31114 h 138429"/>
                <a:gd name="connsiteX354" fmla="*/ 4178931 w 4940931"/>
                <a:gd name="connsiteY354" fmla="*/ 31114 h 138429"/>
                <a:gd name="connsiteX355" fmla="*/ 4193536 w 4940931"/>
                <a:gd name="connsiteY355" fmla="*/ 84454 h 138429"/>
                <a:gd name="connsiteX356" fmla="*/ 4206871 w 4940931"/>
                <a:gd name="connsiteY356" fmla="*/ 31114 h 138429"/>
                <a:gd name="connsiteX357" fmla="*/ 4222111 w 4940931"/>
                <a:gd name="connsiteY357" fmla="*/ 31114 h 138429"/>
                <a:gd name="connsiteX358" fmla="*/ 4200521 w 4940931"/>
                <a:gd name="connsiteY358" fmla="*/ 108584 h 138429"/>
                <a:gd name="connsiteX359" fmla="*/ 4187186 w 4940931"/>
                <a:gd name="connsiteY359" fmla="*/ 108584 h 138429"/>
                <a:gd name="connsiteX360" fmla="*/ 4172581 w 4940931"/>
                <a:gd name="connsiteY360" fmla="*/ 54609 h 138429"/>
                <a:gd name="connsiteX361" fmla="*/ 4157976 w 4940931"/>
                <a:gd name="connsiteY361" fmla="*/ 108584 h 138429"/>
                <a:gd name="connsiteX362" fmla="*/ 4145276 w 4940931"/>
                <a:gd name="connsiteY362" fmla="*/ 108584 h 138429"/>
                <a:gd name="connsiteX363" fmla="*/ 2837811 w 4940931"/>
                <a:gd name="connsiteY363" fmla="*/ 31114 h 138429"/>
                <a:gd name="connsiteX364" fmla="*/ 2852416 w 4940931"/>
                <a:gd name="connsiteY364" fmla="*/ 31114 h 138429"/>
                <a:gd name="connsiteX365" fmla="*/ 2865751 w 4940931"/>
                <a:gd name="connsiteY365" fmla="*/ 84454 h 138429"/>
                <a:gd name="connsiteX366" fmla="*/ 2880356 w 4940931"/>
                <a:gd name="connsiteY366" fmla="*/ 31114 h 138429"/>
                <a:gd name="connsiteX367" fmla="*/ 2893056 w 4940931"/>
                <a:gd name="connsiteY367" fmla="*/ 31114 h 138429"/>
                <a:gd name="connsiteX368" fmla="*/ 2907661 w 4940931"/>
                <a:gd name="connsiteY368" fmla="*/ 84454 h 138429"/>
                <a:gd name="connsiteX369" fmla="*/ 2920361 w 4940931"/>
                <a:gd name="connsiteY369" fmla="*/ 31114 h 138429"/>
                <a:gd name="connsiteX370" fmla="*/ 2935601 w 4940931"/>
                <a:gd name="connsiteY370" fmla="*/ 31114 h 138429"/>
                <a:gd name="connsiteX371" fmla="*/ 2914011 w 4940931"/>
                <a:gd name="connsiteY371" fmla="*/ 108584 h 138429"/>
                <a:gd name="connsiteX372" fmla="*/ 2900676 w 4940931"/>
                <a:gd name="connsiteY372" fmla="*/ 108584 h 138429"/>
                <a:gd name="connsiteX373" fmla="*/ 2886706 w 4940931"/>
                <a:gd name="connsiteY373" fmla="*/ 54609 h 138429"/>
                <a:gd name="connsiteX374" fmla="*/ 2872101 w 4940931"/>
                <a:gd name="connsiteY374" fmla="*/ 108584 h 138429"/>
                <a:gd name="connsiteX375" fmla="*/ 2858766 w 4940931"/>
                <a:gd name="connsiteY375" fmla="*/ 108584 h 138429"/>
                <a:gd name="connsiteX376" fmla="*/ 1354455 w 4940931"/>
                <a:gd name="connsiteY376" fmla="*/ 31114 h 138429"/>
                <a:gd name="connsiteX377" fmla="*/ 1369695 w 4940931"/>
                <a:gd name="connsiteY377" fmla="*/ 31114 h 138429"/>
                <a:gd name="connsiteX378" fmla="*/ 1369695 w 4940931"/>
                <a:gd name="connsiteY378" fmla="*/ 109219 h 138429"/>
                <a:gd name="connsiteX379" fmla="*/ 1354455 w 4940931"/>
                <a:gd name="connsiteY379" fmla="*/ 109219 h 138429"/>
                <a:gd name="connsiteX380" fmla="*/ 2646040 w 4940931"/>
                <a:gd name="connsiteY380" fmla="*/ 29844 h 138429"/>
                <a:gd name="connsiteX381" fmla="*/ 2658105 w 4940931"/>
                <a:gd name="connsiteY381" fmla="*/ 31749 h 138429"/>
                <a:gd name="connsiteX382" fmla="*/ 2667630 w 4940931"/>
                <a:gd name="connsiteY382" fmla="*/ 36829 h 138429"/>
                <a:gd name="connsiteX383" fmla="*/ 2673345 w 4940931"/>
                <a:gd name="connsiteY383" fmla="*/ 45084 h 138429"/>
                <a:gd name="connsiteX384" fmla="*/ 2675250 w 4940931"/>
                <a:gd name="connsiteY384" fmla="*/ 56514 h 138429"/>
                <a:gd name="connsiteX385" fmla="*/ 2675250 w 4940931"/>
                <a:gd name="connsiteY385" fmla="*/ 109854 h 138429"/>
                <a:gd name="connsiteX386" fmla="*/ 2660010 w 4940931"/>
                <a:gd name="connsiteY386" fmla="*/ 109854 h 138429"/>
                <a:gd name="connsiteX387" fmla="*/ 2660010 w 4940931"/>
                <a:gd name="connsiteY387" fmla="*/ 108584 h 138429"/>
                <a:gd name="connsiteX388" fmla="*/ 2660010 w 4940931"/>
                <a:gd name="connsiteY388" fmla="*/ 100964 h 138429"/>
                <a:gd name="connsiteX389" fmla="*/ 2654930 w 4940931"/>
                <a:gd name="connsiteY389" fmla="*/ 104774 h 138429"/>
                <a:gd name="connsiteX390" fmla="*/ 2651120 w 4940931"/>
                <a:gd name="connsiteY390" fmla="*/ 107314 h 138429"/>
                <a:gd name="connsiteX391" fmla="*/ 2646040 w 4940931"/>
                <a:gd name="connsiteY391" fmla="*/ 109219 h 138429"/>
                <a:gd name="connsiteX392" fmla="*/ 2639055 w 4940931"/>
                <a:gd name="connsiteY392" fmla="*/ 109854 h 138429"/>
                <a:gd name="connsiteX393" fmla="*/ 2629530 w 4940931"/>
                <a:gd name="connsiteY393" fmla="*/ 108584 h 138429"/>
                <a:gd name="connsiteX394" fmla="*/ 2620640 w 4940931"/>
                <a:gd name="connsiteY394" fmla="*/ 104139 h 138429"/>
                <a:gd name="connsiteX395" fmla="*/ 2614290 w 4940931"/>
                <a:gd name="connsiteY395" fmla="*/ 95884 h 138429"/>
                <a:gd name="connsiteX396" fmla="*/ 2611750 w 4940931"/>
                <a:gd name="connsiteY396" fmla="*/ 83819 h 138429"/>
                <a:gd name="connsiteX397" fmla="*/ 2614290 w 4940931"/>
                <a:gd name="connsiteY397" fmla="*/ 72389 h 138429"/>
                <a:gd name="connsiteX398" fmla="*/ 2620640 w 4940931"/>
                <a:gd name="connsiteY398" fmla="*/ 64769 h 138429"/>
                <a:gd name="connsiteX399" fmla="*/ 2630800 w 4940931"/>
                <a:gd name="connsiteY399" fmla="*/ 60324 h 138429"/>
                <a:gd name="connsiteX400" fmla="*/ 2642865 w 4940931"/>
                <a:gd name="connsiteY400" fmla="*/ 59054 h 138429"/>
                <a:gd name="connsiteX401" fmla="*/ 2653025 w 4940931"/>
                <a:gd name="connsiteY401" fmla="*/ 59689 h 138429"/>
                <a:gd name="connsiteX402" fmla="*/ 2660010 w 4940931"/>
                <a:gd name="connsiteY402" fmla="*/ 61594 h 138429"/>
                <a:gd name="connsiteX403" fmla="*/ 2660010 w 4940931"/>
                <a:gd name="connsiteY403" fmla="*/ 55879 h 138429"/>
                <a:gd name="connsiteX404" fmla="*/ 2656200 w 4940931"/>
                <a:gd name="connsiteY404" fmla="*/ 46354 h 138429"/>
                <a:gd name="connsiteX405" fmla="*/ 2645405 w 4940931"/>
                <a:gd name="connsiteY405" fmla="*/ 43179 h 138429"/>
                <a:gd name="connsiteX406" fmla="*/ 2634610 w 4940931"/>
                <a:gd name="connsiteY406" fmla="*/ 44449 h 138429"/>
                <a:gd name="connsiteX407" fmla="*/ 2625085 w 4940931"/>
                <a:gd name="connsiteY407" fmla="*/ 48259 h 138429"/>
                <a:gd name="connsiteX408" fmla="*/ 2619370 w 4940931"/>
                <a:gd name="connsiteY408" fmla="*/ 36829 h 138429"/>
                <a:gd name="connsiteX409" fmla="*/ 2631435 w 4940931"/>
                <a:gd name="connsiteY409" fmla="*/ 31749 h 138429"/>
                <a:gd name="connsiteX410" fmla="*/ 2646040 w 4940931"/>
                <a:gd name="connsiteY410" fmla="*/ 29844 h 138429"/>
                <a:gd name="connsiteX411" fmla="*/ 1114426 w 4940931"/>
                <a:gd name="connsiteY411" fmla="*/ 29844 h 138429"/>
                <a:gd name="connsiteX412" fmla="*/ 1129666 w 4940931"/>
                <a:gd name="connsiteY412" fmla="*/ 29844 h 138429"/>
                <a:gd name="connsiteX413" fmla="*/ 1129666 w 4940931"/>
                <a:gd name="connsiteY413" fmla="*/ 107949 h 138429"/>
                <a:gd name="connsiteX414" fmla="*/ 1114426 w 4940931"/>
                <a:gd name="connsiteY414" fmla="*/ 107949 h 138429"/>
                <a:gd name="connsiteX415" fmla="*/ 1114426 w 4940931"/>
                <a:gd name="connsiteY415" fmla="*/ 100964 h 138429"/>
                <a:gd name="connsiteX416" fmla="*/ 1106171 w 4940931"/>
                <a:gd name="connsiteY416" fmla="*/ 107314 h 138429"/>
                <a:gd name="connsiteX417" fmla="*/ 1094741 w 4940931"/>
                <a:gd name="connsiteY417" fmla="*/ 109854 h 138429"/>
                <a:gd name="connsiteX418" fmla="*/ 1073786 w 4940931"/>
                <a:gd name="connsiteY418" fmla="*/ 100964 h 138429"/>
                <a:gd name="connsiteX419" fmla="*/ 1066800 w 4940931"/>
                <a:gd name="connsiteY419" fmla="*/ 74929 h 138429"/>
                <a:gd name="connsiteX420" fmla="*/ 1066800 w 4940931"/>
                <a:gd name="connsiteY420" fmla="*/ 30479 h 138429"/>
                <a:gd name="connsiteX421" fmla="*/ 1082040 w 4940931"/>
                <a:gd name="connsiteY421" fmla="*/ 30479 h 138429"/>
                <a:gd name="connsiteX422" fmla="*/ 1082040 w 4940931"/>
                <a:gd name="connsiteY422" fmla="*/ 74294 h 138429"/>
                <a:gd name="connsiteX423" fmla="*/ 1085851 w 4940931"/>
                <a:gd name="connsiteY423" fmla="*/ 90169 h 138429"/>
                <a:gd name="connsiteX424" fmla="*/ 1097916 w 4940931"/>
                <a:gd name="connsiteY424" fmla="*/ 95249 h 138429"/>
                <a:gd name="connsiteX425" fmla="*/ 1109981 w 4940931"/>
                <a:gd name="connsiteY425" fmla="*/ 90169 h 138429"/>
                <a:gd name="connsiteX426" fmla="*/ 1114426 w 4940931"/>
                <a:gd name="connsiteY426" fmla="*/ 75564 h 138429"/>
                <a:gd name="connsiteX427" fmla="*/ 1011556 w 4940931"/>
                <a:gd name="connsiteY427" fmla="*/ 29844 h 138429"/>
                <a:gd name="connsiteX428" fmla="*/ 1017272 w 4940931"/>
                <a:gd name="connsiteY428" fmla="*/ 30479 h 138429"/>
                <a:gd name="connsiteX429" fmla="*/ 1022352 w 4940931"/>
                <a:gd name="connsiteY429" fmla="*/ 32384 h 138429"/>
                <a:gd name="connsiteX430" fmla="*/ 1026797 w 4940931"/>
                <a:gd name="connsiteY430" fmla="*/ 35559 h 138429"/>
                <a:gd name="connsiteX431" fmla="*/ 1030607 w 4940931"/>
                <a:gd name="connsiteY431" fmla="*/ 38734 h 138429"/>
                <a:gd name="connsiteX432" fmla="*/ 1030607 w 4940931"/>
                <a:gd name="connsiteY432" fmla="*/ 31749 h 138429"/>
                <a:gd name="connsiteX433" fmla="*/ 1045847 w 4940931"/>
                <a:gd name="connsiteY433" fmla="*/ 31749 h 138429"/>
                <a:gd name="connsiteX434" fmla="*/ 1045847 w 4940931"/>
                <a:gd name="connsiteY434" fmla="*/ 130809 h 138429"/>
                <a:gd name="connsiteX435" fmla="*/ 1032512 w 4940931"/>
                <a:gd name="connsiteY435" fmla="*/ 137477 h 138429"/>
                <a:gd name="connsiteX436" fmla="*/ 1032512 w 4940931"/>
                <a:gd name="connsiteY436" fmla="*/ 101599 h 138429"/>
                <a:gd name="connsiteX437" fmla="*/ 1022986 w 4940931"/>
                <a:gd name="connsiteY437" fmla="*/ 107949 h 138429"/>
                <a:gd name="connsiteX438" fmla="*/ 1011556 w 4940931"/>
                <a:gd name="connsiteY438" fmla="*/ 110489 h 138429"/>
                <a:gd name="connsiteX439" fmla="*/ 999491 w 4940931"/>
                <a:gd name="connsiteY439" fmla="*/ 107949 h 138429"/>
                <a:gd name="connsiteX440" fmla="*/ 989966 w 4940931"/>
                <a:gd name="connsiteY440" fmla="*/ 100329 h 138429"/>
                <a:gd name="connsiteX441" fmla="*/ 983616 w 4940931"/>
                <a:gd name="connsiteY441" fmla="*/ 87629 h 138429"/>
                <a:gd name="connsiteX442" fmla="*/ 981076 w 4940931"/>
                <a:gd name="connsiteY442" fmla="*/ 68579 h 138429"/>
                <a:gd name="connsiteX443" fmla="*/ 983616 w 4940931"/>
                <a:gd name="connsiteY443" fmla="*/ 51434 h 138429"/>
                <a:gd name="connsiteX444" fmla="*/ 990601 w 4940931"/>
                <a:gd name="connsiteY444" fmla="*/ 39369 h 138429"/>
                <a:gd name="connsiteX445" fmla="*/ 1000126 w 4940931"/>
                <a:gd name="connsiteY445" fmla="*/ 32384 h 138429"/>
                <a:gd name="connsiteX446" fmla="*/ 1011556 w 4940931"/>
                <a:gd name="connsiteY446" fmla="*/ 29844 h 138429"/>
                <a:gd name="connsiteX447" fmla="*/ 4871716 w 4940931"/>
                <a:gd name="connsiteY447" fmla="*/ 29210 h 138429"/>
                <a:gd name="connsiteX448" fmla="*/ 4885686 w 4940931"/>
                <a:gd name="connsiteY448" fmla="*/ 31750 h 138429"/>
                <a:gd name="connsiteX449" fmla="*/ 4897751 w 4940931"/>
                <a:gd name="connsiteY449" fmla="*/ 38100 h 138429"/>
                <a:gd name="connsiteX450" fmla="*/ 4899021 w 4940931"/>
                <a:gd name="connsiteY450" fmla="*/ 38100 h 138429"/>
                <a:gd name="connsiteX451" fmla="*/ 4892036 w 4940931"/>
                <a:gd name="connsiteY451" fmla="*/ 50165 h 138429"/>
                <a:gd name="connsiteX452" fmla="*/ 4882511 w 4940931"/>
                <a:gd name="connsiteY452" fmla="*/ 45085 h 138429"/>
                <a:gd name="connsiteX453" fmla="*/ 4872351 w 4940931"/>
                <a:gd name="connsiteY453" fmla="*/ 43180 h 138429"/>
                <a:gd name="connsiteX454" fmla="*/ 4864096 w 4940931"/>
                <a:gd name="connsiteY454" fmla="*/ 45085 h 138429"/>
                <a:gd name="connsiteX455" fmla="*/ 4861556 w 4940931"/>
                <a:gd name="connsiteY455" fmla="*/ 50165 h 138429"/>
                <a:gd name="connsiteX456" fmla="*/ 4861556 w 4940931"/>
                <a:gd name="connsiteY456" fmla="*/ 52705 h 138429"/>
                <a:gd name="connsiteX457" fmla="*/ 4863461 w 4940931"/>
                <a:gd name="connsiteY457" fmla="*/ 55245 h 138429"/>
                <a:gd name="connsiteX458" fmla="*/ 4867906 w 4940931"/>
                <a:gd name="connsiteY458" fmla="*/ 57785 h 138429"/>
                <a:gd name="connsiteX459" fmla="*/ 4874891 w 4940931"/>
                <a:gd name="connsiteY459" fmla="*/ 60960 h 138429"/>
                <a:gd name="connsiteX460" fmla="*/ 4886321 w 4940931"/>
                <a:gd name="connsiteY460" fmla="*/ 66040 h 138429"/>
                <a:gd name="connsiteX461" fmla="*/ 4894576 w 4940931"/>
                <a:gd name="connsiteY461" fmla="*/ 71120 h 138429"/>
                <a:gd name="connsiteX462" fmla="*/ 4899656 w 4940931"/>
                <a:gd name="connsiteY462" fmla="*/ 78105 h 138429"/>
                <a:gd name="connsiteX463" fmla="*/ 4901561 w 4940931"/>
                <a:gd name="connsiteY463" fmla="*/ 87630 h 138429"/>
                <a:gd name="connsiteX464" fmla="*/ 4899021 w 4940931"/>
                <a:gd name="connsiteY464" fmla="*/ 98425 h 138429"/>
                <a:gd name="connsiteX465" fmla="*/ 4892671 w 4940931"/>
                <a:gd name="connsiteY465" fmla="*/ 105410 h 138429"/>
                <a:gd name="connsiteX466" fmla="*/ 4883146 w 4940931"/>
                <a:gd name="connsiteY466" fmla="*/ 109220 h 138429"/>
                <a:gd name="connsiteX467" fmla="*/ 4872351 w 4940931"/>
                <a:gd name="connsiteY467" fmla="*/ 110490 h 138429"/>
                <a:gd name="connsiteX468" fmla="*/ 4857111 w 4940931"/>
                <a:gd name="connsiteY468" fmla="*/ 107950 h 138429"/>
                <a:gd name="connsiteX469" fmla="*/ 4842506 w 4940931"/>
                <a:gd name="connsiteY469" fmla="*/ 100965 h 138429"/>
                <a:gd name="connsiteX470" fmla="*/ 4849491 w 4940931"/>
                <a:gd name="connsiteY470" fmla="*/ 89535 h 138429"/>
                <a:gd name="connsiteX471" fmla="*/ 4860921 w 4940931"/>
                <a:gd name="connsiteY471" fmla="*/ 95250 h 138429"/>
                <a:gd name="connsiteX472" fmla="*/ 4872351 w 4940931"/>
                <a:gd name="connsiteY472" fmla="*/ 97155 h 138429"/>
                <a:gd name="connsiteX473" fmla="*/ 4883146 w 4940931"/>
                <a:gd name="connsiteY473" fmla="*/ 94615 h 138429"/>
                <a:gd name="connsiteX474" fmla="*/ 4886321 w 4940931"/>
                <a:gd name="connsiteY474" fmla="*/ 88265 h 138429"/>
                <a:gd name="connsiteX475" fmla="*/ 4885051 w 4940931"/>
                <a:gd name="connsiteY475" fmla="*/ 84455 h 138429"/>
                <a:gd name="connsiteX476" fmla="*/ 4881241 w 4940931"/>
                <a:gd name="connsiteY476" fmla="*/ 81280 h 138429"/>
                <a:gd name="connsiteX477" fmla="*/ 4875526 w 4940931"/>
                <a:gd name="connsiteY477" fmla="*/ 78105 h 138429"/>
                <a:gd name="connsiteX478" fmla="*/ 4867906 w 4940931"/>
                <a:gd name="connsiteY478" fmla="*/ 74930 h 138429"/>
                <a:gd name="connsiteX479" fmla="*/ 4857111 w 4940931"/>
                <a:gd name="connsiteY479" fmla="*/ 69850 h 138429"/>
                <a:gd name="connsiteX480" fmla="*/ 4850126 w 4940931"/>
                <a:gd name="connsiteY480" fmla="*/ 64770 h 138429"/>
                <a:gd name="connsiteX481" fmla="*/ 4846316 w 4940931"/>
                <a:gd name="connsiteY481" fmla="*/ 58420 h 138429"/>
                <a:gd name="connsiteX482" fmla="*/ 4845046 w 4940931"/>
                <a:gd name="connsiteY482" fmla="*/ 50165 h 138429"/>
                <a:gd name="connsiteX483" fmla="*/ 4846951 w 4940931"/>
                <a:gd name="connsiteY483" fmla="*/ 40640 h 138429"/>
                <a:gd name="connsiteX484" fmla="*/ 4852666 w 4940931"/>
                <a:gd name="connsiteY484" fmla="*/ 34290 h 138429"/>
                <a:gd name="connsiteX485" fmla="*/ 4860921 w 4940931"/>
                <a:gd name="connsiteY485" fmla="*/ 30480 h 138429"/>
                <a:gd name="connsiteX486" fmla="*/ 4871716 w 4940931"/>
                <a:gd name="connsiteY486" fmla="*/ 29210 h 138429"/>
                <a:gd name="connsiteX487" fmla="*/ 4749796 w 4940931"/>
                <a:gd name="connsiteY487" fmla="*/ 29210 h 138429"/>
                <a:gd name="connsiteX488" fmla="*/ 4757416 w 4940931"/>
                <a:gd name="connsiteY488" fmla="*/ 29845 h 138429"/>
                <a:gd name="connsiteX489" fmla="*/ 4763131 w 4940931"/>
                <a:gd name="connsiteY489" fmla="*/ 32385 h 138429"/>
                <a:gd name="connsiteX490" fmla="*/ 4759321 w 4940931"/>
                <a:gd name="connsiteY490" fmla="*/ 46990 h 138429"/>
                <a:gd name="connsiteX491" fmla="*/ 4758051 w 4940931"/>
                <a:gd name="connsiteY491" fmla="*/ 46990 h 138429"/>
                <a:gd name="connsiteX492" fmla="*/ 4752971 w 4940931"/>
                <a:gd name="connsiteY492" fmla="*/ 45085 h 138429"/>
                <a:gd name="connsiteX493" fmla="*/ 4746621 w 4940931"/>
                <a:gd name="connsiteY493" fmla="*/ 44450 h 138429"/>
                <a:gd name="connsiteX494" fmla="*/ 4735191 w 4940931"/>
                <a:gd name="connsiteY494" fmla="*/ 49530 h 138429"/>
                <a:gd name="connsiteX495" fmla="*/ 4731381 w 4940931"/>
                <a:gd name="connsiteY495" fmla="*/ 64770 h 138429"/>
                <a:gd name="connsiteX496" fmla="*/ 4731381 w 4940931"/>
                <a:gd name="connsiteY496" fmla="*/ 109220 h 138429"/>
                <a:gd name="connsiteX497" fmla="*/ 4716141 w 4940931"/>
                <a:gd name="connsiteY497" fmla="*/ 109220 h 138429"/>
                <a:gd name="connsiteX498" fmla="*/ 4716141 w 4940931"/>
                <a:gd name="connsiteY498" fmla="*/ 31115 h 138429"/>
                <a:gd name="connsiteX499" fmla="*/ 4731381 w 4940931"/>
                <a:gd name="connsiteY499" fmla="*/ 31115 h 138429"/>
                <a:gd name="connsiteX500" fmla="*/ 4731381 w 4940931"/>
                <a:gd name="connsiteY500" fmla="*/ 38735 h 138429"/>
                <a:gd name="connsiteX501" fmla="*/ 4734556 w 4940931"/>
                <a:gd name="connsiteY501" fmla="*/ 34925 h 138429"/>
                <a:gd name="connsiteX502" fmla="*/ 4739001 w 4940931"/>
                <a:gd name="connsiteY502" fmla="*/ 31750 h 138429"/>
                <a:gd name="connsiteX503" fmla="*/ 4744081 w 4940931"/>
                <a:gd name="connsiteY503" fmla="*/ 29845 h 138429"/>
                <a:gd name="connsiteX504" fmla="*/ 4749796 w 4940931"/>
                <a:gd name="connsiteY504" fmla="*/ 29210 h 138429"/>
                <a:gd name="connsiteX505" fmla="*/ 4349110 w 4940931"/>
                <a:gd name="connsiteY505" fmla="*/ 29210 h 138429"/>
                <a:gd name="connsiteX506" fmla="*/ 4356730 w 4940931"/>
                <a:gd name="connsiteY506" fmla="*/ 29845 h 138429"/>
                <a:gd name="connsiteX507" fmla="*/ 4362445 w 4940931"/>
                <a:gd name="connsiteY507" fmla="*/ 32385 h 138429"/>
                <a:gd name="connsiteX508" fmla="*/ 4358635 w 4940931"/>
                <a:gd name="connsiteY508" fmla="*/ 46990 h 138429"/>
                <a:gd name="connsiteX509" fmla="*/ 4357365 w 4940931"/>
                <a:gd name="connsiteY509" fmla="*/ 46990 h 138429"/>
                <a:gd name="connsiteX510" fmla="*/ 4352285 w 4940931"/>
                <a:gd name="connsiteY510" fmla="*/ 45085 h 138429"/>
                <a:gd name="connsiteX511" fmla="*/ 4345935 w 4940931"/>
                <a:gd name="connsiteY511" fmla="*/ 44450 h 138429"/>
                <a:gd name="connsiteX512" fmla="*/ 4334505 w 4940931"/>
                <a:gd name="connsiteY512" fmla="*/ 49530 h 138429"/>
                <a:gd name="connsiteX513" fmla="*/ 4330695 w 4940931"/>
                <a:gd name="connsiteY513" fmla="*/ 64770 h 138429"/>
                <a:gd name="connsiteX514" fmla="*/ 4330695 w 4940931"/>
                <a:gd name="connsiteY514" fmla="*/ 109220 h 138429"/>
                <a:gd name="connsiteX515" fmla="*/ 4315455 w 4940931"/>
                <a:gd name="connsiteY515" fmla="*/ 109220 h 138429"/>
                <a:gd name="connsiteX516" fmla="*/ 4315455 w 4940931"/>
                <a:gd name="connsiteY516" fmla="*/ 31115 h 138429"/>
                <a:gd name="connsiteX517" fmla="*/ 4330695 w 4940931"/>
                <a:gd name="connsiteY517" fmla="*/ 31115 h 138429"/>
                <a:gd name="connsiteX518" fmla="*/ 4330695 w 4940931"/>
                <a:gd name="connsiteY518" fmla="*/ 38735 h 138429"/>
                <a:gd name="connsiteX519" fmla="*/ 4333870 w 4940931"/>
                <a:gd name="connsiteY519" fmla="*/ 34925 h 138429"/>
                <a:gd name="connsiteX520" fmla="*/ 4338315 w 4940931"/>
                <a:gd name="connsiteY520" fmla="*/ 31750 h 138429"/>
                <a:gd name="connsiteX521" fmla="*/ 4343395 w 4940931"/>
                <a:gd name="connsiteY521" fmla="*/ 29845 h 138429"/>
                <a:gd name="connsiteX522" fmla="*/ 4349110 w 4940931"/>
                <a:gd name="connsiteY522" fmla="*/ 29210 h 138429"/>
                <a:gd name="connsiteX523" fmla="*/ 4044310 w 4940931"/>
                <a:gd name="connsiteY523" fmla="*/ 29210 h 138429"/>
                <a:gd name="connsiteX524" fmla="*/ 4058915 w 4940931"/>
                <a:gd name="connsiteY524" fmla="*/ 32385 h 138429"/>
                <a:gd name="connsiteX525" fmla="*/ 4069075 w 4940931"/>
                <a:gd name="connsiteY525" fmla="*/ 40640 h 138429"/>
                <a:gd name="connsiteX526" fmla="*/ 4075425 w 4940931"/>
                <a:gd name="connsiteY526" fmla="*/ 53340 h 138429"/>
                <a:gd name="connsiteX527" fmla="*/ 4077330 w 4940931"/>
                <a:gd name="connsiteY527" fmla="*/ 68580 h 138429"/>
                <a:gd name="connsiteX528" fmla="*/ 4076060 w 4940931"/>
                <a:gd name="connsiteY528" fmla="*/ 68580 h 138429"/>
                <a:gd name="connsiteX529" fmla="*/ 4076060 w 4940931"/>
                <a:gd name="connsiteY529" fmla="*/ 72390 h 138429"/>
                <a:gd name="connsiteX530" fmla="*/ 4076060 w 4940931"/>
                <a:gd name="connsiteY530" fmla="*/ 75565 h 138429"/>
                <a:gd name="connsiteX531" fmla="*/ 4024625 w 4940931"/>
                <a:gd name="connsiteY531" fmla="*/ 75565 h 138429"/>
                <a:gd name="connsiteX532" fmla="*/ 4027165 w 4940931"/>
                <a:gd name="connsiteY532" fmla="*/ 85090 h 138429"/>
                <a:gd name="connsiteX533" fmla="*/ 4031610 w 4940931"/>
                <a:gd name="connsiteY533" fmla="*/ 91440 h 138429"/>
                <a:gd name="connsiteX534" fmla="*/ 4037325 w 4940931"/>
                <a:gd name="connsiteY534" fmla="*/ 95250 h 138429"/>
                <a:gd name="connsiteX535" fmla="*/ 4044310 w 4940931"/>
                <a:gd name="connsiteY535" fmla="*/ 96520 h 138429"/>
                <a:gd name="connsiteX536" fmla="*/ 4049390 w 4940931"/>
                <a:gd name="connsiteY536" fmla="*/ 96520 h 138429"/>
                <a:gd name="connsiteX537" fmla="*/ 4053835 w 4940931"/>
                <a:gd name="connsiteY537" fmla="*/ 95250 h 138429"/>
                <a:gd name="connsiteX538" fmla="*/ 4057645 w 4940931"/>
                <a:gd name="connsiteY538" fmla="*/ 93345 h 138429"/>
                <a:gd name="connsiteX539" fmla="*/ 4062090 w 4940931"/>
                <a:gd name="connsiteY539" fmla="*/ 90805 h 138429"/>
                <a:gd name="connsiteX540" fmla="*/ 4070980 w 4940931"/>
                <a:gd name="connsiteY540" fmla="*/ 100330 h 138429"/>
                <a:gd name="connsiteX541" fmla="*/ 4065265 w 4940931"/>
                <a:gd name="connsiteY541" fmla="*/ 104775 h 138429"/>
                <a:gd name="connsiteX542" fmla="*/ 4059550 w 4940931"/>
                <a:gd name="connsiteY542" fmla="*/ 107950 h 138429"/>
                <a:gd name="connsiteX543" fmla="*/ 4052565 w 4940931"/>
                <a:gd name="connsiteY543" fmla="*/ 109855 h 138429"/>
                <a:gd name="connsiteX544" fmla="*/ 4043675 w 4940931"/>
                <a:gd name="connsiteY544" fmla="*/ 110490 h 138429"/>
                <a:gd name="connsiteX545" fmla="*/ 4034150 w 4940931"/>
                <a:gd name="connsiteY545" fmla="*/ 109220 h 138429"/>
                <a:gd name="connsiteX546" fmla="*/ 4026530 w 4940931"/>
                <a:gd name="connsiteY546" fmla="*/ 105410 h 138429"/>
                <a:gd name="connsiteX547" fmla="*/ 4020180 w 4940931"/>
                <a:gd name="connsiteY547" fmla="*/ 100330 h 138429"/>
                <a:gd name="connsiteX548" fmla="*/ 4015100 w 4940931"/>
                <a:gd name="connsiteY548" fmla="*/ 92710 h 138429"/>
                <a:gd name="connsiteX549" fmla="*/ 4011290 w 4940931"/>
                <a:gd name="connsiteY549" fmla="*/ 82550 h 138429"/>
                <a:gd name="connsiteX550" fmla="*/ 4010020 w 4940931"/>
                <a:gd name="connsiteY550" fmla="*/ 69850 h 138429"/>
                <a:gd name="connsiteX551" fmla="*/ 4012560 w 4940931"/>
                <a:gd name="connsiteY551" fmla="*/ 52070 h 138429"/>
                <a:gd name="connsiteX552" fmla="*/ 4019545 w 4940931"/>
                <a:gd name="connsiteY552" fmla="*/ 39370 h 138429"/>
                <a:gd name="connsiteX553" fmla="*/ 4030340 w 4940931"/>
                <a:gd name="connsiteY553" fmla="*/ 31750 h 138429"/>
                <a:gd name="connsiteX554" fmla="*/ 4044310 w 4940931"/>
                <a:gd name="connsiteY554" fmla="*/ 29210 h 138429"/>
                <a:gd name="connsiteX555" fmla="*/ 3811900 w 4940931"/>
                <a:gd name="connsiteY555" fmla="*/ 29210 h 138429"/>
                <a:gd name="connsiteX556" fmla="*/ 3819520 w 4940931"/>
                <a:gd name="connsiteY556" fmla="*/ 29845 h 138429"/>
                <a:gd name="connsiteX557" fmla="*/ 3825235 w 4940931"/>
                <a:gd name="connsiteY557" fmla="*/ 32385 h 138429"/>
                <a:gd name="connsiteX558" fmla="*/ 3821425 w 4940931"/>
                <a:gd name="connsiteY558" fmla="*/ 46990 h 138429"/>
                <a:gd name="connsiteX559" fmla="*/ 3820155 w 4940931"/>
                <a:gd name="connsiteY559" fmla="*/ 46990 h 138429"/>
                <a:gd name="connsiteX560" fmla="*/ 3815075 w 4940931"/>
                <a:gd name="connsiteY560" fmla="*/ 45085 h 138429"/>
                <a:gd name="connsiteX561" fmla="*/ 3808725 w 4940931"/>
                <a:gd name="connsiteY561" fmla="*/ 44450 h 138429"/>
                <a:gd name="connsiteX562" fmla="*/ 3797295 w 4940931"/>
                <a:gd name="connsiteY562" fmla="*/ 49530 h 138429"/>
                <a:gd name="connsiteX563" fmla="*/ 3793485 w 4940931"/>
                <a:gd name="connsiteY563" fmla="*/ 64770 h 138429"/>
                <a:gd name="connsiteX564" fmla="*/ 3793485 w 4940931"/>
                <a:gd name="connsiteY564" fmla="*/ 109220 h 138429"/>
                <a:gd name="connsiteX565" fmla="*/ 3778245 w 4940931"/>
                <a:gd name="connsiteY565" fmla="*/ 109220 h 138429"/>
                <a:gd name="connsiteX566" fmla="*/ 3778245 w 4940931"/>
                <a:gd name="connsiteY566" fmla="*/ 31115 h 138429"/>
                <a:gd name="connsiteX567" fmla="*/ 3793485 w 4940931"/>
                <a:gd name="connsiteY567" fmla="*/ 31115 h 138429"/>
                <a:gd name="connsiteX568" fmla="*/ 3793485 w 4940931"/>
                <a:gd name="connsiteY568" fmla="*/ 38735 h 138429"/>
                <a:gd name="connsiteX569" fmla="*/ 3796660 w 4940931"/>
                <a:gd name="connsiteY569" fmla="*/ 34925 h 138429"/>
                <a:gd name="connsiteX570" fmla="*/ 3801105 w 4940931"/>
                <a:gd name="connsiteY570" fmla="*/ 31750 h 138429"/>
                <a:gd name="connsiteX571" fmla="*/ 3806185 w 4940931"/>
                <a:gd name="connsiteY571" fmla="*/ 29845 h 138429"/>
                <a:gd name="connsiteX572" fmla="*/ 3811900 w 4940931"/>
                <a:gd name="connsiteY572" fmla="*/ 29210 h 138429"/>
                <a:gd name="connsiteX573" fmla="*/ 3729986 w 4940931"/>
                <a:gd name="connsiteY573" fmla="*/ 29210 h 138429"/>
                <a:gd name="connsiteX574" fmla="*/ 3744591 w 4940931"/>
                <a:gd name="connsiteY574" fmla="*/ 32385 h 138429"/>
                <a:gd name="connsiteX575" fmla="*/ 3754751 w 4940931"/>
                <a:gd name="connsiteY575" fmla="*/ 40640 h 138429"/>
                <a:gd name="connsiteX576" fmla="*/ 3761101 w 4940931"/>
                <a:gd name="connsiteY576" fmla="*/ 53340 h 138429"/>
                <a:gd name="connsiteX577" fmla="*/ 3763006 w 4940931"/>
                <a:gd name="connsiteY577" fmla="*/ 68580 h 138429"/>
                <a:gd name="connsiteX578" fmla="*/ 3761736 w 4940931"/>
                <a:gd name="connsiteY578" fmla="*/ 68580 h 138429"/>
                <a:gd name="connsiteX579" fmla="*/ 3761736 w 4940931"/>
                <a:gd name="connsiteY579" fmla="*/ 72390 h 138429"/>
                <a:gd name="connsiteX580" fmla="*/ 3761736 w 4940931"/>
                <a:gd name="connsiteY580" fmla="*/ 75565 h 138429"/>
                <a:gd name="connsiteX581" fmla="*/ 3710301 w 4940931"/>
                <a:gd name="connsiteY581" fmla="*/ 75565 h 138429"/>
                <a:gd name="connsiteX582" fmla="*/ 3712841 w 4940931"/>
                <a:gd name="connsiteY582" fmla="*/ 85090 h 138429"/>
                <a:gd name="connsiteX583" fmla="*/ 3717286 w 4940931"/>
                <a:gd name="connsiteY583" fmla="*/ 91440 h 138429"/>
                <a:gd name="connsiteX584" fmla="*/ 3723001 w 4940931"/>
                <a:gd name="connsiteY584" fmla="*/ 95250 h 138429"/>
                <a:gd name="connsiteX585" fmla="*/ 3729986 w 4940931"/>
                <a:gd name="connsiteY585" fmla="*/ 96520 h 138429"/>
                <a:gd name="connsiteX586" fmla="*/ 3735066 w 4940931"/>
                <a:gd name="connsiteY586" fmla="*/ 96520 h 138429"/>
                <a:gd name="connsiteX587" fmla="*/ 3739511 w 4940931"/>
                <a:gd name="connsiteY587" fmla="*/ 95250 h 138429"/>
                <a:gd name="connsiteX588" fmla="*/ 3743321 w 4940931"/>
                <a:gd name="connsiteY588" fmla="*/ 93345 h 138429"/>
                <a:gd name="connsiteX589" fmla="*/ 3747766 w 4940931"/>
                <a:gd name="connsiteY589" fmla="*/ 90805 h 138429"/>
                <a:gd name="connsiteX590" fmla="*/ 3756656 w 4940931"/>
                <a:gd name="connsiteY590" fmla="*/ 100330 h 138429"/>
                <a:gd name="connsiteX591" fmla="*/ 3750941 w 4940931"/>
                <a:gd name="connsiteY591" fmla="*/ 104775 h 138429"/>
                <a:gd name="connsiteX592" fmla="*/ 3745226 w 4940931"/>
                <a:gd name="connsiteY592" fmla="*/ 107950 h 138429"/>
                <a:gd name="connsiteX593" fmla="*/ 3738241 w 4940931"/>
                <a:gd name="connsiteY593" fmla="*/ 109855 h 138429"/>
                <a:gd name="connsiteX594" fmla="*/ 3729351 w 4940931"/>
                <a:gd name="connsiteY594" fmla="*/ 110490 h 138429"/>
                <a:gd name="connsiteX595" fmla="*/ 3719826 w 4940931"/>
                <a:gd name="connsiteY595" fmla="*/ 109220 h 138429"/>
                <a:gd name="connsiteX596" fmla="*/ 3712206 w 4940931"/>
                <a:gd name="connsiteY596" fmla="*/ 105410 h 138429"/>
                <a:gd name="connsiteX597" fmla="*/ 3705856 w 4940931"/>
                <a:gd name="connsiteY597" fmla="*/ 100330 h 138429"/>
                <a:gd name="connsiteX598" fmla="*/ 3700776 w 4940931"/>
                <a:gd name="connsiteY598" fmla="*/ 92710 h 138429"/>
                <a:gd name="connsiteX599" fmla="*/ 3696966 w 4940931"/>
                <a:gd name="connsiteY599" fmla="*/ 82550 h 138429"/>
                <a:gd name="connsiteX600" fmla="*/ 3695696 w 4940931"/>
                <a:gd name="connsiteY600" fmla="*/ 69850 h 138429"/>
                <a:gd name="connsiteX601" fmla="*/ 3698236 w 4940931"/>
                <a:gd name="connsiteY601" fmla="*/ 52070 h 138429"/>
                <a:gd name="connsiteX602" fmla="*/ 3705221 w 4940931"/>
                <a:gd name="connsiteY602" fmla="*/ 39370 h 138429"/>
                <a:gd name="connsiteX603" fmla="*/ 3716016 w 4940931"/>
                <a:gd name="connsiteY603" fmla="*/ 31750 h 138429"/>
                <a:gd name="connsiteX604" fmla="*/ 3729986 w 4940931"/>
                <a:gd name="connsiteY604" fmla="*/ 29210 h 138429"/>
                <a:gd name="connsiteX605" fmla="*/ 3543296 w 4940931"/>
                <a:gd name="connsiteY605" fmla="*/ 29210 h 138429"/>
                <a:gd name="connsiteX606" fmla="*/ 3557901 w 4940931"/>
                <a:gd name="connsiteY606" fmla="*/ 32385 h 138429"/>
                <a:gd name="connsiteX607" fmla="*/ 3568061 w 4940931"/>
                <a:gd name="connsiteY607" fmla="*/ 40640 h 138429"/>
                <a:gd name="connsiteX608" fmla="*/ 3574411 w 4940931"/>
                <a:gd name="connsiteY608" fmla="*/ 53340 h 138429"/>
                <a:gd name="connsiteX609" fmla="*/ 3576316 w 4940931"/>
                <a:gd name="connsiteY609" fmla="*/ 68580 h 138429"/>
                <a:gd name="connsiteX610" fmla="*/ 3575046 w 4940931"/>
                <a:gd name="connsiteY610" fmla="*/ 68580 h 138429"/>
                <a:gd name="connsiteX611" fmla="*/ 3575046 w 4940931"/>
                <a:gd name="connsiteY611" fmla="*/ 72390 h 138429"/>
                <a:gd name="connsiteX612" fmla="*/ 3575046 w 4940931"/>
                <a:gd name="connsiteY612" fmla="*/ 75565 h 138429"/>
                <a:gd name="connsiteX613" fmla="*/ 3523611 w 4940931"/>
                <a:gd name="connsiteY613" fmla="*/ 75565 h 138429"/>
                <a:gd name="connsiteX614" fmla="*/ 3526151 w 4940931"/>
                <a:gd name="connsiteY614" fmla="*/ 85090 h 138429"/>
                <a:gd name="connsiteX615" fmla="*/ 3530596 w 4940931"/>
                <a:gd name="connsiteY615" fmla="*/ 91440 h 138429"/>
                <a:gd name="connsiteX616" fmla="*/ 3536311 w 4940931"/>
                <a:gd name="connsiteY616" fmla="*/ 95250 h 138429"/>
                <a:gd name="connsiteX617" fmla="*/ 3543296 w 4940931"/>
                <a:gd name="connsiteY617" fmla="*/ 96520 h 138429"/>
                <a:gd name="connsiteX618" fmla="*/ 3548376 w 4940931"/>
                <a:gd name="connsiteY618" fmla="*/ 96520 h 138429"/>
                <a:gd name="connsiteX619" fmla="*/ 3552821 w 4940931"/>
                <a:gd name="connsiteY619" fmla="*/ 95250 h 138429"/>
                <a:gd name="connsiteX620" fmla="*/ 3556631 w 4940931"/>
                <a:gd name="connsiteY620" fmla="*/ 93345 h 138429"/>
                <a:gd name="connsiteX621" fmla="*/ 3561076 w 4940931"/>
                <a:gd name="connsiteY621" fmla="*/ 90805 h 138429"/>
                <a:gd name="connsiteX622" fmla="*/ 3569966 w 4940931"/>
                <a:gd name="connsiteY622" fmla="*/ 100330 h 138429"/>
                <a:gd name="connsiteX623" fmla="*/ 3564251 w 4940931"/>
                <a:gd name="connsiteY623" fmla="*/ 104775 h 138429"/>
                <a:gd name="connsiteX624" fmla="*/ 3558536 w 4940931"/>
                <a:gd name="connsiteY624" fmla="*/ 107950 h 138429"/>
                <a:gd name="connsiteX625" fmla="*/ 3551551 w 4940931"/>
                <a:gd name="connsiteY625" fmla="*/ 109855 h 138429"/>
                <a:gd name="connsiteX626" fmla="*/ 3542661 w 4940931"/>
                <a:gd name="connsiteY626" fmla="*/ 110490 h 138429"/>
                <a:gd name="connsiteX627" fmla="*/ 3533136 w 4940931"/>
                <a:gd name="connsiteY627" fmla="*/ 109220 h 138429"/>
                <a:gd name="connsiteX628" fmla="*/ 3525516 w 4940931"/>
                <a:gd name="connsiteY628" fmla="*/ 105410 h 138429"/>
                <a:gd name="connsiteX629" fmla="*/ 3519166 w 4940931"/>
                <a:gd name="connsiteY629" fmla="*/ 100330 h 138429"/>
                <a:gd name="connsiteX630" fmla="*/ 3514086 w 4940931"/>
                <a:gd name="connsiteY630" fmla="*/ 92710 h 138429"/>
                <a:gd name="connsiteX631" fmla="*/ 3510276 w 4940931"/>
                <a:gd name="connsiteY631" fmla="*/ 82550 h 138429"/>
                <a:gd name="connsiteX632" fmla="*/ 3509006 w 4940931"/>
                <a:gd name="connsiteY632" fmla="*/ 69850 h 138429"/>
                <a:gd name="connsiteX633" fmla="*/ 3511546 w 4940931"/>
                <a:gd name="connsiteY633" fmla="*/ 52070 h 138429"/>
                <a:gd name="connsiteX634" fmla="*/ 3518531 w 4940931"/>
                <a:gd name="connsiteY634" fmla="*/ 39370 h 138429"/>
                <a:gd name="connsiteX635" fmla="*/ 3529326 w 4940931"/>
                <a:gd name="connsiteY635" fmla="*/ 31750 h 138429"/>
                <a:gd name="connsiteX636" fmla="*/ 3543296 w 4940931"/>
                <a:gd name="connsiteY636" fmla="*/ 29210 h 138429"/>
                <a:gd name="connsiteX637" fmla="*/ 3345176 w 4940931"/>
                <a:gd name="connsiteY637" fmla="*/ 29210 h 138429"/>
                <a:gd name="connsiteX638" fmla="*/ 3359781 w 4940931"/>
                <a:gd name="connsiteY638" fmla="*/ 32385 h 138429"/>
                <a:gd name="connsiteX639" fmla="*/ 3369941 w 4940931"/>
                <a:gd name="connsiteY639" fmla="*/ 40640 h 138429"/>
                <a:gd name="connsiteX640" fmla="*/ 3376291 w 4940931"/>
                <a:gd name="connsiteY640" fmla="*/ 53340 h 138429"/>
                <a:gd name="connsiteX641" fmla="*/ 3378196 w 4940931"/>
                <a:gd name="connsiteY641" fmla="*/ 68580 h 138429"/>
                <a:gd name="connsiteX642" fmla="*/ 3376926 w 4940931"/>
                <a:gd name="connsiteY642" fmla="*/ 68580 h 138429"/>
                <a:gd name="connsiteX643" fmla="*/ 3376926 w 4940931"/>
                <a:gd name="connsiteY643" fmla="*/ 72390 h 138429"/>
                <a:gd name="connsiteX644" fmla="*/ 3376926 w 4940931"/>
                <a:gd name="connsiteY644" fmla="*/ 75565 h 138429"/>
                <a:gd name="connsiteX645" fmla="*/ 3325491 w 4940931"/>
                <a:gd name="connsiteY645" fmla="*/ 75565 h 138429"/>
                <a:gd name="connsiteX646" fmla="*/ 3328031 w 4940931"/>
                <a:gd name="connsiteY646" fmla="*/ 85090 h 138429"/>
                <a:gd name="connsiteX647" fmla="*/ 3332476 w 4940931"/>
                <a:gd name="connsiteY647" fmla="*/ 91440 h 138429"/>
                <a:gd name="connsiteX648" fmla="*/ 3338191 w 4940931"/>
                <a:gd name="connsiteY648" fmla="*/ 95250 h 138429"/>
                <a:gd name="connsiteX649" fmla="*/ 3345176 w 4940931"/>
                <a:gd name="connsiteY649" fmla="*/ 96520 h 138429"/>
                <a:gd name="connsiteX650" fmla="*/ 3350256 w 4940931"/>
                <a:gd name="connsiteY650" fmla="*/ 96520 h 138429"/>
                <a:gd name="connsiteX651" fmla="*/ 3354701 w 4940931"/>
                <a:gd name="connsiteY651" fmla="*/ 95250 h 138429"/>
                <a:gd name="connsiteX652" fmla="*/ 3358511 w 4940931"/>
                <a:gd name="connsiteY652" fmla="*/ 93345 h 138429"/>
                <a:gd name="connsiteX653" fmla="*/ 3362956 w 4940931"/>
                <a:gd name="connsiteY653" fmla="*/ 90805 h 138429"/>
                <a:gd name="connsiteX654" fmla="*/ 3371846 w 4940931"/>
                <a:gd name="connsiteY654" fmla="*/ 100330 h 138429"/>
                <a:gd name="connsiteX655" fmla="*/ 3366131 w 4940931"/>
                <a:gd name="connsiteY655" fmla="*/ 104775 h 138429"/>
                <a:gd name="connsiteX656" fmla="*/ 3360416 w 4940931"/>
                <a:gd name="connsiteY656" fmla="*/ 107950 h 138429"/>
                <a:gd name="connsiteX657" fmla="*/ 3353431 w 4940931"/>
                <a:gd name="connsiteY657" fmla="*/ 109855 h 138429"/>
                <a:gd name="connsiteX658" fmla="*/ 3344541 w 4940931"/>
                <a:gd name="connsiteY658" fmla="*/ 110490 h 138429"/>
                <a:gd name="connsiteX659" fmla="*/ 3335016 w 4940931"/>
                <a:gd name="connsiteY659" fmla="*/ 109220 h 138429"/>
                <a:gd name="connsiteX660" fmla="*/ 3327396 w 4940931"/>
                <a:gd name="connsiteY660" fmla="*/ 105410 h 138429"/>
                <a:gd name="connsiteX661" fmla="*/ 3321046 w 4940931"/>
                <a:gd name="connsiteY661" fmla="*/ 100330 h 138429"/>
                <a:gd name="connsiteX662" fmla="*/ 3315966 w 4940931"/>
                <a:gd name="connsiteY662" fmla="*/ 92710 h 138429"/>
                <a:gd name="connsiteX663" fmla="*/ 3312156 w 4940931"/>
                <a:gd name="connsiteY663" fmla="*/ 82550 h 138429"/>
                <a:gd name="connsiteX664" fmla="*/ 3310886 w 4940931"/>
                <a:gd name="connsiteY664" fmla="*/ 69850 h 138429"/>
                <a:gd name="connsiteX665" fmla="*/ 3313426 w 4940931"/>
                <a:gd name="connsiteY665" fmla="*/ 52070 h 138429"/>
                <a:gd name="connsiteX666" fmla="*/ 3320411 w 4940931"/>
                <a:gd name="connsiteY666" fmla="*/ 39370 h 138429"/>
                <a:gd name="connsiteX667" fmla="*/ 3331206 w 4940931"/>
                <a:gd name="connsiteY667" fmla="*/ 31750 h 138429"/>
                <a:gd name="connsiteX668" fmla="*/ 3345176 w 4940931"/>
                <a:gd name="connsiteY668" fmla="*/ 29210 h 138429"/>
                <a:gd name="connsiteX669" fmla="*/ 3060696 w 4940931"/>
                <a:gd name="connsiteY669" fmla="*/ 29210 h 138429"/>
                <a:gd name="connsiteX670" fmla="*/ 3068316 w 4940931"/>
                <a:gd name="connsiteY670" fmla="*/ 29845 h 138429"/>
                <a:gd name="connsiteX671" fmla="*/ 3074031 w 4940931"/>
                <a:gd name="connsiteY671" fmla="*/ 32385 h 138429"/>
                <a:gd name="connsiteX672" fmla="*/ 3070221 w 4940931"/>
                <a:gd name="connsiteY672" fmla="*/ 46990 h 138429"/>
                <a:gd name="connsiteX673" fmla="*/ 3068951 w 4940931"/>
                <a:gd name="connsiteY673" fmla="*/ 46990 h 138429"/>
                <a:gd name="connsiteX674" fmla="*/ 3063871 w 4940931"/>
                <a:gd name="connsiteY674" fmla="*/ 45085 h 138429"/>
                <a:gd name="connsiteX675" fmla="*/ 3057521 w 4940931"/>
                <a:gd name="connsiteY675" fmla="*/ 44450 h 138429"/>
                <a:gd name="connsiteX676" fmla="*/ 3046091 w 4940931"/>
                <a:gd name="connsiteY676" fmla="*/ 49530 h 138429"/>
                <a:gd name="connsiteX677" fmla="*/ 3042281 w 4940931"/>
                <a:gd name="connsiteY677" fmla="*/ 64770 h 138429"/>
                <a:gd name="connsiteX678" fmla="*/ 3042281 w 4940931"/>
                <a:gd name="connsiteY678" fmla="*/ 109220 h 138429"/>
                <a:gd name="connsiteX679" fmla="*/ 3027041 w 4940931"/>
                <a:gd name="connsiteY679" fmla="*/ 109220 h 138429"/>
                <a:gd name="connsiteX680" fmla="*/ 3027041 w 4940931"/>
                <a:gd name="connsiteY680" fmla="*/ 31115 h 138429"/>
                <a:gd name="connsiteX681" fmla="*/ 3042281 w 4940931"/>
                <a:gd name="connsiteY681" fmla="*/ 31115 h 138429"/>
                <a:gd name="connsiteX682" fmla="*/ 3042281 w 4940931"/>
                <a:gd name="connsiteY682" fmla="*/ 38735 h 138429"/>
                <a:gd name="connsiteX683" fmla="*/ 3045456 w 4940931"/>
                <a:gd name="connsiteY683" fmla="*/ 34925 h 138429"/>
                <a:gd name="connsiteX684" fmla="*/ 3049901 w 4940931"/>
                <a:gd name="connsiteY684" fmla="*/ 31750 h 138429"/>
                <a:gd name="connsiteX685" fmla="*/ 3054981 w 4940931"/>
                <a:gd name="connsiteY685" fmla="*/ 29845 h 138429"/>
                <a:gd name="connsiteX686" fmla="*/ 3060696 w 4940931"/>
                <a:gd name="connsiteY686" fmla="*/ 29210 h 138429"/>
                <a:gd name="connsiteX687" fmla="*/ 2978781 w 4940931"/>
                <a:gd name="connsiteY687" fmla="*/ 29210 h 138429"/>
                <a:gd name="connsiteX688" fmla="*/ 2993386 w 4940931"/>
                <a:gd name="connsiteY688" fmla="*/ 32385 h 138429"/>
                <a:gd name="connsiteX689" fmla="*/ 3003546 w 4940931"/>
                <a:gd name="connsiteY689" fmla="*/ 40640 h 138429"/>
                <a:gd name="connsiteX690" fmla="*/ 3009896 w 4940931"/>
                <a:gd name="connsiteY690" fmla="*/ 53340 h 138429"/>
                <a:gd name="connsiteX691" fmla="*/ 3011801 w 4940931"/>
                <a:gd name="connsiteY691" fmla="*/ 68580 h 138429"/>
                <a:gd name="connsiteX692" fmla="*/ 3010531 w 4940931"/>
                <a:gd name="connsiteY692" fmla="*/ 68580 h 138429"/>
                <a:gd name="connsiteX693" fmla="*/ 3010531 w 4940931"/>
                <a:gd name="connsiteY693" fmla="*/ 72390 h 138429"/>
                <a:gd name="connsiteX694" fmla="*/ 3010531 w 4940931"/>
                <a:gd name="connsiteY694" fmla="*/ 75565 h 138429"/>
                <a:gd name="connsiteX695" fmla="*/ 2959096 w 4940931"/>
                <a:gd name="connsiteY695" fmla="*/ 75565 h 138429"/>
                <a:gd name="connsiteX696" fmla="*/ 2961636 w 4940931"/>
                <a:gd name="connsiteY696" fmla="*/ 85090 h 138429"/>
                <a:gd name="connsiteX697" fmla="*/ 2966081 w 4940931"/>
                <a:gd name="connsiteY697" fmla="*/ 91440 h 138429"/>
                <a:gd name="connsiteX698" fmla="*/ 2971796 w 4940931"/>
                <a:gd name="connsiteY698" fmla="*/ 95250 h 138429"/>
                <a:gd name="connsiteX699" fmla="*/ 2978781 w 4940931"/>
                <a:gd name="connsiteY699" fmla="*/ 96520 h 138429"/>
                <a:gd name="connsiteX700" fmla="*/ 2983861 w 4940931"/>
                <a:gd name="connsiteY700" fmla="*/ 96520 h 138429"/>
                <a:gd name="connsiteX701" fmla="*/ 2988306 w 4940931"/>
                <a:gd name="connsiteY701" fmla="*/ 95250 h 138429"/>
                <a:gd name="connsiteX702" fmla="*/ 2992116 w 4940931"/>
                <a:gd name="connsiteY702" fmla="*/ 93345 h 138429"/>
                <a:gd name="connsiteX703" fmla="*/ 2996561 w 4940931"/>
                <a:gd name="connsiteY703" fmla="*/ 90805 h 138429"/>
                <a:gd name="connsiteX704" fmla="*/ 3005451 w 4940931"/>
                <a:gd name="connsiteY704" fmla="*/ 100330 h 138429"/>
                <a:gd name="connsiteX705" fmla="*/ 2999736 w 4940931"/>
                <a:gd name="connsiteY705" fmla="*/ 104775 h 138429"/>
                <a:gd name="connsiteX706" fmla="*/ 2994021 w 4940931"/>
                <a:gd name="connsiteY706" fmla="*/ 107950 h 138429"/>
                <a:gd name="connsiteX707" fmla="*/ 2987036 w 4940931"/>
                <a:gd name="connsiteY707" fmla="*/ 109855 h 138429"/>
                <a:gd name="connsiteX708" fmla="*/ 2978146 w 4940931"/>
                <a:gd name="connsiteY708" fmla="*/ 110490 h 138429"/>
                <a:gd name="connsiteX709" fmla="*/ 2968621 w 4940931"/>
                <a:gd name="connsiteY709" fmla="*/ 109220 h 138429"/>
                <a:gd name="connsiteX710" fmla="*/ 2961001 w 4940931"/>
                <a:gd name="connsiteY710" fmla="*/ 105410 h 138429"/>
                <a:gd name="connsiteX711" fmla="*/ 2954651 w 4940931"/>
                <a:gd name="connsiteY711" fmla="*/ 100330 h 138429"/>
                <a:gd name="connsiteX712" fmla="*/ 2949571 w 4940931"/>
                <a:gd name="connsiteY712" fmla="*/ 92710 h 138429"/>
                <a:gd name="connsiteX713" fmla="*/ 2945761 w 4940931"/>
                <a:gd name="connsiteY713" fmla="*/ 82550 h 138429"/>
                <a:gd name="connsiteX714" fmla="*/ 2944491 w 4940931"/>
                <a:gd name="connsiteY714" fmla="*/ 69850 h 138429"/>
                <a:gd name="connsiteX715" fmla="*/ 2947031 w 4940931"/>
                <a:gd name="connsiteY715" fmla="*/ 52070 h 138429"/>
                <a:gd name="connsiteX716" fmla="*/ 2954016 w 4940931"/>
                <a:gd name="connsiteY716" fmla="*/ 39370 h 138429"/>
                <a:gd name="connsiteX717" fmla="*/ 2964811 w 4940931"/>
                <a:gd name="connsiteY717" fmla="*/ 31750 h 138429"/>
                <a:gd name="connsiteX718" fmla="*/ 2978781 w 4940931"/>
                <a:gd name="connsiteY718" fmla="*/ 29210 h 138429"/>
                <a:gd name="connsiteX719" fmla="*/ 2798440 w 4940931"/>
                <a:gd name="connsiteY719" fmla="*/ 29210 h 138429"/>
                <a:gd name="connsiteX720" fmla="*/ 2813045 w 4940931"/>
                <a:gd name="connsiteY720" fmla="*/ 31750 h 138429"/>
                <a:gd name="connsiteX721" fmla="*/ 2825110 w 4940931"/>
                <a:gd name="connsiteY721" fmla="*/ 38100 h 138429"/>
                <a:gd name="connsiteX722" fmla="*/ 2827015 w 4940931"/>
                <a:gd name="connsiteY722" fmla="*/ 38100 h 138429"/>
                <a:gd name="connsiteX723" fmla="*/ 2820030 w 4940931"/>
                <a:gd name="connsiteY723" fmla="*/ 50165 h 138429"/>
                <a:gd name="connsiteX724" fmla="*/ 2810505 w 4940931"/>
                <a:gd name="connsiteY724" fmla="*/ 45085 h 138429"/>
                <a:gd name="connsiteX725" fmla="*/ 2799710 w 4940931"/>
                <a:gd name="connsiteY725" fmla="*/ 43180 h 138429"/>
                <a:gd name="connsiteX726" fmla="*/ 2791455 w 4940931"/>
                <a:gd name="connsiteY726" fmla="*/ 45085 h 138429"/>
                <a:gd name="connsiteX727" fmla="*/ 2788915 w 4940931"/>
                <a:gd name="connsiteY727" fmla="*/ 50165 h 138429"/>
                <a:gd name="connsiteX728" fmla="*/ 2788915 w 4940931"/>
                <a:gd name="connsiteY728" fmla="*/ 52705 h 138429"/>
                <a:gd name="connsiteX729" fmla="*/ 2790820 w 4940931"/>
                <a:gd name="connsiteY729" fmla="*/ 55245 h 138429"/>
                <a:gd name="connsiteX730" fmla="*/ 2795265 w 4940931"/>
                <a:gd name="connsiteY730" fmla="*/ 57785 h 138429"/>
                <a:gd name="connsiteX731" fmla="*/ 2802250 w 4940931"/>
                <a:gd name="connsiteY731" fmla="*/ 60960 h 138429"/>
                <a:gd name="connsiteX732" fmla="*/ 2813680 w 4940931"/>
                <a:gd name="connsiteY732" fmla="*/ 66040 h 138429"/>
                <a:gd name="connsiteX733" fmla="*/ 2821935 w 4940931"/>
                <a:gd name="connsiteY733" fmla="*/ 71120 h 138429"/>
                <a:gd name="connsiteX734" fmla="*/ 2827015 w 4940931"/>
                <a:gd name="connsiteY734" fmla="*/ 78105 h 138429"/>
                <a:gd name="connsiteX735" fmla="*/ 2828920 w 4940931"/>
                <a:gd name="connsiteY735" fmla="*/ 87630 h 138429"/>
                <a:gd name="connsiteX736" fmla="*/ 2826380 w 4940931"/>
                <a:gd name="connsiteY736" fmla="*/ 98425 h 138429"/>
                <a:gd name="connsiteX737" fmla="*/ 2820030 w 4940931"/>
                <a:gd name="connsiteY737" fmla="*/ 105410 h 138429"/>
                <a:gd name="connsiteX738" fmla="*/ 2810505 w 4940931"/>
                <a:gd name="connsiteY738" fmla="*/ 109220 h 138429"/>
                <a:gd name="connsiteX739" fmla="*/ 2799710 w 4940931"/>
                <a:gd name="connsiteY739" fmla="*/ 110490 h 138429"/>
                <a:gd name="connsiteX740" fmla="*/ 2783835 w 4940931"/>
                <a:gd name="connsiteY740" fmla="*/ 107950 h 138429"/>
                <a:gd name="connsiteX741" fmla="*/ 2769230 w 4940931"/>
                <a:gd name="connsiteY741" fmla="*/ 100965 h 138429"/>
                <a:gd name="connsiteX742" fmla="*/ 2776215 w 4940931"/>
                <a:gd name="connsiteY742" fmla="*/ 89535 h 138429"/>
                <a:gd name="connsiteX743" fmla="*/ 2787645 w 4940931"/>
                <a:gd name="connsiteY743" fmla="*/ 95250 h 138429"/>
                <a:gd name="connsiteX744" fmla="*/ 2799075 w 4940931"/>
                <a:gd name="connsiteY744" fmla="*/ 97155 h 138429"/>
                <a:gd name="connsiteX745" fmla="*/ 2809870 w 4940931"/>
                <a:gd name="connsiteY745" fmla="*/ 94615 h 138429"/>
                <a:gd name="connsiteX746" fmla="*/ 2813045 w 4940931"/>
                <a:gd name="connsiteY746" fmla="*/ 88265 h 138429"/>
                <a:gd name="connsiteX747" fmla="*/ 2811775 w 4940931"/>
                <a:gd name="connsiteY747" fmla="*/ 84455 h 138429"/>
                <a:gd name="connsiteX748" fmla="*/ 2807965 w 4940931"/>
                <a:gd name="connsiteY748" fmla="*/ 81280 h 138429"/>
                <a:gd name="connsiteX749" fmla="*/ 2802250 w 4940931"/>
                <a:gd name="connsiteY749" fmla="*/ 78105 h 138429"/>
                <a:gd name="connsiteX750" fmla="*/ 2794630 w 4940931"/>
                <a:gd name="connsiteY750" fmla="*/ 74930 h 138429"/>
                <a:gd name="connsiteX751" fmla="*/ 2783835 w 4940931"/>
                <a:gd name="connsiteY751" fmla="*/ 69850 h 138429"/>
                <a:gd name="connsiteX752" fmla="*/ 2776850 w 4940931"/>
                <a:gd name="connsiteY752" fmla="*/ 64770 h 138429"/>
                <a:gd name="connsiteX753" fmla="*/ 2773040 w 4940931"/>
                <a:gd name="connsiteY753" fmla="*/ 58420 h 138429"/>
                <a:gd name="connsiteX754" fmla="*/ 2771770 w 4940931"/>
                <a:gd name="connsiteY754" fmla="*/ 50165 h 138429"/>
                <a:gd name="connsiteX755" fmla="*/ 2773675 w 4940931"/>
                <a:gd name="connsiteY755" fmla="*/ 40640 h 138429"/>
                <a:gd name="connsiteX756" fmla="*/ 2779390 w 4940931"/>
                <a:gd name="connsiteY756" fmla="*/ 34290 h 138429"/>
                <a:gd name="connsiteX757" fmla="*/ 2787645 w 4940931"/>
                <a:gd name="connsiteY757" fmla="*/ 30480 h 138429"/>
                <a:gd name="connsiteX758" fmla="*/ 2798440 w 4940931"/>
                <a:gd name="connsiteY758" fmla="*/ 29210 h 138429"/>
                <a:gd name="connsiteX759" fmla="*/ 2723510 w 4940931"/>
                <a:gd name="connsiteY759" fmla="*/ 29210 h 138429"/>
                <a:gd name="connsiteX760" fmla="*/ 2729225 w 4940931"/>
                <a:gd name="connsiteY760" fmla="*/ 29210 h 138429"/>
                <a:gd name="connsiteX761" fmla="*/ 2741290 w 4940931"/>
                <a:gd name="connsiteY761" fmla="*/ 31750 h 138429"/>
                <a:gd name="connsiteX762" fmla="*/ 2750180 w 4940931"/>
                <a:gd name="connsiteY762" fmla="*/ 38100 h 138429"/>
                <a:gd name="connsiteX763" fmla="*/ 2755260 w 4940931"/>
                <a:gd name="connsiteY763" fmla="*/ 48895 h 138429"/>
                <a:gd name="connsiteX764" fmla="*/ 2757165 w 4940931"/>
                <a:gd name="connsiteY764" fmla="*/ 64135 h 138429"/>
                <a:gd name="connsiteX765" fmla="*/ 2757165 w 4940931"/>
                <a:gd name="connsiteY765" fmla="*/ 108585 h 138429"/>
                <a:gd name="connsiteX766" fmla="*/ 2741925 w 4940931"/>
                <a:gd name="connsiteY766" fmla="*/ 108585 h 138429"/>
                <a:gd name="connsiteX767" fmla="*/ 2741290 w 4940931"/>
                <a:gd name="connsiteY767" fmla="*/ 108585 h 138429"/>
                <a:gd name="connsiteX768" fmla="*/ 2741290 w 4940931"/>
                <a:gd name="connsiteY768" fmla="*/ 64770 h 138429"/>
                <a:gd name="connsiteX769" fmla="*/ 2737480 w 4940931"/>
                <a:gd name="connsiteY769" fmla="*/ 48895 h 138429"/>
                <a:gd name="connsiteX770" fmla="*/ 2725415 w 4940931"/>
                <a:gd name="connsiteY770" fmla="*/ 43180 h 138429"/>
                <a:gd name="connsiteX771" fmla="*/ 2718430 w 4940931"/>
                <a:gd name="connsiteY771" fmla="*/ 44450 h 138429"/>
                <a:gd name="connsiteX772" fmla="*/ 2713350 w 4940931"/>
                <a:gd name="connsiteY772" fmla="*/ 48260 h 138429"/>
                <a:gd name="connsiteX773" fmla="*/ 2710175 w 4940931"/>
                <a:gd name="connsiteY773" fmla="*/ 54610 h 138429"/>
                <a:gd name="connsiteX774" fmla="*/ 2709540 w 4940931"/>
                <a:gd name="connsiteY774" fmla="*/ 62865 h 138429"/>
                <a:gd name="connsiteX775" fmla="*/ 2709540 w 4940931"/>
                <a:gd name="connsiteY775" fmla="*/ 108585 h 138429"/>
                <a:gd name="connsiteX776" fmla="*/ 2694300 w 4940931"/>
                <a:gd name="connsiteY776" fmla="*/ 108585 h 138429"/>
                <a:gd name="connsiteX777" fmla="*/ 2694300 w 4940931"/>
                <a:gd name="connsiteY777" fmla="*/ 30480 h 138429"/>
                <a:gd name="connsiteX778" fmla="*/ 2709540 w 4940931"/>
                <a:gd name="connsiteY778" fmla="*/ 30480 h 138429"/>
                <a:gd name="connsiteX779" fmla="*/ 2709540 w 4940931"/>
                <a:gd name="connsiteY779" fmla="*/ 38100 h 138429"/>
                <a:gd name="connsiteX780" fmla="*/ 2713350 w 4940931"/>
                <a:gd name="connsiteY780" fmla="*/ 34290 h 138429"/>
                <a:gd name="connsiteX781" fmla="*/ 2717795 w 4940931"/>
                <a:gd name="connsiteY781" fmla="*/ 31115 h 138429"/>
                <a:gd name="connsiteX782" fmla="*/ 2723510 w 4940931"/>
                <a:gd name="connsiteY782" fmla="*/ 29210 h 138429"/>
                <a:gd name="connsiteX783" fmla="*/ 2530470 w 4940931"/>
                <a:gd name="connsiteY783" fmla="*/ 29210 h 138429"/>
                <a:gd name="connsiteX784" fmla="*/ 2545075 w 4940931"/>
                <a:gd name="connsiteY784" fmla="*/ 32385 h 138429"/>
                <a:gd name="connsiteX785" fmla="*/ 2555235 w 4940931"/>
                <a:gd name="connsiteY785" fmla="*/ 40640 h 138429"/>
                <a:gd name="connsiteX786" fmla="*/ 2561585 w 4940931"/>
                <a:gd name="connsiteY786" fmla="*/ 53340 h 138429"/>
                <a:gd name="connsiteX787" fmla="*/ 2563490 w 4940931"/>
                <a:gd name="connsiteY787" fmla="*/ 68580 h 138429"/>
                <a:gd name="connsiteX788" fmla="*/ 2562220 w 4940931"/>
                <a:gd name="connsiteY788" fmla="*/ 68580 h 138429"/>
                <a:gd name="connsiteX789" fmla="*/ 2562220 w 4940931"/>
                <a:gd name="connsiteY789" fmla="*/ 72390 h 138429"/>
                <a:gd name="connsiteX790" fmla="*/ 2562220 w 4940931"/>
                <a:gd name="connsiteY790" fmla="*/ 75565 h 138429"/>
                <a:gd name="connsiteX791" fmla="*/ 2510785 w 4940931"/>
                <a:gd name="connsiteY791" fmla="*/ 75565 h 138429"/>
                <a:gd name="connsiteX792" fmla="*/ 2513325 w 4940931"/>
                <a:gd name="connsiteY792" fmla="*/ 85090 h 138429"/>
                <a:gd name="connsiteX793" fmla="*/ 2517770 w 4940931"/>
                <a:gd name="connsiteY793" fmla="*/ 91440 h 138429"/>
                <a:gd name="connsiteX794" fmla="*/ 2523485 w 4940931"/>
                <a:gd name="connsiteY794" fmla="*/ 95250 h 138429"/>
                <a:gd name="connsiteX795" fmla="*/ 2530470 w 4940931"/>
                <a:gd name="connsiteY795" fmla="*/ 96520 h 138429"/>
                <a:gd name="connsiteX796" fmla="*/ 2535550 w 4940931"/>
                <a:gd name="connsiteY796" fmla="*/ 96520 h 138429"/>
                <a:gd name="connsiteX797" fmla="*/ 2539995 w 4940931"/>
                <a:gd name="connsiteY797" fmla="*/ 95250 h 138429"/>
                <a:gd name="connsiteX798" fmla="*/ 2543805 w 4940931"/>
                <a:gd name="connsiteY798" fmla="*/ 93345 h 138429"/>
                <a:gd name="connsiteX799" fmla="*/ 2548250 w 4940931"/>
                <a:gd name="connsiteY799" fmla="*/ 90805 h 138429"/>
                <a:gd name="connsiteX800" fmla="*/ 2557140 w 4940931"/>
                <a:gd name="connsiteY800" fmla="*/ 100330 h 138429"/>
                <a:gd name="connsiteX801" fmla="*/ 2551425 w 4940931"/>
                <a:gd name="connsiteY801" fmla="*/ 104775 h 138429"/>
                <a:gd name="connsiteX802" fmla="*/ 2545710 w 4940931"/>
                <a:gd name="connsiteY802" fmla="*/ 107950 h 138429"/>
                <a:gd name="connsiteX803" fmla="*/ 2538725 w 4940931"/>
                <a:gd name="connsiteY803" fmla="*/ 109855 h 138429"/>
                <a:gd name="connsiteX804" fmla="*/ 2529835 w 4940931"/>
                <a:gd name="connsiteY804" fmla="*/ 110490 h 138429"/>
                <a:gd name="connsiteX805" fmla="*/ 2520310 w 4940931"/>
                <a:gd name="connsiteY805" fmla="*/ 109220 h 138429"/>
                <a:gd name="connsiteX806" fmla="*/ 2512690 w 4940931"/>
                <a:gd name="connsiteY806" fmla="*/ 105410 h 138429"/>
                <a:gd name="connsiteX807" fmla="*/ 2506340 w 4940931"/>
                <a:gd name="connsiteY807" fmla="*/ 100330 h 138429"/>
                <a:gd name="connsiteX808" fmla="*/ 2501260 w 4940931"/>
                <a:gd name="connsiteY808" fmla="*/ 92710 h 138429"/>
                <a:gd name="connsiteX809" fmla="*/ 2497450 w 4940931"/>
                <a:gd name="connsiteY809" fmla="*/ 82550 h 138429"/>
                <a:gd name="connsiteX810" fmla="*/ 2496180 w 4940931"/>
                <a:gd name="connsiteY810" fmla="*/ 69850 h 138429"/>
                <a:gd name="connsiteX811" fmla="*/ 2498720 w 4940931"/>
                <a:gd name="connsiteY811" fmla="*/ 52070 h 138429"/>
                <a:gd name="connsiteX812" fmla="*/ 2505705 w 4940931"/>
                <a:gd name="connsiteY812" fmla="*/ 39370 h 138429"/>
                <a:gd name="connsiteX813" fmla="*/ 2516500 w 4940931"/>
                <a:gd name="connsiteY813" fmla="*/ 31750 h 138429"/>
                <a:gd name="connsiteX814" fmla="*/ 2530470 w 4940931"/>
                <a:gd name="connsiteY814" fmla="*/ 29210 h 138429"/>
                <a:gd name="connsiteX815" fmla="*/ 2298061 w 4940931"/>
                <a:gd name="connsiteY815" fmla="*/ 29210 h 138429"/>
                <a:gd name="connsiteX816" fmla="*/ 2305681 w 4940931"/>
                <a:gd name="connsiteY816" fmla="*/ 29845 h 138429"/>
                <a:gd name="connsiteX817" fmla="*/ 2311396 w 4940931"/>
                <a:gd name="connsiteY817" fmla="*/ 32385 h 138429"/>
                <a:gd name="connsiteX818" fmla="*/ 2307586 w 4940931"/>
                <a:gd name="connsiteY818" fmla="*/ 46990 h 138429"/>
                <a:gd name="connsiteX819" fmla="*/ 2306316 w 4940931"/>
                <a:gd name="connsiteY819" fmla="*/ 46990 h 138429"/>
                <a:gd name="connsiteX820" fmla="*/ 2301236 w 4940931"/>
                <a:gd name="connsiteY820" fmla="*/ 45085 h 138429"/>
                <a:gd name="connsiteX821" fmla="*/ 2294886 w 4940931"/>
                <a:gd name="connsiteY821" fmla="*/ 44450 h 138429"/>
                <a:gd name="connsiteX822" fmla="*/ 2283456 w 4940931"/>
                <a:gd name="connsiteY822" fmla="*/ 49530 h 138429"/>
                <a:gd name="connsiteX823" fmla="*/ 2279646 w 4940931"/>
                <a:gd name="connsiteY823" fmla="*/ 64770 h 138429"/>
                <a:gd name="connsiteX824" fmla="*/ 2279646 w 4940931"/>
                <a:gd name="connsiteY824" fmla="*/ 109220 h 138429"/>
                <a:gd name="connsiteX825" fmla="*/ 2264406 w 4940931"/>
                <a:gd name="connsiteY825" fmla="*/ 109220 h 138429"/>
                <a:gd name="connsiteX826" fmla="*/ 2264406 w 4940931"/>
                <a:gd name="connsiteY826" fmla="*/ 31115 h 138429"/>
                <a:gd name="connsiteX827" fmla="*/ 2279646 w 4940931"/>
                <a:gd name="connsiteY827" fmla="*/ 31115 h 138429"/>
                <a:gd name="connsiteX828" fmla="*/ 2279646 w 4940931"/>
                <a:gd name="connsiteY828" fmla="*/ 38735 h 138429"/>
                <a:gd name="connsiteX829" fmla="*/ 2282821 w 4940931"/>
                <a:gd name="connsiteY829" fmla="*/ 34925 h 138429"/>
                <a:gd name="connsiteX830" fmla="*/ 2287266 w 4940931"/>
                <a:gd name="connsiteY830" fmla="*/ 31750 h 138429"/>
                <a:gd name="connsiteX831" fmla="*/ 2292346 w 4940931"/>
                <a:gd name="connsiteY831" fmla="*/ 29845 h 138429"/>
                <a:gd name="connsiteX832" fmla="*/ 2298061 w 4940931"/>
                <a:gd name="connsiteY832" fmla="*/ 29210 h 138429"/>
                <a:gd name="connsiteX833" fmla="*/ 2216145 w 4940931"/>
                <a:gd name="connsiteY833" fmla="*/ 29210 h 138429"/>
                <a:gd name="connsiteX834" fmla="*/ 2230750 w 4940931"/>
                <a:gd name="connsiteY834" fmla="*/ 32385 h 138429"/>
                <a:gd name="connsiteX835" fmla="*/ 2240910 w 4940931"/>
                <a:gd name="connsiteY835" fmla="*/ 40640 h 138429"/>
                <a:gd name="connsiteX836" fmla="*/ 2247260 w 4940931"/>
                <a:gd name="connsiteY836" fmla="*/ 53340 h 138429"/>
                <a:gd name="connsiteX837" fmla="*/ 2249165 w 4940931"/>
                <a:gd name="connsiteY837" fmla="*/ 68580 h 138429"/>
                <a:gd name="connsiteX838" fmla="*/ 2247895 w 4940931"/>
                <a:gd name="connsiteY838" fmla="*/ 68580 h 138429"/>
                <a:gd name="connsiteX839" fmla="*/ 2247895 w 4940931"/>
                <a:gd name="connsiteY839" fmla="*/ 72390 h 138429"/>
                <a:gd name="connsiteX840" fmla="*/ 2247895 w 4940931"/>
                <a:gd name="connsiteY840" fmla="*/ 75565 h 138429"/>
                <a:gd name="connsiteX841" fmla="*/ 2196460 w 4940931"/>
                <a:gd name="connsiteY841" fmla="*/ 75565 h 138429"/>
                <a:gd name="connsiteX842" fmla="*/ 2199000 w 4940931"/>
                <a:gd name="connsiteY842" fmla="*/ 85090 h 138429"/>
                <a:gd name="connsiteX843" fmla="*/ 2203445 w 4940931"/>
                <a:gd name="connsiteY843" fmla="*/ 91440 h 138429"/>
                <a:gd name="connsiteX844" fmla="*/ 2209160 w 4940931"/>
                <a:gd name="connsiteY844" fmla="*/ 95250 h 138429"/>
                <a:gd name="connsiteX845" fmla="*/ 2216145 w 4940931"/>
                <a:gd name="connsiteY845" fmla="*/ 96520 h 138429"/>
                <a:gd name="connsiteX846" fmla="*/ 2221225 w 4940931"/>
                <a:gd name="connsiteY846" fmla="*/ 96520 h 138429"/>
                <a:gd name="connsiteX847" fmla="*/ 2225670 w 4940931"/>
                <a:gd name="connsiteY847" fmla="*/ 95250 h 138429"/>
                <a:gd name="connsiteX848" fmla="*/ 2229480 w 4940931"/>
                <a:gd name="connsiteY848" fmla="*/ 93345 h 138429"/>
                <a:gd name="connsiteX849" fmla="*/ 2233925 w 4940931"/>
                <a:gd name="connsiteY849" fmla="*/ 90805 h 138429"/>
                <a:gd name="connsiteX850" fmla="*/ 2242815 w 4940931"/>
                <a:gd name="connsiteY850" fmla="*/ 100330 h 138429"/>
                <a:gd name="connsiteX851" fmla="*/ 2237100 w 4940931"/>
                <a:gd name="connsiteY851" fmla="*/ 104775 h 138429"/>
                <a:gd name="connsiteX852" fmla="*/ 2231385 w 4940931"/>
                <a:gd name="connsiteY852" fmla="*/ 107950 h 138429"/>
                <a:gd name="connsiteX853" fmla="*/ 2224400 w 4940931"/>
                <a:gd name="connsiteY853" fmla="*/ 109855 h 138429"/>
                <a:gd name="connsiteX854" fmla="*/ 2215510 w 4940931"/>
                <a:gd name="connsiteY854" fmla="*/ 110490 h 138429"/>
                <a:gd name="connsiteX855" fmla="*/ 2205985 w 4940931"/>
                <a:gd name="connsiteY855" fmla="*/ 109220 h 138429"/>
                <a:gd name="connsiteX856" fmla="*/ 2198365 w 4940931"/>
                <a:gd name="connsiteY856" fmla="*/ 105410 h 138429"/>
                <a:gd name="connsiteX857" fmla="*/ 2192015 w 4940931"/>
                <a:gd name="connsiteY857" fmla="*/ 100330 h 138429"/>
                <a:gd name="connsiteX858" fmla="*/ 2186935 w 4940931"/>
                <a:gd name="connsiteY858" fmla="*/ 92710 h 138429"/>
                <a:gd name="connsiteX859" fmla="*/ 2183125 w 4940931"/>
                <a:gd name="connsiteY859" fmla="*/ 82550 h 138429"/>
                <a:gd name="connsiteX860" fmla="*/ 2181855 w 4940931"/>
                <a:gd name="connsiteY860" fmla="*/ 69850 h 138429"/>
                <a:gd name="connsiteX861" fmla="*/ 2184395 w 4940931"/>
                <a:gd name="connsiteY861" fmla="*/ 52070 h 138429"/>
                <a:gd name="connsiteX862" fmla="*/ 2191380 w 4940931"/>
                <a:gd name="connsiteY862" fmla="*/ 39370 h 138429"/>
                <a:gd name="connsiteX863" fmla="*/ 2202175 w 4940931"/>
                <a:gd name="connsiteY863" fmla="*/ 31750 h 138429"/>
                <a:gd name="connsiteX864" fmla="*/ 2216145 w 4940931"/>
                <a:gd name="connsiteY864" fmla="*/ 29210 h 138429"/>
                <a:gd name="connsiteX865" fmla="*/ 2029456 w 4940931"/>
                <a:gd name="connsiteY865" fmla="*/ 29210 h 138429"/>
                <a:gd name="connsiteX866" fmla="*/ 2044061 w 4940931"/>
                <a:gd name="connsiteY866" fmla="*/ 32385 h 138429"/>
                <a:gd name="connsiteX867" fmla="*/ 2054221 w 4940931"/>
                <a:gd name="connsiteY867" fmla="*/ 40640 h 138429"/>
                <a:gd name="connsiteX868" fmla="*/ 2060571 w 4940931"/>
                <a:gd name="connsiteY868" fmla="*/ 53340 h 138429"/>
                <a:gd name="connsiteX869" fmla="*/ 2062476 w 4940931"/>
                <a:gd name="connsiteY869" fmla="*/ 68580 h 138429"/>
                <a:gd name="connsiteX870" fmla="*/ 2061206 w 4940931"/>
                <a:gd name="connsiteY870" fmla="*/ 68580 h 138429"/>
                <a:gd name="connsiteX871" fmla="*/ 2061206 w 4940931"/>
                <a:gd name="connsiteY871" fmla="*/ 72390 h 138429"/>
                <a:gd name="connsiteX872" fmla="*/ 2061206 w 4940931"/>
                <a:gd name="connsiteY872" fmla="*/ 75565 h 138429"/>
                <a:gd name="connsiteX873" fmla="*/ 2009771 w 4940931"/>
                <a:gd name="connsiteY873" fmla="*/ 75565 h 138429"/>
                <a:gd name="connsiteX874" fmla="*/ 2012311 w 4940931"/>
                <a:gd name="connsiteY874" fmla="*/ 85090 h 138429"/>
                <a:gd name="connsiteX875" fmla="*/ 2016756 w 4940931"/>
                <a:gd name="connsiteY875" fmla="*/ 91440 h 138429"/>
                <a:gd name="connsiteX876" fmla="*/ 2022471 w 4940931"/>
                <a:gd name="connsiteY876" fmla="*/ 95250 h 138429"/>
                <a:gd name="connsiteX877" fmla="*/ 2029456 w 4940931"/>
                <a:gd name="connsiteY877" fmla="*/ 96520 h 138429"/>
                <a:gd name="connsiteX878" fmla="*/ 2034536 w 4940931"/>
                <a:gd name="connsiteY878" fmla="*/ 96520 h 138429"/>
                <a:gd name="connsiteX879" fmla="*/ 2038981 w 4940931"/>
                <a:gd name="connsiteY879" fmla="*/ 95250 h 138429"/>
                <a:gd name="connsiteX880" fmla="*/ 2042791 w 4940931"/>
                <a:gd name="connsiteY880" fmla="*/ 93345 h 138429"/>
                <a:gd name="connsiteX881" fmla="*/ 2047236 w 4940931"/>
                <a:gd name="connsiteY881" fmla="*/ 90805 h 138429"/>
                <a:gd name="connsiteX882" fmla="*/ 2056126 w 4940931"/>
                <a:gd name="connsiteY882" fmla="*/ 100330 h 138429"/>
                <a:gd name="connsiteX883" fmla="*/ 2050411 w 4940931"/>
                <a:gd name="connsiteY883" fmla="*/ 104775 h 138429"/>
                <a:gd name="connsiteX884" fmla="*/ 2044696 w 4940931"/>
                <a:gd name="connsiteY884" fmla="*/ 107950 h 138429"/>
                <a:gd name="connsiteX885" fmla="*/ 2037711 w 4940931"/>
                <a:gd name="connsiteY885" fmla="*/ 109855 h 138429"/>
                <a:gd name="connsiteX886" fmla="*/ 2028821 w 4940931"/>
                <a:gd name="connsiteY886" fmla="*/ 110490 h 138429"/>
                <a:gd name="connsiteX887" fmla="*/ 2019296 w 4940931"/>
                <a:gd name="connsiteY887" fmla="*/ 109220 h 138429"/>
                <a:gd name="connsiteX888" fmla="*/ 2011676 w 4940931"/>
                <a:gd name="connsiteY888" fmla="*/ 105410 h 138429"/>
                <a:gd name="connsiteX889" fmla="*/ 2005326 w 4940931"/>
                <a:gd name="connsiteY889" fmla="*/ 100330 h 138429"/>
                <a:gd name="connsiteX890" fmla="*/ 2000246 w 4940931"/>
                <a:gd name="connsiteY890" fmla="*/ 92710 h 138429"/>
                <a:gd name="connsiteX891" fmla="*/ 1996436 w 4940931"/>
                <a:gd name="connsiteY891" fmla="*/ 82550 h 138429"/>
                <a:gd name="connsiteX892" fmla="*/ 1995166 w 4940931"/>
                <a:gd name="connsiteY892" fmla="*/ 69850 h 138429"/>
                <a:gd name="connsiteX893" fmla="*/ 1997706 w 4940931"/>
                <a:gd name="connsiteY893" fmla="*/ 52070 h 138429"/>
                <a:gd name="connsiteX894" fmla="*/ 2004691 w 4940931"/>
                <a:gd name="connsiteY894" fmla="*/ 39370 h 138429"/>
                <a:gd name="connsiteX895" fmla="*/ 2015486 w 4940931"/>
                <a:gd name="connsiteY895" fmla="*/ 31750 h 138429"/>
                <a:gd name="connsiteX896" fmla="*/ 2029456 w 4940931"/>
                <a:gd name="connsiteY896" fmla="*/ 29210 h 138429"/>
                <a:gd name="connsiteX897" fmla="*/ 1831336 w 4940931"/>
                <a:gd name="connsiteY897" fmla="*/ 29210 h 138429"/>
                <a:gd name="connsiteX898" fmla="*/ 1845941 w 4940931"/>
                <a:gd name="connsiteY898" fmla="*/ 32385 h 138429"/>
                <a:gd name="connsiteX899" fmla="*/ 1856101 w 4940931"/>
                <a:gd name="connsiteY899" fmla="*/ 40640 h 138429"/>
                <a:gd name="connsiteX900" fmla="*/ 1862451 w 4940931"/>
                <a:gd name="connsiteY900" fmla="*/ 53340 h 138429"/>
                <a:gd name="connsiteX901" fmla="*/ 1864356 w 4940931"/>
                <a:gd name="connsiteY901" fmla="*/ 68580 h 138429"/>
                <a:gd name="connsiteX902" fmla="*/ 1863086 w 4940931"/>
                <a:gd name="connsiteY902" fmla="*/ 68580 h 138429"/>
                <a:gd name="connsiteX903" fmla="*/ 1863086 w 4940931"/>
                <a:gd name="connsiteY903" fmla="*/ 72390 h 138429"/>
                <a:gd name="connsiteX904" fmla="*/ 1863086 w 4940931"/>
                <a:gd name="connsiteY904" fmla="*/ 75565 h 138429"/>
                <a:gd name="connsiteX905" fmla="*/ 1811651 w 4940931"/>
                <a:gd name="connsiteY905" fmla="*/ 75565 h 138429"/>
                <a:gd name="connsiteX906" fmla="*/ 1814191 w 4940931"/>
                <a:gd name="connsiteY906" fmla="*/ 85090 h 138429"/>
                <a:gd name="connsiteX907" fmla="*/ 1818636 w 4940931"/>
                <a:gd name="connsiteY907" fmla="*/ 91440 h 138429"/>
                <a:gd name="connsiteX908" fmla="*/ 1824351 w 4940931"/>
                <a:gd name="connsiteY908" fmla="*/ 95250 h 138429"/>
                <a:gd name="connsiteX909" fmla="*/ 1831336 w 4940931"/>
                <a:gd name="connsiteY909" fmla="*/ 96520 h 138429"/>
                <a:gd name="connsiteX910" fmla="*/ 1836416 w 4940931"/>
                <a:gd name="connsiteY910" fmla="*/ 96520 h 138429"/>
                <a:gd name="connsiteX911" fmla="*/ 1840861 w 4940931"/>
                <a:gd name="connsiteY911" fmla="*/ 95250 h 138429"/>
                <a:gd name="connsiteX912" fmla="*/ 1844671 w 4940931"/>
                <a:gd name="connsiteY912" fmla="*/ 93345 h 138429"/>
                <a:gd name="connsiteX913" fmla="*/ 1849116 w 4940931"/>
                <a:gd name="connsiteY913" fmla="*/ 90805 h 138429"/>
                <a:gd name="connsiteX914" fmla="*/ 1858006 w 4940931"/>
                <a:gd name="connsiteY914" fmla="*/ 100330 h 138429"/>
                <a:gd name="connsiteX915" fmla="*/ 1852291 w 4940931"/>
                <a:gd name="connsiteY915" fmla="*/ 104775 h 138429"/>
                <a:gd name="connsiteX916" fmla="*/ 1846576 w 4940931"/>
                <a:gd name="connsiteY916" fmla="*/ 107950 h 138429"/>
                <a:gd name="connsiteX917" fmla="*/ 1839591 w 4940931"/>
                <a:gd name="connsiteY917" fmla="*/ 109855 h 138429"/>
                <a:gd name="connsiteX918" fmla="*/ 1830701 w 4940931"/>
                <a:gd name="connsiteY918" fmla="*/ 110490 h 138429"/>
                <a:gd name="connsiteX919" fmla="*/ 1821176 w 4940931"/>
                <a:gd name="connsiteY919" fmla="*/ 109220 h 138429"/>
                <a:gd name="connsiteX920" fmla="*/ 1813556 w 4940931"/>
                <a:gd name="connsiteY920" fmla="*/ 105410 h 138429"/>
                <a:gd name="connsiteX921" fmla="*/ 1807206 w 4940931"/>
                <a:gd name="connsiteY921" fmla="*/ 100330 h 138429"/>
                <a:gd name="connsiteX922" fmla="*/ 1802126 w 4940931"/>
                <a:gd name="connsiteY922" fmla="*/ 92710 h 138429"/>
                <a:gd name="connsiteX923" fmla="*/ 1798316 w 4940931"/>
                <a:gd name="connsiteY923" fmla="*/ 82550 h 138429"/>
                <a:gd name="connsiteX924" fmla="*/ 1797046 w 4940931"/>
                <a:gd name="connsiteY924" fmla="*/ 69850 h 138429"/>
                <a:gd name="connsiteX925" fmla="*/ 1799586 w 4940931"/>
                <a:gd name="connsiteY925" fmla="*/ 52070 h 138429"/>
                <a:gd name="connsiteX926" fmla="*/ 1806571 w 4940931"/>
                <a:gd name="connsiteY926" fmla="*/ 39370 h 138429"/>
                <a:gd name="connsiteX927" fmla="*/ 1817366 w 4940931"/>
                <a:gd name="connsiteY927" fmla="*/ 31750 h 138429"/>
                <a:gd name="connsiteX928" fmla="*/ 1831336 w 4940931"/>
                <a:gd name="connsiteY928" fmla="*/ 29210 h 138429"/>
                <a:gd name="connsiteX929" fmla="*/ 1501140 w 4940931"/>
                <a:gd name="connsiteY929" fmla="*/ 29210 h 138429"/>
                <a:gd name="connsiteX930" fmla="*/ 1506856 w 4940931"/>
                <a:gd name="connsiteY930" fmla="*/ 29210 h 138429"/>
                <a:gd name="connsiteX931" fmla="*/ 1518920 w 4940931"/>
                <a:gd name="connsiteY931" fmla="*/ 31750 h 138429"/>
                <a:gd name="connsiteX932" fmla="*/ 1527811 w 4940931"/>
                <a:gd name="connsiteY932" fmla="*/ 38100 h 138429"/>
                <a:gd name="connsiteX933" fmla="*/ 1532891 w 4940931"/>
                <a:gd name="connsiteY933" fmla="*/ 48895 h 138429"/>
                <a:gd name="connsiteX934" fmla="*/ 1534796 w 4940931"/>
                <a:gd name="connsiteY934" fmla="*/ 64135 h 138429"/>
                <a:gd name="connsiteX935" fmla="*/ 1534796 w 4940931"/>
                <a:gd name="connsiteY935" fmla="*/ 108585 h 138429"/>
                <a:gd name="connsiteX936" fmla="*/ 1519556 w 4940931"/>
                <a:gd name="connsiteY936" fmla="*/ 108585 h 138429"/>
                <a:gd name="connsiteX937" fmla="*/ 1518920 w 4940931"/>
                <a:gd name="connsiteY937" fmla="*/ 108585 h 138429"/>
                <a:gd name="connsiteX938" fmla="*/ 1518920 w 4940931"/>
                <a:gd name="connsiteY938" fmla="*/ 64770 h 138429"/>
                <a:gd name="connsiteX939" fmla="*/ 1515111 w 4940931"/>
                <a:gd name="connsiteY939" fmla="*/ 48895 h 138429"/>
                <a:gd name="connsiteX940" fmla="*/ 1503046 w 4940931"/>
                <a:gd name="connsiteY940" fmla="*/ 43180 h 138429"/>
                <a:gd name="connsiteX941" fmla="*/ 1496061 w 4940931"/>
                <a:gd name="connsiteY941" fmla="*/ 44450 h 138429"/>
                <a:gd name="connsiteX942" fmla="*/ 1490981 w 4940931"/>
                <a:gd name="connsiteY942" fmla="*/ 48260 h 138429"/>
                <a:gd name="connsiteX943" fmla="*/ 1487806 w 4940931"/>
                <a:gd name="connsiteY943" fmla="*/ 54610 h 138429"/>
                <a:gd name="connsiteX944" fmla="*/ 1487170 w 4940931"/>
                <a:gd name="connsiteY944" fmla="*/ 62865 h 138429"/>
                <a:gd name="connsiteX945" fmla="*/ 1487170 w 4940931"/>
                <a:gd name="connsiteY945" fmla="*/ 108585 h 138429"/>
                <a:gd name="connsiteX946" fmla="*/ 1471931 w 4940931"/>
                <a:gd name="connsiteY946" fmla="*/ 108585 h 138429"/>
                <a:gd name="connsiteX947" fmla="*/ 1471931 w 4940931"/>
                <a:gd name="connsiteY947" fmla="*/ 30480 h 138429"/>
                <a:gd name="connsiteX948" fmla="*/ 1487170 w 4940931"/>
                <a:gd name="connsiteY948" fmla="*/ 30480 h 138429"/>
                <a:gd name="connsiteX949" fmla="*/ 1487170 w 4940931"/>
                <a:gd name="connsiteY949" fmla="*/ 38100 h 138429"/>
                <a:gd name="connsiteX950" fmla="*/ 1490981 w 4940931"/>
                <a:gd name="connsiteY950" fmla="*/ 34290 h 138429"/>
                <a:gd name="connsiteX951" fmla="*/ 1495426 w 4940931"/>
                <a:gd name="connsiteY951" fmla="*/ 31115 h 138429"/>
                <a:gd name="connsiteX952" fmla="*/ 1501140 w 4940931"/>
                <a:gd name="connsiteY952" fmla="*/ 29210 h 138429"/>
                <a:gd name="connsiteX953" fmla="*/ 1250316 w 4940931"/>
                <a:gd name="connsiteY953" fmla="*/ 29210 h 138429"/>
                <a:gd name="connsiteX954" fmla="*/ 1264286 w 4940931"/>
                <a:gd name="connsiteY954" fmla="*/ 31750 h 138429"/>
                <a:gd name="connsiteX955" fmla="*/ 1276350 w 4940931"/>
                <a:gd name="connsiteY955" fmla="*/ 38100 h 138429"/>
                <a:gd name="connsiteX956" fmla="*/ 1278256 w 4940931"/>
                <a:gd name="connsiteY956" fmla="*/ 38100 h 138429"/>
                <a:gd name="connsiteX957" fmla="*/ 1271271 w 4940931"/>
                <a:gd name="connsiteY957" fmla="*/ 50165 h 138429"/>
                <a:gd name="connsiteX958" fmla="*/ 1261746 w 4940931"/>
                <a:gd name="connsiteY958" fmla="*/ 45085 h 138429"/>
                <a:gd name="connsiteX959" fmla="*/ 1250951 w 4940931"/>
                <a:gd name="connsiteY959" fmla="*/ 43180 h 138429"/>
                <a:gd name="connsiteX960" fmla="*/ 1242696 w 4940931"/>
                <a:gd name="connsiteY960" fmla="*/ 45085 h 138429"/>
                <a:gd name="connsiteX961" fmla="*/ 1240156 w 4940931"/>
                <a:gd name="connsiteY961" fmla="*/ 50165 h 138429"/>
                <a:gd name="connsiteX962" fmla="*/ 1240156 w 4940931"/>
                <a:gd name="connsiteY962" fmla="*/ 52705 h 138429"/>
                <a:gd name="connsiteX963" fmla="*/ 1242061 w 4940931"/>
                <a:gd name="connsiteY963" fmla="*/ 55245 h 138429"/>
                <a:gd name="connsiteX964" fmla="*/ 1246506 w 4940931"/>
                <a:gd name="connsiteY964" fmla="*/ 57785 h 138429"/>
                <a:gd name="connsiteX965" fmla="*/ 1253491 w 4940931"/>
                <a:gd name="connsiteY965" fmla="*/ 60960 h 138429"/>
                <a:gd name="connsiteX966" fmla="*/ 1264921 w 4940931"/>
                <a:gd name="connsiteY966" fmla="*/ 66040 h 138429"/>
                <a:gd name="connsiteX967" fmla="*/ 1273176 w 4940931"/>
                <a:gd name="connsiteY967" fmla="*/ 71120 h 138429"/>
                <a:gd name="connsiteX968" fmla="*/ 1278256 w 4940931"/>
                <a:gd name="connsiteY968" fmla="*/ 78105 h 138429"/>
                <a:gd name="connsiteX969" fmla="*/ 1280161 w 4940931"/>
                <a:gd name="connsiteY969" fmla="*/ 87630 h 138429"/>
                <a:gd name="connsiteX970" fmla="*/ 1277621 w 4940931"/>
                <a:gd name="connsiteY970" fmla="*/ 98425 h 138429"/>
                <a:gd name="connsiteX971" fmla="*/ 1271271 w 4940931"/>
                <a:gd name="connsiteY971" fmla="*/ 105410 h 138429"/>
                <a:gd name="connsiteX972" fmla="*/ 1261746 w 4940931"/>
                <a:gd name="connsiteY972" fmla="*/ 109220 h 138429"/>
                <a:gd name="connsiteX973" fmla="*/ 1250951 w 4940931"/>
                <a:gd name="connsiteY973" fmla="*/ 110490 h 138429"/>
                <a:gd name="connsiteX974" fmla="*/ 1235711 w 4940931"/>
                <a:gd name="connsiteY974" fmla="*/ 107950 h 138429"/>
                <a:gd name="connsiteX975" fmla="*/ 1221106 w 4940931"/>
                <a:gd name="connsiteY975" fmla="*/ 100965 h 138429"/>
                <a:gd name="connsiteX976" fmla="*/ 1228091 w 4940931"/>
                <a:gd name="connsiteY976" fmla="*/ 89535 h 138429"/>
                <a:gd name="connsiteX977" fmla="*/ 1239521 w 4940931"/>
                <a:gd name="connsiteY977" fmla="*/ 95250 h 138429"/>
                <a:gd name="connsiteX978" fmla="*/ 1250951 w 4940931"/>
                <a:gd name="connsiteY978" fmla="*/ 97155 h 138429"/>
                <a:gd name="connsiteX979" fmla="*/ 1261746 w 4940931"/>
                <a:gd name="connsiteY979" fmla="*/ 94615 h 138429"/>
                <a:gd name="connsiteX980" fmla="*/ 1264921 w 4940931"/>
                <a:gd name="connsiteY980" fmla="*/ 88265 h 138429"/>
                <a:gd name="connsiteX981" fmla="*/ 1263650 w 4940931"/>
                <a:gd name="connsiteY981" fmla="*/ 84455 h 138429"/>
                <a:gd name="connsiteX982" fmla="*/ 1259841 w 4940931"/>
                <a:gd name="connsiteY982" fmla="*/ 81280 h 138429"/>
                <a:gd name="connsiteX983" fmla="*/ 1254125 w 4940931"/>
                <a:gd name="connsiteY983" fmla="*/ 78105 h 138429"/>
                <a:gd name="connsiteX984" fmla="*/ 1246506 w 4940931"/>
                <a:gd name="connsiteY984" fmla="*/ 74930 h 138429"/>
                <a:gd name="connsiteX985" fmla="*/ 1235711 w 4940931"/>
                <a:gd name="connsiteY985" fmla="*/ 69850 h 138429"/>
                <a:gd name="connsiteX986" fmla="*/ 1228726 w 4940931"/>
                <a:gd name="connsiteY986" fmla="*/ 64770 h 138429"/>
                <a:gd name="connsiteX987" fmla="*/ 1224916 w 4940931"/>
                <a:gd name="connsiteY987" fmla="*/ 58420 h 138429"/>
                <a:gd name="connsiteX988" fmla="*/ 1223646 w 4940931"/>
                <a:gd name="connsiteY988" fmla="*/ 50165 h 138429"/>
                <a:gd name="connsiteX989" fmla="*/ 1225551 w 4940931"/>
                <a:gd name="connsiteY989" fmla="*/ 40640 h 138429"/>
                <a:gd name="connsiteX990" fmla="*/ 1231266 w 4940931"/>
                <a:gd name="connsiteY990" fmla="*/ 34290 h 138429"/>
                <a:gd name="connsiteX991" fmla="*/ 1239521 w 4940931"/>
                <a:gd name="connsiteY991" fmla="*/ 30480 h 138429"/>
                <a:gd name="connsiteX992" fmla="*/ 1250316 w 4940931"/>
                <a:gd name="connsiteY992" fmla="*/ 29210 h 138429"/>
                <a:gd name="connsiteX993" fmla="*/ 1180466 w 4940931"/>
                <a:gd name="connsiteY993" fmla="*/ 29210 h 138429"/>
                <a:gd name="connsiteX994" fmla="*/ 1195071 w 4940931"/>
                <a:gd name="connsiteY994" fmla="*/ 32385 h 138429"/>
                <a:gd name="connsiteX995" fmla="*/ 1205231 w 4940931"/>
                <a:gd name="connsiteY995" fmla="*/ 40640 h 138429"/>
                <a:gd name="connsiteX996" fmla="*/ 1211581 w 4940931"/>
                <a:gd name="connsiteY996" fmla="*/ 53340 h 138429"/>
                <a:gd name="connsiteX997" fmla="*/ 1213486 w 4940931"/>
                <a:gd name="connsiteY997" fmla="*/ 68580 h 138429"/>
                <a:gd name="connsiteX998" fmla="*/ 1212216 w 4940931"/>
                <a:gd name="connsiteY998" fmla="*/ 68580 h 138429"/>
                <a:gd name="connsiteX999" fmla="*/ 1212216 w 4940931"/>
                <a:gd name="connsiteY999" fmla="*/ 72390 h 138429"/>
                <a:gd name="connsiteX1000" fmla="*/ 1212216 w 4940931"/>
                <a:gd name="connsiteY1000" fmla="*/ 75565 h 138429"/>
                <a:gd name="connsiteX1001" fmla="*/ 1160781 w 4940931"/>
                <a:gd name="connsiteY1001" fmla="*/ 75565 h 138429"/>
                <a:gd name="connsiteX1002" fmla="*/ 1163321 w 4940931"/>
                <a:gd name="connsiteY1002" fmla="*/ 85090 h 138429"/>
                <a:gd name="connsiteX1003" fmla="*/ 1167766 w 4940931"/>
                <a:gd name="connsiteY1003" fmla="*/ 91440 h 138429"/>
                <a:gd name="connsiteX1004" fmla="*/ 1173481 w 4940931"/>
                <a:gd name="connsiteY1004" fmla="*/ 95250 h 138429"/>
                <a:gd name="connsiteX1005" fmla="*/ 1180466 w 4940931"/>
                <a:gd name="connsiteY1005" fmla="*/ 96520 h 138429"/>
                <a:gd name="connsiteX1006" fmla="*/ 1185546 w 4940931"/>
                <a:gd name="connsiteY1006" fmla="*/ 96520 h 138429"/>
                <a:gd name="connsiteX1007" fmla="*/ 1189991 w 4940931"/>
                <a:gd name="connsiteY1007" fmla="*/ 95250 h 138429"/>
                <a:gd name="connsiteX1008" fmla="*/ 1193801 w 4940931"/>
                <a:gd name="connsiteY1008" fmla="*/ 93345 h 138429"/>
                <a:gd name="connsiteX1009" fmla="*/ 1198246 w 4940931"/>
                <a:gd name="connsiteY1009" fmla="*/ 90805 h 138429"/>
                <a:gd name="connsiteX1010" fmla="*/ 1207136 w 4940931"/>
                <a:gd name="connsiteY1010" fmla="*/ 100330 h 138429"/>
                <a:gd name="connsiteX1011" fmla="*/ 1201421 w 4940931"/>
                <a:gd name="connsiteY1011" fmla="*/ 104775 h 138429"/>
                <a:gd name="connsiteX1012" fmla="*/ 1195706 w 4940931"/>
                <a:gd name="connsiteY1012" fmla="*/ 107950 h 138429"/>
                <a:gd name="connsiteX1013" fmla="*/ 1188721 w 4940931"/>
                <a:gd name="connsiteY1013" fmla="*/ 109855 h 138429"/>
                <a:gd name="connsiteX1014" fmla="*/ 1179831 w 4940931"/>
                <a:gd name="connsiteY1014" fmla="*/ 110490 h 138429"/>
                <a:gd name="connsiteX1015" fmla="*/ 1170306 w 4940931"/>
                <a:gd name="connsiteY1015" fmla="*/ 109220 h 138429"/>
                <a:gd name="connsiteX1016" fmla="*/ 1162686 w 4940931"/>
                <a:gd name="connsiteY1016" fmla="*/ 105410 h 138429"/>
                <a:gd name="connsiteX1017" fmla="*/ 1156336 w 4940931"/>
                <a:gd name="connsiteY1017" fmla="*/ 100330 h 138429"/>
                <a:gd name="connsiteX1018" fmla="*/ 1151256 w 4940931"/>
                <a:gd name="connsiteY1018" fmla="*/ 92710 h 138429"/>
                <a:gd name="connsiteX1019" fmla="*/ 1147446 w 4940931"/>
                <a:gd name="connsiteY1019" fmla="*/ 82550 h 138429"/>
                <a:gd name="connsiteX1020" fmla="*/ 1146176 w 4940931"/>
                <a:gd name="connsiteY1020" fmla="*/ 69850 h 138429"/>
                <a:gd name="connsiteX1021" fmla="*/ 1148716 w 4940931"/>
                <a:gd name="connsiteY1021" fmla="*/ 52070 h 138429"/>
                <a:gd name="connsiteX1022" fmla="*/ 1155701 w 4940931"/>
                <a:gd name="connsiteY1022" fmla="*/ 39370 h 138429"/>
                <a:gd name="connsiteX1023" fmla="*/ 1166496 w 4940931"/>
                <a:gd name="connsiteY1023" fmla="*/ 31750 h 138429"/>
                <a:gd name="connsiteX1024" fmla="*/ 1180466 w 4940931"/>
                <a:gd name="connsiteY1024" fmla="*/ 29210 h 138429"/>
                <a:gd name="connsiteX1025" fmla="*/ 901065 w 4940931"/>
                <a:gd name="connsiteY1025" fmla="*/ 29210 h 138429"/>
                <a:gd name="connsiteX1026" fmla="*/ 915670 w 4940931"/>
                <a:gd name="connsiteY1026" fmla="*/ 32385 h 138429"/>
                <a:gd name="connsiteX1027" fmla="*/ 925830 w 4940931"/>
                <a:gd name="connsiteY1027" fmla="*/ 40640 h 138429"/>
                <a:gd name="connsiteX1028" fmla="*/ 932180 w 4940931"/>
                <a:gd name="connsiteY1028" fmla="*/ 53340 h 138429"/>
                <a:gd name="connsiteX1029" fmla="*/ 934085 w 4940931"/>
                <a:gd name="connsiteY1029" fmla="*/ 68580 h 138429"/>
                <a:gd name="connsiteX1030" fmla="*/ 932815 w 4940931"/>
                <a:gd name="connsiteY1030" fmla="*/ 68580 h 138429"/>
                <a:gd name="connsiteX1031" fmla="*/ 932815 w 4940931"/>
                <a:gd name="connsiteY1031" fmla="*/ 72390 h 138429"/>
                <a:gd name="connsiteX1032" fmla="*/ 932815 w 4940931"/>
                <a:gd name="connsiteY1032" fmla="*/ 75565 h 138429"/>
                <a:gd name="connsiteX1033" fmla="*/ 881380 w 4940931"/>
                <a:gd name="connsiteY1033" fmla="*/ 75565 h 138429"/>
                <a:gd name="connsiteX1034" fmla="*/ 883920 w 4940931"/>
                <a:gd name="connsiteY1034" fmla="*/ 85090 h 138429"/>
                <a:gd name="connsiteX1035" fmla="*/ 888365 w 4940931"/>
                <a:gd name="connsiteY1035" fmla="*/ 91440 h 138429"/>
                <a:gd name="connsiteX1036" fmla="*/ 894080 w 4940931"/>
                <a:gd name="connsiteY1036" fmla="*/ 95250 h 138429"/>
                <a:gd name="connsiteX1037" fmla="*/ 901065 w 4940931"/>
                <a:gd name="connsiteY1037" fmla="*/ 96520 h 138429"/>
                <a:gd name="connsiteX1038" fmla="*/ 906145 w 4940931"/>
                <a:gd name="connsiteY1038" fmla="*/ 96520 h 138429"/>
                <a:gd name="connsiteX1039" fmla="*/ 910590 w 4940931"/>
                <a:gd name="connsiteY1039" fmla="*/ 95250 h 138429"/>
                <a:gd name="connsiteX1040" fmla="*/ 914400 w 4940931"/>
                <a:gd name="connsiteY1040" fmla="*/ 93345 h 138429"/>
                <a:gd name="connsiteX1041" fmla="*/ 918845 w 4940931"/>
                <a:gd name="connsiteY1041" fmla="*/ 90805 h 138429"/>
                <a:gd name="connsiteX1042" fmla="*/ 927735 w 4940931"/>
                <a:gd name="connsiteY1042" fmla="*/ 100330 h 138429"/>
                <a:gd name="connsiteX1043" fmla="*/ 922020 w 4940931"/>
                <a:gd name="connsiteY1043" fmla="*/ 104775 h 138429"/>
                <a:gd name="connsiteX1044" fmla="*/ 916305 w 4940931"/>
                <a:gd name="connsiteY1044" fmla="*/ 107950 h 138429"/>
                <a:gd name="connsiteX1045" fmla="*/ 909320 w 4940931"/>
                <a:gd name="connsiteY1045" fmla="*/ 109855 h 138429"/>
                <a:gd name="connsiteX1046" fmla="*/ 900430 w 4940931"/>
                <a:gd name="connsiteY1046" fmla="*/ 110490 h 138429"/>
                <a:gd name="connsiteX1047" fmla="*/ 890905 w 4940931"/>
                <a:gd name="connsiteY1047" fmla="*/ 109220 h 138429"/>
                <a:gd name="connsiteX1048" fmla="*/ 883285 w 4940931"/>
                <a:gd name="connsiteY1048" fmla="*/ 105410 h 138429"/>
                <a:gd name="connsiteX1049" fmla="*/ 876935 w 4940931"/>
                <a:gd name="connsiteY1049" fmla="*/ 100330 h 138429"/>
                <a:gd name="connsiteX1050" fmla="*/ 871855 w 4940931"/>
                <a:gd name="connsiteY1050" fmla="*/ 92710 h 138429"/>
                <a:gd name="connsiteX1051" fmla="*/ 868045 w 4940931"/>
                <a:gd name="connsiteY1051" fmla="*/ 82550 h 138429"/>
                <a:gd name="connsiteX1052" fmla="*/ 866775 w 4940931"/>
                <a:gd name="connsiteY1052" fmla="*/ 69850 h 138429"/>
                <a:gd name="connsiteX1053" fmla="*/ 869315 w 4940931"/>
                <a:gd name="connsiteY1053" fmla="*/ 52070 h 138429"/>
                <a:gd name="connsiteX1054" fmla="*/ 876300 w 4940931"/>
                <a:gd name="connsiteY1054" fmla="*/ 39370 h 138429"/>
                <a:gd name="connsiteX1055" fmla="*/ 887095 w 4940931"/>
                <a:gd name="connsiteY1055" fmla="*/ 31750 h 138429"/>
                <a:gd name="connsiteX1056" fmla="*/ 901065 w 4940931"/>
                <a:gd name="connsiteY1056" fmla="*/ 29210 h 138429"/>
                <a:gd name="connsiteX1057" fmla="*/ 668656 w 4940931"/>
                <a:gd name="connsiteY1057" fmla="*/ 29210 h 138429"/>
                <a:gd name="connsiteX1058" fmla="*/ 676275 w 4940931"/>
                <a:gd name="connsiteY1058" fmla="*/ 29845 h 138429"/>
                <a:gd name="connsiteX1059" fmla="*/ 681991 w 4940931"/>
                <a:gd name="connsiteY1059" fmla="*/ 32385 h 138429"/>
                <a:gd name="connsiteX1060" fmla="*/ 678181 w 4940931"/>
                <a:gd name="connsiteY1060" fmla="*/ 46990 h 138429"/>
                <a:gd name="connsiteX1061" fmla="*/ 676910 w 4940931"/>
                <a:gd name="connsiteY1061" fmla="*/ 46990 h 138429"/>
                <a:gd name="connsiteX1062" fmla="*/ 671830 w 4940931"/>
                <a:gd name="connsiteY1062" fmla="*/ 45085 h 138429"/>
                <a:gd name="connsiteX1063" fmla="*/ 665480 w 4940931"/>
                <a:gd name="connsiteY1063" fmla="*/ 44450 h 138429"/>
                <a:gd name="connsiteX1064" fmla="*/ 654050 w 4940931"/>
                <a:gd name="connsiteY1064" fmla="*/ 49530 h 138429"/>
                <a:gd name="connsiteX1065" fmla="*/ 650240 w 4940931"/>
                <a:gd name="connsiteY1065" fmla="*/ 64770 h 138429"/>
                <a:gd name="connsiteX1066" fmla="*/ 650240 w 4940931"/>
                <a:gd name="connsiteY1066" fmla="*/ 109220 h 138429"/>
                <a:gd name="connsiteX1067" fmla="*/ 635000 w 4940931"/>
                <a:gd name="connsiteY1067" fmla="*/ 109220 h 138429"/>
                <a:gd name="connsiteX1068" fmla="*/ 635000 w 4940931"/>
                <a:gd name="connsiteY1068" fmla="*/ 31115 h 138429"/>
                <a:gd name="connsiteX1069" fmla="*/ 650240 w 4940931"/>
                <a:gd name="connsiteY1069" fmla="*/ 31115 h 138429"/>
                <a:gd name="connsiteX1070" fmla="*/ 650240 w 4940931"/>
                <a:gd name="connsiteY1070" fmla="*/ 38735 h 138429"/>
                <a:gd name="connsiteX1071" fmla="*/ 653416 w 4940931"/>
                <a:gd name="connsiteY1071" fmla="*/ 34925 h 138429"/>
                <a:gd name="connsiteX1072" fmla="*/ 657861 w 4940931"/>
                <a:gd name="connsiteY1072" fmla="*/ 31750 h 138429"/>
                <a:gd name="connsiteX1073" fmla="*/ 662940 w 4940931"/>
                <a:gd name="connsiteY1073" fmla="*/ 29845 h 138429"/>
                <a:gd name="connsiteX1074" fmla="*/ 668656 w 4940931"/>
                <a:gd name="connsiteY1074" fmla="*/ 29210 h 138429"/>
                <a:gd name="connsiteX1075" fmla="*/ 586739 w 4940931"/>
                <a:gd name="connsiteY1075" fmla="*/ 29210 h 138429"/>
                <a:gd name="connsiteX1076" fmla="*/ 601344 w 4940931"/>
                <a:gd name="connsiteY1076" fmla="*/ 32385 h 138429"/>
                <a:gd name="connsiteX1077" fmla="*/ 611504 w 4940931"/>
                <a:gd name="connsiteY1077" fmla="*/ 40640 h 138429"/>
                <a:gd name="connsiteX1078" fmla="*/ 617854 w 4940931"/>
                <a:gd name="connsiteY1078" fmla="*/ 53340 h 138429"/>
                <a:gd name="connsiteX1079" fmla="*/ 619759 w 4940931"/>
                <a:gd name="connsiteY1079" fmla="*/ 68580 h 138429"/>
                <a:gd name="connsiteX1080" fmla="*/ 618489 w 4940931"/>
                <a:gd name="connsiteY1080" fmla="*/ 68580 h 138429"/>
                <a:gd name="connsiteX1081" fmla="*/ 618489 w 4940931"/>
                <a:gd name="connsiteY1081" fmla="*/ 72390 h 138429"/>
                <a:gd name="connsiteX1082" fmla="*/ 618489 w 4940931"/>
                <a:gd name="connsiteY1082" fmla="*/ 75565 h 138429"/>
                <a:gd name="connsiteX1083" fmla="*/ 567054 w 4940931"/>
                <a:gd name="connsiteY1083" fmla="*/ 75565 h 138429"/>
                <a:gd name="connsiteX1084" fmla="*/ 569594 w 4940931"/>
                <a:gd name="connsiteY1084" fmla="*/ 85090 h 138429"/>
                <a:gd name="connsiteX1085" fmla="*/ 574039 w 4940931"/>
                <a:gd name="connsiteY1085" fmla="*/ 91440 h 138429"/>
                <a:gd name="connsiteX1086" fmla="*/ 579754 w 4940931"/>
                <a:gd name="connsiteY1086" fmla="*/ 95250 h 138429"/>
                <a:gd name="connsiteX1087" fmla="*/ 586739 w 4940931"/>
                <a:gd name="connsiteY1087" fmla="*/ 96520 h 138429"/>
                <a:gd name="connsiteX1088" fmla="*/ 591819 w 4940931"/>
                <a:gd name="connsiteY1088" fmla="*/ 96520 h 138429"/>
                <a:gd name="connsiteX1089" fmla="*/ 596264 w 4940931"/>
                <a:gd name="connsiteY1089" fmla="*/ 95250 h 138429"/>
                <a:gd name="connsiteX1090" fmla="*/ 600074 w 4940931"/>
                <a:gd name="connsiteY1090" fmla="*/ 93345 h 138429"/>
                <a:gd name="connsiteX1091" fmla="*/ 604519 w 4940931"/>
                <a:gd name="connsiteY1091" fmla="*/ 90805 h 138429"/>
                <a:gd name="connsiteX1092" fmla="*/ 613409 w 4940931"/>
                <a:gd name="connsiteY1092" fmla="*/ 100330 h 138429"/>
                <a:gd name="connsiteX1093" fmla="*/ 607694 w 4940931"/>
                <a:gd name="connsiteY1093" fmla="*/ 104775 h 138429"/>
                <a:gd name="connsiteX1094" fmla="*/ 601979 w 4940931"/>
                <a:gd name="connsiteY1094" fmla="*/ 107950 h 138429"/>
                <a:gd name="connsiteX1095" fmla="*/ 594994 w 4940931"/>
                <a:gd name="connsiteY1095" fmla="*/ 109855 h 138429"/>
                <a:gd name="connsiteX1096" fmla="*/ 586104 w 4940931"/>
                <a:gd name="connsiteY1096" fmla="*/ 110490 h 138429"/>
                <a:gd name="connsiteX1097" fmla="*/ 576579 w 4940931"/>
                <a:gd name="connsiteY1097" fmla="*/ 109220 h 138429"/>
                <a:gd name="connsiteX1098" fmla="*/ 568959 w 4940931"/>
                <a:gd name="connsiteY1098" fmla="*/ 105410 h 138429"/>
                <a:gd name="connsiteX1099" fmla="*/ 562609 w 4940931"/>
                <a:gd name="connsiteY1099" fmla="*/ 100330 h 138429"/>
                <a:gd name="connsiteX1100" fmla="*/ 557529 w 4940931"/>
                <a:gd name="connsiteY1100" fmla="*/ 92710 h 138429"/>
                <a:gd name="connsiteX1101" fmla="*/ 553719 w 4940931"/>
                <a:gd name="connsiteY1101" fmla="*/ 82550 h 138429"/>
                <a:gd name="connsiteX1102" fmla="*/ 552449 w 4940931"/>
                <a:gd name="connsiteY1102" fmla="*/ 69850 h 138429"/>
                <a:gd name="connsiteX1103" fmla="*/ 554989 w 4940931"/>
                <a:gd name="connsiteY1103" fmla="*/ 52070 h 138429"/>
                <a:gd name="connsiteX1104" fmla="*/ 561974 w 4940931"/>
                <a:gd name="connsiteY1104" fmla="*/ 39370 h 138429"/>
                <a:gd name="connsiteX1105" fmla="*/ 572769 w 4940931"/>
                <a:gd name="connsiteY1105" fmla="*/ 31750 h 138429"/>
                <a:gd name="connsiteX1106" fmla="*/ 586739 w 4940931"/>
                <a:gd name="connsiteY1106" fmla="*/ 29210 h 138429"/>
                <a:gd name="connsiteX1107" fmla="*/ 400050 w 4940931"/>
                <a:gd name="connsiteY1107" fmla="*/ 29210 h 138429"/>
                <a:gd name="connsiteX1108" fmla="*/ 414655 w 4940931"/>
                <a:gd name="connsiteY1108" fmla="*/ 32385 h 138429"/>
                <a:gd name="connsiteX1109" fmla="*/ 424815 w 4940931"/>
                <a:gd name="connsiteY1109" fmla="*/ 40640 h 138429"/>
                <a:gd name="connsiteX1110" fmla="*/ 431165 w 4940931"/>
                <a:gd name="connsiteY1110" fmla="*/ 53340 h 138429"/>
                <a:gd name="connsiteX1111" fmla="*/ 433070 w 4940931"/>
                <a:gd name="connsiteY1111" fmla="*/ 68580 h 138429"/>
                <a:gd name="connsiteX1112" fmla="*/ 431800 w 4940931"/>
                <a:gd name="connsiteY1112" fmla="*/ 68580 h 138429"/>
                <a:gd name="connsiteX1113" fmla="*/ 431800 w 4940931"/>
                <a:gd name="connsiteY1113" fmla="*/ 72390 h 138429"/>
                <a:gd name="connsiteX1114" fmla="*/ 431800 w 4940931"/>
                <a:gd name="connsiteY1114" fmla="*/ 75565 h 138429"/>
                <a:gd name="connsiteX1115" fmla="*/ 380365 w 4940931"/>
                <a:gd name="connsiteY1115" fmla="*/ 75565 h 138429"/>
                <a:gd name="connsiteX1116" fmla="*/ 382905 w 4940931"/>
                <a:gd name="connsiteY1116" fmla="*/ 85090 h 138429"/>
                <a:gd name="connsiteX1117" fmla="*/ 387350 w 4940931"/>
                <a:gd name="connsiteY1117" fmla="*/ 91440 h 138429"/>
                <a:gd name="connsiteX1118" fmla="*/ 393065 w 4940931"/>
                <a:gd name="connsiteY1118" fmla="*/ 95250 h 138429"/>
                <a:gd name="connsiteX1119" fmla="*/ 400050 w 4940931"/>
                <a:gd name="connsiteY1119" fmla="*/ 96520 h 138429"/>
                <a:gd name="connsiteX1120" fmla="*/ 405130 w 4940931"/>
                <a:gd name="connsiteY1120" fmla="*/ 96520 h 138429"/>
                <a:gd name="connsiteX1121" fmla="*/ 409575 w 4940931"/>
                <a:gd name="connsiteY1121" fmla="*/ 95250 h 138429"/>
                <a:gd name="connsiteX1122" fmla="*/ 413385 w 4940931"/>
                <a:gd name="connsiteY1122" fmla="*/ 93345 h 138429"/>
                <a:gd name="connsiteX1123" fmla="*/ 417830 w 4940931"/>
                <a:gd name="connsiteY1123" fmla="*/ 90805 h 138429"/>
                <a:gd name="connsiteX1124" fmla="*/ 426720 w 4940931"/>
                <a:gd name="connsiteY1124" fmla="*/ 100330 h 138429"/>
                <a:gd name="connsiteX1125" fmla="*/ 421005 w 4940931"/>
                <a:gd name="connsiteY1125" fmla="*/ 104775 h 138429"/>
                <a:gd name="connsiteX1126" fmla="*/ 415290 w 4940931"/>
                <a:gd name="connsiteY1126" fmla="*/ 107950 h 138429"/>
                <a:gd name="connsiteX1127" fmla="*/ 408305 w 4940931"/>
                <a:gd name="connsiteY1127" fmla="*/ 109855 h 138429"/>
                <a:gd name="connsiteX1128" fmla="*/ 399415 w 4940931"/>
                <a:gd name="connsiteY1128" fmla="*/ 110490 h 138429"/>
                <a:gd name="connsiteX1129" fmla="*/ 389890 w 4940931"/>
                <a:gd name="connsiteY1129" fmla="*/ 109220 h 138429"/>
                <a:gd name="connsiteX1130" fmla="*/ 382270 w 4940931"/>
                <a:gd name="connsiteY1130" fmla="*/ 105410 h 138429"/>
                <a:gd name="connsiteX1131" fmla="*/ 375920 w 4940931"/>
                <a:gd name="connsiteY1131" fmla="*/ 100330 h 138429"/>
                <a:gd name="connsiteX1132" fmla="*/ 370840 w 4940931"/>
                <a:gd name="connsiteY1132" fmla="*/ 92710 h 138429"/>
                <a:gd name="connsiteX1133" fmla="*/ 367030 w 4940931"/>
                <a:gd name="connsiteY1133" fmla="*/ 82550 h 138429"/>
                <a:gd name="connsiteX1134" fmla="*/ 365760 w 4940931"/>
                <a:gd name="connsiteY1134" fmla="*/ 69850 h 138429"/>
                <a:gd name="connsiteX1135" fmla="*/ 368300 w 4940931"/>
                <a:gd name="connsiteY1135" fmla="*/ 52070 h 138429"/>
                <a:gd name="connsiteX1136" fmla="*/ 375285 w 4940931"/>
                <a:gd name="connsiteY1136" fmla="*/ 39370 h 138429"/>
                <a:gd name="connsiteX1137" fmla="*/ 386080 w 4940931"/>
                <a:gd name="connsiteY1137" fmla="*/ 31750 h 138429"/>
                <a:gd name="connsiteX1138" fmla="*/ 400050 w 4940931"/>
                <a:gd name="connsiteY1138" fmla="*/ 29210 h 138429"/>
                <a:gd name="connsiteX1139" fmla="*/ 201930 w 4940931"/>
                <a:gd name="connsiteY1139" fmla="*/ 29210 h 138429"/>
                <a:gd name="connsiteX1140" fmla="*/ 216535 w 4940931"/>
                <a:gd name="connsiteY1140" fmla="*/ 32385 h 138429"/>
                <a:gd name="connsiteX1141" fmla="*/ 226695 w 4940931"/>
                <a:gd name="connsiteY1141" fmla="*/ 40640 h 138429"/>
                <a:gd name="connsiteX1142" fmla="*/ 233045 w 4940931"/>
                <a:gd name="connsiteY1142" fmla="*/ 53340 h 138429"/>
                <a:gd name="connsiteX1143" fmla="*/ 234950 w 4940931"/>
                <a:gd name="connsiteY1143" fmla="*/ 68580 h 138429"/>
                <a:gd name="connsiteX1144" fmla="*/ 233680 w 4940931"/>
                <a:gd name="connsiteY1144" fmla="*/ 68580 h 138429"/>
                <a:gd name="connsiteX1145" fmla="*/ 233680 w 4940931"/>
                <a:gd name="connsiteY1145" fmla="*/ 72390 h 138429"/>
                <a:gd name="connsiteX1146" fmla="*/ 233680 w 4940931"/>
                <a:gd name="connsiteY1146" fmla="*/ 75565 h 138429"/>
                <a:gd name="connsiteX1147" fmla="*/ 182245 w 4940931"/>
                <a:gd name="connsiteY1147" fmla="*/ 75565 h 138429"/>
                <a:gd name="connsiteX1148" fmla="*/ 184785 w 4940931"/>
                <a:gd name="connsiteY1148" fmla="*/ 85090 h 138429"/>
                <a:gd name="connsiteX1149" fmla="*/ 189230 w 4940931"/>
                <a:gd name="connsiteY1149" fmla="*/ 91440 h 138429"/>
                <a:gd name="connsiteX1150" fmla="*/ 194945 w 4940931"/>
                <a:gd name="connsiteY1150" fmla="*/ 95250 h 138429"/>
                <a:gd name="connsiteX1151" fmla="*/ 201930 w 4940931"/>
                <a:gd name="connsiteY1151" fmla="*/ 96520 h 138429"/>
                <a:gd name="connsiteX1152" fmla="*/ 207010 w 4940931"/>
                <a:gd name="connsiteY1152" fmla="*/ 96520 h 138429"/>
                <a:gd name="connsiteX1153" fmla="*/ 211455 w 4940931"/>
                <a:gd name="connsiteY1153" fmla="*/ 95250 h 138429"/>
                <a:gd name="connsiteX1154" fmla="*/ 215265 w 4940931"/>
                <a:gd name="connsiteY1154" fmla="*/ 93345 h 138429"/>
                <a:gd name="connsiteX1155" fmla="*/ 219710 w 4940931"/>
                <a:gd name="connsiteY1155" fmla="*/ 90805 h 138429"/>
                <a:gd name="connsiteX1156" fmla="*/ 228600 w 4940931"/>
                <a:gd name="connsiteY1156" fmla="*/ 100330 h 138429"/>
                <a:gd name="connsiteX1157" fmla="*/ 222885 w 4940931"/>
                <a:gd name="connsiteY1157" fmla="*/ 104775 h 138429"/>
                <a:gd name="connsiteX1158" fmla="*/ 217170 w 4940931"/>
                <a:gd name="connsiteY1158" fmla="*/ 107950 h 138429"/>
                <a:gd name="connsiteX1159" fmla="*/ 210185 w 4940931"/>
                <a:gd name="connsiteY1159" fmla="*/ 109855 h 138429"/>
                <a:gd name="connsiteX1160" fmla="*/ 201295 w 4940931"/>
                <a:gd name="connsiteY1160" fmla="*/ 110490 h 138429"/>
                <a:gd name="connsiteX1161" fmla="*/ 191770 w 4940931"/>
                <a:gd name="connsiteY1161" fmla="*/ 109220 h 138429"/>
                <a:gd name="connsiteX1162" fmla="*/ 184150 w 4940931"/>
                <a:gd name="connsiteY1162" fmla="*/ 105410 h 138429"/>
                <a:gd name="connsiteX1163" fmla="*/ 177800 w 4940931"/>
                <a:gd name="connsiteY1163" fmla="*/ 100330 h 138429"/>
                <a:gd name="connsiteX1164" fmla="*/ 172720 w 4940931"/>
                <a:gd name="connsiteY1164" fmla="*/ 92710 h 138429"/>
                <a:gd name="connsiteX1165" fmla="*/ 168910 w 4940931"/>
                <a:gd name="connsiteY1165" fmla="*/ 82550 h 138429"/>
                <a:gd name="connsiteX1166" fmla="*/ 167640 w 4940931"/>
                <a:gd name="connsiteY1166" fmla="*/ 69850 h 138429"/>
                <a:gd name="connsiteX1167" fmla="*/ 170180 w 4940931"/>
                <a:gd name="connsiteY1167" fmla="*/ 52070 h 138429"/>
                <a:gd name="connsiteX1168" fmla="*/ 177165 w 4940931"/>
                <a:gd name="connsiteY1168" fmla="*/ 39370 h 138429"/>
                <a:gd name="connsiteX1169" fmla="*/ 187960 w 4940931"/>
                <a:gd name="connsiteY1169" fmla="*/ 31750 h 138429"/>
                <a:gd name="connsiteX1170" fmla="*/ 201930 w 4940931"/>
                <a:gd name="connsiteY1170" fmla="*/ 29210 h 138429"/>
                <a:gd name="connsiteX1171" fmla="*/ 4664706 w 4940931"/>
                <a:gd name="connsiteY1171" fmla="*/ 28574 h 138429"/>
                <a:gd name="connsiteX1172" fmla="*/ 4678676 w 4940931"/>
                <a:gd name="connsiteY1172" fmla="*/ 31749 h 138429"/>
                <a:gd name="connsiteX1173" fmla="*/ 4689471 w 4940931"/>
                <a:gd name="connsiteY1173" fmla="*/ 40004 h 138429"/>
                <a:gd name="connsiteX1174" fmla="*/ 4696456 w 4940931"/>
                <a:gd name="connsiteY1174" fmla="*/ 52704 h 138429"/>
                <a:gd name="connsiteX1175" fmla="*/ 4698996 w 4940931"/>
                <a:gd name="connsiteY1175" fmla="*/ 69214 h 138429"/>
                <a:gd name="connsiteX1176" fmla="*/ 4699631 w 4940931"/>
                <a:gd name="connsiteY1176" fmla="*/ 69214 h 138429"/>
                <a:gd name="connsiteX1177" fmla="*/ 4697091 w 4940931"/>
                <a:gd name="connsiteY1177" fmla="*/ 86359 h 138429"/>
                <a:gd name="connsiteX1178" fmla="*/ 4689471 w 4940931"/>
                <a:gd name="connsiteY1178" fmla="*/ 99059 h 138429"/>
                <a:gd name="connsiteX1179" fmla="*/ 4678041 w 4940931"/>
                <a:gd name="connsiteY1179" fmla="*/ 107314 h 138429"/>
                <a:gd name="connsiteX1180" fmla="*/ 4664071 w 4940931"/>
                <a:gd name="connsiteY1180" fmla="*/ 109854 h 138429"/>
                <a:gd name="connsiteX1181" fmla="*/ 4650101 w 4940931"/>
                <a:gd name="connsiteY1181" fmla="*/ 106679 h 138429"/>
                <a:gd name="connsiteX1182" fmla="*/ 4639306 w 4940931"/>
                <a:gd name="connsiteY1182" fmla="*/ 98424 h 138429"/>
                <a:gd name="connsiteX1183" fmla="*/ 4632321 w 4940931"/>
                <a:gd name="connsiteY1183" fmla="*/ 85724 h 138429"/>
                <a:gd name="connsiteX1184" fmla="*/ 4629781 w 4940931"/>
                <a:gd name="connsiteY1184" fmla="*/ 69214 h 138429"/>
                <a:gd name="connsiteX1185" fmla="*/ 4632321 w 4940931"/>
                <a:gd name="connsiteY1185" fmla="*/ 52069 h 138429"/>
                <a:gd name="connsiteX1186" fmla="*/ 4639941 w 4940931"/>
                <a:gd name="connsiteY1186" fmla="*/ 39369 h 138429"/>
                <a:gd name="connsiteX1187" fmla="*/ 4650736 w 4940931"/>
                <a:gd name="connsiteY1187" fmla="*/ 31114 h 138429"/>
                <a:gd name="connsiteX1188" fmla="*/ 4664706 w 4940931"/>
                <a:gd name="connsiteY1188" fmla="*/ 28574 h 138429"/>
                <a:gd name="connsiteX1189" fmla="*/ 4264655 w 4940931"/>
                <a:gd name="connsiteY1189" fmla="*/ 28574 h 138429"/>
                <a:gd name="connsiteX1190" fmla="*/ 4278625 w 4940931"/>
                <a:gd name="connsiteY1190" fmla="*/ 31749 h 138429"/>
                <a:gd name="connsiteX1191" fmla="*/ 4289420 w 4940931"/>
                <a:gd name="connsiteY1191" fmla="*/ 40004 h 138429"/>
                <a:gd name="connsiteX1192" fmla="*/ 4296405 w 4940931"/>
                <a:gd name="connsiteY1192" fmla="*/ 52704 h 138429"/>
                <a:gd name="connsiteX1193" fmla="*/ 4298945 w 4940931"/>
                <a:gd name="connsiteY1193" fmla="*/ 69214 h 138429"/>
                <a:gd name="connsiteX1194" fmla="*/ 4299580 w 4940931"/>
                <a:gd name="connsiteY1194" fmla="*/ 69214 h 138429"/>
                <a:gd name="connsiteX1195" fmla="*/ 4297040 w 4940931"/>
                <a:gd name="connsiteY1195" fmla="*/ 86359 h 138429"/>
                <a:gd name="connsiteX1196" fmla="*/ 4289420 w 4940931"/>
                <a:gd name="connsiteY1196" fmla="*/ 99059 h 138429"/>
                <a:gd name="connsiteX1197" fmla="*/ 4277990 w 4940931"/>
                <a:gd name="connsiteY1197" fmla="*/ 107314 h 138429"/>
                <a:gd name="connsiteX1198" fmla="*/ 4264020 w 4940931"/>
                <a:gd name="connsiteY1198" fmla="*/ 109854 h 138429"/>
                <a:gd name="connsiteX1199" fmla="*/ 4250050 w 4940931"/>
                <a:gd name="connsiteY1199" fmla="*/ 106679 h 138429"/>
                <a:gd name="connsiteX1200" fmla="*/ 4239255 w 4940931"/>
                <a:gd name="connsiteY1200" fmla="*/ 98424 h 138429"/>
                <a:gd name="connsiteX1201" fmla="*/ 4232270 w 4940931"/>
                <a:gd name="connsiteY1201" fmla="*/ 85724 h 138429"/>
                <a:gd name="connsiteX1202" fmla="*/ 4229730 w 4940931"/>
                <a:gd name="connsiteY1202" fmla="*/ 69214 h 138429"/>
                <a:gd name="connsiteX1203" fmla="*/ 4232270 w 4940931"/>
                <a:gd name="connsiteY1203" fmla="*/ 52069 h 138429"/>
                <a:gd name="connsiteX1204" fmla="*/ 4239890 w 4940931"/>
                <a:gd name="connsiteY1204" fmla="*/ 39369 h 138429"/>
                <a:gd name="connsiteX1205" fmla="*/ 4250685 w 4940931"/>
                <a:gd name="connsiteY1205" fmla="*/ 31114 h 138429"/>
                <a:gd name="connsiteX1206" fmla="*/ 4264655 w 4940931"/>
                <a:gd name="connsiteY1206" fmla="*/ 28574 h 138429"/>
                <a:gd name="connsiteX1207" fmla="*/ 1420495 w 4940931"/>
                <a:gd name="connsiteY1207" fmla="*/ 28574 h 138429"/>
                <a:gd name="connsiteX1208" fmla="*/ 1434465 w 4940931"/>
                <a:gd name="connsiteY1208" fmla="*/ 31749 h 138429"/>
                <a:gd name="connsiteX1209" fmla="*/ 1445260 w 4940931"/>
                <a:gd name="connsiteY1209" fmla="*/ 40004 h 138429"/>
                <a:gd name="connsiteX1210" fmla="*/ 1452245 w 4940931"/>
                <a:gd name="connsiteY1210" fmla="*/ 52704 h 138429"/>
                <a:gd name="connsiteX1211" fmla="*/ 1454785 w 4940931"/>
                <a:gd name="connsiteY1211" fmla="*/ 69214 h 138429"/>
                <a:gd name="connsiteX1212" fmla="*/ 1455420 w 4940931"/>
                <a:gd name="connsiteY1212" fmla="*/ 69214 h 138429"/>
                <a:gd name="connsiteX1213" fmla="*/ 1452880 w 4940931"/>
                <a:gd name="connsiteY1213" fmla="*/ 86359 h 138429"/>
                <a:gd name="connsiteX1214" fmla="*/ 1445260 w 4940931"/>
                <a:gd name="connsiteY1214" fmla="*/ 99059 h 138429"/>
                <a:gd name="connsiteX1215" fmla="*/ 1433830 w 4940931"/>
                <a:gd name="connsiteY1215" fmla="*/ 107314 h 138429"/>
                <a:gd name="connsiteX1216" fmla="*/ 1419860 w 4940931"/>
                <a:gd name="connsiteY1216" fmla="*/ 109854 h 138429"/>
                <a:gd name="connsiteX1217" fmla="*/ 1405890 w 4940931"/>
                <a:gd name="connsiteY1217" fmla="*/ 106679 h 138429"/>
                <a:gd name="connsiteX1218" fmla="*/ 1395095 w 4940931"/>
                <a:gd name="connsiteY1218" fmla="*/ 98424 h 138429"/>
                <a:gd name="connsiteX1219" fmla="*/ 1388110 w 4940931"/>
                <a:gd name="connsiteY1219" fmla="*/ 85724 h 138429"/>
                <a:gd name="connsiteX1220" fmla="*/ 1385570 w 4940931"/>
                <a:gd name="connsiteY1220" fmla="*/ 69214 h 138429"/>
                <a:gd name="connsiteX1221" fmla="*/ 1388110 w 4940931"/>
                <a:gd name="connsiteY1221" fmla="*/ 52069 h 138429"/>
                <a:gd name="connsiteX1222" fmla="*/ 1395730 w 4940931"/>
                <a:gd name="connsiteY1222" fmla="*/ 39369 h 138429"/>
                <a:gd name="connsiteX1223" fmla="*/ 1406525 w 4940931"/>
                <a:gd name="connsiteY1223" fmla="*/ 31114 h 138429"/>
                <a:gd name="connsiteX1224" fmla="*/ 1420495 w 4940931"/>
                <a:gd name="connsiteY1224" fmla="*/ 28574 h 138429"/>
                <a:gd name="connsiteX1225" fmla="*/ 3143245 w 4940931"/>
                <a:gd name="connsiteY1225" fmla="*/ 5079 h 138429"/>
                <a:gd name="connsiteX1226" fmla="*/ 3219445 w 4940931"/>
                <a:gd name="connsiteY1226" fmla="*/ 5079 h 138429"/>
                <a:gd name="connsiteX1227" fmla="*/ 3219445 w 4940931"/>
                <a:gd name="connsiteY1227" fmla="*/ 20319 h 138429"/>
                <a:gd name="connsiteX1228" fmla="*/ 3188965 w 4940931"/>
                <a:gd name="connsiteY1228" fmla="*/ 20319 h 138429"/>
                <a:gd name="connsiteX1229" fmla="*/ 3188965 w 4940931"/>
                <a:gd name="connsiteY1229" fmla="*/ 108584 h 138429"/>
                <a:gd name="connsiteX1230" fmla="*/ 3173090 w 4940931"/>
                <a:gd name="connsiteY1230" fmla="*/ 108584 h 138429"/>
                <a:gd name="connsiteX1231" fmla="*/ 3173090 w 4940931"/>
                <a:gd name="connsiteY1231" fmla="*/ 20319 h 138429"/>
                <a:gd name="connsiteX1232" fmla="*/ 3143245 w 4940931"/>
                <a:gd name="connsiteY1232" fmla="*/ 20319 h 138429"/>
                <a:gd name="connsiteX1233" fmla="*/ 1628774 w 4940931"/>
                <a:gd name="connsiteY1233" fmla="*/ 5079 h 138429"/>
                <a:gd name="connsiteX1234" fmla="*/ 1704970 w 4940931"/>
                <a:gd name="connsiteY1234" fmla="*/ 5079 h 138429"/>
                <a:gd name="connsiteX1235" fmla="*/ 1704970 w 4940931"/>
                <a:gd name="connsiteY1235" fmla="*/ 20319 h 138429"/>
                <a:gd name="connsiteX1236" fmla="*/ 1675129 w 4940931"/>
                <a:gd name="connsiteY1236" fmla="*/ 20319 h 138429"/>
                <a:gd name="connsiteX1237" fmla="*/ 1675129 w 4940931"/>
                <a:gd name="connsiteY1237" fmla="*/ 108584 h 138429"/>
                <a:gd name="connsiteX1238" fmla="*/ 1659255 w 4940931"/>
                <a:gd name="connsiteY1238" fmla="*/ 108584 h 138429"/>
                <a:gd name="connsiteX1239" fmla="*/ 1659255 w 4940931"/>
                <a:gd name="connsiteY1239" fmla="*/ 20319 h 138429"/>
                <a:gd name="connsiteX1240" fmla="*/ 1628774 w 4940931"/>
                <a:gd name="connsiteY1240" fmla="*/ 20319 h 138429"/>
                <a:gd name="connsiteX1241" fmla="*/ 0 w 4940931"/>
                <a:gd name="connsiteY1241" fmla="*/ 5079 h 138429"/>
                <a:gd name="connsiteX1242" fmla="*/ 76200 w 4940931"/>
                <a:gd name="connsiteY1242" fmla="*/ 5079 h 138429"/>
                <a:gd name="connsiteX1243" fmla="*/ 76200 w 4940931"/>
                <a:gd name="connsiteY1243" fmla="*/ 20319 h 138429"/>
                <a:gd name="connsiteX1244" fmla="*/ 45720 w 4940931"/>
                <a:gd name="connsiteY1244" fmla="*/ 20319 h 138429"/>
                <a:gd name="connsiteX1245" fmla="*/ 45720 w 4940931"/>
                <a:gd name="connsiteY1245" fmla="*/ 108584 h 138429"/>
                <a:gd name="connsiteX1246" fmla="*/ 29845 w 4940931"/>
                <a:gd name="connsiteY1246" fmla="*/ 108584 h 138429"/>
                <a:gd name="connsiteX1247" fmla="*/ 29845 w 4940931"/>
                <a:gd name="connsiteY1247" fmla="*/ 20319 h 138429"/>
                <a:gd name="connsiteX1248" fmla="*/ 0 w 4940931"/>
                <a:gd name="connsiteY1248" fmla="*/ 20319 h 138429"/>
                <a:gd name="connsiteX1249" fmla="*/ 1362075 w 4940931"/>
                <a:gd name="connsiteY1249" fmla="*/ 1269 h 138429"/>
                <a:gd name="connsiteX1250" fmla="*/ 1365885 w 4940931"/>
                <a:gd name="connsiteY1250" fmla="*/ 1904 h 138429"/>
                <a:gd name="connsiteX1251" fmla="*/ 1369060 w 4940931"/>
                <a:gd name="connsiteY1251" fmla="*/ 3809 h 138429"/>
                <a:gd name="connsiteX1252" fmla="*/ 1370965 w 4940931"/>
                <a:gd name="connsiteY1252" fmla="*/ 6984 h 138429"/>
                <a:gd name="connsiteX1253" fmla="*/ 1371600 w 4940931"/>
                <a:gd name="connsiteY1253" fmla="*/ 10794 h 138429"/>
                <a:gd name="connsiteX1254" fmla="*/ 1370965 w 4940931"/>
                <a:gd name="connsiteY1254" fmla="*/ 14604 h 138429"/>
                <a:gd name="connsiteX1255" fmla="*/ 1369060 w 4940931"/>
                <a:gd name="connsiteY1255" fmla="*/ 17779 h 138429"/>
                <a:gd name="connsiteX1256" fmla="*/ 1365885 w 4940931"/>
                <a:gd name="connsiteY1256" fmla="*/ 19684 h 138429"/>
                <a:gd name="connsiteX1257" fmla="*/ 1362075 w 4940931"/>
                <a:gd name="connsiteY1257" fmla="*/ 20319 h 138429"/>
                <a:gd name="connsiteX1258" fmla="*/ 1358265 w 4940931"/>
                <a:gd name="connsiteY1258" fmla="*/ 19684 h 138429"/>
                <a:gd name="connsiteX1259" fmla="*/ 1355090 w 4940931"/>
                <a:gd name="connsiteY1259" fmla="*/ 17779 h 138429"/>
                <a:gd name="connsiteX1260" fmla="*/ 1353185 w 4940931"/>
                <a:gd name="connsiteY1260" fmla="*/ 14604 h 138429"/>
                <a:gd name="connsiteX1261" fmla="*/ 1352550 w 4940931"/>
                <a:gd name="connsiteY1261" fmla="*/ 10794 h 138429"/>
                <a:gd name="connsiteX1262" fmla="*/ 1353185 w 4940931"/>
                <a:gd name="connsiteY1262" fmla="*/ 6984 h 138429"/>
                <a:gd name="connsiteX1263" fmla="*/ 1355090 w 4940931"/>
                <a:gd name="connsiteY1263" fmla="*/ 3809 h 138429"/>
                <a:gd name="connsiteX1264" fmla="*/ 1358265 w 4940931"/>
                <a:gd name="connsiteY1264" fmla="*/ 1904 h 138429"/>
                <a:gd name="connsiteX1265" fmla="*/ 1362075 w 4940931"/>
                <a:gd name="connsiteY1265" fmla="*/ 1269 h 138429"/>
                <a:gd name="connsiteX1266" fmla="*/ 4789801 w 4940931"/>
                <a:gd name="connsiteY1266" fmla="*/ 634 h 138429"/>
                <a:gd name="connsiteX1267" fmla="*/ 4789801 w 4940931"/>
                <a:gd name="connsiteY1267" fmla="*/ 65404 h 138429"/>
                <a:gd name="connsiteX1268" fmla="*/ 4814566 w 4940931"/>
                <a:gd name="connsiteY1268" fmla="*/ 31114 h 138429"/>
                <a:gd name="connsiteX1269" fmla="*/ 4831711 w 4940931"/>
                <a:gd name="connsiteY1269" fmla="*/ 31114 h 138429"/>
                <a:gd name="connsiteX1270" fmla="*/ 4812026 w 4940931"/>
                <a:gd name="connsiteY1270" fmla="*/ 57149 h 138429"/>
                <a:gd name="connsiteX1271" fmla="*/ 4835521 w 4940931"/>
                <a:gd name="connsiteY1271" fmla="*/ 108584 h 138429"/>
                <a:gd name="connsiteX1272" fmla="*/ 4819011 w 4940931"/>
                <a:gd name="connsiteY1272" fmla="*/ 108584 h 138429"/>
                <a:gd name="connsiteX1273" fmla="*/ 4801866 w 4940931"/>
                <a:gd name="connsiteY1273" fmla="*/ 69849 h 138429"/>
                <a:gd name="connsiteX1274" fmla="*/ 4789801 w 4940931"/>
                <a:gd name="connsiteY1274" fmla="*/ 85724 h 138429"/>
                <a:gd name="connsiteX1275" fmla="*/ 4789801 w 4940931"/>
                <a:gd name="connsiteY1275" fmla="*/ 108584 h 138429"/>
                <a:gd name="connsiteX1276" fmla="*/ 4774561 w 4940931"/>
                <a:gd name="connsiteY1276" fmla="*/ 108584 h 138429"/>
                <a:gd name="connsiteX1277" fmla="*/ 4774561 w 4940931"/>
                <a:gd name="connsiteY1277" fmla="*/ 8889 h 138429"/>
                <a:gd name="connsiteX1278" fmla="*/ 4472301 w 4940931"/>
                <a:gd name="connsiteY1278" fmla="*/ 634 h 138429"/>
                <a:gd name="connsiteX1279" fmla="*/ 4472301 w 4940931"/>
                <a:gd name="connsiteY1279" fmla="*/ 109219 h 138429"/>
                <a:gd name="connsiteX1280" fmla="*/ 4457061 w 4940931"/>
                <a:gd name="connsiteY1280" fmla="*/ 109219 h 138429"/>
                <a:gd name="connsiteX1281" fmla="*/ 4457696 w 4940931"/>
                <a:gd name="connsiteY1281" fmla="*/ 108584 h 138429"/>
                <a:gd name="connsiteX1282" fmla="*/ 4457696 w 4940931"/>
                <a:gd name="connsiteY1282" fmla="*/ 100964 h 138429"/>
                <a:gd name="connsiteX1283" fmla="*/ 4453251 w 4940931"/>
                <a:gd name="connsiteY1283" fmla="*/ 104774 h 138429"/>
                <a:gd name="connsiteX1284" fmla="*/ 4448171 w 4940931"/>
                <a:gd name="connsiteY1284" fmla="*/ 107949 h 138429"/>
                <a:gd name="connsiteX1285" fmla="*/ 4443091 w 4940931"/>
                <a:gd name="connsiteY1285" fmla="*/ 109854 h 138429"/>
                <a:gd name="connsiteX1286" fmla="*/ 4437376 w 4940931"/>
                <a:gd name="connsiteY1286" fmla="*/ 109854 h 138429"/>
                <a:gd name="connsiteX1287" fmla="*/ 4425946 w 4940931"/>
                <a:gd name="connsiteY1287" fmla="*/ 107314 h 138429"/>
                <a:gd name="connsiteX1288" fmla="*/ 4416421 w 4940931"/>
                <a:gd name="connsiteY1288" fmla="*/ 99694 h 138429"/>
                <a:gd name="connsiteX1289" fmla="*/ 4410071 w 4940931"/>
                <a:gd name="connsiteY1289" fmla="*/ 86994 h 138429"/>
                <a:gd name="connsiteX1290" fmla="*/ 4407531 w 4940931"/>
                <a:gd name="connsiteY1290" fmla="*/ 67944 h 138429"/>
                <a:gd name="connsiteX1291" fmla="*/ 4410071 w 4940931"/>
                <a:gd name="connsiteY1291" fmla="*/ 50799 h 138429"/>
                <a:gd name="connsiteX1292" fmla="*/ 4417056 w 4940931"/>
                <a:gd name="connsiteY1292" fmla="*/ 38734 h 138429"/>
                <a:gd name="connsiteX1293" fmla="*/ 4426581 w 4940931"/>
                <a:gd name="connsiteY1293" fmla="*/ 31749 h 138429"/>
                <a:gd name="connsiteX1294" fmla="*/ 4438011 w 4940931"/>
                <a:gd name="connsiteY1294" fmla="*/ 29209 h 138429"/>
                <a:gd name="connsiteX1295" fmla="*/ 4443726 w 4940931"/>
                <a:gd name="connsiteY1295" fmla="*/ 29844 h 138429"/>
                <a:gd name="connsiteX1296" fmla="*/ 4448806 w 4940931"/>
                <a:gd name="connsiteY1296" fmla="*/ 31749 h 138429"/>
                <a:gd name="connsiteX1297" fmla="*/ 4453251 w 4940931"/>
                <a:gd name="connsiteY1297" fmla="*/ 34924 h 138429"/>
                <a:gd name="connsiteX1298" fmla="*/ 4457061 w 4940931"/>
                <a:gd name="connsiteY1298" fmla="*/ 38099 h 138429"/>
                <a:gd name="connsiteX1299" fmla="*/ 4457061 w 4940931"/>
                <a:gd name="connsiteY1299" fmla="*/ 8254 h 138429"/>
                <a:gd name="connsiteX1300" fmla="*/ 4390385 w 4940931"/>
                <a:gd name="connsiteY1300" fmla="*/ 634 h 138429"/>
                <a:gd name="connsiteX1301" fmla="*/ 4390385 w 4940931"/>
                <a:gd name="connsiteY1301" fmla="*/ 108584 h 138429"/>
                <a:gd name="connsiteX1302" fmla="*/ 4375145 w 4940931"/>
                <a:gd name="connsiteY1302" fmla="*/ 108584 h 138429"/>
                <a:gd name="connsiteX1303" fmla="*/ 4375145 w 4940931"/>
                <a:gd name="connsiteY1303" fmla="*/ 8889 h 138429"/>
                <a:gd name="connsiteX1304" fmla="*/ 3946521 w 4940931"/>
                <a:gd name="connsiteY1304" fmla="*/ 634 h 138429"/>
                <a:gd name="connsiteX1305" fmla="*/ 3946521 w 4940931"/>
                <a:gd name="connsiteY1305" fmla="*/ 38099 h 138429"/>
                <a:gd name="connsiteX1306" fmla="*/ 3950331 w 4940931"/>
                <a:gd name="connsiteY1306" fmla="*/ 34289 h 138429"/>
                <a:gd name="connsiteX1307" fmla="*/ 3954776 w 4940931"/>
                <a:gd name="connsiteY1307" fmla="*/ 31114 h 138429"/>
                <a:gd name="connsiteX1308" fmla="*/ 3960491 w 4940931"/>
                <a:gd name="connsiteY1308" fmla="*/ 29209 h 138429"/>
                <a:gd name="connsiteX1309" fmla="*/ 3966206 w 4940931"/>
                <a:gd name="connsiteY1309" fmla="*/ 29209 h 138429"/>
                <a:gd name="connsiteX1310" fmla="*/ 3978271 w 4940931"/>
                <a:gd name="connsiteY1310" fmla="*/ 31749 h 138429"/>
                <a:gd name="connsiteX1311" fmla="*/ 3987161 w 4940931"/>
                <a:gd name="connsiteY1311" fmla="*/ 38099 h 138429"/>
                <a:gd name="connsiteX1312" fmla="*/ 3992241 w 4940931"/>
                <a:gd name="connsiteY1312" fmla="*/ 49529 h 138429"/>
                <a:gd name="connsiteX1313" fmla="*/ 3994146 w 4940931"/>
                <a:gd name="connsiteY1313" fmla="*/ 64134 h 138429"/>
                <a:gd name="connsiteX1314" fmla="*/ 3994146 w 4940931"/>
                <a:gd name="connsiteY1314" fmla="*/ 108584 h 138429"/>
                <a:gd name="connsiteX1315" fmla="*/ 3978906 w 4940931"/>
                <a:gd name="connsiteY1315" fmla="*/ 108584 h 138429"/>
                <a:gd name="connsiteX1316" fmla="*/ 3978271 w 4940931"/>
                <a:gd name="connsiteY1316" fmla="*/ 108584 h 138429"/>
                <a:gd name="connsiteX1317" fmla="*/ 3978271 w 4940931"/>
                <a:gd name="connsiteY1317" fmla="*/ 64769 h 138429"/>
                <a:gd name="connsiteX1318" fmla="*/ 3974461 w 4940931"/>
                <a:gd name="connsiteY1318" fmla="*/ 48894 h 138429"/>
                <a:gd name="connsiteX1319" fmla="*/ 3962396 w 4940931"/>
                <a:gd name="connsiteY1319" fmla="*/ 43814 h 138429"/>
                <a:gd name="connsiteX1320" fmla="*/ 3956046 w 4940931"/>
                <a:gd name="connsiteY1320" fmla="*/ 45084 h 138429"/>
                <a:gd name="connsiteX1321" fmla="*/ 3950966 w 4940931"/>
                <a:gd name="connsiteY1321" fmla="*/ 48894 h 138429"/>
                <a:gd name="connsiteX1322" fmla="*/ 3947791 w 4940931"/>
                <a:gd name="connsiteY1322" fmla="*/ 55244 h 138429"/>
                <a:gd name="connsiteX1323" fmla="*/ 3946521 w 4940931"/>
                <a:gd name="connsiteY1323" fmla="*/ 63499 h 138429"/>
                <a:gd name="connsiteX1324" fmla="*/ 3946521 w 4940931"/>
                <a:gd name="connsiteY1324" fmla="*/ 109219 h 138429"/>
                <a:gd name="connsiteX1325" fmla="*/ 3931281 w 4940931"/>
                <a:gd name="connsiteY1325" fmla="*/ 109219 h 138429"/>
                <a:gd name="connsiteX1326" fmla="*/ 3931281 w 4940931"/>
                <a:gd name="connsiteY1326" fmla="*/ 8889 h 138429"/>
                <a:gd name="connsiteX1327" fmla="*/ 3248021 w 4940931"/>
                <a:gd name="connsiteY1327" fmla="*/ 634 h 138429"/>
                <a:gd name="connsiteX1328" fmla="*/ 3248021 w 4940931"/>
                <a:gd name="connsiteY1328" fmla="*/ 38099 h 138429"/>
                <a:gd name="connsiteX1329" fmla="*/ 3251831 w 4940931"/>
                <a:gd name="connsiteY1329" fmla="*/ 34289 h 138429"/>
                <a:gd name="connsiteX1330" fmla="*/ 3256276 w 4940931"/>
                <a:gd name="connsiteY1330" fmla="*/ 31114 h 138429"/>
                <a:gd name="connsiteX1331" fmla="*/ 3261991 w 4940931"/>
                <a:gd name="connsiteY1331" fmla="*/ 29209 h 138429"/>
                <a:gd name="connsiteX1332" fmla="*/ 3267706 w 4940931"/>
                <a:gd name="connsiteY1332" fmla="*/ 29209 h 138429"/>
                <a:gd name="connsiteX1333" fmla="*/ 3279771 w 4940931"/>
                <a:gd name="connsiteY1333" fmla="*/ 31749 h 138429"/>
                <a:gd name="connsiteX1334" fmla="*/ 3288661 w 4940931"/>
                <a:gd name="connsiteY1334" fmla="*/ 38099 h 138429"/>
                <a:gd name="connsiteX1335" fmla="*/ 3293741 w 4940931"/>
                <a:gd name="connsiteY1335" fmla="*/ 49529 h 138429"/>
                <a:gd name="connsiteX1336" fmla="*/ 3295646 w 4940931"/>
                <a:gd name="connsiteY1336" fmla="*/ 64134 h 138429"/>
                <a:gd name="connsiteX1337" fmla="*/ 3295646 w 4940931"/>
                <a:gd name="connsiteY1337" fmla="*/ 108584 h 138429"/>
                <a:gd name="connsiteX1338" fmla="*/ 3280406 w 4940931"/>
                <a:gd name="connsiteY1338" fmla="*/ 108584 h 138429"/>
                <a:gd name="connsiteX1339" fmla="*/ 3279771 w 4940931"/>
                <a:gd name="connsiteY1339" fmla="*/ 108584 h 138429"/>
                <a:gd name="connsiteX1340" fmla="*/ 3279771 w 4940931"/>
                <a:gd name="connsiteY1340" fmla="*/ 64769 h 138429"/>
                <a:gd name="connsiteX1341" fmla="*/ 3275961 w 4940931"/>
                <a:gd name="connsiteY1341" fmla="*/ 48894 h 138429"/>
                <a:gd name="connsiteX1342" fmla="*/ 3263896 w 4940931"/>
                <a:gd name="connsiteY1342" fmla="*/ 43814 h 138429"/>
                <a:gd name="connsiteX1343" fmla="*/ 3257546 w 4940931"/>
                <a:gd name="connsiteY1343" fmla="*/ 45084 h 138429"/>
                <a:gd name="connsiteX1344" fmla="*/ 3252466 w 4940931"/>
                <a:gd name="connsiteY1344" fmla="*/ 48894 h 138429"/>
                <a:gd name="connsiteX1345" fmla="*/ 3249291 w 4940931"/>
                <a:gd name="connsiteY1345" fmla="*/ 55244 h 138429"/>
                <a:gd name="connsiteX1346" fmla="*/ 3248021 w 4940931"/>
                <a:gd name="connsiteY1346" fmla="*/ 63499 h 138429"/>
                <a:gd name="connsiteX1347" fmla="*/ 3248021 w 4940931"/>
                <a:gd name="connsiteY1347" fmla="*/ 109219 h 138429"/>
                <a:gd name="connsiteX1348" fmla="*/ 3232781 w 4940931"/>
                <a:gd name="connsiteY1348" fmla="*/ 109219 h 138429"/>
                <a:gd name="connsiteX1349" fmla="*/ 3232781 w 4940931"/>
                <a:gd name="connsiteY1349" fmla="*/ 8889 h 138429"/>
                <a:gd name="connsiteX1350" fmla="*/ 2432681 w 4940931"/>
                <a:gd name="connsiteY1350" fmla="*/ 634 h 138429"/>
                <a:gd name="connsiteX1351" fmla="*/ 2432681 w 4940931"/>
                <a:gd name="connsiteY1351" fmla="*/ 38099 h 138429"/>
                <a:gd name="connsiteX1352" fmla="*/ 2436491 w 4940931"/>
                <a:gd name="connsiteY1352" fmla="*/ 34289 h 138429"/>
                <a:gd name="connsiteX1353" fmla="*/ 2440936 w 4940931"/>
                <a:gd name="connsiteY1353" fmla="*/ 31114 h 138429"/>
                <a:gd name="connsiteX1354" fmla="*/ 2446651 w 4940931"/>
                <a:gd name="connsiteY1354" fmla="*/ 29209 h 138429"/>
                <a:gd name="connsiteX1355" fmla="*/ 2452366 w 4940931"/>
                <a:gd name="connsiteY1355" fmla="*/ 29209 h 138429"/>
                <a:gd name="connsiteX1356" fmla="*/ 2464431 w 4940931"/>
                <a:gd name="connsiteY1356" fmla="*/ 31749 h 138429"/>
                <a:gd name="connsiteX1357" fmla="*/ 2473321 w 4940931"/>
                <a:gd name="connsiteY1357" fmla="*/ 38099 h 138429"/>
                <a:gd name="connsiteX1358" fmla="*/ 2478401 w 4940931"/>
                <a:gd name="connsiteY1358" fmla="*/ 49529 h 138429"/>
                <a:gd name="connsiteX1359" fmla="*/ 2480306 w 4940931"/>
                <a:gd name="connsiteY1359" fmla="*/ 64134 h 138429"/>
                <a:gd name="connsiteX1360" fmla="*/ 2480306 w 4940931"/>
                <a:gd name="connsiteY1360" fmla="*/ 108584 h 138429"/>
                <a:gd name="connsiteX1361" fmla="*/ 2465066 w 4940931"/>
                <a:gd name="connsiteY1361" fmla="*/ 108584 h 138429"/>
                <a:gd name="connsiteX1362" fmla="*/ 2464431 w 4940931"/>
                <a:gd name="connsiteY1362" fmla="*/ 108584 h 138429"/>
                <a:gd name="connsiteX1363" fmla="*/ 2464431 w 4940931"/>
                <a:gd name="connsiteY1363" fmla="*/ 64769 h 138429"/>
                <a:gd name="connsiteX1364" fmla="*/ 2460621 w 4940931"/>
                <a:gd name="connsiteY1364" fmla="*/ 48894 h 138429"/>
                <a:gd name="connsiteX1365" fmla="*/ 2448556 w 4940931"/>
                <a:gd name="connsiteY1365" fmla="*/ 43814 h 138429"/>
                <a:gd name="connsiteX1366" fmla="*/ 2442206 w 4940931"/>
                <a:gd name="connsiteY1366" fmla="*/ 45084 h 138429"/>
                <a:gd name="connsiteX1367" fmla="*/ 2437126 w 4940931"/>
                <a:gd name="connsiteY1367" fmla="*/ 48894 h 138429"/>
                <a:gd name="connsiteX1368" fmla="*/ 2433951 w 4940931"/>
                <a:gd name="connsiteY1368" fmla="*/ 55244 h 138429"/>
                <a:gd name="connsiteX1369" fmla="*/ 2432681 w 4940931"/>
                <a:gd name="connsiteY1369" fmla="*/ 63499 h 138429"/>
                <a:gd name="connsiteX1370" fmla="*/ 2432681 w 4940931"/>
                <a:gd name="connsiteY1370" fmla="*/ 109219 h 138429"/>
                <a:gd name="connsiteX1371" fmla="*/ 2417441 w 4940931"/>
                <a:gd name="connsiteY1371" fmla="*/ 109219 h 138429"/>
                <a:gd name="connsiteX1372" fmla="*/ 2417441 w 4940931"/>
                <a:gd name="connsiteY1372" fmla="*/ 8889 h 138429"/>
                <a:gd name="connsiteX1373" fmla="*/ 1734181 w 4940931"/>
                <a:gd name="connsiteY1373" fmla="*/ 634 h 138429"/>
                <a:gd name="connsiteX1374" fmla="*/ 1734181 w 4940931"/>
                <a:gd name="connsiteY1374" fmla="*/ 38099 h 138429"/>
                <a:gd name="connsiteX1375" fmla="*/ 1737991 w 4940931"/>
                <a:gd name="connsiteY1375" fmla="*/ 34289 h 138429"/>
                <a:gd name="connsiteX1376" fmla="*/ 1742436 w 4940931"/>
                <a:gd name="connsiteY1376" fmla="*/ 31114 h 138429"/>
                <a:gd name="connsiteX1377" fmla="*/ 1748151 w 4940931"/>
                <a:gd name="connsiteY1377" fmla="*/ 29209 h 138429"/>
                <a:gd name="connsiteX1378" fmla="*/ 1753866 w 4940931"/>
                <a:gd name="connsiteY1378" fmla="*/ 29209 h 138429"/>
                <a:gd name="connsiteX1379" fmla="*/ 1765931 w 4940931"/>
                <a:gd name="connsiteY1379" fmla="*/ 31749 h 138429"/>
                <a:gd name="connsiteX1380" fmla="*/ 1774821 w 4940931"/>
                <a:gd name="connsiteY1380" fmla="*/ 38099 h 138429"/>
                <a:gd name="connsiteX1381" fmla="*/ 1779901 w 4940931"/>
                <a:gd name="connsiteY1381" fmla="*/ 49529 h 138429"/>
                <a:gd name="connsiteX1382" fmla="*/ 1781806 w 4940931"/>
                <a:gd name="connsiteY1382" fmla="*/ 64134 h 138429"/>
                <a:gd name="connsiteX1383" fmla="*/ 1781806 w 4940931"/>
                <a:gd name="connsiteY1383" fmla="*/ 108584 h 138429"/>
                <a:gd name="connsiteX1384" fmla="*/ 1766566 w 4940931"/>
                <a:gd name="connsiteY1384" fmla="*/ 108584 h 138429"/>
                <a:gd name="connsiteX1385" fmla="*/ 1765931 w 4940931"/>
                <a:gd name="connsiteY1385" fmla="*/ 108584 h 138429"/>
                <a:gd name="connsiteX1386" fmla="*/ 1765931 w 4940931"/>
                <a:gd name="connsiteY1386" fmla="*/ 64769 h 138429"/>
                <a:gd name="connsiteX1387" fmla="*/ 1762121 w 4940931"/>
                <a:gd name="connsiteY1387" fmla="*/ 48894 h 138429"/>
                <a:gd name="connsiteX1388" fmla="*/ 1750056 w 4940931"/>
                <a:gd name="connsiteY1388" fmla="*/ 43814 h 138429"/>
                <a:gd name="connsiteX1389" fmla="*/ 1743706 w 4940931"/>
                <a:gd name="connsiteY1389" fmla="*/ 45084 h 138429"/>
                <a:gd name="connsiteX1390" fmla="*/ 1738626 w 4940931"/>
                <a:gd name="connsiteY1390" fmla="*/ 48894 h 138429"/>
                <a:gd name="connsiteX1391" fmla="*/ 1735451 w 4940931"/>
                <a:gd name="connsiteY1391" fmla="*/ 55244 h 138429"/>
                <a:gd name="connsiteX1392" fmla="*/ 1734181 w 4940931"/>
                <a:gd name="connsiteY1392" fmla="*/ 63499 h 138429"/>
                <a:gd name="connsiteX1393" fmla="*/ 1734181 w 4940931"/>
                <a:gd name="connsiteY1393" fmla="*/ 109219 h 138429"/>
                <a:gd name="connsiteX1394" fmla="*/ 1718941 w 4940931"/>
                <a:gd name="connsiteY1394" fmla="*/ 109219 h 138429"/>
                <a:gd name="connsiteX1395" fmla="*/ 1718941 w 4940931"/>
                <a:gd name="connsiteY1395" fmla="*/ 8889 h 138429"/>
                <a:gd name="connsiteX1396" fmla="*/ 803275 w 4940931"/>
                <a:gd name="connsiteY1396" fmla="*/ 634 h 138429"/>
                <a:gd name="connsiteX1397" fmla="*/ 803275 w 4940931"/>
                <a:gd name="connsiteY1397" fmla="*/ 38099 h 138429"/>
                <a:gd name="connsiteX1398" fmla="*/ 807085 w 4940931"/>
                <a:gd name="connsiteY1398" fmla="*/ 34289 h 138429"/>
                <a:gd name="connsiteX1399" fmla="*/ 811530 w 4940931"/>
                <a:gd name="connsiteY1399" fmla="*/ 31114 h 138429"/>
                <a:gd name="connsiteX1400" fmla="*/ 817245 w 4940931"/>
                <a:gd name="connsiteY1400" fmla="*/ 29209 h 138429"/>
                <a:gd name="connsiteX1401" fmla="*/ 822960 w 4940931"/>
                <a:gd name="connsiteY1401" fmla="*/ 29209 h 138429"/>
                <a:gd name="connsiteX1402" fmla="*/ 835025 w 4940931"/>
                <a:gd name="connsiteY1402" fmla="*/ 31749 h 138429"/>
                <a:gd name="connsiteX1403" fmla="*/ 843915 w 4940931"/>
                <a:gd name="connsiteY1403" fmla="*/ 38099 h 138429"/>
                <a:gd name="connsiteX1404" fmla="*/ 848995 w 4940931"/>
                <a:gd name="connsiteY1404" fmla="*/ 49529 h 138429"/>
                <a:gd name="connsiteX1405" fmla="*/ 850900 w 4940931"/>
                <a:gd name="connsiteY1405" fmla="*/ 64134 h 138429"/>
                <a:gd name="connsiteX1406" fmla="*/ 850900 w 4940931"/>
                <a:gd name="connsiteY1406" fmla="*/ 108584 h 138429"/>
                <a:gd name="connsiteX1407" fmla="*/ 835660 w 4940931"/>
                <a:gd name="connsiteY1407" fmla="*/ 108584 h 138429"/>
                <a:gd name="connsiteX1408" fmla="*/ 835025 w 4940931"/>
                <a:gd name="connsiteY1408" fmla="*/ 108584 h 138429"/>
                <a:gd name="connsiteX1409" fmla="*/ 835025 w 4940931"/>
                <a:gd name="connsiteY1409" fmla="*/ 64769 h 138429"/>
                <a:gd name="connsiteX1410" fmla="*/ 831215 w 4940931"/>
                <a:gd name="connsiteY1410" fmla="*/ 48894 h 138429"/>
                <a:gd name="connsiteX1411" fmla="*/ 819150 w 4940931"/>
                <a:gd name="connsiteY1411" fmla="*/ 43814 h 138429"/>
                <a:gd name="connsiteX1412" fmla="*/ 812800 w 4940931"/>
                <a:gd name="connsiteY1412" fmla="*/ 45084 h 138429"/>
                <a:gd name="connsiteX1413" fmla="*/ 807720 w 4940931"/>
                <a:gd name="connsiteY1413" fmla="*/ 48894 h 138429"/>
                <a:gd name="connsiteX1414" fmla="*/ 804545 w 4940931"/>
                <a:gd name="connsiteY1414" fmla="*/ 55244 h 138429"/>
                <a:gd name="connsiteX1415" fmla="*/ 803275 w 4940931"/>
                <a:gd name="connsiteY1415" fmla="*/ 63499 h 138429"/>
                <a:gd name="connsiteX1416" fmla="*/ 803275 w 4940931"/>
                <a:gd name="connsiteY1416" fmla="*/ 109219 h 138429"/>
                <a:gd name="connsiteX1417" fmla="*/ 788035 w 4940931"/>
                <a:gd name="connsiteY1417" fmla="*/ 109219 h 138429"/>
                <a:gd name="connsiteX1418" fmla="*/ 788035 w 4940931"/>
                <a:gd name="connsiteY1418" fmla="*/ 8889 h 138429"/>
                <a:gd name="connsiteX1419" fmla="*/ 104774 w 4940931"/>
                <a:gd name="connsiteY1419" fmla="*/ 634 h 138429"/>
                <a:gd name="connsiteX1420" fmla="*/ 104774 w 4940931"/>
                <a:gd name="connsiteY1420" fmla="*/ 38099 h 138429"/>
                <a:gd name="connsiteX1421" fmla="*/ 108584 w 4940931"/>
                <a:gd name="connsiteY1421" fmla="*/ 34289 h 138429"/>
                <a:gd name="connsiteX1422" fmla="*/ 113029 w 4940931"/>
                <a:gd name="connsiteY1422" fmla="*/ 31114 h 138429"/>
                <a:gd name="connsiteX1423" fmla="*/ 118744 w 4940931"/>
                <a:gd name="connsiteY1423" fmla="*/ 29209 h 138429"/>
                <a:gd name="connsiteX1424" fmla="*/ 124459 w 4940931"/>
                <a:gd name="connsiteY1424" fmla="*/ 29209 h 138429"/>
                <a:gd name="connsiteX1425" fmla="*/ 136524 w 4940931"/>
                <a:gd name="connsiteY1425" fmla="*/ 31749 h 138429"/>
                <a:gd name="connsiteX1426" fmla="*/ 145414 w 4940931"/>
                <a:gd name="connsiteY1426" fmla="*/ 38099 h 138429"/>
                <a:gd name="connsiteX1427" fmla="*/ 150494 w 4940931"/>
                <a:gd name="connsiteY1427" fmla="*/ 49529 h 138429"/>
                <a:gd name="connsiteX1428" fmla="*/ 152399 w 4940931"/>
                <a:gd name="connsiteY1428" fmla="*/ 64134 h 138429"/>
                <a:gd name="connsiteX1429" fmla="*/ 152399 w 4940931"/>
                <a:gd name="connsiteY1429" fmla="*/ 108584 h 138429"/>
                <a:gd name="connsiteX1430" fmla="*/ 137159 w 4940931"/>
                <a:gd name="connsiteY1430" fmla="*/ 108584 h 138429"/>
                <a:gd name="connsiteX1431" fmla="*/ 136524 w 4940931"/>
                <a:gd name="connsiteY1431" fmla="*/ 108584 h 138429"/>
                <a:gd name="connsiteX1432" fmla="*/ 136524 w 4940931"/>
                <a:gd name="connsiteY1432" fmla="*/ 64769 h 138429"/>
                <a:gd name="connsiteX1433" fmla="*/ 132714 w 4940931"/>
                <a:gd name="connsiteY1433" fmla="*/ 48894 h 138429"/>
                <a:gd name="connsiteX1434" fmla="*/ 120649 w 4940931"/>
                <a:gd name="connsiteY1434" fmla="*/ 43814 h 138429"/>
                <a:gd name="connsiteX1435" fmla="*/ 114299 w 4940931"/>
                <a:gd name="connsiteY1435" fmla="*/ 45084 h 138429"/>
                <a:gd name="connsiteX1436" fmla="*/ 109219 w 4940931"/>
                <a:gd name="connsiteY1436" fmla="*/ 48894 h 138429"/>
                <a:gd name="connsiteX1437" fmla="*/ 106044 w 4940931"/>
                <a:gd name="connsiteY1437" fmla="*/ 55244 h 138429"/>
                <a:gd name="connsiteX1438" fmla="*/ 104774 w 4940931"/>
                <a:gd name="connsiteY1438" fmla="*/ 63499 h 138429"/>
                <a:gd name="connsiteX1439" fmla="*/ 104774 w 4940931"/>
                <a:gd name="connsiteY1439" fmla="*/ 109219 h 138429"/>
                <a:gd name="connsiteX1440" fmla="*/ 89534 w 4940931"/>
                <a:gd name="connsiteY1440" fmla="*/ 109219 h 138429"/>
                <a:gd name="connsiteX1441" fmla="*/ 89534 w 4940931"/>
                <a:gd name="connsiteY1441" fmla="*/ 8889 h 138429"/>
                <a:gd name="connsiteX1442" fmla="*/ 3894450 w 4940931"/>
                <a:gd name="connsiteY1442" fmla="*/ 0 h 138429"/>
                <a:gd name="connsiteX1443" fmla="*/ 3894450 w 4940931"/>
                <a:gd name="connsiteY1443" fmla="*/ 30480 h 138429"/>
                <a:gd name="connsiteX1444" fmla="*/ 3913500 w 4940931"/>
                <a:gd name="connsiteY1444" fmla="*/ 30480 h 138429"/>
                <a:gd name="connsiteX1445" fmla="*/ 3913500 w 4940931"/>
                <a:gd name="connsiteY1445" fmla="*/ 44450 h 138429"/>
                <a:gd name="connsiteX1446" fmla="*/ 3894450 w 4940931"/>
                <a:gd name="connsiteY1446" fmla="*/ 44450 h 138429"/>
                <a:gd name="connsiteX1447" fmla="*/ 3894450 w 4940931"/>
                <a:gd name="connsiteY1447" fmla="*/ 86995 h 138429"/>
                <a:gd name="connsiteX1448" fmla="*/ 3894450 w 4940931"/>
                <a:gd name="connsiteY1448" fmla="*/ 91440 h 138429"/>
                <a:gd name="connsiteX1449" fmla="*/ 3895720 w 4940931"/>
                <a:gd name="connsiteY1449" fmla="*/ 94615 h 138429"/>
                <a:gd name="connsiteX1450" fmla="*/ 3898260 w 4940931"/>
                <a:gd name="connsiteY1450" fmla="*/ 95885 h 138429"/>
                <a:gd name="connsiteX1451" fmla="*/ 3902070 w 4940931"/>
                <a:gd name="connsiteY1451" fmla="*/ 95885 h 138429"/>
                <a:gd name="connsiteX1452" fmla="*/ 3908420 w 4940931"/>
                <a:gd name="connsiteY1452" fmla="*/ 95250 h 138429"/>
                <a:gd name="connsiteX1453" fmla="*/ 3913500 w 4940931"/>
                <a:gd name="connsiteY1453" fmla="*/ 93345 h 138429"/>
                <a:gd name="connsiteX1454" fmla="*/ 3911595 w 4940931"/>
                <a:gd name="connsiteY1454" fmla="*/ 106680 h 138429"/>
                <a:gd name="connsiteX1455" fmla="*/ 3905245 w 4940931"/>
                <a:gd name="connsiteY1455" fmla="*/ 109220 h 138429"/>
                <a:gd name="connsiteX1456" fmla="*/ 3896990 w 4940931"/>
                <a:gd name="connsiteY1456" fmla="*/ 110490 h 138429"/>
                <a:gd name="connsiteX1457" fmla="*/ 3890005 w 4940931"/>
                <a:gd name="connsiteY1457" fmla="*/ 109220 h 138429"/>
                <a:gd name="connsiteX1458" fmla="*/ 3884290 w 4940931"/>
                <a:gd name="connsiteY1458" fmla="*/ 105410 h 138429"/>
                <a:gd name="connsiteX1459" fmla="*/ 3880480 w 4940931"/>
                <a:gd name="connsiteY1459" fmla="*/ 99060 h 138429"/>
                <a:gd name="connsiteX1460" fmla="*/ 3879210 w 4940931"/>
                <a:gd name="connsiteY1460" fmla="*/ 89535 h 138429"/>
                <a:gd name="connsiteX1461" fmla="*/ 3879210 w 4940931"/>
                <a:gd name="connsiteY1461" fmla="*/ 44450 h 138429"/>
                <a:gd name="connsiteX1462" fmla="*/ 3868415 w 4940931"/>
                <a:gd name="connsiteY1462" fmla="*/ 44450 h 138429"/>
                <a:gd name="connsiteX1463" fmla="*/ 3868415 w 4940931"/>
                <a:gd name="connsiteY1463" fmla="*/ 30480 h 138429"/>
                <a:gd name="connsiteX1464" fmla="*/ 3879210 w 4940931"/>
                <a:gd name="connsiteY1464" fmla="*/ 30480 h 138429"/>
                <a:gd name="connsiteX1465" fmla="*/ 3879210 w 4940931"/>
                <a:gd name="connsiteY1465" fmla="*/ 8255 h 138429"/>
                <a:gd name="connsiteX1466" fmla="*/ 3664581 w 4940931"/>
                <a:gd name="connsiteY1466" fmla="*/ 0 h 138429"/>
                <a:gd name="connsiteX1467" fmla="*/ 3664581 w 4940931"/>
                <a:gd name="connsiteY1467" fmla="*/ 30480 h 138429"/>
                <a:gd name="connsiteX1468" fmla="*/ 3683631 w 4940931"/>
                <a:gd name="connsiteY1468" fmla="*/ 30480 h 138429"/>
                <a:gd name="connsiteX1469" fmla="*/ 3683631 w 4940931"/>
                <a:gd name="connsiteY1469" fmla="*/ 44450 h 138429"/>
                <a:gd name="connsiteX1470" fmla="*/ 3664581 w 4940931"/>
                <a:gd name="connsiteY1470" fmla="*/ 44450 h 138429"/>
                <a:gd name="connsiteX1471" fmla="*/ 3664581 w 4940931"/>
                <a:gd name="connsiteY1471" fmla="*/ 86995 h 138429"/>
                <a:gd name="connsiteX1472" fmla="*/ 3664581 w 4940931"/>
                <a:gd name="connsiteY1472" fmla="*/ 91440 h 138429"/>
                <a:gd name="connsiteX1473" fmla="*/ 3665851 w 4940931"/>
                <a:gd name="connsiteY1473" fmla="*/ 94615 h 138429"/>
                <a:gd name="connsiteX1474" fmla="*/ 3668391 w 4940931"/>
                <a:gd name="connsiteY1474" fmla="*/ 95885 h 138429"/>
                <a:gd name="connsiteX1475" fmla="*/ 3672201 w 4940931"/>
                <a:gd name="connsiteY1475" fmla="*/ 95885 h 138429"/>
                <a:gd name="connsiteX1476" fmla="*/ 3678551 w 4940931"/>
                <a:gd name="connsiteY1476" fmla="*/ 95250 h 138429"/>
                <a:gd name="connsiteX1477" fmla="*/ 3683631 w 4940931"/>
                <a:gd name="connsiteY1477" fmla="*/ 93345 h 138429"/>
                <a:gd name="connsiteX1478" fmla="*/ 3681726 w 4940931"/>
                <a:gd name="connsiteY1478" fmla="*/ 106680 h 138429"/>
                <a:gd name="connsiteX1479" fmla="*/ 3675376 w 4940931"/>
                <a:gd name="connsiteY1479" fmla="*/ 109220 h 138429"/>
                <a:gd name="connsiteX1480" fmla="*/ 3667121 w 4940931"/>
                <a:gd name="connsiteY1480" fmla="*/ 110490 h 138429"/>
                <a:gd name="connsiteX1481" fmla="*/ 3660136 w 4940931"/>
                <a:gd name="connsiteY1481" fmla="*/ 109220 h 138429"/>
                <a:gd name="connsiteX1482" fmla="*/ 3654421 w 4940931"/>
                <a:gd name="connsiteY1482" fmla="*/ 105410 h 138429"/>
                <a:gd name="connsiteX1483" fmla="*/ 3650611 w 4940931"/>
                <a:gd name="connsiteY1483" fmla="*/ 99060 h 138429"/>
                <a:gd name="connsiteX1484" fmla="*/ 3649341 w 4940931"/>
                <a:gd name="connsiteY1484" fmla="*/ 89535 h 138429"/>
                <a:gd name="connsiteX1485" fmla="*/ 3649341 w 4940931"/>
                <a:gd name="connsiteY1485" fmla="*/ 44450 h 138429"/>
                <a:gd name="connsiteX1486" fmla="*/ 3638546 w 4940931"/>
                <a:gd name="connsiteY1486" fmla="*/ 44450 h 138429"/>
                <a:gd name="connsiteX1487" fmla="*/ 3638546 w 4940931"/>
                <a:gd name="connsiteY1487" fmla="*/ 30480 h 138429"/>
                <a:gd name="connsiteX1488" fmla="*/ 3649341 w 4940931"/>
                <a:gd name="connsiteY1488" fmla="*/ 30480 h 138429"/>
                <a:gd name="connsiteX1489" fmla="*/ 3649341 w 4940931"/>
                <a:gd name="connsiteY1489" fmla="*/ 8255 h 138429"/>
                <a:gd name="connsiteX1490" fmla="*/ 3610605 w 4940931"/>
                <a:gd name="connsiteY1490" fmla="*/ 0 h 138429"/>
                <a:gd name="connsiteX1491" fmla="*/ 3610605 w 4940931"/>
                <a:gd name="connsiteY1491" fmla="*/ 30480 h 138429"/>
                <a:gd name="connsiteX1492" fmla="*/ 3629655 w 4940931"/>
                <a:gd name="connsiteY1492" fmla="*/ 30480 h 138429"/>
                <a:gd name="connsiteX1493" fmla="*/ 3629655 w 4940931"/>
                <a:gd name="connsiteY1493" fmla="*/ 44450 h 138429"/>
                <a:gd name="connsiteX1494" fmla="*/ 3610605 w 4940931"/>
                <a:gd name="connsiteY1494" fmla="*/ 44450 h 138429"/>
                <a:gd name="connsiteX1495" fmla="*/ 3610605 w 4940931"/>
                <a:gd name="connsiteY1495" fmla="*/ 86995 h 138429"/>
                <a:gd name="connsiteX1496" fmla="*/ 3610605 w 4940931"/>
                <a:gd name="connsiteY1496" fmla="*/ 91440 h 138429"/>
                <a:gd name="connsiteX1497" fmla="*/ 3611875 w 4940931"/>
                <a:gd name="connsiteY1497" fmla="*/ 94615 h 138429"/>
                <a:gd name="connsiteX1498" fmla="*/ 3614415 w 4940931"/>
                <a:gd name="connsiteY1498" fmla="*/ 95885 h 138429"/>
                <a:gd name="connsiteX1499" fmla="*/ 3618225 w 4940931"/>
                <a:gd name="connsiteY1499" fmla="*/ 95885 h 138429"/>
                <a:gd name="connsiteX1500" fmla="*/ 3624575 w 4940931"/>
                <a:gd name="connsiteY1500" fmla="*/ 95250 h 138429"/>
                <a:gd name="connsiteX1501" fmla="*/ 3629655 w 4940931"/>
                <a:gd name="connsiteY1501" fmla="*/ 93345 h 138429"/>
                <a:gd name="connsiteX1502" fmla="*/ 3627750 w 4940931"/>
                <a:gd name="connsiteY1502" fmla="*/ 106680 h 138429"/>
                <a:gd name="connsiteX1503" fmla="*/ 3621400 w 4940931"/>
                <a:gd name="connsiteY1503" fmla="*/ 109220 h 138429"/>
                <a:gd name="connsiteX1504" fmla="*/ 3613145 w 4940931"/>
                <a:gd name="connsiteY1504" fmla="*/ 110490 h 138429"/>
                <a:gd name="connsiteX1505" fmla="*/ 3606160 w 4940931"/>
                <a:gd name="connsiteY1505" fmla="*/ 109220 h 138429"/>
                <a:gd name="connsiteX1506" fmla="*/ 3600445 w 4940931"/>
                <a:gd name="connsiteY1506" fmla="*/ 105410 h 138429"/>
                <a:gd name="connsiteX1507" fmla="*/ 3596635 w 4940931"/>
                <a:gd name="connsiteY1507" fmla="*/ 99060 h 138429"/>
                <a:gd name="connsiteX1508" fmla="*/ 3595365 w 4940931"/>
                <a:gd name="connsiteY1508" fmla="*/ 89535 h 138429"/>
                <a:gd name="connsiteX1509" fmla="*/ 3595365 w 4940931"/>
                <a:gd name="connsiteY1509" fmla="*/ 44450 h 138429"/>
                <a:gd name="connsiteX1510" fmla="*/ 3584570 w 4940931"/>
                <a:gd name="connsiteY1510" fmla="*/ 44450 h 138429"/>
                <a:gd name="connsiteX1511" fmla="*/ 3584570 w 4940931"/>
                <a:gd name="connsiteY1511" fmla="*/ 30480 h 138429"/>
                <a:gd name="connsiteX1512" fmla="*/ 3595365 w 4940931"/>
                <a:gd name="connsiteY1512" fmla="*/ 30480 h 138429"/>
                <a:gd name="connsiteX1513" fmla="*/ 3595365 w 4940931"/>
                <a:gd name="connsiteY1513" fmla="*/ 8255 h 138429"/>
                <a:gd name="connsiteX1514" fmla="*/ 3445505 w 4940931"/>
                <a:gd name="connsiteY1514" fmla="*/ 0 h 138429"/>
                <a:gd name="connsiteX1515" fmla="*/ 3445505 w 4940931"/>
                <a:gd name="connsiteY1515" fmla="*/ 37465 h 138429"/>
                <a:gd name="connsiteX1516" fmla="*/ 3449950 w 4940931"/>
                <a:gd name="connsiteY1516" fmla="*/ 33655 h 138429"/>
                <a:gd name="connsiteX1517" fmla="*/ 3453760 w 4940931"/>
                <a:gd name="connsiteY1517" fmla="*/ 31115 h 138429"/>
                <a:gd name="connsiteX1518" fmla="*/ 3458840 w 4940931"/>
                <a:gd name="connsiteY1518" fmla="*/ 29210 h 138429"/>
                <a:gd name="connsiteX1519" fmla="*/ 3465825 w 4940931"/>
                <a:gd name="connsiteY1519" fmla="*/ 28575 h 138429"/>
                <a:gd name="connsiteX1520" fmla="*/ 3477890 w 4940931"/>
                <a:gd name="connsiteY1520" fmla="*/ 31115 h 138429"/>
                <a:gd name="connsiteX1521" fmla="*/ 3487415 w 4940931"/>
                <a:gd name="connsiteY1521" fmla="*/ 38735 h 138429"/>
                <a:gd name="connsiteX1522" fmla="*/ 3493765 w 4940931"/>
                <a:gd name="connsiteY1522" fmla="*/ 51435 h 138429"/>
                <a:gd name="connsiteX1523" fmla="*/ 3496305 w 4940931"/>
                <a:gd name="connsiteY1523" fmla="*/ 70485 h 138429"/>
                <a:gd name="connsiteX1524" fmla="*/ 3495670 w 4940931"/>
                <a:gd name="connsiteY1524" fmla="*/ 71120 h 138429"/>
                <a:gd name="connsiteX1525" fmla="*/ 3493130 w 4940931"/>
                <a:gd name="connsiteY1525" fmla="*/ 88265 h 138429"/>
                <a:gd name="connsiteX1526" fmla="*/ 3486145 w 4940931"/>
                <a:gd name="connsiteY1526" fmla="*/ 100330 h 138429"/>
                <a:gd name="connsiteX1527" fmla="*/ 3476620 w 4940931"/>
                <a:gd name="connsiteY1527" fmla="*/ 107315 h 138429"/>
                <a:gd name="connsiteX1528" fmla="*/ 3465190 w 4940931"/>
                <a:gd name="connsiteY1528" fmla="*/ 109855 h 138429"/>
                <a:gd name="connsiteX1529" fmla="*/ 3454395 w 4940931"/>
                <a:gd name="connsiteY1529" fmla="*/ 107315 h 138429"/>
                <a:gd name="connsiteX1530" fmla="*/ 3445505 w 4940931"/>
                <a:gd name="connsiteY1530" fmla="*/ 100965 h 138429"/>
                <a:gd name="connsiteX1531" fmla="*/ 3445505 w 4940931"/>
                <a:gd name="connsiteY1531" fmla="*/ 107950 h 138429"/>
                <a:gd name="connsiteX1532" fmla="*/ 3430265 w 4940931"/>
                <a:gd name="connsiteY1532" fmla="*/ 107950 h 138429"/>
                <a:gd name="connsiteX1533" fmla="*/ 3430265 w 4940931"/>
                <a:gd name="connsiteY1533" fmla="*/ 7620 h 138429"/>
                <a:gd name="connsiteX1534" fmla="*/ 2380611 w 4940931"/>
                <a:gd name="connsiteY1534" fmla="*/ 0 h 138429"/>
                <a:gd name="connsiteX1535" fmla="*/ 2380611 w 4940931"/>
                <a:gd name="connsiteY1535" fmla="*/ 30480 h 138429"/>
                <a:gd name="connsiteX1536" fmla="*/ 2399661 w 4940931"/>
                <a:gd name="connsiteY1536" fmla="*/ 30480 h 138429"/>
                <a:gd name="connsiteX1537" fmla="*/ 2399661 w 4940931"/>
                <a:gd name="connsiteY1537" fmla="*/ 44450 h 138429"/>
                <a:gd name="connsiteX1538" fmla="*/ 2380611 w 4940931"/>
                <a:gd name="connsiteY1538" fmla="*/ 44450 h 138429"/>
                <a:gd name="connsiteX1539" fmla="*/ 2380611 w 4940931"/>
                <a:gd name="connsiteY1539" fmla="*/ 86995 h 138429"/>
                <a:gd name="connsiteX1540" fmla="*/ 2380611 w 4940931"/>
                <a:gd name="connsiteY1540" fmla="*/ 91440 h 138429"/>
                <a:gd name="connsiteX1541" fmla="*/ 2381881 w 4940931"/>
                <a:gd name="connsiteY1541" fmla="*/ 94615 h 138429"/>
                <a:gd name="connsiteX1542" fmla="*/ 2384421 w 4940931"/>
                <a:gd name="connsiteY1542" fmla="*/ 95885 h 138429"/>
                <a:gd name="connsiteX1543" fmla="*/ 2388231 w 4940931"/>
                <a:gd name="connsiteY1543" fmla="*/ 95885 h 138429"/>
                <a:gd name="connsiteX1544" fmla="*/ 2394581 w 4940931"/>
                <a:gd name="connsiteY1544" fmla="*/ 95250 h 138429"/>
                <a:gd name="connsiteX1545" fmla="*/ 2399661 w 4940931"/>
                <a:gd name="connsiteY1545" fmla="*/ 93345 h 138429"/>
                <a:gd name="connsiteX1546" fmla="*/ 2397756 w 4940931"/>
                <a:gd name="connsiteY1546" fmla="*/ 106680 h 138429"/>
                <a:gd name="connsiteX1547" fmla="*/ 2391406 w 4940931"/>
                <a:gd name="connsiteY1547" fmla="*/ 109220 h 138429"/>
                <a:gd name="connsiteX1548" fmla="*/ 2383151 w 4940931"/>
                <a:gd name="connsiteY1548" fmla="*/ 110490 h 138429"/>
                <a:gd name="connsiteX1549" fmla="*/ 2376166 w 4940931"/>
                <a:gd name="connsiteY1549" fmla="*/ 109220 h 138429"/>
                <a:gd name="connsiteX1550" fmla="*/ 2370451 w 4940931"/>
                <a:gd name="connsiteY1550" fmla="*/ 105410 h 138429"/>
                <a:gd name="connsiteX1551" fmla="*/ 2366641 w 4940931"/>
                <a:gd name="connsiteY1551" fmla="*/ 99060 h 138429"/>
                <a:gd name="connsiteX1552" fmla="*/ 2365371 w 4940931"/>
                <a:gd name="connsiteY1552" fmla="*/ 89535 h 138429"/>
                <a:gd name="connsiteX1553" fmla="*/ 2365371 w 4940931"/>
                <a:gd name="connsiteY1553" fmla="*/ 44450 h 138429"/>
                <a:gd name="connsiteX1554" fmla="*/ 2354576 w 4940931"/>
                <a:gd name="connsiteY1554" fmla="*/ 44450 h 138429"/>
                <a:gd name="connsiteX1555" fmla="*/ 2354576 w 4940931"/>
                <a:gd name="connsiteY1555" fmla="*/ 30480 h 138429"/>
                <a:gd name="connsiteX1556" fmla="*/ 2365371 w 4940931"/>
                <a:gd name="connsiteY1556" fmla="*/ 30480 h 138429"/>
                <a:gd name="connsiteX1557" fmla="*/ 2365371 w 4940931"/>
                <a:gd name="connsiteY1557" fmla="*/ 8255 h 138429"/>
                <a:gd name="connsiteX1558" fmla="*/ 2150741 w 4940931"/>
                <a:gd name="connsiteY1558" fmla="*/ 0 h 138429"/>
                <a:gd name="connsiteX1559" fmla="*/ 2150741 w 4940931"/>
                <a:gd name="connsiteY1559" fmla="*/ 30480 h 138429"/>
                <a:gd name="connsiteX1560" fmla="*/ 2169791 w 4940931"/>
                <a:gd name="connsiteY1560" fmla="*/ 30480 h 138429"/>
                <a:gd name="connsiteX1561" fmla="*/ 2169791 w 4940931"/>
                <a:gd name="connsiteY1561" fmla="*/ 44450 h 138429"/>
                <a:gd name="connsiteX1562" fmla="*/ 2150741 w 4940931"/>
                <a:gd name="connsiteY1562" fmla="*/ 44450 h 138429"/>
                <a:gd name="connsiteX1563" fmla="*/ 2150741 w 4940931"/>
                <a:gd name="connsiteY1563" fmla="*/ 86995 h 138429"/>
                <a:gd name="connsiteX1564" fmla="*/ 2150741 w 4940931"/>
                <a:gd name="connsiteY1564" fmla="*/ 91440 h 138429"/>
                <a:gd name="connsiteX1565" fmla="*/ 2152011 w 4940931"/>
                <a:gd name="connsiteY1565" fmla="*/ 94615 h 138429"/>
                <a:gd name="connsiteX1566" fmla="*/ 2154551 w 4940931"/>
                <a:gd name="connsiteY1566" fmla="*/ 95885 h 138429"/>
                <a:gd name="connsiteX1567" fmla="*/ 2158361 w 4940931"/>
                <a:gd name="connsiteY1567" fmla="*/ 95885 h 138429"/>
                <a:gd name="connsiteX1568" fmla="*/ 2164711 w 4940931"/>
                <a:gd name="connsiteY1568" fmla="*/ 95250 h 138429"/>
                <a:gd name="connsiteX1569" fmla="*/ 2169791 w 4940931"/>
                <a:gd name="connsiteY1569" fmla="*/ 93345 h 138429"/>
                <a:gd name="connsiteX1570" fmla="*/ 2167886 w 4940931"/>
                <a:gd name="connsiteY1570" fmla="*/ 106680 h 138429"/>
                <a:gd name="connsiteX1571" fmla="*/ 2161536 w 4940931"/>
                <a:gd name="connsiteY1571" fmla="*/ 109220 h 138429"/>
                <a:gd name="connsiteX1572" fmla="*/ 2153281 w 4940931"/>
                <a:gd name="connsiteY1572" fmla="*/ 110490 h 138429"/>
                <a:gd name="connsiteX1573" fmla="*/ 2146296 w 4940931"/>
                <a:gd name="connsiteY1573" fmla="*/ 109220 h 138429"/>
                <a:gd name="connsiteX1574" fmla="*/ 2140581 w 4940931"/>
                <a:gd name="connsiteY1574" fmla="*/ 105410 h 138429"/>
                <a:gd name="connsiteX1575" fmla="*/ 2136771 w 4940931"/>
                <a:gd name="connsiteY1575" fmla="*/ 99060 h 138429"/>
                <a:gd name="connsiteX1576" fmla="*/ 2135501 w 4940931"/>
                <a:gd name="connsiteY1576" fmla="*/ 89535 h 138429"/>
                <a:gd name="connsiteX1577" fmla="*/ 2135501 w 4940931"/>
                <a:gd name="connsiteY1577" fmla="*/ 44450 h 138429"/>
                <a:gd name="connsiteX1578" fmla="*/ 2124706 w 4940931"/>
                <a:gd name="connsiteY1578" fmla="*/ 44450 h 138429"/>
                <a:gd name="connsiteX1579" fmla="*/ 2124706 w 4940931"/>
                <a:gd name="connsiteY1579" fmla="*/ 30480 h 138429"/>
                <a:gd name="connsiteX1580" fmla="*/ 2135501 w 4940931"/>
                <a:gd name="connsiteY1580" fmla="*/ 30480 h 138429"/>
                <a:gd name="connsiteX1581" fmla="*/ 2135501 w 4940931"/>
                <a:gd name="connsiteY1581" fmla="*/ 8255 h 138429"/>
                <a:gd name="connsiteX1582" fmla="*/ 2096131 w 4940931"/>
                <a:gd name="connsiteY1582" fmla="*/ 0 h 138429"/>
                <a:gd name="connsiteX1583" fmla="*/ 2096131 w 4940931"/>
                <a:gd name="connsiteY1583" fmla="*/ 30480 h 138429"/>
                <a:gd name="connsiteX1584" fmla="*/ 2115181 w 4940931"/>
                <a:gd name="connsiteY1584" fmla="*/ 30480 h 138429"/>
                <a:gd name="connsiteX1585" fmla="*/ 2115181 w 4940931"/>
                <a:gd name="connsiteY1585" fmla="*/ 44450 h 138429"/>
                <a:gd name="connsiteX1586" fmla="*/ 2096131 w 4940931"/>
                <a:gd name="connsiteY1586" fmla="*/ 44450 h 138429"/>
                <a:gd name="connsiteX1587" fmla="*/ 2096131 w 4940931"/>
                <a:gd name="connsiteY1587" fmla="*/ 86995 h 138429"/>
                <a:gd name="connsiteX1588" fmla="*/ 2096131 w 4940931"/>
                <a:gd name="connsiteY1588" fmla="*/ 91440 h 138429"/>
                <a:gd name="connsiteX1589" fmla="*/ 2097401 w 4940931"/>
                <a:gd name="connsiteY1589" fmla="*/ 94615 h 138429"/>
                <a:gd name="connsiteX1590" fmla="*/ 2099941 w 4940931"/>
                <a:gd name="connsiteY1590" fmla="*/ 95885 h 138429"/>
                <a:gd name="connsiteX1591" fmla="*/ 2103751 w 4940931"/>
                <a:gd name="connsiteY1591" fmla="*/ 95885 h 138429"/>
                <a:gd name="connsiteX1592" fmla="*/ 2110101 w 4940931"/>
                <a:gd name="connsiteY1592" fmla="*/ 95250 h 138429"/>
                <a:gd name="connsiteX1593" fmla="*/ 2115181 w 4940931"/>
                <a:gd name="connsiteY1593" fmla="*/ 93345 h 138429"/>
                <a:gd name="connsiteX1594" fmla="*/ 2113276 w 4940931"/>
                <a:gd name="connsiteY1594" fmla="*/ 106680 h 138429"/>
                <a:gd name="connsiteX1595" fmla="*/ 2106926 w 4940931"/>
                <a:gd name="connsiteY1595" fmla="*/ 109220 h 138429"/>
                <a:gd name="connsiteX1596" fmla="*/ 2098671 w 4940931"/>
                <a:gd name="connsiteY1596" fmla="*/ 110490 h 138429"/>
                <a:gd name="connsiteX1597" fmla="*/ 2091686 w 4940931"/>
                <a:gd name="connsiteY1597" fmla="*/ 109220 h 138429"/>
                <a:gd name="connsiteX1598" fmla="*/ 2085971 w 4940931"/>
                <a:gd name="connsiteY1598" fmla="*/ 105410 h 138429"/>
                <a:gd name="connsiteX1599" fmla="*/ 2082161 w 4940931"/>
                <a:gd name="connsiteY1599" fmla="*/ 99060 h 138429"/>
                <a:gd name="connsiteX1600" fmla="*/ 2080891 w 4940931"/>
                <a:gd name="connsiteY1600" fmla="*/ 89535 h 138429"/>
                <a:gd name="connsiteX1601" fmla="*/ 2080891 w 4940931"/>
                <a:gd name="connsiteY1601" fmla="*/ 44450 h 138429"/>
                <a:gd name="connsiteX1602" fmla="*/ 2070096 w 4940931"/>
                <a:gd name="connsiteY1602" fmla="*/ 44450 h 138429"/>
                <a:gd name="connsiteX1603" fmla="*/ 2070096 w 4940931"/>
                <a:gd name="connsiteY1603" fmla="*/ 30480 h 138429"/>
                <a:gd name="connsiteX1604" fmla="*/ 2080891 w 4940931"/>
                <a:gd name="connsiteY1604" fmla="*/ 30480 h 138429"/>
                <a:gd name="connsiteX1605" fmla="*/ 2080891 w 4940931"/>
                <a:gd name="connsiteY1605" fmla="*/ 8255 h 138429"/>
                <a:gd name="connsiteX1606" fmla="*/ 1931665 w 4940931"/>
                <a:gd name="connsiteY1606" fmla="*/ 0 h 138429"/>
                <a:gd name="connsiteX1607" fmla="*/ 1931665 w 4940931"/>
                <a:gd name="connsiteY1607" fmla="*/ 37465 h 138429"/>
                <a:gd name="connsiteX1608" fmla="*/ 1936110 w 4940931"/>
                <a:gd name="connsiteY1608" fmla="*/ 33655 h 138429"/>
                <a:gd name="connsiteX1609" fmla="*/ 1939920 w 4940931"/>
                <a:gd name="connsiteY1609" fmla="*/ 31115 h 138429"/>
                <a:gd name="connsiteX1610" fmla="*/ 1945000 w 4940931"/>
                <a:gd name="connsiteY1610" fmla="*/ 29210 h 138429"/>
                <a:gd name="connsiteX1611" fmla="*/ 1951985 w 4940931"/>
                <a:gd name="connsiteY1611" fmla="*/ 28575 h 138429"/>
                <a:gd name="connsiteX1612" fmla="*/ 1964050 w 4940931"/>
                <a:gd name="connsiteY1612" fmla="*/ 31115 h 138429"/>
                <a:gd name="connsiteX1613" fmla="*/ 1973575 w 4940931"/>
                <a:gd name="connsiteY1613" fmla="*/ 38735 h 138429"/>
                <a:gd name="connsiteX1614" fmla="*/ 1979925 w 4940931"/>
                <a:gd name="connsiteY1614" fmla="*/ 51435 h 138429"/>
                <a:gd name="connsiteX1615" fmla="*/ 1982465 w 4940931"/>
                <a:gd name="connsiteY1615" fmla="*/ 70485 h 138429"/>
                <a:gd name="connsiteX1616" fmla="*/ 1981830 w 4940931"/>
                <a:gd name="connsiteY1616" fmla="*/ 71120 h 138429"/>
                <a:gd name="connsiteX1617" fmla="*/ 1979290 w 4940931"/>
                <a:gd name="connsiteY1617" fmla="*/ 88265 h 138429"/>
                <a:gd name="connsiteX1618" fmla="*/ 1972305 w 4940931"/>
                <a:gd name="connsiteY1618" fmla="*/ 100330 h 138429"/>
                <a:gd name="connsiteX1619" fmla="*/ 1962780 w 4940931"/>
                <a:gd name="connsiteY1619" fmla="*/ 107315 h 138429"/>
                <a:gd name="connsiteX1620" fmla="*/ 1951350 w 4940931"/>
                <a:gd name="connsiteY1620" fmla="*/ 109855 h 138429"/>
                <a:gd name="connsiteX1621" fmla="*/ 1940555 w 4940931"/>
                <a:gd name="connsiteY1621" fmla="*/ 107315 h 138429"/>
                <a:gd name="connsiteX1622" fmla="*/ 1931665 w 4940931"/>
                <a:gd name="connsiteY1622" fmla="*/ 100965 h 138429"/>
                <a:gd name="connsiteX1623" fmla="*/ 1931665 w 4940931"/>
                <a:gd name="connsiteY1623" fmla="*/ 107950 h 138429"/>
                <a:gd name="connsiteX1624" fmla="*/ 1916425 w 4940931"/>
                <a:gd name="connsiteY1624" fmla="*/ 107950 h 138429"/>
                <a:gd name="connsiteX1625" fmla="*/ 1916425 w 4940931"/>
                <a:gd name="connsiteY1625" fmla="*/ 7620 h 138429"/>
                <a:gd name="connsiteX1626" fmla="*/ 1316991 w 4940931"/>
                <a:gd name="connsiteY1626" fmla="*/ 0 h 138429"/>
                <a:gd name="connsiteX1627" fmla="*/ 1316991 w 4940931"/>
                <a:gd name="connsiteY1627" fmla="*/ 30480 h 138429"/>
                <a:gd name="connsiteX1628" fmla="*/ 1336041 w 4940931"/>
                <a:gd name="connsiteY1628" fmla="*/ 30480 h 138429"/>
                <a:gd name="connsiteX1629" fmla="*/ 1336041 w 4940931"/>
                <a:gd name="connsiteY1629" fmla="*/ 44450 h 138429"/>
                <a:gd name="connsiteX1630" fmla="*/ 1316991 w 4940931"/>
                <a:gd name="connsiteY1630" fmla="*/ 44450 h 138429"/>
                <a:gd name="connsiteX1631" fmla="*/ 1316991 w 4940931"/>
                <a:gd name="connsiteY1631" fmla="*/ 86995 h 138429"/>
                <a:gd name="connsiteX1632" fmla="*/ 1316991 w 4940931"/>
                <a:gd name="connsiteY1632" fmla="*/ 91440 h 138429"/>
                <a:gd name="connsiteX1633" fmla="*/ 1318261 w 4940931"/>
                <a:gd name="connsiteY1633" fmla="*/ 94615 h 138429"/>
                <a:gd name="connsiteX1634" fmla="*/ 1320801 w 4940931"/>
                <a:gd name="connsiteY1634" fmla="*/ 95885 h 138429"/>
                <a:gd name="connsiteX1635" fmla="*/ 1324611 w 4940931"/>
                <a:gd name="connsiteY1635" fmla="*/ 95885 h 138429"/>
                <a:gd name="connsiteX1636" fmla="*/ 1330961 w 4940931"/>
                <a:gd name="connsiteY1636" fmla="*/ 95250 h 138429"/>
                <a:gd name="connsiteX1637" fmla="*/ 1336041 w 4940931"/>
                <a:gd name="connsiteY1637" fmla="*/ 93345 h 138429"/>
                <a:gd name="connsiteX1638" fmla="*/ 1334136 w 4940931"/>
                <a:gd name="connsiteY1638" fmla="*/ 106680 h 138429"/>
                <a:gd name="connsiteX1639" fmla="*/ 1327786 w 4940931"/>
                <a:gd name="connsiteY1639" fmla="*/ 109220 h 138429"/>
                <a:gd name="connsiteX1640" fmla="*/ 1319531 w 4940931"/>
                <a:gd name="connsiteY1640" fmla="*/ 110490 h 138429"/>
                <a:gd name="connsiteX1641" fmla="*/ 1312546 w 4940931"/>
                <a:gd name="connsiteY1641" fmla="*/ 109220 h 138429"/>
                <a:gd name="connsiteX1642" fmla="*/ 1306831 w 4940931"/>
                <a:gd name="connsiteY1642" fmla="*/ 105410 h 138429"/>
                <a:gd name="connsiteX1643" fmla="*/ 1303021 w 4940931"/>
                <a:gd name="connsiteY1643" fmla="*/ 99060 h 138429"/>
                <a:gd name="connsiteX1644" fmla="*/ 1301751 w 4940931"/>
                <a:gd name="connsiteY1644" fmla="*/ 89535 h 138429"/>
                <a:gd name="connsiteX1645" fmla="*/ 1301751 w 4940931"/>
                <a:gd name="connsiteY1645" fmla="*/ 44450 h 138429"/>
                <a:gd name="connsiteX1646" fmla="*/ 1290956 w 4940931"/>
                <a:gd name="connsiteY1646" fmla="*/ 44450 h 138429"/>
                <a:gd name="connsiteX1647" fmla="*/ 1290956 w 4940931"/>
                <a:gd name="connsiteY1647" fmla="*/ 30480 h 138429"/>
                <a:gd name="connsiteX1648" fmla="*/ 1301751 w 4940931"/>
                <a:gd name="connsiteY1648" fmla="*/ 30480 h 138429"/>
                <a:gd name="connsiteX1649" fmla="*/ 1301751 w 4940931"/>
                <a:gd name="connsiteY1649" fmla="*/ 8255 h 138429"/>
                <a:gd name="connsiteX1650" fmla="*/ 751206 w 4940931"/>
                <a:gd name="connsiteY1650" fmla="*/ 0 h 138429"/>
                <a:gd name="connsiteX1651" fmla="*/ 751206 w 4940931"/>
                <a:gd name="connsiteY1651" fmla="*/ 30480 h 138429"/>
                <a:gd name="connsiteX1652" fmla="*/ 770256 w 4940931"/>
                <a:gd name="connsiteY1652" fmla="*/ 30480 h 138429"/>
                <a:gd name="connsiteX1653" fmla="*/ 770256 w 4940931"/>
                <a:gd name="connsiteY1653" fmla="*/ 44450 h 138429"/>
                <a:gd name="connsiteX1654" fmla="*/ 751206 w 4940931"/>
                <a:gd name="connsiteY1654" fmla="*/ 44450 h 138429"/>
                <a:gd name="connsiteX1655" fmla="*/ 751206 w 4940931"/>
                <a:gd name="connsiteY1655" fmla="*/ 86995 h 138429"/>
                <a:gd name="connsiteX1656" fmla="*/ 751206 w 4940931"/>
                <a:gd name="connsiteY1656" fmla="*/ 91440 h 138429"/>
                <a:gd name="connsiteX1657" fmla="*/ 752476 w 4940931"/>
                <a:gd name="connsiteY1657" fmla="*/ 94615 h 138429"/>
                <a:gd name="connsiteX1658" fmla="*/ 755016 w 4940931"/>
                <a:gd name="connsiteY1658" fmla="*/ 95885 h 138429"/>
                <a:gd name="connsiteX1659" fmla="*/ 758826 w 4940931"/>
                <a:gd name="connsiteY1659" fmla="*/ 95885 h 138429"/>
                <a:gd name="connsiteX1660" fmla="*/ 765176 w 4940931"/>
                <a:gd name="connsiteY1660" fmla="*/ 95250 h 138429"/>
                <a:gd name="connsiteX1661" fmla="*/ 770256 w 4940931"/>
                <a:gd name="connsiteY1661" fmla="*/ 93345 h 138429"/>
                <a:gd name="connsiteX1662" fmla="*/ 768351 w 4940931"/>
                <a:gd name="connsiteY1662" fmla="*/ 106680 h 138429"/>
                <a:gd name="connsiteX1663" fmla="*/ 762001 w 4940931"/>
                <a:gd name="connsiteY1663" fmla="*/ 109220 h 138429"/>
                <a:gd name="connsiteX1664" fmla="*/ 753746 w 4940931"/>
                <a:gd name="connsiteY1664" fmla="*/ 110490 h 138429"/>
                <a:gd name="connsiteX1665" fmla="*/ 746761 w 4940931"/>
                <a:gd name="connsiteY1665" fmla="*/ 109220 h 138429"/>
                <a:gd name="connsiteX1666" fmla="*/ 741045 w 4940931"/>
                <a:gd name="connsiteY1666" fmla="*/ 105410 h 138429"/>
                <a:gd name="connsiteX1667" fmla="*/ 737236 w 4940931"/>
                <a:gd name="connsiteY1667" fmla="*/ 99060 h 138429"/>
                <a:gd name="connsiteX1668" fmla="*/ 735966 w 4940931"/>
                <a:gd name="connsiteY1668" fmla="*/ 89535 h 138429"/>
                <a:gd name="connsiteX1669" fmla="*/ 735966 w 4940931"/>
                <a:gd name="connsiteY1669" fmla="*/ 44450 h 138429"/>
                <a:gd name="connsiteX1670" fmla="*/ 725171 w 4940931"/>
                <a:gd name="connsiteY1670" fmla="*/ 44450 h 138429"/>
                <a:gd name="connsiteX1671" fmla="*/ 725171 w 4940931"/>
                <a:gd name="connsiteY1671" fmla="*/ 30480 h 138429"/>
                <a:gd name="connsiteX1672" fmla="*/ 735966 w 4940931"/>
                <a:gd name="connsiteY1672" fmla="*/ 30480 h 138429"/>
                <a:gd name="connsiteX1673" fmla="*/ 735966 w 4940931"/>
                <a:gd name="connsiteY1673" fmla="*/ 8255 h 138429"/>
                <a:gd name="connsiteX1674" fmla="*/ 521335 w 4940931"/>
                <a:gd name="connsiteY1674" fmla="*/ 0 h 138429"/>
                <a:gd name="connsiteX1675" fmla="*/ 521335 w 4940931"/>
                <a:gd name="connsiteY1675" fmla="*/ 30480 h 138429"/>
                <a:gd name="connsiteX1676" fmla="*/ 540385 w 4940931"/>
                <a:gd name="connsiteY1676" fmla="*/ 30480 h 138429"/>
                <a:gd name="connsiteX1677" fmla="*/ 540385 w 4940931"/>
                <a:gd name="connsiteY1677" fmla="*/ 44450 h 138429"/>
                <a:gd name="connsiteX1678" fmla="*/ 521335 w 4940931"/>
                <a:gd name="connsiteY1678" fmla="*/ 44450 h 138429"/>
                <a:gd name="connsiteX1679" fmla="*/ 521335 w 4940931"/>
                <a:gd name="connsiteY1679" fmla="*/ 86995 h 138429"/>
                <a:gd name="connsiteX1680" fmla="*/ 521335 w 4940931"/>
                <a:gd name="connsiteY1680" fmla="*/ 91440 h 138429"/>
                <a:gd name="connsiteX1681" fmla="*/ 522605 w 4940931"/>
                <a:gd name="connsiteY1681" fmla="*/ 94615 h 138429"/>
                <a:gd name="connsiteX1682" fmla="*/ 525145 w 4940931"/>
                <a:gd name="connsiteY1682" fmla="*/ 95885 h 138429"/>
                <a:gd name="connsiteX1683" fmla="*/ 528955 w 4940931"/>
                <a:gd name="connsiteY1683" fmla="*/ 95885 h 138429"/>
                <a:gd name="connsiteX1684" fmla="*/ 535305 w 4940931"/>
                <a:gd name="connsiteY1684" fmla="*/ 95250 h 138429"/>
                <a:gd name="connsiteX1685" fmla="*/ 540385 w 4940931"/>
                <a:gd name="connsiteY1685" fmla="*/ 93345 h 138429"/>
                <a:gd name="connsiteX1686" fmla="*/ 538480 w 4940931"/>
                <a:gd name="connsiteY1686" fmla="*/ 106680 h 138429"/>
                <a:gd name="connsiteX1687" fmla="*/ 532130 w 4940931"/>
                <a:gd name="connsiteY1687" fmla="*/ 109220 h 138429"/>
                <a:gd name="connsiteX1688" fmla="*/ 523875 w 4940931"/>
                <a:gd name="connsiteY1688" fmla="*/ 110490 h 138429"/>
                <a:gd name="connsiteX1689" fmla="*/ 516890 w 4940931"/>
                <a:gd name="connsiteY1689" fmla="*/ 109220 h 138429"/>
                <a:gd name="connsiteX1690" fmla="*/ 511175 w 4940931"/>
                <a:gd name="connsiteY1690" fmla="*/ 105410 h 138429"/>
                <a:gd name="connsiteX1691" fmla="*/ 507365 w 4940931"/>
                <a:gd name="connsiteY1691" fmla="*/ 99060 h 138429"/>
                <a:gd name="connsiteX1692" fmla="*/ 506095 w 4940931"/>
                <a:gd name="connsiteY1692" fmla="*/ 89535 h 138429"/>
                <a:gd name="connsiteX1693" fmla="*/ 506095 w 4940931"/>
                <a:gd name="connsiteY1693" fmla="*/ 44450 h 138429"/>
                <a:gd name="connsiteX1694" fmla="*/ 495300 w 4940931"/>
                <a:gd name="connsiteY1694" fmla="*/ 44450 h 138429"/>
                <a:gd name="connsiteX1695" fmla="*/ 495300 w 4940931"/>
                <a:gd name="connsiteY1695" fmla="*/ 30480 h 138429"/>
                <a:gd name="connsiteX1696" fmla="*/ 506095 w 4940931"/>
                <a:gd name="connsiteY1696" fmla="*/ 30480 h 138429"/>
                <a:gd name="connsiteX1697" fmla="*/ 506095 w 4940931"/>
                <a:gd name="connsiteY1697" fmla="*/ 8255 h 138429"/>
                <a:gd name="connsiteX1698" fmla="*/ 466724 w 4940931"/>
                <a:gd name="connsiteY1698" fmla="*/ 0 h 138429"/>
                <a:gd name="connsiteX1699" fmla="*/ 466724 w 4940931"/>
                <a:gd name="connsiteY1699" fmla="*/ 30480 h 138429"/>
                <a:gd name="connsiteX1700" fmla="*/ 485774 w 4940931"/>
                <a:gd name="connsiteY1700" fmla="*/ 30480 h 138429"/>
                <a:gd name="connsiteX1701" fmla="*/ 485774 w 4940931"/>
                <a:gd name="connsiteY1701" fmla="*/ 44450 h 138429"/>
                <a:gd name="connsiteX1702" fmla="*/ 466724 w 4940931"/>
                <a:gd name="connsiteY1702" fmla="*/ 44450 h 138429"/>
                <a:gd name="connsiteX1703" fmla="*/ 466724 w 4940931"/>
                <a:gd name="connsiteY1703" fmla="*/ 86995 h 138429"/>
                <a:gd name="connsiteX1704" fmla="*/ 466724 w 4940931"/>
                <a:gd name="connsiteY1704" fmla="*/ 91440 h 138429"/>
                <a:gd name="connsiteX1705" fmla="*/ 467994 w 4940931"/>
                <a:gd name="connsiteY1705" fmla="*/ 94615 h 138429"/>
                <a:gd name="connsiteX1706" fmla="*/ 470534 w 4940931"/>
                <a:gd name="connsiteY1706" fmla="*/ 95885 h 138429"/>
                <a:gd name="connsiteX1707" fmla="*/ 474344 w 4940931"/>
                <a:gd name="connsiteY1707" fmla="*/ 95885 h 138429"/>
                <a:gd name="connsiteX1708" fmla="*/ 480694 w 4940931"/>
                <a:gd name="connsiteY1708" fmla="*/ 95250 h 138429"/>
                <a:gd name="connsiteX1709" fmla="*/ 485774 w 4940931"/>
                <a:gd name="connsiteY1709" fmla="*/ 93345 h 138429"/>
                <a:gd name="connsiteX1710" fmla="*/ 483869 w 4940931"/>
                <a:gd name="connsiteY1710" fmla="*/ 106680 h 138429"/>
                <a:gd name="connsiteX1711" fmla="*/ 477519 w 4940931"/>
                <a:gd name="connsiteY1711" fmla="*/ 109220 h 138429"/>
                <a:gd name="connsiteX1712" fmla="*/ 469264 w 4940931"/>
                <a:gd name="connsiteY1712" fmla="*/ 110490 h 138429"/>
                <a:gd name="connsiteX1713" fmla="*/ 462279 w 4940931"/>
                <a:gd name="connsiteY1713" fmla="*/ 109220 h 138429"/>
                <a:gd name="connsiteX1714" fmla="*/ 456564 w 4940931"/>
                <a:gd name="connsiteY1714" fmla="*/ 105410 h 138429"/>
                <a:gd name="connsiteX1715" fmla="*/ 452754 w 4940931"/>
                <a:gd name="connsiteY1715" fmla="*/ 99060 h 138429"/>
                <a:gd name="connsiteX1716" fmla="*/ 451484 w 4940931"/>
                <a:gd name="connsiteY1716" fmla="*/ 89535 h 138429"/>
                <a:gd name="connsiteX1717" fmla="*/ 451484 w 4940931"/>
                <a:gd name="connsiteY1717" fmla="*/ 44450 h 138429"/>
                <a:gd name="connsiteX1718" fmla="*/ 440689 w 4940931"/>
                <a:gd name="connsiteY1718" fmla="*/ 44450 h 138429"/>
                <a:gd name="connsiteX1719" fmla="*/ 440689 w 4940931"/>
                <a:gd name="connsiteY1719" fmla="*/ 30480 h 138429"/>
                <a:gd name="connsiteX1720" fmla="*/ 451484 w 4940931"/>
                <a:gd name="connsiteY1720" fmla="*/ 30480 h 138429"/>
                <a:gd name="connsiteX1721" fmla="*/ 451484 w 4940931"/>
                <a:gd name="connsiteY1721" fmla="*/ 8255 h 138429"/>
                <a:gd name="connsiteX1722" fmla="*/ 302259 w 4940931"/>
                <a:gd name="connsiteY1722" fmla="*/ 0 h 138429"/>
                <a:gd name="connsiteX1723" fmla="*/ 302259 w 4940931"/>
                <a:gd name="connsiteY1723" fmla="*/ 37465 h 138429"/>
                <a:gd name="connsiteX1724" fmla="*/ 306704 w 4940931"/>
                <a:gd name="connsiteY1724" fmla="*/ 33655 h 138429"/>
                <a:gd name="connsiteX1725" fmla="*/ 310514 w 4940931"/>
                <a:gd name="connsiteY1725" fmla="*/ 31115 h 138429"/>
                <a:gd name="connsiteX1726" fmla="*/ 315594 w 4940931"/>
                <a:gd name="connsiteY1726" fmla="*/ 29210 h 138429"/>
                <a:gd name="connsiteX1727" fmla="*/ 322579 w 4940931"/>
                <a:gd name="connsiteY1727" fmla="*/ 28575 h 138429"/>
                <a:gd name="connsiteX1728" fmla="*/ 334644 w 4940931"/>
                <a:gd name="connsiteY1728" fmla="*/ 31115 h 138429"/>
                <a:gd name="connsiteX1729" fmla="*/ 344169 w 4940931"/>
                <a:gd name="connsiteY1729" fmla="*/ 38735 h 138429"/>
                <a:gd name="connsiteX1730" fmla="*/ 350519 w 4940931"/>
                <a:gd name="connsiteY1730" fmla="*/ 51435 h 138429"/>
                <a:gd name="connsiteX1731" fmla="*/ 353059 w 4940931"/>
                <a:gd name="connsiteY1731" fmla="*/ 70485 h 138429"/>
                <a:gd name="connsiteX1732" fmla="*/ 352424 w 4940931"/>
                <a:gd name="connsiteY1732" fmla="*/ 71120 h 138429"/>
                <a:gd name="connsiteX1733" fmla="*/ 349884 w 4940931"/>
                <a:gd name="connsiteY1733" fmla="*/ 88265 h 138429"/>
                <a:gd name="connsiteX1734" fmla="*/ 342899 w 4940931"/>
                <a:gd name="connsiteY1734" fmla="*/ 100330 h 138429"/>
                <a:gd name="connsiteX1735" fmla="*/ 333374 w 4940931"/>
                <a:gd name="connsiteY1735" fmla="*/ 107315 h 138429"/>
                <a:gd name="connsiteX1736" fmla="*/ 321944 w 4940931"/>
                <a:gd name="connsiteY1736" fmla="*/ 109855 h 138429"/>
                <a:gd name="connsiteX1737" fmla="*/ 311149 w 4940931"/>
                <a:gd name="connsiteY1737" fmla="*/ 107315 h 138429"/>
                <a:gd name="connsiteX1738" fmla="*/ 302259 w 4940931"/>
                <a:gd name="connsiteY1738" fmla="*/ 100965 h 138429"/>
                <a:gd name="connsiteX1739" fmla="*/ 302259 w 4940931"/>
                <a:gd name="connsiteY1739" fmla="*/ 107950 h 138429"/>
                <a:gd name="connsiteX1740" fmla="*/ 287019 w 4940931"/>
                <a:gd name="connsiteY1740" fmla="*/ 107950 h 138429"/>
                <a:gd name="connsiteX1741" fmla="*/ 287019 w 4940931"/>
                <a:gd name="connsiteY1741" fmla="*/ 7620 h 138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  <a:cxn ang="0">
                  <a:pos x="connsiteX1535" y="connsiteY1535"/>
                </a:cxn>
                <a:cxn ang="0">
                  <a:pos x="connsiteX1536" y="connsiteY1536"/>
                </a:cxn>
                <a:cxn ang="0">
                  <a:pos x="connsiteX1537" y="connsiteY1537"/>
                </a:cxn>
                <a:cxn ang="0">
                  <a:pos x="connsiteX1538" y="connsiteY1538"/>
                </a:cxn>
                <a:cxn ang="0">
                  <a:pos x="connsiteX1539" y="connsiteY1539"/>
                </a:cxn>
                <a:cxn ang="0">
                  <a:pos x="connsiteX1540" y="connsiteY1540"/>
                </a:cxn>
                <a:cxn ang="0">
                  <a:pos x="connsiteX1541" y="connsiteY1541"/>
                </a:cxn>
                <a:cxn ang="0">
                  <a:pos x="connsiteX1542" y="connsiteY1542"/>
                </a:cxn>
                <a:cxn ang="0">
                  <a:pos x="connsiteX1543" y="connsiteY1543"/>
                </a:cxn>
                <a:cxn ang="0">
                  <a:pos x="connsiteX1544" y="connsiteY1544"/>
                </a:cxn>
                <a:cxn ang="0">
                  <a:pos x="connsiteX1545" y="connsiteY1545"/>
                </a:cxn>
                <a:cxn ang="0">
                  <a:pos x="connsiteX1546" y="connsiteY1546"/>
                </a:cxn>
                <a:cxn ang="0">
                  <a:pos x="connsiteX1547" y="connsiteY1547"/>
                </a:cxn>
                <a:cxn ang="0">
                  <a:pos x="connsiteX1548" y="connsiteY1548"/>
                </a:cxn>
                <a:cxn ang="0">
                  <a:pos x="connsiteX1549" y="connsiteY1549"/>
                </a:cxn>
                <a:cxn ang="0">
                  <a:pos x="connsiteX1550" y="connsiteY1550"/>
                </a:cxn>
                <a:cxn ang="0">
                  <a:pos x="connsiteX1551" y="connsiteY1551"/>
                </a:cxn>
                <a:cxn ang="0">
                  <a:pos x="connsiteX1552" y="connsiteY1552"/>
                </a:cxn>
                <a:cxn ang="0">
                  <a:pos x="connsiteX1553" y="connsiteY1553"/>
                </a:cxn>
                <a:cxn ang="0">
                  <a:pos x="connsiteX1554" y="connsiteY1554"/>
                </a:cxn>
                <a:cxn ang="0">
                  <a:pos x="connsiteX1555" y="connsiteY1555"/>
                </a:cxn>
                <a:cxn ang="0">
                  <a:pos x="connsiteX1556" y="connsiteY1556"/>
                </a:cxn>
                <a:cxn ang="0">
                  <a:pos x="connsiteX1557" y="connsiteY1557"/>
                </a:cxn>
                <a:cxn ang="0">
                  <a:pos x="connsiteX1558" y="connsiteY1558"/>
                </a:cxn>
                <a:cxn ang="0">
                  <a:pos x="connsiteX1559" y="connsiteY1559"/>
                </a:cxn>
                <a:cxn ang="0">
                  <a:pos x="connsiteX1560" y="connsiteY1560"/>
                </a:cxn>
                <a:cxn ang="0">
                  <a:pos x="connsiteX1561" y="connsiteY1561"/>
                </a:cxn>
                <a:cxn ang="0">
                  <a:pos x="connsiteX1562" y="connsiteY1562"/>
                </a:cxn>
                <a:cxn ang="0">
                  <a:pos x="connsiteX1563" y="connsiteY1563"/>
                </a:cxn>
                <a:cxn ang="0">
                  <a:pos x="connsiteX1564" y="connsiteY1564"/>
                </a:cxn>
                <a:cxn ang="0">
                  <a:pos x="connsiteX1565" y="connsiteY1565"/>
                </a:cxn>
                <a:cxn ang="0">
                  <a:pos x="connsiteX1566" y="connsiteY1566"/>
                </a:cxn>
                <a:cxn ang="0">
                  <a:pos x="connsiteX1567" y="connsiteY1567"/>
                </a:cxn>
                <a:cxn ang="0">
                  <a:pos x="connsiteX1568" y="connsiteY1568"/>
                </a:cxn>
                <a:cxn ang="0">
                  <a:pos x="connsiteX1569" y="connsiteY1569"/>
                </a:cxn>
                <a:cxn ang="0">
                  <a:pos x="connsiteX1570" y="connsiteY1570"/>
                </a:cxn>
                <a:cxn ang="0">
                  <a:pos x="connsiteX1571" y="connsiteY1571"/>
                </a:cxn>
                <a:cxn ang="0">
                  <a:pos x="connsiteX1572" y="connsiteY1572"/>
                </a:cxn>
                <a:cxn ang="0">
                  <a:pos x="connsiteX1573" y="connsiteY1573"/>
                </a:cxn>
                <a:cxn ang="0">
                  <a:pos x="connsiteX1574" y="connsiteY1574"/>
                </a:cxn>
                <a:cxn ang="0">
                  <a:pos x="connsiteX1575" y="connsiteY1575"/>
                </a:cxn>
                <a:cxn ang="0">
                  <a:pos x="connsiteX1576" y="connsiteY1576"/>
                </a:cxn>
                <a:cxn ang="0">
                  <a:pos x="connsiteX1577" y="connsiteY1577"/>
                </a:cxn>
                <a:cxn ang="0">
                  <a:pos x="connsiteX1578" y="connsiteY1578"/>
                </a:cxn>
                <a:cxn ang="0">
                  <a:pos x="connsiteX1579" y="connsiteY1579"/>
                </a:cxn>
                <a:cxn ang="0">
                  <a:pos x="connsiteX1580" y="connsiteY1580"/>
                </a:cxn>
                <a:cxn ang="0">
                  <a:pos x="connsiteX1581" y="connsiteY1581"/>
                </a:cxn>
                <a:cxn ang="0">
                  <a:pos x="connsiteX1582" y="connsiteY1582"/>
                </a:cxn>
                <a:cxn ang="0">
                  <a:pos x="connsiteX1583" y="connsiteY1583"/>
                </a:cxn>
                <a:cxn ang="0">
                  <a:pos x="connsiteX1584" y="connsiteY1584"/>
                </a:cxn>
                <a:cxn ang="0">
                  <a:pos x="connsiteX1585" y="connsiteY1585"/>
                </a:cxn>
                <a:cxn ang="0">
                  <a:pos x="connsiteX1586" y="connsiteY1586"/>
                </a:cxn>
                <a:cxn ang="0">
                  <a:pos x="connsiteX1587" y="connsiteY1587"/>
                </a:cxn>
                <a:cxn ang="0">
                  <a:pos x="connsiteX1588" y="connsiteY1588"/>
                </a:cxn>
                <a:cxn ang="0">
                  <a:pos x="connsiteX1589" y="connsiteY1589"/>
                </a:cxn>
                <a:cxn ang="0">
                  <a:pos x="connsiteX1590" y="connsiteY1590"/>
                </a:cxn>
                <a:cxn ang="0">
                  <a:pos x="connsiteX1591" y="connsiteY1591"/>
                </a:cxn>
                <a:cxn ang="0">
                  <a:pos x="connsiteX1592" y="connsiteY1592"/>
                </a:cxn>
                <a:cxn ang="0">
                  <a:pos x="connsiteX1593" y="connsiteY1593"/>
                </a:cxn>
                <a:cxn ang="0">
                  <a:pos x="connsiteX1594" y="connsiteY1594"/>
                </a:cxn>
                <a:cxn ang="0">
                  <a:pos x="connsiteX1595" y="connsiteY1595"/>
                </a:cxn>
                <a:cxn ang="0">
                  <a:pos x="connsiteX1596" y="connsiteY1596"/>
                </a:cxn>
                <a:cxn ang="0">
                  <a:pos x="connsiteX1597" y="connsiteY1597"/>
                </a:cxn>
                <a:cxn ang="0">
                  <a:pos x="connsiteX1598" y="connsiteY1598"/>
                </a:cxn>
                <a:cxn ang="0">
                  <a:pos x="connsiteX1599" y="connsiteY1599"/>
                </a:cxn>
                <a:cxn ang="0">
                  <a:pos x="connsiteX1600" y="connsiteY1600"/>
                </a:cxn>
                <a:cxn ang="0">
                  <a:pos x="connsiteX1601" y="connsiteY1601"/>
                </a:cxn>
                <a:cxn ang="0">
                  <a:pos x="connsiteX1602" y="connsiteY1602"/>
                </a:cxn>
                <a:cxn ang="0">
                  <a:pos x="connsiteX1603" y="connsiteY1603"/>
                </a:cxn>
                <a:cxn ang="0">
                  <a:pos x="connsiteX1604" y="connsiteY1604"/>
                </a:cxn>
                <a:cxn ang="0">
                  <a:pos x="connsiteX1605" y="connsiteY1605"/>
                </a:cxn>
                <a:cxn ang="0">
                  <a:pos x="connsiteX1606" y="connsiteY1606"/>
                </a:cxn>
                <a:cxn ang="0">
                  <a:pos x="connsiteX1607" y="connsiteY1607"/>
                </a:cxn>
                <a:cxn ang="0">
                  <a:pos x="connsiteX1608" y="connsiteY1608"/>
                </a:cxn>
                <a:cxn ang="0">
                  <a:pos x="connsiteX1609" y="connsiteY1609"/>
                </a:cxn>
                <a:cxn ang="0">
                  <a:pos x="connsiteX1610" y="connsiteY1610"/>
                </a:cxn>
                <a:cxn ang="0">
                  <a:pos x="connsiteX1611" y="connsiteY1611"/>
                </a:cxn>
                <a:cxn ang="0">
                  <a:pos x="connsiteX1612" y="connsiteY1612"/>
                </a:cxn>
                <a:cxn ang="0">
                  <a:pos x="connsiteX1613" y="connsiteY1613"/>
                </a:cxn>
                <a:cxn ang="0">
                  <a:pos x="connsiteX1614" y="connsiteY1614"/>
                </a:cxn>
                <a:cxn ang="0">
                  <a:pos x="connsiteX1615" y="connsiteY1615"/>
                </a:cxn>
                <a:cxn ang="0">
                  <a:pos x="connsiteX1616" y="connsiteY1616"/>
                </a:cxn>
                <a:cxn ang="0">
                  <a:pos x="connsiteX1617" y="connsiteY1617"/>
                </a:cxn>
                <a:cxn ang="0">
                  <a:pos x="connsiteX1618" y="connsiteY1618"/>
                </a:cxn>
                <a:cxn ang="0">
                  <a:pos x="connsiteX1619" y="connsiteY1619"/>
                </a:cxn>
                <a:cxn ang="0">
                  <a:pos x="connsiteX1620" y="connsiteY1620"/>
                </a:cxn>
                <a:cxn ang="0">
                  <a:pos x="connsiteX1621" y="connsiteY1621"/>
                </a:cxn>
                <a:cxn ang="0">
                  <a:pos x="connsiteX1622" y="connsiteY1622"/>
                </a:cxn>
                <a:cxn ang="0">
                  <a:pos x="connsiteX1623" y="connsiteY1623"/>
                </a:cxn>
                <a:cxn ang="0">
                  <a:pos x="connsiteX1624" y="connsiteY1624"/>
                </a:cxn>
                <a:cxn ang="0">
                  <a:pos x="connsiteX1625" y="connsiteY1625"/>
                </a:cxn>
                <a:cxn ang="0">
                  <a:pos x="connsiteX1626" y="connsiteY1626"/>
                </a:cxn>
                <a:cxn ang="0">
                  <a:pos x="connsiteX1627" y="connsiteY1627"/>
                </a:cxn>
                <a:cxn ang="0">
                  <a:pos x="connsiteX1628" y="connsiteY1628"/>
                </a:cxn>
                <a:cxn ang="0">
                  <a:pos x="connsiteX1629" y="connsiteY1629"/>
                </a:cxn>
                <a:cxn ang="0">
                  <a:pos x="connsiteX1630" y="connsiteY1630"/>
                </a:cxn>
                <a:cxn ang="0">
                  <a:pos x="connsiteX1631" y="connsiteY1631"/>
                </a:cxn>
                <a:cxn ang="0">
                  <a:pos x="connsiteX1632" y="connsiteY1632"/>
                </a:cxn>
                <a:cxn ang="0">
                  <a:pos x="connsiteX1633" y="connsiteY1633"/>
                </a:cxn>
                <a:cxn ang="0">
                  <a:pos x="connsiteX1634" y="connsiteY1634"/>
                </a:cxn>
                <a:cxn ang="0">
                  <a:pos x="connsiteX1635" y="connsiteY1635"/>
                </a:cxn>
                <a:cxn ang="0">
                  <a:pos x="connsiteX1636" y="connsiteY1636"/>
                </a:cxn>
                <a:cxn ang="0">
                  <a:pos x="connsiteX1637" y="connsiteY1637"/>
                </a:cxn>
                <a:cxn ang="0">
                  <a:pos x="connsiteX1638" y="connsiteY1638"/>
                </a:cxn>
                <a:cxn ang="0">
                  <a:pos x="connsiteX1639" y="connsiteY1639"/>
                </a:cxn>
                <a:cxn ang="0">
                  <a:pos x="connsiteX1640" y="connsiteY1640"/>
                </a:cxn>
                <a:cxn ang="0">
                  <a:pos x="connsiteX1641" y="connsiteY1641"/>
                </a:cxn>
                <a:cxn ang="0">
                  <a:pos x="connsiteX1642" y="connsiteY1642"/>
                </a:cxn>
                <a:cxn ang="0">
                  <a:pos x="connsiteX1643" y="connsiteY1643"/>
                </a:cxn>
                <a:cxn ang="0">
                  <a:pos x="connsiteX1644" y="connsiteY1644"/>
                </a:cxn>
                <a:cxn ang="0">
                  <a:pos x="connsiteX1645" y="connsiteY1645"/>
                </a:cxn>
                <a:cxn ang="0">
                  <a:pos x="connsiteX1646" y="connsiteY1646"/>
                </a:cxn>
                <a:cxn ang="0">
                  <a:pos x="connsiteX1647" y="connsiteY1647"/>
                </a:cxn>
                <a:cxn ang="0">
                  <a:pos x="connsiteX1648" y="connsiteY1648"/>
                </a:cxn>
                <a:cxn ang="0">
                  <a:pos x="connsiteX1649" y="connsiteY1649"/>
                </a:cxn>
                <a:cxn ang="0">
                  <a:pos x="connsiteX1650" y="connsiteY1650"/>
                </a:cxn>
                <a:cxn ang="0">
                  <a:pos x="connsiteX1651" y="connsiteY1651"/>
                </a:cxn>
                <a:cxn ang="0">
                  <a:pos x="connsiteX1652" y="connsiteY1652"/>
                </a:cxn>
                <a:cxn ang="0">
                  <a:pos x="connsiteX1653" y="connsiteY1653"/>
                </a:cxn>
                <a:cxn ang="0">
                  <a:pos x="connsiteX1654" y="connsiteY1654"/>
                </a:cxn>
                <a:cxn ang="0">
                  <a:pos x="connsiteX1655" y="connsiteY1655"/>
                </a:cxn>
                <a:cxn ang="0">
                  <a:pos x="connsiteX1656" y="connsiteY1656"/>
                </a:cxn>
                <a:cxn ang="0">
                  <a:pos x="connsiteX1657" y="connsiteY1657"/>
                </a:cxn>
                <a:cxn ang="0">
                  <a:pos x="connsiteX1658" y="connsiteY1658"/>
                </a:cxn>
                <a:cxn ang="0">
                  <a:pos x="connsiteX1659" y="connsiteY1659"/>
                </a:cxn>
                <a:cxn ang="0">
                  <a:pos x="connsiteX1660" y="connsiteY1660"/>
                </a:cxn>
                <a:cxn ang="0">
                  <a:pos x="connsiteX1661" y="connsiteY1661"/>
                </a:cxn>
                <a:cxn ang="0">
                  <a:pos x="connsiteX1662" y="connsiteY1662"/>
                </a:cxn>
                <a:cxn ang="0">
                  <a:pos x="connsiteX1663" y="connsiteY1663"/>
                </a:cxn>
                <a:cxn ang="0">
                  <a:pos x="connsiteX1664" y="connsiteY1664"/>
                </a:cxn>
                <a:cxn ang="0">
                  <a:pos x="connsiteX1665" y="connsiteY1665"/>
                </a:cxn>
                <a:cxn ang="0">
                  <a:pos x="connsiteX1666" y="connsiteY1666"/>
                </a:cxn>
                <a:cxn ang="0">
                  <a:pos x="connsiteX1667" y="connsiteY1667"/>
                </a:cxn>
                <a:cxn ang="0">
                  <a:pos x="connsiteX1668" y="connsiteY1668"/>
                </a:cxn>
                <a:cxn ang="0">
                  <a:pos x="connsiteX1669" y="connsiteY1669"/>
                </a:cxn>
                <a:cxn ang="0">
                  <a:pos x="connsiteX1670" y="connsiteY1670"/>
                </a:cxn>
                <a:cxn ang="0">
                  <a:pos x="connsiteX1671" y="connsiteY1671"/>
                </a:cxn>
                <a:cxn ang="0">
                  <a:pos x="connsiteX1672" y="connsiteY1672"/>
                </a:cxn>
                <a:cxn ang="0">
                  <a:pos x="connsiteX1673" y="connsiteY1673"/>
                </a:cxn>
                <a:cxn ang="0">
                  <a:pos x="connsiteX1674" y="connsiteY1674"/>
                </a:cxn>
                <a:cxn ang="0">
                  <a:pos x="connsiteX1675" y="connsiteY1675"/>
                </a:cxn>
                <a:cxn ang="0">
                  <a:pos x="connsiteX1676" y="connsiteY1676"/>
                </a:cxn>
                <a:cxn ang="0">
                  <a:pos x="connsiteX1677" y="connsiteY1677"/>
                </a:cxn>
                <a:cxn ang="0">
                  <a:pos x="connsiteX1678" y="connsiteY1678"/>
                </a:cxn>
                <a:cxn ang="0">
                  <a:pos x="connsiteX1679" y="connsiteY1679"/>
                </a:cxn>
                <a:cxn ang="0">
                  <a:pos x="connsiteX1680" y="connsiteY1680"/>
                </a:cxn>
                <a:cxn ang="0">
                  <a:pos x="connsiteX1681" y="connsiteY1681"/>
                </a:cxn>
                <a:cxn ang="0">
                  <a:pos x="connsiteX1682" y="connsiteY1682"/>
                </a:cxn>
                <a:cxn ang="0">
                  <a:pos x="connsiteX1683" y="connsiteY1683"/>
                </a:cxn>
                <a:cxn ang="0">
                  <a:pos x="connsiteX1684" y="connsiteY1684"/>
                </a:cxn>
                <a:cxn ang="0">
                  <a:pos x="connsiteX1685" y="connsiteY1685"/>
                </a:cxn>
                <a:cxn ang="0">
                  <a:pos x="connsiteX1686" y="connsiteY1686"/>
                </a:cxn>
                <a:cxn ang="0">
                  <a:pos x="connsiteX1687" y="connsiteY1687"/>
                </a:cxn>
                <a:cxn ang="0">
                  <a:pos x="connsiteX1688" y="connsiteY1688"/>
                </a:cxn>
                <a:cxn ang="0">
                  <a:pos x="connsiteX1689" y="connsiteY1689"/>
                </a:cxn>
                <a:cxn ang="0">
                  <a:pos x="connsiteX1690" y="connsiteY1690"/>
                </a:cxn>
                <a:cxn ang="0">
                  <a:pos x="connsiteX1691" y="connsiteY1691"/>
                </a:cxn>
                <a:cxn ang="0">
                  <a:pos x="connsiteX1692" y="connsiteY1692"/>
                </a:cxn>
                <a:cxn ang="0">
                  <a:pos x="connsiteX1693" y="connsiteY1693"/>
                </a:cxn>
                <a:cxn ang="0">
                  <a:pos x="connsiteX1694" y="connsiteY1694"/>
                </a:cxn>
                <a:cxn ang="0">
                  <a:pos x="connsiteX1695" y="connsiteY1695"/>
                </a:cxn>
                <a:cxn ang="0">
                  <a:pos x="connsiteX1696" y="connsiteY1696"/>
                </a:cxn>
                <a:cxn ang="0">
                  <a:pos x="connsiteX1697" y="connsiteY1697"/>
                </a:cxn>
                <a:cxn ang="0">
                  <a:pos x="connsiteX1698" y="connsiteY1698"/>
                </a:cxn>
                <a:cxn ang="0">
                  <a:pos x="connsiteX1699" y="connsiteY1699"/>
                </a:cxn>
                <a:cxn ang="0">
                  <a:pos x="connsiteX1700" y="connsiteY1700"/>
                </a:cxn>
                <a:cxn ang="0">
                  <a:pos x="connsiteX1701" y="connsiteY1701"/>
                </a:cxn>
                <a:cxn ang="0">
                  <a:pos x="connsiteX1702" y="connsiteY1702"/>
                </a:cxn>
                <a:cxn ang="0">
                  <a:pos x="connsiteX1703" y="connsiteY1703"/>
                </a:cxn>
                <a:cxn ang="0">
                  <a:pos x="connsiteX1704" y="connsiteY1704"/>
                </a:cxn>
                <a:cxn ang="0">
                  <a:pos x="connsiteX1705" y="connsiteY1705"/>
                </a:cxn>
                <a:cxn ang="0">
                  <a:pos x="connsiteX1706" y="connsiteY1706"/>
                </a:cxn>
                <a:cxn ang="0">
                  <a:pos x="connsiteX1707" y="connsiteY1707"/>
                </a:cxn>
                <a:cxn ang="0">
                  <a:pos x="connsiteX1708" y="connsiteY1708"/>
                </a:cxn>
                <a:cxn ang="0">
                  <a:pos x="connsiteX1709" y="connsiteY1709"/>
                </a:cxn>
                <a:cxn ang="0">
                  <a:pos x="connsiteX1710" y="connsiteY1710"/>
                </a:cxn>
                <a:cxn ang="0">
                  <a:pos x="connsiteX1711" y="connsiteY1711"/>
                </a:cxn>
                <a:cxn ang="0">
                  <a:pos x="connsiteX1712" y="connsiteY1712"/>
                </a:cxn>
                <a:cxn ang="0">
                  <a:pos x="connsiteX1713" y="connsiteY1713"/>
                </a:cxn>
                <a:cxn ang="0">
                  <a:pos x="connsiteX1714" y="connsiteY1714"/>
                </a:cxn>
                <a:cxn ang="0">
                  <a:pos x="connsiteX1715" y="connsiteY1715"/>
                </a:cxn>
                <a:cxn ang="0">
                  <a:pos x="connsiteX1716" y="connsiteY1716"/>
                </a:cxn>
                <a:cxn ang="0">
                  <a:pos x="connsiteX1717" y="connsiteY1717"/>
                </a:cxn>
                <a:cxn ang="0">
                  <a:pos x="connsiteX1718" y="connsiteY1718"/>
                </a:cxn>
                <a:cxn ang="0">
                  <a:pos x="connsiteX1719" y="connsiteY1719"/>
                </a:cxn>
                <a:cxn ang="0">
                  <a:pos x="connsiteX1720" y="connsiteY1720"/>
                </a:cxn>
                <a:cxn ang="0">
                  <a:pos x="connsiteX1721" y="connsiteY1721"/>
                </a:cxn>
                <a:cxn ang="0">
                  <a:pos x="connsiteX1722" y="connsiteY1722"/>
                </a:cxn>
                <a:cxn ang="0">
                  <a:pos x="connsiteX1723" y="connsiteY1723"/>
                </a:cxn>
                <a:cxn ang="0">
                  <a:pos x="connsiteX1724" y="connsiteY1724"/>
                </a:cxn>
                <a:cxn ang="0">
                  <a:pos x="connsiteX1725" y="connsiteY1725"/>
                </a:cxn>
                <a:cxn ang="0">
                  <a:pos x="connsiteX1726" y="connsiteY1726"/>
                </a:cxn>
                <a:cxn ang="0">
                  <a:pos x="connsiteX1727" y="connsiteY1727"/>
                </a:cxn>
                <a:cxn ang="0">
                  <a:pos x="connsiteX1728" y="connsiteY1728"/>
                </a:cxn>
                <a:cxn ang="0">
                  <a:pos x="connsiteX1729" y="connsiteY1729"/>
                </a:cxn>
                <a:cxn ang="0">
                  <a:pos x="connsiteX1730" y="connsiteY1730"/>
                </a:cxn>
                <a:cxn ang="0">
                  <a:pos x="connsiteX1731" y="connsiteY1731"/>
                </a:cxn>
                <a:cxn ang="0">
                  <a:pos x="connsiteX1732" y="connsiteY1732"/>
                </a:cxn>
                <a:cxn ang="0">
                  <a:pos x="connsiteX1733" y="connsiteY1733"/>
                </a:cxn>
                <a:cxn ang="0">
                  <a:pos x="connsiteX1734" y="connsiteY1734"/>
                </a:cxn>
                <a:cxn ang="0">
                  <a:pos x="connsiteX1735" y="connsiteY1735"/>
                </a:cxn>
                <a:cxn ang="0">
                  <a:pos x="connsiteX1736" y="connsiteY1736"/>
                </a:cxn>
                <a:cxn ang="0">
                  <a:pos x="connsiteX1737" y="connsiteY1737"/>
                </a:cxn>
                <a:cxn ang="0">
                  <a:pos x="connsiteX1738" y="connsiteY1738"/>
                </a:cxn>
                <a:cxn ang="0">
                  <a:pos x="connsiteX1739" y="connsiteY1739"/>
                </a:cxn>
                <a:cxn ang="0">
                  <a:pos x="connsiteX1740" y="connsiteY1740"/>
                </a:cxn>
                <a:cxn ang="0">
                  <a:pos x="connsiteX1741" y="connsiteY1741"/>
                </a:cxn>
              </a:cxnLst>
              <a:rect l="l" t="t" r="r" b="b"/>
              <a:pathLst>
                <a:path w="4940931" h="138429">
                  <a:moveTo>
                    <a:pt x="1032512" y="137477"/>
                  </a:moveTo>
                  <a:lnTo>
                    <a:pt x="1032512" y="137794"/>
                  </a:lnTo>
                  <a:lnTo>
                    <a:pt x="1030607" y="138429"/>
                  </a:lnTo>
                  <a:close/>
                  <a:moveTo>
                    <a:pt x="4929501" y="87629"/>
                  </a:moveTo>
                  <a:cubicBezTo>
                    <a:pt x="4930771" y="87629"/>
                    <a:pt x="4932676" y="87629"/>
                    <a:pt x="4933946" y="88264"/>
                  </a:cubicBezTo>
                  <a:cubicBezTo>
                    <a:pt x="4935216" y="88264"/>
                    <a:pt x="4936486" y="89534"/>
                    <a:pt x="4937756" y="90804"/>
                  </a:cubicBezTo>
                  <a:cubicBezTo>
                    <a:pt x="4939026" y="92074"/>
                    <a:pt x="4939661" y="93344"/>
                    <a:pt x="4940296" y="94614"/>
                  </a:cubicBezTo>
                  <a:cubicBezTo>
                    <a:pt x="4940296" y="95884"/>
                    <a:pt x="4940931" y="97789"/>
                    <a:pt x="4940931" y="99059"/>
                  </a:cubicBezTo>
                  <a:cubicBezTo>
                    <a:pt x="4940931" y="99059"/>
                    <a:pt x="4940931" y="102234"/>
                    <a:pt x="4940296" y="103504"/>
                  </a:cubicBezTo>
                  <a:cubicBezTo>
                    <a:pt x="4940296" y="104774"/>
                    <a:pt x="4939026" y="106044"/>
                    <a:pt x="4937756" y="107314"/>
                  </a:cubicBezTo>
                  <a:cubicBezTo>
                    <a:pt x="4936486" y="108584"/>
                    <a:pt x="4935216" y="109219"/>
                    <a:pt x="4933946" y="109854"/>
                  </a:cubicBezTo>
                  <a:cubicBezTo>
                    <a:pt x="4932676" y="109854"/>
                    <a:pt x="4930771" y="110489"/>
                    <a:pt x="4929501" y="110489"/>
                  </a:cubicBezTo>
                  <a:cubicBezTo>
                    <a:pt x="4928231" y="110489"/>
                    <a:pt x="4926326" y="110489"/>
                    <a:pt x="4925056" y="109854"/>
                  </a:cubicBezTo>
                  <a:cubicBezTo>
                    <a:pt x="4923786" y="109854"/>
                    <a:pt x="4922516" y="108584"/>
                    <a:pt x="4921246" y="107314"/>
                  </a:cubicBezTo>
                  <a:cubicBezTo>
                    <a:pt x="4919976" y="106044"/>
                    <a:pt x="4919341" y="104774"/>
                    <a:pt x="4918706" y="103504"/>
                  </a:cubicBezTo>
                  <a:cubicBezTo>
                    <a:pt x="4918706" y="102234"/>
                    <a:pt x="4918071" y="100329"/>
                    <a:pt x="4918071" y="99059"/>
                  </a:cubicBezTo>
                  <a:cubicBezTo>
                    <a:pt x="4918071" y="97789"/>
                    <a:pt x="4918071" y="95884"/>
                    <a:pt x="4918706" y="94614"/>
                  </a:cubicBezTo>
                  <a:cubicBezTo>
                    <a:pt x="4918706" y="93344"/>
                    <a:pt x="4919976" y="92074"/>
                    <a:pt x="4921246" y="90804"/>
                  </a:cubicBezTo>
                  <a:cubicBezTo>
                    <a:pt x="4922516" y="89534"/>
                    <a:pt x="4923786" y="88899"/>
                    <a:pt x="4925056" y="88264"/>
                  </a:cubicBezTo>
                  <a:cubicBezTo>
                    <a:pt x="4926326" y="88264"/>
                    <a:pt x="4928231" y="87629"/>
                    <a:pt x="4929501" y="87629"/>
                  </a:cubicBezTo>
                  <a:close/>
                  <a:moveTo>
                    <a:pt x="3079110" y="87629"/>
                  </a:moveTo>
                  <a:cubicBezTo>
                    <a:pt x="3080380" y="87629"/>
                    <a:pt x="3082285" y="87629"/>
                    <a:pt x="3083555" y="88264"/>
                  </a:cubicBezTo>
                  <a:cubicBezTo>
                    <a:pt x="3084825" y="88264"/>
                    <a:pt x="3086095" y="89534"/>
                    <a:pt x="3087365" y="90804"/>
                  </a:cubicBezTo>
                  <a:cubicBezTo>
                    <a:pt x="3088635" y="92074"/>
                    <a:pt x="3089270" y="93344"/>
                    <a:pt x="3089905" y="94614"/>
                  </a:cubicBezTo>
                  <a:cubicBezTo>
                    <a:pt x="3089905" y="95884"/>
                    <a:pt x="3090540" y="97789"/>
                    <a:pt x="3090540" y="99059"/>
                  </a:cubicBezTo>
                  <a:cubicBezTo>
                    <a:pt x="3090540" y="99059"/>
                    <a:pt x="3090540" y="102234"/>
                    <a:pt x="3089905" y="103504"/>
                  </a:cubicBezTo>
                  <a:cubicBezTo>
                    <a:pt x="3089905" y="104774"/>
                    <a:pt x="3088635" y="106044"/>
                    <a:pt x="3087365" y="107314"/>
                  </a:cubicBezTo>
                  <a:cubicBezTo>
                    <a:pt x="3086095" y="108584"/>
                    <a:pt x="3084825" y="109219"/>
                    <a:pt x="3083555" y="109854"/>
                  </a:cubicBezTo>
                  <a:cubicBezTo>
                    <a:pt x="3082285" y="109854"/>
                    <a:pt x="3080380" y="110489"/>
                    <a:pt x="3079110" y="110489"/>
                  </a:cubicBezTo>
                  <a:cubicBezTo>
                    <a:pt x="3077840" y="110489"/>
                    <a:pt x="3075935" y="110489"/>
                    <a:pt x="3074665" y="109854"/>
                  </a:cubicBezTo>
                  <a:cubicBezTo>
                    <a:pt x="3073395" y="109854"/>
                    <a:pt x="3072125" y="108584"/>
                    <a:pt x="3070855" y="107314"/>
                  </a:cubicBezTo>
                  <a:cubicBezTo>
                    <a:pt x="3069585" y="106044"/>
                    <a:pt x="3068950" y="104774"/>
                    <a:pt x="3068315" y="103504"/>
                  </a:cubicBezTo>
                  <a:cubicBezTo>
                    <a:pt x="3068315" y="102234"/>
                    <a:pt x="3067680" y="100329"/>
                    <a:pt x="3067680" y="99059"/>
                  </a:cubicBezTo>
                  <a:cubicBezTo>
                    <a:pt x="3067680" y="97789"/>
                    <a:pt x="3067680" y="95884"/>
                    <a:pt x="3068315" y="94614"/>
                  </a:cubicBezTo>
                  <a:cubicBezTo>
                    <a:pt x="3068315" y="93344"/>
                    <a:pt x="3069585" y="92074"/>
                    <a:pt x="3070855" y="90804"/>
                  </a:cubicBezTo>
                  <a:cubicBezTo>
                    <a:pt x="3072125" y="89534"/>
                    <a:pt x="3073395" y="88899"/>
                    <a:pt x="3074665" y="88264"/>
                  </a:cubicBezTo>
                  <a:cubicBezTo>
                    <a:pt x="3075935" y="88264"/>
                    <a:pt x="3077840" y="87629"/>
                    <a:pt x="3079110" y="87629"/>
                  </a:cubicBezTo>
                  <a:close/>
                  <a:moveTo>
                    <a:pt x="1565275" y="87629"/>
                  </a:moveTo>
                  <a:cubicBezTo>
                    <a:pt x="1566545" y="87629"/>
                    <a:pt x="1568450" y="87629"/>
                    <a:pt x="1569720" y="88264"/>
                  </a:cubicBezTo>
                  <a:cubicBezTo>
                    <a:pt x="1570990" y="88264"/>
                    <a:pt x="1572260" y="89534"/>
                    <a:pt x="1573529" y="90804"/>
                  </a:cubicBezTo>
                  <a:cubicBezTo>
                    <a:pt x="1574800" y="92074"/>
                    <a:pt x="1575435" y="93344"/>
                    <a:pt x="1576069" y="94614"/>
                  </a:cubicBezTo>
                  <a:cubicBezTo>
                    <a:pt x="1576069" y="95884"/>
                    <a:pt x="1576705" y="97789"/>
                    <a:pt x="1576705" y="99059"/>
                  </a:cubicBezTo>
                  <a:cubicBezTo>
                    <a:pt x="1576705" y="99059"/>
                    <a:pt x="1576705" y="102234"/>
                    <a:pt x="1576069" y="103504"/>
                  </a:cubicBezTo>
                  <a:cubicBezTo>
                    <a:pt x="1576069" y="104774"/>
                    <a:pt x="1574800" y="106044"/>
                    <a:pt x="1573529" y="107314"/>
                  </a:cubicBezTo>
                  <a:cubicBezTo>
                    <a:pt x="1572260" y="108584"/>
                    <a:pt x="1570990" y="109219"/>
                    <a:pt x="1569720" y="109854"/>
                  </a:cubicBezTo>
                  <a:cubicBezTo>
                    <a:pt x="1568450" y="109854"/>
                    <a:pt x="1566545" y="110489"/>
                    <a:pt x="1565275" y="110489"/>
                  </a:cubicBezTo>
                  <a:cubicBezTo>
                    <a:pt x="1564005" y="110489"/>
                    <a:pt x="1562099" y="110489"/>
                    <a:pt x="1560830" y="109854"/>
                  </a:cubicBezTo>
                  <a:cubicBezTo>
                    <a:pt x="1559559" y="109854"/>
                    <a:pt x="1558289" y="108584"/>
                    <a:pt x="1557020" y="107314"/>
                  </a:cubicBezTo>
                  <a:cubicBezTo>
                    <a:pt x="1555750" y="106044"/>
                    <a:pt x="1555114" y="104774"/>
                    <a:pt x="1554479" y="103504"/>
                  </a:cubicBezTo>
                  <a:cubicBezTo>
                    <a:pt x="1554479" y="102234"/>
                    <a:pt x="1553844" y="100329"/>
                    <a:pt x="1553844" y="99059"/>
                  </a:cubicBezTo>
                  <a:cubicBezTo>
                    <a:pt x="1553844" y="97789"/>
                    <a:pt x="1553844" y="95884"/>
                    <a:pt x="1554479" y="94614"/>
                  </a:cubicBezTo>
                  <a:cubicBezTo>
                    <a:pt x="1554479" y="93344"/>
                    <a:pt x="1555750" y="92074"/>
                    <a:pt x="1557020" y="90804"/>
                  </a:cubicBezTo>
                  <a:cubicBezTo>
                    <a:pt x="1558289" y="89534"/>
                    <a:pt x="1559559" y="88899"/>
                    <a:pt x="1560830" y="88264"/>
                  </a:cubicBezTo>
                  <a:cubicBezTo>
                    <a:pt x="1562099" y="88264"/>
                    <a:pt x="1564005" y="87629"/>
                    <a:pt x="1565275" y="87629"/>
                  </a:cubicBezTo>
                  <a:close/>
                  <a:moveTo>
                    <a:pt x="2642230" y="73024"/>
                  </a:moveTo>
                  <a:cubicBezTo>
                    <a:pt x="2637150" y="73024"/>
                    <a:pt x="2633340" y="74294"/>
                    <a:pt x="2630800" y="76199"/>
                  </a:cubicBezTo>
                  <a:cubicBezTo>
                    <a:pt x="2627625" y="78104"/>
                    <a:pt x="2626355" y="81279"/>
                    <a:pt x="2626355" y="84454"/>
                  </a:cubicBezTo>
                  <a:cubicBezTo>
                    <a:pt x="2626355" y="86994"/>
                    <a:pt x="2626355" y="88899"/>
                    <a:pt x="2627625" y="90169"/>
                  </a:cubicBezTo>
                  <a:cubicBezTo>
                    <a:pt x="2628260" y="92074"/>
                    <a:pt x="2629530" y="93344"/>
                    <a:pt x="2630800" y="93979"/>
                  </a:cubicBezTo>
                  <a:cubicBezTo>
                    <a:pt x="2632070" y="95249"/>
                    <a:pt x="2633340" y="95884"/>
                    <a:pt x="2635245" y="96519"/>
                  </a:cubicBezTo>
                  <a:cubicBezTo>
                    <a:pt x="2637150" y="96519"/>
                    <a:pt x="2639055" y="97154"/>
                    <a:pt x="2641595" y="97154"/>
                  </a:cubicBezTo>
                  <a:cubicBezTo>
                    <a:pt x="2643500" y="97154"/>
                    <a:pt x="2645405" y="97154"/>
                    <a:pt x="2647310" y="96519"/>
                  </a:cubicBezTo>
                  <a:cubicBezTo>
                    <a:pt x="2649215" y="96519"/>
                    <a:pt x="2651120" y="95249"/>
                    <a:pt x="2652390" y="93979"/>
                  </a:cubicBezTo>
                  <a:cubicBezTo>
                    <a:pt x="2654295" y="93344"/>
                    <a:pt x="2655565" y="92074"/>
                    <a:pt x="2656835" y="90804"/>
                  </a:cubicBezTo>
                  <a:cubicBezTo>
                    <a:pt x="2658105" y="89534"/>
                    <a:pt x="2659375" y="88264"/>
                    <a:pt x="2660010" y="86994"/>
                  </a:cubicBezTo>
                  <a:lnTo>
                    <a:pt x="2660010" y="75564"/>
                  </a:lnTo>
                  <a:cubicBezTo>
                    <a:pt x="2660010" y="75564"/>
                    <a:pt x="2657470" y="74294"/>
                    <a:pt x="2656200" y="74294"/>
                  </a:cubicBezTo>
                  <a:cubicBezTo>
                    <a:pt x="2654930" y="74294"/>
                    <a:pt x="2653660" y="73659"/>
                    <a:pt x="2652390" y="73659"/>
                  </a:cubicBezTo>
                  <a:cubicBezTo>
                    <a:pt x="2651120" y="73659"/>
                    <a:pt x="2649850" y="73659"/>
                    <a:pt x="2647945" y="73024"/>
                  </a:cubicBezTo>
                  <a:cubicBezTo>
                    <a:pt x="2646040" y="73024"/>
                    <a:pt x="2644135" y="73024"/>
                    <a:pt x="2642230" y="73024"/>
                  </a:cubicBezTo>
                  <a:close/>
                  <a:moveTo>
                    <a:pt x="4664706" y="43814"/>
                  </a:moveTo>
                  <a:cubicBezTo>
                    <a:pt x="4661531" y="43814"/>
                    <a:pt x="4658991" y="43814"/>
                    <a:pt x="4657086" y="45719"/>
                  </a:cubicBezTo>
                  <a:cubicBezTo>
                    <a:pt x="4654546" y="46989"/>
                    <a:pt x="4652641" y="48894"/>
                    <a:pt x="4651371" y="50799"/>
                  </a:cubicBezTo>
                  <a:cubicBezTo>
                    <a:pt x="4649466" y="53339"/>
                    <a:pt x="4648831" y="55879"/>
                    <a:pt x="4647561" y="59054"/>
                  </a:cubicBezTo>
                  <a:cubicBezTo>
                    <a:pt x="4646926" y="62229"/>
                    <a:pt x="4646291" y="65404"/>
                    <a:pt x="4646291" y="69849"/>
                  </a:cubicBezTo>
                  <a:cubicBezTo>
                    <a:pt x="4646291" y="74294"/>
                    <a:pt x="4646291" y="78104"/>
                    <a:pt x="4647561" y="81279"/>
                  </a:cubicBezTo>
                  <a:cubicBezTo>
                    <a:pt x="4648196" y="84454"/>
                    <a:pt x="4650101" y="87629"/>
                    <a:pt x="4651371" y="89534"/>
                  </a:cubicBezTo>
                  <a:cubicBezTo>
                    <a:pt x="4653276" y="92074"/>
                    <a:pt x="4655181" y="93344"/>
                    <a:pt x="4657721" y="94614"/>
                  </a:cubicBezTo>
                  <a:cubicBezTo>
                    <a:pt x="4660261" y="95884"/>
                    <a:pt x="4662801" y="96519"/>
                    <a:pt x="4665341" y="96519"/>
                  </a:cubicBezTo>
                  <a:cubicBezTo>
                    <a:pt x="4667881" y="96519"/>
                    <a:pt x="4671056" y="95884"/>
                    <a:pt x="4672961" y="94614"/>
                  </a:cubicBezTo>
                  <a:cubicBezTo>
                    <a:pt x="4675501" y="93344"/>
                    <a:pt x="4677406" y="91439"/>
                    <a:pt x="4678676" y="88899"/>
                  </a:cubicBezTo>
                  <a:cubicBezTo>
                    <a:pt x="4680581" y="86359"/>
                    <a:pt x="4681851" y="83819"/>
                    <a:pt x="4682486" y="80644"/>
                  </a:cubicBezTo>
                  <a:cubicBezTo>
                    <a:pt x="4683121" y="77469"/>
                    <a:pt x="4683756" y="74294"/>
                    <a:pt x="4683756" y="70484"/>
                  </a:cubicBezTo>
                  <a:lnTo>
                    <a:pt x="4684391" y="69849"/>
                  </a:lnTo>
                  <a:cubicBezTo>
                    <a:pt x="4684391" y="66039"/>
                    <a:pt x="4684391" y="62229"/>
                    <a:pt x="4683121" y="59054"/>
                  </a:cubicBezTo>
                  <a:cubicBezTo>
                    <a:pt x="4682486" y="55879"/>
                    <a:pt x="4680581" y="53339"/>
                    <a:pt x="4679311" y="50799"/>
                  </a:cubicBezTo>
                  <a:cubicBezTo>
                    <a:pt x="4677406" y="48259"/>
                    <a:pt x="4675501" y="46989"/>
                    <a:pt x="4672961" y="45719"/>
                  </a:cubicBezTo>
                  <a:cubicBezTo>
                    <a:pt x="4670421" y="44449"/>
                    <a:pt x="4667881" y="43814"/>
                    <a:pt x="4664706" y="43814"/>
                  </a:cubicBezTo>
                  <a:close/>
                  <a:moveTo>
                    <a:pt x="4264020" y="43814"/>
                  </a:moveTo>
                  <a:cubicBezTo>
                    <a:pt x="4260845" y="43814"/>
                    <a:pt x="4258305" y="43814"/>
                    <a:pt x="4256400" y="45719"/>
                  </a:cubicBezTo>
                  <a:cubicBezTo>
                    <a:pt x="4253860" y="46989"/>
                    <a:pt x="4251955" y="48894"/>
                    <a:pt x="4250685" y="50799"/>
                  </a:cubicBezTo>
                  <a:cubicBezTo>
                    <a:pt x="4248780" y="53339"/>
                    <a:pt x="4247510" y="55879"/>
                    <a:pt x="4246875" y="59054"/>
                  </a:cubicBezTo>
                  <a:cubicBezTo>
                    <a:pt x="4246240" y="62229"/>
                    <a:pt x="4245605" y="65404"/>
                    <a:pt x="4245605" y="69849"/>
                  </a:cubicBezTo>
                  <a:cubicBezTo>
                    <a:pt x="4245605" y="74294"/>
                    <a:pt x="4245605" y="78104"/>
                    <a:pt x="4246875" y="81279"/>
                  </a:cubicBezTo>
                  <a:cubicBezTo>
                    <a:pt x="4247510" y="84454"/>
                    <a:pt x="4249415" y="87629"/>
                    <a:pt x="4250685" y="89534"/>
                  </a:cubicBezTo>
                  <a:cubicBezTo>
                    <a:pt x="4252590" y="92074"/>
                    <a:pt x="4254495" y="93344"/>
                    <a:pt x="4257035" y="94614"/>
                  </a:cubicBezTo>
                  <a:cubicBezTo>
                    <a:pt x="4259575" y="95884"/>
                    <a:pt x="4262115" y="96519"/>
                    <a:pt x="4264655" y="96519"/>
                  </a:cubicBezTo>
                  <a:cubicBezTo>
                    <a:pt x="4267195" y="96519"/>
                    <a:pt x="4270370" y="95884"/>
                    <a:pt x="4272275" y="94614"/>
                  </a:cubicBezTo>
                  <a:cubicBezTo>
                    <a:pt x="4274815" y="93344"/>
                    <a:pt x="4276720" y="91439"/>
                    <a:pt x="4277990" y="88899"/>
                  </a:cubicBezTo>
                  <a:cubicBezTo>
                    <a:pt x="4279895" y="86359"/>
                    <a:pt x="4281165" y="83819"/>
                    <a:pt x="4281800" y="80644"/>
                  </a:cubicBezTo>
                  <a:cubicBezTo>
                    <a:pt x="4282435" y="77469"/>
                    <a:pt x="4283070" y="74294"/>
                    <a:pt x="4283070" y="70484"/>
                  </a:cubicBezTo>
                  <a:lnTo>
                    <a:pt x="4283705" y="69849"/>
                  </a:lnTo>
                  <a:cubicBezTo>
                    <a:pt x="4283705" y="66039"/>
                    <a:pt x="4283705" y="62229"/>
                    <a:pt x="4282435" y="59054"/>
                  </a:cubicBezTo>
                  <a:cubicBezTo>
                    <a:pt x="4281800" y="55879"/>
                    <a:pt x="4279895" y="53339"/>
                    <a:pt x="4278625" y="50799"/>
                  </a:cubicBezTo>
                  <a:cubicBezTo>
                    <a:pt x="4276720" y="48259"/>
                    <a:pt x="4274815" y="46989"/>
                    <a:pt x="4272275" y="45719"/>
                  </a:cubicBezTo>
                  <a:cubicBezTo>
                    <a:pt x="4269735" y="44449"/>
                    <a:pt x="4267195" y="43814"/>
                    <a:pt x="4264020" y="43814"/>
                  </a:cubicBezTo>
                  <a:close/>
                  <a:moveTo>
                    <a:pt x="1420495" y="43814"/>
                  </a:moveTo>
                  <a:cubicBezTo>
                    <a:pt x="1417320" y="43814"/>
                    <a:pt x="1414780" y="43814"/>
                    <a:pt x="1412875" y="45719"/>
                  </a:cubicBezTo>
                  <a:cubicBezTo>
                    <a:pt x="1410335" y="46989"/>
                    <a:pt x="1408430" y="48894"/>
                    <a:pt x="1407160" y="50799"/>
                  </a:cubicBezTo>
                  <a:cubicBezTo>
                    <a:pt x="1405255" y="53339"/>
                    <a:pt x="1403985" y="55879"/>
                    <a:pt x="1403350" y="59054"/>
                  </a:cubicBezTo>
                  <a:cubicBezTo>
                    <a:pt x="1402715" y="62229"/>
                    <a:pt x="1402080" y="65404"/>
                    <a:pt x="1402080" y="69849"/>
                  </a:cubicBezTo>
                  <a:cubicBezTo>
                    <a:pt x="1402080" y="74294"/>
                    <a:pt x="1402080" y="78104"/>
                    <a:pt x="1403350" y="81279"/>
                  </a:cubicBezTo>
                  <a:cubicBezTo>
                    <a:pt x="1403985" y="84454"/>
                    <a:pt x="1405890" y="87629"/>
                    <a:pt x="1407160" y="89534"/>
                  </a:cubicBezTo>
                  <a:cubicBezTo>
                    <a:pt x="1409065" y="92074"/>
                    <a:pt x="1410970" y="93344"/>
                    <a:pt x="1413510" y="94614"/>
                  </a:cubicBezTo>
                  <a:cubicBezTo>
                    <a:pt x="1416050" y="95884"/>
                    <a:pt x="1418590" y="96519"/>
                    <a:pt x="1421130" y="96519"/>
                  </a:cubicBezTo>
                  <a:cubicBezTo>
                    <a:pt x="1423670" y="96519"/>
                    <a:pt x="1426845" y="95884"/>
                    <a:pt x="1428750" y="94614"/>
                  </a:cubicBezTo>
                  <a:cubicBezTo>
                    <a:pt x="1431290" y="93344"/>
                    <a:pt x="1433195" y="91439"/>
                    <a:pt x="1434465" y="88899"/>
                  </a:cubicBezTo>
                  <a:cubicBezTo>
                    <a:pt x="1436370" y="86359"/>
                    <a:pt x="1437640" y="83819"/>
                    <a:pt x="1438275" y="80644"/>
                  </a:cubicBezTo>
                  <a:cubicBezTo>
                    <a:pt x="1438910" y="77469"/>
                    <a:pt x="1439545" y="74294"/>
                    <a:pt x="1439545" y="70484"/>
                  </a:cubicBezTo>
                  <a:lnTo>
                    <a:pt x="1440180" y="69849"/>
                  </a:lnTo>
                  <a:cubicBezTo>
                    <a:pt x="1440180" y="66039"/>
                    <a:pt x="1440180" y="62229"/>
                    <a:pt x="1438910" y="59054"/>
                  </a:cubicBezTo>
                  <a:cubicBezTo>
                    <a:pt x="1438275" y="55879"/>
                    <a:pt x="1436370" y="53339"/>
                    <a:pt x="1435100" y="50799"/>
                  </a:cubicBezTo>
                  <a:cubicBezTo>
                    <a:pt x="1433195" y="48259"/>
                    <a:pt x="1431290" y="46989"/>
                    <a:pt x="1428750" y="45719"/>
                  </a:cubicBezTo>
                  <a:cubicBezTo>
                    <a:pt x="1426210" y="44449"/>
                    <a:pt x="1423670" y="43814"/>
                    <a:pt x="1420495" y="43814"/>
                  </a:cubicBezTo>
                  <a:close/>
                  <a:moveTo>
                    <a:pt x="4041770" y="43180"/>
                  </a:moveTo>
                  <a:cubicBezTo>
                    <a:pt x="4039230" y="43180"/>
                    <a:pt x="4036690" y="43180"/>
                    <a:pt x="4034785" y="44450"/>
                  </a:cubicBezTo>
                  <a:cubicBezTo>
                    <a:pt x="4032880" y="45085"/>
                    <a:pt x="4030975" y="46355"/>
                    <a:pt x="4029705" y="48260"/>
                  </a:cubicBezTo>
                  <a:cubicBezTo>
                    <a:pt x="4028435" y="50165"/>
                    <a:pt x="4027165" y="52070"/>
                    <a:pt x="4025895" y="54610"/>
                  </a:cubicBezTo>
                  <a:cubicBezTo>
                    <a:pt x="4025260" y="57150"/>
                    <a:pt x="4023990" y="59690"/>
                    <a:pt x="4023990" y="62865"/>
                  </a:cubicBezTo>
                  <a:lnTo>
                    <a:pt x="4060185" y="62865"/>
                  </a:lnTo>
                  <a:cubicBezTo>
                    <a:pt x="4060185" y="62865"/>
                    <a:pt x="4059550" y="57785"/>
                    <a:pt x="4058915" y="55245"/>
                  </a:cubicBezTo>
                  <a:cubicBezTo>
                    <a:pt x="4058280" y="52705"/>
                    <a:pt x="4057010" y="50800"/>
                    <a:pt x="4055740" y="48895"/>
                  </a:cubicBezTo>
                  <a:cubicBezTo>
                    <a:pt x="4054470" y="46990"/>
                    <a:pt x="4052565" y="45720"/>
                    <a:pt x="4050025" y="44450"/>
                  </a:cubicBezTo>
                  <a:cubicBezTo>
                    <a:pt x="4047485" y="43180"/>
                    <a:pt x="4044945" y="43180"/>
                    <a:pt x="4041770" y="43180"/>
                  </a:cubicBezTo>
                  <a:close/>
                  <a:moveTo>
                    <a:pt x="3728081" y="43180"/>
                  </a:moveTo>
                  <a:cubicBezTo>
                    <a:pt x="3725541" y="43180"/>
                    <a:pt x="3723001" y="43180"/>
                    <a:pt x="3721096" y="44450"/>
                  </a:cubicBezTo>
                  <a:cubicBezTo>
                    <a:pt x="3719191" y="45085"/>
                    <a:pt x="3717286" y="46355"/>
                    <a:pt x="3716016" y="48260"/>
                  </a:cubicBezTo>
                  <a:cubicBezTo>
                    <a:pt x="3714746" y="50165"/>
                    <a:pt x="3713476" y="52070"/>
                    <a:pt x="3712206" y="54610"/>
                  </a:cubicBezTo>
                  <a:cubicBezTo>
                    <a:pt x="3711571" y="57150"/>
                    <a:pt x="3710301" y="59690"/>
                    <a:pt x="3710301" y="62865"/>
                  </a:cubicBezTo>
                  <a:lnTo>
                    <a:pt x="3746496" y="62865"/>
                  </a:lnTo>
                  <a:cubicBezTo>
                    <a:pt x="3746496" y="62865"/>
                    <a:pt x="3745861" y="57785"/>
                    <a:pt x="3745226" y="55245"/>
                  </a:cubicBezTo>
                  <a:cubicBezTo>
                    <a:pt x="3744591" y="52705"/>
                    <a:pt x="3743321" y="50800"/>
                    <a:pt x="3742051" y="48895"/>
                  </a:cubicBezTo>
                  <a:cubicBezTo>
                    <a:pt x="3740781" y="46990"/>
                    <a:pt x="3738876" y="45720"/>
                    <a:pt x="3736336" y="44450"/>
                  </a:cubicBezTo>
                  <a:cubicBezTo>
                    <a:pt x="3733796" y="43180"/>
                    <a:pt x="3731256" y="43180"/>
                    <a:pt x="3728081" y="43180"/>
                  </a:cubicBezTo>
                  <a:close/>
                  <a:moveTo>
                    <a:pt x="3541391" y="43180"/>
                  </a:moveTo>
                  <a:cubicBezTo>
                    <a:pt x="3538851" y="43180"/>
                    <a:pt x="3536311" y="43180"/>
                    <a:pt x="3534406" y="44450"/>
                  </a:cubicBezTo>
                  <a:cubicBezTo>
                    <a:pt x="3532501" y="45085"/>
                    <a:pt x="3530596" y="46355"/>
                    <a:pt x="3529326" y="48260"/>
                  </a:cubicBezTo>
                  <a:cubicBezTo>
                    <a:pt x="3528056" y="50165"/>
                    <a:pt x="3526786" y="52070"/>
                    <a:pt x="3525516" y="54610"/>
                  </a:cubicBezTo>
                  <a:cubicBezTo>
                    <a:pt x="3524881" y="57150"/>
                    <a:pt x="3524246" y="59690"/>
                    <a:pt x="3523611" y="62865"/>
                  </a:cubicBezTo>
                  <a:lnTo>
                    <a:pt x="3559806" y="62865"/>
                  </a:lnTo>
                  <a:cubicBezTo>
                    <a:pt x="3559806" y="62865"/>
                    <a:pt x="3559171" y="57785"/>
                    <a:pt x="3558536" y="55245"/>
                  </a:cubicBezTo>
                  <a:cubicBezTo>
                    <a:pt x="3557901" y="52705"/>
                    <a:pt x="3556631" y="50800"/>
                    <a:pt x="3555361" y="48895"/>
                  </a:cubicBezTo>
                  <a:cubicBezTo>
                    <a:pt x="3554091" y="46990"/>
                    <a:pt x="3552186" y="45720"/>
                    <a:pt x="3549646" y="44450"/>
                  </a:cubicBezTo>
                  <a:cubicBezTo>
                    <a:pt x="3547106" y="43180"/>
                    <a:pt x="3544566" y="43180"/>
                    <a:pt x="3541391" y="43180"/>
                  </a:cubicBezTo>
                  <a:close/>
                  <a:moveTo>
                    <a:pt x="3463285" y="43180"/>
                  </a:moveTo>
                  <a:cubicBezTo>
                    <a:pt x="3461380" y="43180"/>
                    <a:pt x="3459475" y="43180"/>
                    <a:pt x="3458205" y="43815"/>
                  </a:cubicBezTo>
                  <a:cubicBezTo>
                    <a:pt x="3456300" y="43815"/>
                    <a:pt x="3455030" y="45085"/>
                    <a:pt x="3453125" y="45720"/>
                  </a:cubicBezTo>
                  <a:cubicBezTo>
                    <a:pt x="3451855" y="46355"/>
                    <a:pt x="3449950" y="47625"/>
                    <a:pt x="3448680" y="48895"/>
                  </a:cubicBezTo>
                  <a:cubicBezTo>
                    <a:pt x="3447410" y="50165"/>
                    <a:pt x="3446140" y="51435"/>
                    <a:pt x="3445505" y="52705"/>
                  </a:cubicBezTo>
                  <a:lnTo>
                    <a:pt x="3445505" y="85725"/>
                  </a:lnTo>
                  <a:cubicBezTo>
                    <a:pt x="3445505" y="85725"/>
                    <a:pt x="3447410" y="88265"/>
                    <a:pt x="3448680" y="89535"/>
                  </a:cubicBezTo>
                  <a:cubicBezTo>
                    <a:pt x="3449950" y="90805"/>
                    <a:pt x="3451220" y="92075"/>
                    <a:pt x="3453125" y="92710"/>
                  </a:cubicBezTo>
                  <a:cubicBezTo>
                    <a:pt x="3455030" y="93980"/>
                    <a:pt x="3456300" y="94615"/>
                    <a:pt x="3458205" y="95250"/>
                  </a:cubicBezTo>
                  <a:cubicBezTo>
                    <a:pt x="3460110" y="95250"/>
                    <a:pt x="3462015" y="95885"/>
                    <a:pt x="3463920" y="95885"/>
                  </a:cubicBezTo>
                  <a:cubicBezTo>
                    <a:pt x="3469635" y="95885"/>
                    <a:pt x="3473445" y="93980"/>
                    <a:pt x="3476620" y="89535"/>
                  </a:cubicBezTo>
                  <a:cubicBezTo>
                    <a:pt x="3479795" y="85090"/>
                    <a:pt x="3481065" y="79375"/>
                    <a:pt x="3481065" y="71120"/>
                  </a:cubicBezTo>
                  <a:lnTo>
                    <a:pt x="3480430" y="71755"/>
                  </a:lnTo>
                  <a:cubicBezTo>
                    <a:pt x="3480430" y="62230"/>
                    <a:pt x="3479160" y="54610"/>
                    <a:pt x="3475985" y="50165"/>
                  </a:cubicBezTo>
                  <a:cubicBezTo>
                    <a:pt x="3472810" y="45720"/>
                    <a:pt x="3468365" y="43180"/>
                    <a:pt x="3463285" y="43180"/>
                  </a:cubicBezTo>
                  <a:close/>
                  <a:moveTo>
                    <a:pt x="3343271" y="43180"/>
                  </a:moveTo>
                  <a:cubicBezTo>
                    <a:pt x="3340731" y="43180"/>
                    <a:pt x="3338191" y="43180"/>
                    <a:pt x="3336286" y="44450"/>
                  </a:cubicBezTo>
                  <a:cubicBezTo>
                    <a:pt x="3334381" y="45085"/>
                    <a:pt x="3332476" y="46355"/>
                    <a:pt x="3331206" y="48260"/>
                  </a:cubicBezTo>
                  <a:cubicBezTo>
                    <a:pt x="3329936" y="50165"/>
                    <a:pt x="3328666" y="52070"/>
                    <a:pt x="3327396" y="54610"/>
                  </a:cubicBezTo>
                  <a:cubicBezTo>
                    <a:pt x="3326761" y="57150"/>
                    <a:pt x="3326126" y="59690"/>
                    <a:pt x="3325491" y="62865"/>
                  </a:cubicBezTo>
                  <a:lnTo>
                    <a:pt x="3361686" y="62865"/>
                  </a:lnTo>
                  <a:cubicBezTo>
                    <a:pt x="3361686" y="62865"/>
                    <a:pt x="3361051" y="57785"/>
                    <a:pt x="3360416" y="55245"/>
                  </a:cubicBezTo>
                  <a:cubicBezTo>
                    <a:pt x="3359781" y="52705"/>
                    <a:pt x="3358511" y="50800"/>
                    <a:pt x="3357241" y="48895"/>
                  </a:cubicBezTo>
                  <a:cubicBezTo>
                    <a:pt x="3355971" y="46990"/>
                    <a:pt x="3354066" y="45720"/>
                    <a:pt x="3351526" y="44450"/>
                  </a:cubicBezTo>
                  <a:cubicBezTo>
                    <a:pt x="3348986" y="43180"/>
                    <a:pt x="3346446" y="43180"/>
                    <a:pt x="3343271" y="43180"/>
                  </a:cubicBezTo>
                  <a:close/>
                  <a:moveTo>
                    <a:pt x="2976876" y="43180"/>
                  </a:moveTo>
                  <a:cubicBezTo>
                    <a:pt x="2974336" y="43180"/>
                    <a:pt x="2971796" y="43180"/>
                    <a:pt x="2969891" y="44450"/>
                  </a:cubicBezTo>
                  <a:cubicBezTo>
                    <a:pt x="2967986" y="45085"/>
                    <a:pt x="2966081" y="46355"/>
                    <a:pt x="2964811" y="48260"/>
                  </a:cubicBezTo>
                  <a:cubicBezTo>
                    <a:pt x="2963541" y="50165"/>
                    <a:pt x="2962271" y="52070"/>
                    <a:pt x="2961001" y="54610"/>
                  </a:cubicBezTo>
                  <a:cubicBezTo>
                    <a:pt x="2960366" y="57150"/>
                    <a:pt x="2959731" y="59690"/>
                    <a:pt x="2959096" y="62865"/>
                  </a:cubicBezTo>
                  <a:lnTo>
                    <a:pt x="2995291" y="62865"/>
                  </a:lnTo>
                  <a:cubicBezTo>
                    <a:pt x="2995291" y="62865"/>
                    <a:pt x="2994656" y="57785"/>
                    <a:pt x="2994021" y="55245"/>
                  </a:cubicBezTo>
                  <a:cubicBezTo>
                    <a:pt x="2993386" y="52705"/>
                    <a:pt x="2992116" y="50800"/>
                    <a:pt x="2990846" y="48895"/>
                  </a:cubicBezTo>
                  <a:cubicBezTo>
                    <a:pt x="2989576" y="46990"/>
                    <a:pt x="2987671" y="45720"/>
                    <a:pt x="2985131" y="44450"/>
                  </a:cubicBezTo>
                  <a:cubicBezTo>
                    <a:pt x="2982591" y="43180"/>
                    <a:pt x="2980051" y="43180"/>
                    <a:pt x="2976876" y="43180"/>
                  </a:cubicBezTo>
                  <a:close/>
                  <a:moveTo>
                    <a:pt x="2527930" y="43180"/>
                  </a:moveTo>
                  <a:cubicBezTo>
                    <a:pt x="2525390" y="43180"/>
                    <a:pt x="2522850" y="43180"/>
                    <a:pt x="2520945" y="44450"/>
                  </a:cubicBezTo>
                  <a:cubicBezTo>
                    <a:pt x="2519040" y="45085"/>
                    <a:pt x="2517135" y="46355"/>
                    <a:pt x="2515865" y="48260"/>
                  </a:cubicBezTo>
                  <a:cubicBezTo>
                    <a:pt x="2514595" y="50165"/>
                    <a:pt x="2513325" y="52070"/>
                    <a:pt x="2512055" y="54610"/>
                  </a:cubicBezTo>
                  <a:cubicBezTo>
                    <a:pt x="2511420" y="57150"/>
                    <a:pt x="2510150" y="59690"/>
                    <a:pt x="2510150" y="62865"/>
                  </a:cubicBezTo>
                  <a:lnTo>
                    <a:pt x="2546345" y="62865"/>
                  </a:lnTo>
                  <a:cubicBezTo>
                    <a:pt x="2546345" y="62865"/>
                    <a:pt x="2545710" y="57785"/>
                    <a:pt x="2545075" y="55245"/>
                  </a:cubicBezTo>
                  <a:cubicBezTo>
                    <a:pt x="2544440" y="52705"/>
                    <a:pt x="2543170" y="50800"/>
                    <a:pt x="2541900" y="48895"/>
                  </a:cubicBezTo>
                  <a:cubicBezTo>
                    <a:pt x="2540630" y="46990"/>
                    <a:pt x="2538725" y="45720"/>
                    <a:pt x="2536185" y="44450"/>
                  </a:cubicBezTo>
                  <a:cubicBezTo>
                    <a:pt x="2533645" y="43180"/>
                    <a:pt x="2531105" y="43180"/>
                    <a:pt x="2527930" y="43180"/>
                  </a:cubicBezTo>
                  <a:close/>
                  <a:moveTo>
                    <a:pt x="2214240" y="43180"/>
                  </a:moveTo>
                  <a:cubicBezTo>
                    <a:pt x="2211700" y="43180"/>
                    <a:pt x="2209160" y="43180"/>
                    <a:pt x="2207255" y="44450"/>
                  </a:cubicBezTo>
                  <a:cubicBezTo>
                    <a:pt x="2205350" y="45085"/>
                    <a:pt x="2203445" y="46355"/>
                    <a:pt x="2202175" y="48260"/>
                  </a:cubicBezTo>
                  <a:cubicBezTo>
                    <a:pt x="2200905" y="50165"/>
                    <a:pt x="2199635" y="52070"/>
                    <a:pt x="2198365" y="54610"/>
                  </a:cubicBezTo>
                  <a:cubicBezTo>
                    <a:pt x="2197730" y="57150"/>
                    <a:pt x="2196460" y="59690"/>
                    <a:pt x="2196460" y="62865"/>
                  </a:cubicBezTo>
                  <a:lnTo>
                    <a:pt x="2232655" y="62865"/>
                  </a:lnTo>
                  <a:cubicBezTo>
                    <a:pt x="2232655" y="62865"/>
                    <a:pt x="2232020" y="57785"/>
                    <a:pt x="2231385" y="55245"/>
                  </a:cubicBezTo>
                  <a:cubicBezTo>
                    <a:pt x="2230750" y="52705"/>
                    <a:pt x="2229480" y="50800"/>
                    <a:pt x="2228210" y="48895"/>
                  </a:cubicBezTo>
                  <a:cubicBezTo>
                    <a:pt x="2226940" y="46990"/>
                    <a:pt x="2225035" y="45720"/>
                    <a:pt x="2222495" y="44450"/>
                  </a:cubicBezTo>
                  <a:cubicBezTo>
                    <a:pt x="2219955" y="43180"/>
                    <a:pt x="2217415" y="43180"/>
                    <a:pt x="2214240" y="43180"/>
                  </a:cubicBezTo>
                  <a:close/>
                  <a:moveTo>
                    <a:pt x="2027551" y="43180"/>
                  </a:moveTo>
                  <a:cubicBezTo>
                    <a:pt x="2025011" y="43180"/>
                    <a:pt x="2022471" y="43180"/>
                    <a:pt x="2020566" y="44450"/>
                  </a:cubicBezTo>
                  <a:cubicBezTo>
                    <a:pt x="2018661" y="45085"/>
                    <a:pt x="2016756" y="46355"/>
                    <a:pt x="2015486" y="48260"/>
                  </a:cubicBezTo>
                  <a:cubicBezTo>
                    <a:pt x="2014216" y="50165"/>
                    <a:pt x="2012946" y="52070"/>
                    <a:pt x="2011676" y="54610"/>
                  </a:cubicBezTo>
                  <a:cubicBezTo>
                    <a:pt x="2011041" y="57150"/>
                    <a:pt x="2010406" y="59690"/>
                    <a:pt x="2009771" y="62865"/>
                  </a:cubicBezTo>
                  <a:lnTo>
                    <a:pt x="2045966" y="62865"/>
                  </a:lnTo>
                  <a:cubicBezTo>
                    <a:pt x="2045966" y="62865"/>
                    <a:pt x="2045331" y="57785"/>
                    <a:pt x="2044696" y="55245"/>
                  </a:cubicBezTo>
                  <a:cubicBezTo>
                    <a:pt x="2044061" y="52705"/>
                    <a:pt x="2042791" y="50800"/>
                    <a:pt x="2041521" y="48895"/>
                  </a:cubicBezTo>
                  <a:cubicBezTo>
                    <a:pt x="2040251" y="46990"/>
                    <a:pt x="2038346" y="45720"/>
                    <a:pt x="2035806" y="44450"/>
                  </a:cubicBezTo>
                  <a:cubicBezTo>
                    <a:pt x="2033266" y="43180"/>
                    <a:pt x="2030726" y="43180"/>
                    <a:pt x="2027551" y="43180"/>
                  </a:cubicBezTo>
                  <a:close/>
                  <a:moveTo>
                    <a:pt x="1949445" y="43180"/>
                  </a:moveTo>
                  <a:cubicBezTo>
                    <a:pt x="1947540" y="43180"/>
                    <a:pt x="1945635" y="43180"/>
                    <a:pt x="1944365" y="43815"/>
                  </a:cubicBezTo>
                  <a:cubicBezTo>
                    <a:pt x="1942460" y="43815"/>
                    <a:pt x="1941190" y="45085"/>
                    <a:pt x="1939285" y="45720"/>
                  </a:cubicBezTo>
                  <a:cubicBezTo>
                    <a:pt x="1938015" y="46355"/>
                    <a:pt x="1936110" y="47625"/>
                    <a:pt x="1934840" y="48895"/>
                  </a:cubicBezTo>
                  <a:cubicBezTo>
                    <a:pt x="1933570" y="50165"/>
                    <a:pt x="1932300" y="51435"/>
                    <a:pt x="1931665" y="52705"/>
                  </a:cubicBezTo>
                  <a:lnTo>
                    <a:pt x="1931665" y="85725"/>
                  </a:lnTo>
                  <a:cubicBezTo>
                    <a:pt x="1931665" y="85725"/>
                    <a:pt x="1933570" y="88265"/>
                    <a:pt x="1934840" y="89535"/>
                  </a:cubicBezTo>
                  <a:cubicBezTo>
                    <a:pt x="1936110" y="90805"/>
                    <a:pt x="1937380" y="92075"/>
                    <a:pt x="1939285" y="92710"/>
                  </a:cubicBezTo>
                  <a:cubicBezTo>
                    <a:pt x="1941190" y="93980"/>
                    <a:pt x="1942460" y="94615"/>
                    <a:pt x="1944365" y="95250"/>
                  </a:cubicBezTo>
                  <a:cubicBezTo>
                    <a:pt x="1946270" y="95250"/>
                    <a:pt x="1948175" y="95885"/>
                    <a:pt x="1950080" y="95885"/>
                  </a:cubicBezTo>
                  <a:cubicBezTo>
                    <a:pt x="1955795" y="95885"/>
                    <a:pt x="1959605" y="93980"/>
                    <a:pt x="1962780" y="89535"/>
                  </a:cubicBezTo>
                  <a:cubicBezTo>
                    <a:pt x="1965955" y="85090"/>
                    <a:pt x="1967225" y="79375"/>
                    <a:pt x="1967225" y="71120"/>
                  </a:cubicBezTo>
                  <a:lnTo>
                    <a:pt x="1966590" y="71755"/>
                  </a:lnTo>
                  <a:cubicBezTo>
                    <a:pt x="1966590" y="62230"/>
                    <a:pt x="1965320" y="54610"/>
                    <a:pt x="1962145" y="50165"/>
                  </a:cubicBezTo>
                  <a:cubicBezTo>
                    <a:pt x="1958970" y="45720"/>
                    <a:pt x="1954525" y="43180"/>
                    <a:pt x="1949445" y="43180"/>
                  </a:cubicBezTo>
                  <a:close/>
                  <a:moveTo>
                    <a:pt x="1829431" y="43180"/>
                  </a:moveTo>
                  <a:cubicBezTo>
                    <a:pt x="1826891" y="43180"/>
                    <a:pt x="1824351" y="43180"/>
                    <a:pt x="1822446" y="44450"/>
                  </a:cubicBezTo>
                  <a:cubicBezTo>
                    <a:pt x="1820541" y="45085"/>
                    <a:pt x="1818636" y="46355"/>
                    <a:pt x="1817366" y="48260"/>
                  </a:cubicBezTo>
                  <a:cubicBezTo>
                    <a:pt x="1816096" y="50165"/>
                    <a:pt x="1814826" y="52070"/>
                    <a:pt x="1813556" y="54610"/>
                  </a:cubicBezTo>
                  <a:cubicBezTo>
                    <a:pt x="1812921" y="57150"/>
                    <a:pt x="1811651" y="59690"/>
                    <a:pt x="1811651" y="62865"/>
                  </a:cubicBezTo>
                  <a:lnTo>
                    <a:pt x="1847846" y="62865"/>
                  </a:lnTo>
                  <a:cubicBezTo>
                    <a:pt x="1847846" y="62865"/>
                    <a:pt x="1847211" y="57785"/>
                    <a:pt x="1846576" y="55245"/>
                  </a:cubicBezTo>
                  <a:cubicBezTo>
                    <a:pt x="1845941" y="52705"/>
                    <a:pt x="1844671" y="50800"/>
                    <a:pt x="1843401" y="48895"/>
                  </a:cubicBezTo>
                  <a:cubicBezTo>
                    <a:pt x="1842131" y="46990"/>
                    <a:pt x="1840226" y="45720"/>
                    <a:pt x="1837686" y="44450"/>
                  </a:cubicBezTo>
                  <a:cubicBezTo>
                    <a:pt x="1835146" y="43180"/>
                    <a:pt x="1832606" y="43180"/>
                    <a:pt x="1829431" y="43180"/>
                  </a:cubicBezTo>
                  <a:close/>
                  <a:moveTo>
                    <a:pt x="1178561" y="43180"/>
                  </a:moveTo>
                  <a:cubicBezTo>
                    <a:pt x="1176021" y="43180"/>
                    <a:pt x="1173481" y="43180"/>
                    <a:pt x="1171576" y="44450"/>
                  </a:cubicBezTo>
                  <a:cubicBezTo>
                    <a:pt x="1169671" y="45085"/>
                    <a:pt x="1167766" y="46355"/>
                    <a:pt x="1166496" y="48260"/>
                  </a:cubicBezTo>
                  <a:cubicBezTo>
                    <a:pt x="1165226" y="50165"/>
                    <a:pt x="1163956" y="52070"/>
                    <a:pt x="1162686" y="54610"/>
                  </a:cubicBezTo>
                  <a:cubicBezTo>
                    <a:pt x="1162051" y="57150"/>
                    <a:pt x="1160781" y="59690"/>
                    <a:pt x="1160781" y="62865"/>
                  </a:cubicBezTo>
                  <a:lnTo>
                    <a:pt x="1196976" y="62865"/>
                  </a:lnTo>
                  <a:cubicBezTo>
                    <a:pt x="1196976" y="62865"/>
                    <a:pt x="1196341" y="57785"/>
                    <a:pt x="1195706" y="55245"/>
                  </a:cubicBezTo>
                  <a:cubicBezTo>
                    <a:pt x="1195071" y="52705"/>
                    <a:pt x="1193801" y="50800"/>
                    <a:pt x="1192531" y="48895"/>
                  </a:cubicBezTo>
                  <a:cubicBezTo>
                    <a:pt x="1191261" y="46990"/>
                    <a:pt x="1189356" y="45720"/>
                    <a:pt x="1186816" y="44450"/>
                  </a:cubicBezTo>
                  <a:cubicBezTo>
                    <a:pt x="1184276" y="43180"/>
                    <a:pt x="1181736" y="43180"/>
                    <a:pt x="1178561" y="43180"/>
                  </a:cubicBezTo>
                  <a:close/>
                  <a:moveTo>
                    <a:pt x="898525" y="43180"/>
                  </a:moveTo>
                  <a:cubicBezTo>
                    <a:pt x="895985" y="43180"/>
                    <a:pt x="893445" y="43180"/>
                    <a:pt x="891540" y="44450"/>
                  </a:cubicBezTo>
                  <a:cubicBezTo>
                    <a:pt x="889635" y="45085"/>
                    <a:pt x="887730" y="46355"/>
                    <a:pt x="886460" y="48260"/>
                  </a:cubicBezTo>
                  <a:cubicBezTo>
                    <a:pt x="885190" y="50165"/>
                    <a:pt x="883920" y="52070"/>
                    <a:pt x="882650" y="54610"/>
                  </a:cubicBezTo>
                  <a:cubicBezTo>
                    <a:pt x="882015" y="57150"/>
                    <a:pt x="881380" y="59690"/>
                    <a:pt x="880745" y="62865"/>
                  </a:cubicBezTo>
                  <a:lnTo>
                    <a:pt x="916940" y="62865"/>
                  </a:lnTo>
                  <a:cubicBezTo>
                    <a:pt x="916940" y="62865"/>
                    <a:pt x="916305" y="57785"/>
                    <a:pt x="915670" y="55245"/>
                  </a:cubicBezTo>
                  <a:cubicBezTo>
                    <a:pt x="915035" y="52705"/>
                    <a:pt x="913765" y="50800"/>
                    <a:pt x="912495" y="48895"/>
                  </a:cubicBezTo>
                  <a:cubicBezTo>
                    <a:pt x="911225" y="46990"/>
                    <a:pt x="909320" y="45720"/>
                    <a:pt x="906780" y="44450"/>
                  </a:cubicBezTo>
                  <a:cubicBezTo>
                    <a:pt x="904240" y="43180"/>
                    <a:pt x="901700" y="43180"/>
                    <a:pt x="898525" y="43180"/>
                  </a:cubicBezTo>
                  <a:close/>
                  <a:moveTo>
                    <a:pt x="584834" y="43180"/>
                  </a:moveTo>
                  <a:cubicBezTo>
                    <a:pt x="582294" y="43180"/>
                    <a:pt x="579754" y="43180"/>
                    <a:pt x="577849" y="44450"/>
                  </a:cubicBezTo>
                  <a:cubicBezTo>
                    <a:pt x="575944" y="45085"/>
                    <a:pt x="574039" y="46355"/>
                    <a:pt x="572769" y="48260"/>
                  </a:cubicBezTo>
                  <a:cubicBezTo>
                    <a:pt x="571499" y="50165"/>
                    <a:pt x="570229" y="52070"/>
                    <a:pt x="568959" y="54610"/>
                  </a:cubicBezTo>
                  <a:cubicBezTo>
                    <a:pt x="568324" y="57150"/>
                    <a:pt x="567689" y="59690"/>
                    <a:pt x="567054" y="62865"/>
                  </a:cubicBezTo>
                  <a:lnTo>
                    <a:pt x="603249" y="62865"/>
                  </a:lnTo>
                  <a:cubicBezTo>
                    <a:pt x="603249" y="62865"/>
                    <a:pt x="602614" y="57785"/>
                    <a:pt x="601979" y="55245"/>
                  </a:cubicBezTo>
                  <a:cubicBezTo>
                    <a:pt x="601344" y="52705"/>
                    <a:pt x="600074" y="50800"/>
                    <a:pt x="598804" y="48895"/>
                  </a:cubicBezTo>
                  <a:cubicBezTo>
                    <a:pt x="597534" y="46990"/>
                    <a:pt x="595629" y="45720"/>
                    <a:pt x="593089" y="44450"/>
                  </a:cubicBezTo>
                  <a:cubicBezTo>
                    <a:pt x="590549" y="43180"/>
                    <a:pt x="588009" y="43180"/>
                    <a:pt x="584834" y="43180"/>
                  </a:cubicBezTo>
                  <a:close/>
                  <a:moveTo>
                    <a:pt x="398145" y="43180"/>
                  </a:moveTo>
                  <a:cubicBezTo>
                    <a:pt x="395605" y="43180"/>
                    <a:pt x="393065" y="43180"/>
                    <a:pt x="391160" y="44450"/>
                  </a:cubicBezTo>
                  <a:cubicBezTo>
                    <a:pt x="389255" y="45085"/>
                    <a:pt x="387350" y="46355"/>
                    <a:pt x="386080" y="48260"/>
                  </a:cubicBezTo>
                  <a:cubicBezTo>
                    <a:pt x="384810" y="50165"/>
                    <a:pt x="383540" y="52070"/>
                    <a:pt x="382270" y="54610"/>
                  </a:cubicBezTo>
                  <a:cubicBezTo>
                    <a:pt x="381635" y="57150"/>
                    <a:pt x="380365" y="59690"/>
                    <a:pt x="380365" y="62865"/>
                  </a:cubicBezTo>
                  <a:lnTo>
                    <a:pt x="416560" y="62865"/>
                  </a:lnTo>
                  <a:cubicBezTo>
                    <a:pt x="416560" y="62865"/>
                    <a:pt x="415925" y="57785"/>
                    <a:pt x="415290" y="55245"/>
                  </a:cubicBezTo>
                  <a:cubicBezTo>
                    <a:pt x="414655" y="52705"/>
                    <a:pt x="413385" y="50800"/>
                    <a:pt x="412115" y="48895"/>
                  </a:cubicBezTo>
                  <a:cubicBezTo>
                    <a:pt x="410845" y="46990"/>
                    <a:pt x="408940" y="45720"/>
                    <a:pt x="406400" y="44450"/>
                  </a:cubicBezTo>
                  <a:cubicBezTo>
                    <a:pt x="403860" y="43180"/>
                    <a:pt x="401320" y="43180"/>
                    <a:pt x="398145" y="43180"/>
                  </a:cubicBezTo>
                  <a:close/>
                  <a:moveTo>
                    <a:pt x="320039" y="43180"/>
                  </a:moveTo>
                  <a:cubicBezTo>
                    <a:pt x="318134" y="43180"/>
                    <a:pt x="316229" y="43180"/>
                    <a:pt x="314959" y="43815"/>
                  </a:cubicBezTo>
                  <a:cubicBezTo>
                    <a:pt x="313054" y="43815"/>
                    <a:pt x="311784" y="45085"/>
                    <a:pt x="309879" y="45720"/>
                  </a:cubicBezTo>
                  <a:cubicBezTo>
                    <a:pt x="308609" y="46355"/>
                    <a:pt x="306704" y="47625"/>
                    <a:pt x="305434" y="48895"/>
                  </a:cubicBezTo>
                  <a:cubicBezTo>
                    <a:pt x="304164" y="50165"/>
                    <a:pt x="302894" y="51435"/>
                    <a:pt x="302259" y="52705"/>
                  </a:cubicBezTo>
                  <a:lnTo>
                    <a:pt x="302259" y="85725"/>
                  </a:lnTo>
                  <a:cubicBezTo>
                    <a:pt x="302259" y="85725"/>
                    <a:pt x="304164" y="88265"/>
                    <a:pt x="305434" y="89535"/>
                  </a:cubicBezTo>
                  <a:cubicBezTo>
                    <a:pt x="306704" y="90805"/>
                    <a:pt x="307974" y="92075"/>
                    <a:pt x="309879" y="92710"/>
                  </a:cubicBezTo>
                  <a:cubicBezTo>
                    <a:pt x="311784" y="93980"/>
                    <a:pt x="313054" y="94615"/>
                    <a:pt x="314959" y="95250"/>
                  </a:cubicBezTo>
                  <a:cubicBezTo>
                    <a:pt x="316864" y="95250"/>
                    <a:pt x="318769" y="95885"/>
                    <a:pt x="320674" y="95885"/>
                  </a:cubicBezTo>
                  <a:cubicBezTo>
                    <a:pt x="326389" y="95885"/>
                    <a:pt x="330199" y="93980"/>
                    <a:pt x="333374" y="89535"/>
                  </a:cubicBezTo>
                  <a:cubicBezTo>
                    <a:pt x="336549" y="85090"/>
                    <a:pt x="337819" y="79375"/>
                    <a:pt x="337819" y="71120"/>
                  </a:cubicBezTo>
                  <a:lnTo>
                    <a:pt x="337184" y="71755"/>
                  </a:lnTo>
                  <a:cubicBezTo>
                    <a:pt x="337184" y="62230"/>
                    <a:pt x="335914" y="54610"/>
                    <a:pt x="332739" y="50165"/>
                  </a:cubicBezTo>
                  <a:cubicBezTo>
                    <a:pt x="329564" y="45720"/>
                    <a:pt x="325119" y="43180"/>
                    <a:pt x="320039" y="43180"/>
                  </a:cubicBezTo>
                  <a:close/>
                  <a:moveTo>
                    <a:pt x="200025" y="43180"/>
                  </a:moveTo>
                  <a:cubicBezTo>
                    <a:pt x="197485" y="43180"/>
                    <a:pt x="194945" y="43180"/>
                    <a:pt x="193040" y="44450"/>
                  </a:cubicBezTo>
                  <a:cubicBezTo>
                    <a:pt x="191135" y="45085"/>
                    <a:pt x="189230" y="46355"/>
                    <a:pt x="187960" y="48260"/>
                  </a:cubicBezTo>
                  <a:cubicBezTo>
                    <a:pt x="186690" y="50165"/>
                    <a:pt x="185420" y="52070"/>
                    <a:pt x="184150" y="54610"/>
                  </a:cubicBezTo>
                  <a:cubicBezTo>
                    <a:pt x="183515" y="57150"/>
                    <a:pt x="182880" y="59690"/>
                    <a:pt x="182245" y="62865"/>
                  </a:cubicBezTo>
                  <a:lnTo>
                    <a:pt x="218440" y="62865"/>
                  </a:lnTo>
                  <a:cubicBezTo>
                    <a:pt x="218440" y="62865"/>
                    <a:pt x="217805" y="57785"/>
                    <a:pt x="217170" y="55245"/>
                  </a:cubicBezTo>
                  <a:cubicBezTo>
                    <a:pt x="216535" y="52705"/>
                    <a:pt x="215265" y="50800"/>
                    <a:pt x="213995" y="48895"/>
                  </a:cubicBezTo>
                  <a:cubicBezTo>
                    <a:pt x="212725" y="46990"/>
                    <a:pt x="210820" y="45720"/>
                    <a:pt x="208280" y="44450"/>
                  </a:cubicBezTo>
                  <a:cubicBezTo>
                    <a:pt x="205740" y="43180"/>
                    <a:pt x="203200" y="43180"/>
                    <a:pt x="200025" y="43180"/>
                  </a:cubicBezTo>
                  <a:close/>
                  <a:moveTo>
                    <a:pt x="4439281" y="43179"/>
                  </a:moveTo>
                  <a:cubicBezTo>
                    <a:pt x="4433566" y="43179"/>
                    <a:pt x="4429756" y="45084"/>
                    <a:pt x="4426581" y="49529"/>
                  </a:cubicBezTo>
                  <a:cubicBezTo>
                    <a:pt x="4423406" y="53974"/>
                    <a:pt x="4422136" y="59689"/>
                    <a:pt x="4422136" y="67944"/>
                  </a:cubicBezTo>
                  <a:cubicBezTo>
                    <a:pt x="4422136" y="73024"/>
                    <a:pt x="4422136" y="76834"/>
                    <a:pt x="4423406" y="80644"/>
                  </a:cubicBezTo>
                  <a:cubicBezTo>
                    <a:pt x="4424041" y="84454"/>
                    <a:pt x="4425311" y="86994"/>
                    <a:pt x="4426581" y="89534"/>
                  </a:cubicBezTo>
                  <a:cubicBezTo>
                    <a:pt x="4427851" y="92074"/>
                    <a:pt x="4429756" y="93344"/>
                    <a:pt x="4432296" y="94614"/>
                  </a:cubicBezTo>
                  <a:cubicBezTo>
                    <a:pt x="4434201" y="95884"/>
                    <a:pt x="4436741" y="96519"/>
                    <a:pt x="4439916" y="96519"/>
                  </a:cubicBezTo>
                  <a:cubicBezTo>
                    <a:pt x="4441821" y="96519"/>
                    <a:pt x="4443726" y="96519"/>
                    <a:pt x="4444996" y="95884"/>
                  </a:cubicBezTo>
                  <a:cubicBezTo>
                    <a:pt x="4446901" y="95884"/>
                    <a:pt x="4448171" y="94614"/>
                    <a:pt x="4450076" y="93344"/>
                  </a:cubicBezTo>
                  <a:cubicBezTo>
                    <a:pt x="4451346" y="92709"/>
                    <a:pt x="4453251" y="91439"/>
                    <a:pt x="4454521" y="90169"/>
                  </a:cubicBezTo>
                  <a:cubicBezTo>
                    <a:pt x="4455791" y="88899"/>
                    <a:pt x="4457061" y="87629"/>
                    <a:pt x="4457696" y="86359"/>
                  </a:cubicBezTo>
                  <a:lnTo>
                    <a:pt x="4457696" y="53339"/>
                  </a:lnTo>
                  <a:cubicBezTo>
                    <a:pt x="4457696" y="53339"/>
                    <a:pt x="4455791" y="50799"/>
                    <a:pt x="4454521" y="49529"/>
                  </a:cubicBezTo>
                  <a:cubicBezTo>
                    <a:pt x="4453251" y="48259"/>
                    <a:pt x="4451981" y="46989"/>
                    <a:pt x="4450076" y="46354"/>
                  </a:cubicBezTo>
                  <a:cubicBezTo>
                    <a:pt x="4448806" y="45084"/>
                    <a:pt x="4446901" y="44449"/>
                    <a:pt x="4444996" y="43814"/>
                  </a:cubicBezTo>
                  <a:cubicBezTo>
                    <a:pt x="4443091" y="43814"/>
                    <a:pt x="4441186" y="43179"/>
                    <a:pt x="4439281" y="43179"/>
                  </a:cubicBezTo>
                  <a:close/>
                  <a:moveTo>
                    <a:pt x="1014731" y="43179"/>
                  </a:moveTo>
                  <a:cubicBezTo>
                    <a:pt x="1009016" y="43179"/>
                    <a:pt x="1005206" y="45084"/>
                    <a:pt x="1002032" y="49529"/>
                  </a:cubicBezTo>
                  <a:cubicBezTo>
                    <a:pt x="998856" y="53974"/>
                    <a:pt x="997587" y="59689"/>
                    <a:pt x="997587" y="67944"/>
                  </a:cubicBezTo>
                  <a:cubicBezTo>
                    <a:pt x="997587" y="77469"/>
                    <a:pt x="998856" y="84454"/>
                    <a:pt x="1002032" y="88899"/>
                  </a:cubicBezTo>
                  <a:cubicBezTo>
                    <a:pt x="1005206" y="93979"/>
                    <a:pt x="1009016" y="95884"/>
                    <a:pt x="1015367" y="95884"/>
                  </a:cubicBezTo>
                  <a:cubicBezTo>
                    <a:pt x="1018541" y="95884"/>
                    <a:pt x="1022352" y="95249"/>
                    <a:pt x="1024891" y="93344"/>
                  </a:cubicBezTo>
                  <a:cubicBezTo>
                    <a:pt x="1028067" y="91439"/>
                    <a:pt x="1030607" y="88899"/>
                    <a:pt x="1033147" y="86359"/>
                  </a:cubicBezTo>
                  <a:lnTo>
                    <a:pt x="1033147" y="53339"/>
                  </a:lnTo>
                  <a:cubicBezTo>
                    <a:pt x="1033147" y="53339"/>
                    <a:pt x="1031242" y="50799"/>
                    <a:pt x="1029971" y="49529"/>
                  </a:cubicBezTo>
                  <a:cubicBezTo>
                    <a:pt x="1028702" y="48259"/>
                    <a:pt x="1027431" y="46989"/>
                    <a:pt x="1025526" y="46354"/>
                  </a:cubicBezTo>
                  <a:cubicBezTo>
                    <a:pt x="1023621" y="45084"/>
                    <a:pt x="1022352" y="44449"/>
                    <a:pt x="1020446" y="43814"/>
                  </a:cubicBezTo>
                  <a:cubicBezTo>
                    <a:pt x="1018541" y="43179"/>
                    <a:pt x="1016636" y="43179"/>
                    <a:pt x="1014731" y="43179"/>
                  </a:cubicBezTo>
                  <a:close/>
                  <a:moveTo>
                    <a:pt x="4524370" y="31114"/>
                  </a:moveTo>
                  <a:lnTo>
                    <a:pt x="4538975" y="31114"/>
                  </a:lnTo>
                  <a:lnTo>
                    <a:pt x="4552310" y="84454"/>
                  </a:lnTo>
                  <a:lnTo>
                    <a:pt x="4566915" y="31114"/>
                  </a:lnTo>
                  <a:lnTo>
                    <a:pt x="4579615" y="31114"/>
                  </a:lnTo>
                  <a:lnTo>
                    <a:pt x="4594220" y="84454"/>
                  </a:lnTo>
                  <a:lnTo>
                    <a:pt x="4606920" y="31114"/>
                  </a:lnTo>
                  <a:lnTo>
                    <a:pt x="4622160" y="31114"/>
                  </a:lnTo>
                  <a:lnTo>
                    <a:pt x="4600570" y="108584"/>
                  </a:lnTo>
                  <a:lnTo>
                    <a:pt x="4587235" y="108584"/>
                  </a:lnTo>
                  <a:lnTo>
                    <a:pt x="4572630" y="54609"/>
                  </a:lnTo>
                  <a:lnTo>
                    <a:pt x="4558660" y="108584"/>
                  </a:lnTo>
                  <a:lnTo>
                    <a:pt x="4545325" y="108584"/>
                  </a:lnTo>
                  <a:close/>
                  <a:moveTo>
                    <a:pt x="4123686" y="31114"/>
                  </a:moveTo>
                  <a:lnTo>
                    <a:pt x="4138926" y="31114"/>
                  </a:lnTo>
                  <a:lnTo>
                    <a:pt x="4152261" y="84454"/>
                  </a:lnTo>
                  <a:lnTo>
                    <a:pt x="4166866" y="31114"/>
                  </a:lnTo>
                  <a:lnTo>
                    <a:pt x="4178931" y="31114"/>
                  </a:lnTo>
                  <a:lnTo>
                    <a:pt x="4193536" y="84454"/>
                  </a:lnTo>
                  <a:lnTo>
                    <a:pt x="4206871" y="31114"/>
                  </a:lnTo>
                  <a:lnTo>
                    <a:pt x="4222111" y="31114"/>
                  </a:lnTo>
                  <a:lnTo>
                    <a:pt x="4200521" y="108584"/>
                  </a:lnTo>
                  <a:lnTo>
                    <a:pt x="4187186" y="108584"/>
                  </a:lnTo>
                  <a:lnTo>
                    <a:pt x="4172581" y="54609"/>
                  </a:lnTo>
                  <a:lnTo>
                    <a:pt x="4157976" y="108584"/>
                  </a:lnTo>
                  <a:lnTo>
                    <a:pt x="4145276" y="108584"/>
                  </a:lnTo>
                  <a:close/>
                  <a:moveTo>
                    <a:pt x="2837811" y="31114"/>
                  </a:moveTo>
                  <a:lnTo>
                    <a:pt x="2852416" y="31114"/>
                  </a:lnTo>
                  <a:lnTo>
                    <a:pt x="2865751" y="84454"/>
                  </a:lnTo>
                  <a:lnTo>
                    <a:pt x="2880356" y="31114"/>
                  </a:lnTo>
                  <a:lnTo>
                    <a:pt x="2893056" y="31114"/>
                  </a:lnTo>
                  <a:lnTo>
                    <a:pt x="2907661" y="84454"/>
                  </a:lnTo>
                  <a:lnTo>
                    <a:pt x="2920361" y="31114"/>
                  </a:lnTo>
                  <a:lnTo>
                    <a:pt x="2935601" y="31114"/>
                  </a:lnTo>
                  <a:lnTo>
                    <a:pt x="2914011" y="108584"/>
                  </a:lnTo>
                  <a:lnTo>
                    <a:pt x="2900676" y="108584"/>
                  </a:lnTo>
                  <a:lnTo>
                    <a:pt x="2886706" y="54609"/>
                  </a:lnTo>
                  <a:lnTo>
                    <a:pt x="2872101" y="108584"/>
                  </a:lnTo>
                  <a:lnTo>
                    <a:pt x="2858766" y="108584"/>
                  </a:lnTo>
                  <a:close/>
                  <a:moveTo>
                    <a:pt x="1354455" y="31114"/>
                  </a:moveTo>
                  <a:lnTo>
                    <a:pt x="1369695" y="31114"/>
                  </a:lnTo>
                  <a:lnTo>
                    <a:pt x="1369695" y="109219"/>
                  </a:lnTo>
                  <a:lnTo>
                    <a:pt x="1354455" y="109219"/>
                  </a:lnTo>
                  <a:close/>
                  <a:moveTo>
                    <a:pt x="2646040" y="29844"/>
                  </a:moveTo>
                  <a:cubicBezTo>
                    <a:pt x="2650485" y="29844"/>
                    <a:pt x="2654295" y="29844"/>
                    <a:pt x="2658105" y="31749"/>
                  </a:cubicBezTo>
                  <a:cubicBezTo>
                    <a:pt x="2661915" y="33019"/>
                    <a:pt x="2665090" y="34289"/>
                    <a:pt x="2667630" y="36829"/>
                  </a:cubicBezTo>
                  <a:cubicBezTo>
                    <a:pt x="2670170" y="38734"/>
                    <a:pt x="2672075" y="41909"/>
                    <a:pt x="2673345" y="45084"/>
                  </a:cubicBezTo>
                  <a:cubicBezTo>
                    <a:pt x="2674615" y="48259"/>
                    <a:pt x="2675250" y="52069"/>
                    <a:pt x="2675250" y="56514"/>
                  </a:cubicBezTo>
                  <a:lnTo>
                    <a:pt x="2675250" y="109854"/>
                  </a:lnTo>
                  <a:lnTo>
                    <a:pt x="2660010" y="109854"/>
                  </a:lnTo>
                  <a:lnTo>
                    <a:pt x="2660010" y="108584"/>
                  </a:lnTo>
                  <a:lnTo>
                    <a:pt x="2660010" y="100964"/>
                  </a:lnTo>
                  <a:cubicBezTo>
                    <a:pt x="2660010" y="100964"/>
                    <a:pt x="2656200" y="104139"/>
                    <a:pt x="2654930" y="104774"/>
                  </a:cubicBezTo>
                  <a:cubicBezTo>
                    <a:pt x="2653660" y="105409"/>
                    <a:pt x="2652390" y="106679"/>
                    <a:pt x="2651120" y="107314"/>
                  </a:cubicBezTo>
                  <a:cubicBezTo>
                    <a:pt x="2649850" y="107949"/>
                    <a:pt x="2647945" y="108584"/>
                    <a:pt x="2646040" y="109219"/>
                  </a:cubicBezTo>
                  <a:cubicBezTo>
                    <a:pt x="2644135" y="109219"/>
                    <a:pt x="2641595" y="109854"/>
                    <a:pt x="2639055" y="109854"/>
                  </a:cubicBezTo>
                  <a:cubicBezTo>
                    <a:pt x="2635880" y="109854"/>
                    <a:pt x="2632705" y="109854"/>
                    <a:pt x="2629530" y="108584"/>
                  </a:cubicBezTo>
                  <a:cubicBezTo>
                    <a:pt x="2626355" y="107949"/>
                    <a:pt x="2623180" y="106044"/>
                    <a:pt x="2620640" y="104139"/>
                  </a:cubicBezTo>
                  <a:cubicBezTo>
                    <a:pt x="2618100" y="102234"/>
                    <a:pt x="2616195" y="99059"/>
                    <a:pt x="2614290" y="95884"/>
                  </a:cubicBezTo>
                  <a:cubicBezTo>
                    <a:pt x="2612385" y="92709"/>
                    <a:pt x="2611750" y="88264"/>
                    <a:pt x="2611750" y="83819"/>
                  </a:cubicBezTo>
                  <a:cubicBezTo>
                    <a:pt x="2611750" y="79374"/>
                    <a:pt x="2612385" y="75564"/>
                    <a:pt x="2614290" y="72389"/>
                  </a:cubicBezTo>
                  <a:cubicBezTo>
                    <a:pt x="2615560" y="69214"/>
                    <a:pt x="2618100" y="66674"/>
                    <a:pt x="2620640" y="64769"/>
                  </a:cubicBezTo>
                  <a:cubicBezTo>
                    <a:pt x="2623180" y="62864"/>
                    <a:pt x="2626990" y="60959"/>
                    <a:pt x="2630800" y="60324"/>
                  </a:cubicBezTo>
                  <a:cubicBezTo>
                    <a:pt x="2634610" y="59054"/>
                    <a:pt x="2638420" y="59054"/>
                    <a:pt x="2642865" y="59054"/>
                  </a:cubicBezTo>
                  <a:cubicBezTo>
                    <a:pt x="2646675" y="59054"/>
                    <a:pt x="2650485" y="59054"/>
                    <a:pt x="2653025" y="59689"/>
                  </a:cubicBezTo>
                  <a:cubicBezTo>
                    <a:pt x="2655565" y="59689"/>
                    <a:pt x="2658105" y="60959"/>
                    <a:pt x="2660010" y="61594"/>
                  </a:cubicBezTo>
                  <a:lnTo>
                    <a:pt x="2660010" y="55879"/>
                  </a:lnTo>
                  <a:cubicBezTo>
                    <a:pt x="2660010" y="51434"/>
                    <a:pt x="2658740" y="48259"/>
                    <a:pt x="2656200" y="46354"/>
                  </a:cubicBezTo>
                  <a:cubicBezTo>
                    <a:pt x="2653660" y="43814"/>
                    <a:pt x="2649850" y="43179"/>
                    <a:pt x="2645405" y="43179"/>
                  </a:cubicBezTo>
                  <a:cubicBezTo>
                    <a:pt x="2641595" y="43179"/>
                    <a:pt x="2637785" y="43179"/>
                    <a:pt x="2634610" y="44449"/>
                  </a:cubicBezTo>
                  <a:cubicBezTo>
                    <a:pt x="2631435" y="45084"/>
                    <a:pt x="2628260" y="46354"/>
                    <a:pt x="2625085" y="48259"/>
                  </a:cubicBezTo>
                  <a:lnTo>
                    <a:pt x="2619370" y="36829"/>
                  </a:lnTo>
                  <a:cubicBezTo>
                    <a:pt x="2623180" y="34289"/>
                    <a:pt x="2626990" y="33019"/>
                    <a:pt x="2631435" y="31749"/>
                  </a:cubicBezTo>
                  <a:cubicBezTo>
                    <a:pt x="2635880" y="30479"/>
                    <a:pt x="2640325" y="29844"/>
                    <a:pt x="2646040" y="29844"/>
                  </a:cubicBezTo>
                  <a:close/>
                  <a:moveTo>
                    <a:pt x="1114426" y="29844"/>
                  </a:moveTo>
                  <a:lnTo>
                    <a:pt x="1129666" y="29844"/>
                  </a:lnTo>
                  <a:lnTo>
                    <a:pt x="1129666" y="107949"/>
                  </a:lnTo>
                  <a:lnTo>
                    <a:pt x="1114426" y="107949"/>
                  </a:lnTo>
                  <a:lnTo>
                    <a:pt x="1114426" y="100964"/>
                  </a:lnTo>
                  <a:cubicBezTo>
                    <a:pt x="1114426" y="100964"/>
                    <a:pt x="1109981" y="106044"/>
                    <a:pt x="1106171" y="107314"/>
                  </a:cubicBezTo>
                  <a:cubicBezTo>
                    <a:pt x="1102996" y="109219"/>
                    <a:pt x="1098551" y="109854"/>
                    <a:pt x="1094741" y="109854"/>
                  </a:cubicBezTo>
                  <a:cubicBezTo>
                    <a:pt x="1085851" y="109854"/>
                    <a:pt x="1078866" y="106679"/>
                    <a:pt x="1073786" y="100964"/>
                  </a:cubicBezTo>
                  <a:cubicBezTo>
                    <a:pt x="1069341" y="95249"/>
                    <a:pt x="1066800" y="86359"/>
                    <a:pt x="1066800" y="74929"/>
                  </a:cubicBezTo>
                  <a:lnTo>
                    <a:pt x="1066800" y="30479"/>
                  </a:lnTo>
                  <a:lnTo>
                    <a:pt x="1082040" y="30479"/>
                  </a:lnTo>
                  <a:lnTo>
                    <a:pt x="1082040" y="74294"/>
                  </a:lnTo>
                  <a:cubicBezTo>
                    <a:pt x="1082040" y="81279"/>
                    <a:pt x="1083311" y="86994"/>
                    <a:pt x="1085851" y="90169"/>
                  </a:cubicBezTo>
                  <a:cubicBezTo>
                    <a:pt x="1088390" y="93979"/>
                    <a:pt x="1092201" y="95249"/>
                    <a:pt x="1097916" y="95249"/>
                  </a:cubicBezTo>
                  <a:cubicBezTo>
                    <a:pt x="1102996" y="95249"/>
                    <a:pt x="1106806" y="93344"/>
                    <a:pt x="1109981" y="90169"/>
                  </a:cubicBezTo>
                  <a:cubicBezTo>
                    <a:pt x="1112521" y="86994"/>
                    <a:pt x="1114426" y="81914"/>
                    <a:pt x="1114426" y="75564"/>
                  </a:cubicBezTo>
                  <a:close/>
                  <a:moveTo>
                    <a:pt x="1011556" y="29844"/>
                  </a:moveTo>
                  <a:cubicBezTo>
                    <a:pt x="1013461" y="29844"/>
                    <a:pt x="1015367" y="29844"/>
                    <a:pt x="1017272" y="30479"/>
                  </a:cubicBezTo>
                  <a:cubicBezTo>
                    <a:pt x="1019176" y="30479"/>
                    <a:pt x="1021081" y="31749"/>
                    <a:pt x="1022352" y="32384"/>
                  </a:cubicBezTo>
                  <a:cubicBezTo>
                    <a:pt x="1024257" y="33019"/>
                    <a:pt x="1025526" y="34289"/>
                    <a:pt x="1026797" y="35559"/>
                  </a:cubicBezTo>
                  <a:cubicBezTo>
                    <a:pt x="1028067" y="36829"/>
                    <a:pt x="1029336" y="37464"/>
                    <a:pt x="1030607" y="38734"/>
                  </a:cubicBezTo>
                  <a:lnTo>
                    <a:pt x="1030607" y="31749"/>
                  </a:lnTo>
                  <a:lnTo>
                    <a:pt x="1045847" y="31749"/>
                  </a:lnTo>
                  <a:lnTo>
                    <a:pt x="1045847" y="130809"/>
                  </a:lnTo>
                  <a:lnTo>
                    <a:pt x="1032512" y="137477"/>
                  </a:lnTo>
                  <a:lnTo>
                    <a:pt x="1032512" y="101599"/>
                  </a:lnTo>
                  <a:cubicBezTo>
                    <a:pt x="1032512" y="101599"/>
                    <a:pt x="1026797" y="106679"/>
                    <a:pt x="1022986" y="107949"/>
                  </a:cubicBezTo>
                  <a:cubicBezTo>
                    <a:pt x="1019812" y="109854"/>
                    <a:pt x="1016001" y="110489"/>
                    <a:pt x="1011556" y="110489"/>
                  </a:cubicBezTo>
                  <a:cubicBezTo>
                    <a:pt x="1007111" y="110489"/>
                    <a:pt x="1003301" y="109854"/>
                    <a:pt x="999491" y="107949"/>
                  </a:cubicBezTo>
                  <a:cubicBezTo>
                    <a:pt x="995681" y="106679"/>
                    <a:pt x="992506" y="104139"/>
                    <a:pt x="989966" y="100329"/>
                  </a:cubicBezTo>
                  <a:cubicBezTo>
                    <a:pt x="987426" y="97154"/>
                    <a:pt x="984886" y="92709"/>
                    <a:pt x="983616" y="87629"/>
                  </a:cubicBezTo>
                  <a:cubicBezTo>
                    <a:pt x="982346" y="82549"/>
                    <a:pt x="981076" y="76199"/>
                    <a:pt x="981076" y="68579"/>
                  </a:cubicBezTo>
                  <a:cubicBezTo>
                    <a:pt x="981076" y="61594"/>
                    <a:pt x="981711" y="55879"/>
                    <a:pt x="983616" y="51434"/>
                  </a:cubicBezTo>
                  <a:cubicBezTo>
                    <a:pt x="985521" y="46354"/>
                    <a:pt x="987426" y="42544"/>
                    <a:pt x="990601" y="39369"/>
                  </a:cubicBezTo>
                  <a:cubicBezTo>
                    <a:pt x="993142" y="36194"/>
                    <a:pt x="996951" y="33654"/>
                    <a:pt x="1000126" y="32384"/>
                  </a:cubicBezTo>
                  <a:cubicBezTo>
                    <a:pt x="1003937" y="31114"/>
                    <a:pt x="1007746" y="29844"/>
                    <a:pt x="1011556" y="29844"/>
                  </a:cubicBezTo>
                  <a:close/>
                  <a:moveTo>
                    <a:pt x="4871716" y="29210"/>
                  </a:moveTo>
                  <a:cubicBezTo>
                    <a:pt x="4876796" y="29210"/>
                    <a:pt x="4881241" y="29845"/>
                    <a:pt x="4885686" y="31750"/>
                  </a:cubicBezTo>
                  <a:cubicBezTo>
                    <a:pt x="4890131" y="33655"/>
                    <a:pt x="4894576" y="35560"/>
                    <a:pt x="4897751" y="38100"/>
                  </a:cubicBezTo>
                  <a:lnTo>
                    <a:pt x="4899021" y="38100"/>
                  </a:lnTo>
                  <a:lnTo>
                    <a:pt x="4892036" y="50165"/>
                  </a:lnTo>
                  <a:cubicBezTo>
                    <a:pt x="4888861" y="47625"/>
                    <a:pt x="4885686" y="46355"/>
                    <a:pt x="4882511" y="45085"/>
                  </a:cubicBezTo>
                  <a:cubicBezTo>
                    <a:pt x="4879336" y="43815"/>
                    <a:pt x="4875526" y="43180"/>
                    <a:pt x="4872351" y="43180"/>
                  </a:cubicBezTo>
                  <a:cubicBezTo>
                    <a:pt x="4869176" y="43180"/>
                    <a:pt x="4866001" y="43815"/>
                    <a:pt x="4864096" y="45085"/>
                  </a:cubicBezTo>
                  <a:cubicBezTo>
                    <a:pt x="4862191" y="46355"/>
                    <a:pt x="4861556" y="48260"/>
                    <a:pt x="4861556" y="50165"/>
                  </a:cubicBezTo>
                  <a:cubicBezTo>
                    <a:pt x="4861556" y="51435"/>
                    <a:pt x="4861556" y="52070"/>
                    <a:pt x="4861556" y="52705"/>
                  </a:cubicBezTo>
                  <a:cubicBezTo>
                    <a:pt x="4861556" y="53340"/>
                    <a:pt x="4862826" y="54610"/>
                    <a:pt x="4863461" y="55245"/>
                  </a:cubicBezTo>
                  <a:cubicBezTo>
                    <a:pt x="4864731" y="55880"/>
                    <a:pt x="4866001" y="57150"/>
                    <a:pt x="4867906" y="57785"/>
                  </a:cubicBezTo>
                  <a:cubicBezTo>
                    <a:pt x="4869811" y="59055"/>
                    <a:pt x="4872351" y="59690"/>
                    <a:pt x="4874891" y="60960"/>
                  </a:cubicBezTo>
                  <a:cubicBezTo>
                    <a:pt x="4879336" y="62865"/>
                    <a:pt x="4883146" y="64135"/>
                    <a:pt x="4886321" y="66040"/>
                  </a:cubicBezTo>
                  <a:cubicBezTo>
                    <a:pt x="4889496" y="67310"/>
                    <a:pt x="4892036" y="69215"/>
                    <a:pt x="4894576" y="71120"/>
                  </a:cubicBezTo>
                  <a:cubicBezTo>
                    <a:pt x="4896481" y="73025"/>
                    <a:pt x="4898386" y="75565"/>
                    <a:pt x="4899656" y="78105"/>
                  </a:cubicBezTo>
                  <a:cubicBezTo>
                    <a:pt x="4900926" y="80645"/>
                    <a:pt x="4901561" y="83820"/>
                    <a:pt x="4901561" y="87630"/>
                  </a:cubicBezTo>
                  <a:cubicBezTo>
                    <a:pt x="4901561" y="92075"/>
                    <a:pt x="4900926" y="95250"/>
                    <a:pt x="4899021" y="98425"/>
                  </a:cubicBezTo>
                  <a:cubicBezTo>
                    <a:pt x="4897116" y="101600"/>
                    <a:pt x="4895211" y="103505"/>
                    <a:pt x="4892671" y="105410"/>
                  </a:cubicBezTo>
                  <a:cubicBezTo>
                    <a:pt x="4890131" y="107315"/>
                    <a:pt x="4886956" y="108585"/>
                    <a:pt x="4883146" y="109220"/>
                  </a:cubicBezTo>
                  <a:cubicBezTo>
                    <a:pt x="4879336" y="109855"/>
                    <a:pt x="4876161" y="110490"/>
                    <a:pt x="4872351" y="110490"/>
                  </a:cubicBezTo>
                  <a:cubicBezTo>
                    <a:pt x="4867271" y="110490"/>
                    <a:pt x="4862191" y="109855"/>
                    <a:pt x="4857111" y="107950"/>
                  </a:cubicBezTo>
                  <a:cubicBezTo>
                    <a:pt x="4851396" y="106045"/>
                    <a:pt x="4846951" y="103505"/>
                    <a:pt x="4842506" y="100965"/>
                  </a:cubicBezTo>
                  <a:lnTo>
                    <a:pt x="4849491" y="89535"/>
                  </a:lnTo>
                  <a:cubicBezTo>
                    <a:pt x="4853301" y="92075"/>
                    <a:pt x="4857111" y="93980"/>
                    <a:pt x="4860921" y="95250"/>
                  </a:cubicBezTo>
                  <a:cubicBezTo>
                    <a:pt x="4864731" y="96520"/>
                    <a:pt x="4868541" y="97155"/>
                    <a:pt x="4872351" y="97155"/>
                  </a:cubicBezTo>
                  <a:cubicBezTo>
                    <a:pt x="4877431" y="97155"/>
                    <a:pt x="4880606" y="96520"/>
                    <a:pt x="4883146" y="94615"/>
                  </a:cubicBezTo>
                  <a:cubicBezTo>
                    <a:pt x="4885686" y="93345"/>
                    <a:pt x="4886321" y="90805"/>
                    <a:pt x="4886321" y="88265"/>
                  </a:cubicBezTo>
                  <a:cubicBezTo>
                    <a:pt x="4886321" y="86995"/>
                    <a:pt x="4886321" y="85725"/>
                    <a:pt x="4885051" y="84455"/>
                  </a:cubicBezTo>
                  <a:cubicBezTo>
                    <a:pt x="4884416" y="83185"/>
                    <a:pt x="4883146" y="82550"/>
                    <a:pt x="4881241" y="81280"/>
                  </a:cubicBezTo>
                  <a:cubicBezTo>
                    <a:pt x="4879971" y="80010"/>
                    <a:pt x="4878066" y="79375"/>
                    <a:pt x="4875526" y="78105"/>
                  </a:cubicBezTo>
                  <a:cubicBezTo>
                    <a:pt x="4872986" y="77470"/>
                    <a:pt x="4871081" y="76200"/>
                    <a:pt x="4867906" y="74930"/>
                  </a:cubicBezTo>
                  <a:cubicBezTo>
                    <a:pt x="4863461" y="73025"/>
                    <a:pt x="4860286" y="71755"/>
                    <a:pt x="4857111" y="69850"/>
                  </a:cubicBezTo>
                  <a:cubicBezTo>
                    <a:pt x="4853936" y="67945"/>
                    <a:pt x="4852031" y="66675"/>
                    <a:pt x="4850126" y="64770"/>
                  </a:cubicBezTo>
                  <a:cubicBezTo>
                    <a:pt x="4848221" y="62865"/>
                    <a:pt x="4846951" y="60960"/>
                    <a:pt x="4846316" y="58420"/>
                  </a:cubicBezTo>
                  <a:cubicBezTo>
                    <a:pt x="4845681" y="55880"/>
                    <a:pt x="4845046" y="53340"/>
                    <a:pt x="4845046" y="50165"/>
                  </a:cubicBezTo>
                  <a:cubicBezTo>
                    <a:pt x="4845046" y="46990"/>
                    <a:pt x="4845681" y="43815"/>
                    <a:pt x="4846951" y="40640"/>
                  </a:cubicBezTo>
                  <a:cubicBezTo>
                    <a:pt x="4848221" y="38100"/>
                    <a:pt x="4850126" y="35560"/>
                    <a:pt x="4852666" y="34290"/>
                  </a:cubicBezTo>
                  <a:cubicBezTo>
                    <a:pt x="4855206" y="32385"/>
                    <a:pt x="4857746" y="31115"/>
                    <a:pt x="4860921" y="30480"/>
                  </a:cubicBezTo>
                  <a:cubicBezTo>
                    <a:pt x="4864096" y="29845"/>
                    <a:pt x="4867906" y="29210"/>
                    <a:pt x="4871716" y="29210"/>
                  </a:cubicBezTo>
                  <a:close/>
                  <a:moveTo>
                    <a:pt x="4749796" y="29210"/>
                  </a:moveTo>
                  <a:cubicBezTo>
                    <a:pt x="4752971" y="29210"/>
                    <a:pt x="4755511" y="29210"/>
                    <a:pt x="4757416" y="29845"/>
                  </a:cubicBezTo>
                  <a:cubicBezTo>
                    <a:pt x="4759321" y="30480"/>
                    <a:pt x="4761226" y="31115"/>
                    <a:pt x="4763131" y="32385"/>
                  </a:cubicBezTo>
                  <a:lnTo>
                    <a:pt x="4759321" y="46990"/>
                  </a:lnTo>
                  <a:lnTo>
                    <a:pt x="4758051" y="46990"/>
                  </a:lnTo>
                  <a:cubicBezTo>
                    <a:pt x="4758051" y="46990"/>
                    <a:pt x="4754876" y="45085"/>
                    <a:pt x="4752971" y="45085"/>
                  </a:cubicBezTo>
                  <a:cubicBezTo>
                    <a:pt x="4751066" y="45085"/>
                    <a:pt x="4749161" y="44450"/>
                    <a:pt x="4746621" y="44450"/>
                  </a:cubicBezTo>
                  <a:cubicBezTo>
                    <a:pt x="4741541" y="44450"/>
                    <a:pt x="4737731" y="46355"/>
                    <a:pt x="4735191" y="49530"/>
                  </a:cubicBezTo>
                  <a:cubicBezTo>
                    <a:pt x="4732651" y="52705"/>
                    <a:pt x="4731381" y="57785"/>
                    <a:pt x="4731381" y="64770"/>
                  </a:cubicBezTo>
                  <a:lnTo>
                    <a:pt x="4731381" y="109220"/>
                  </a:lnTo>
                  <a:lnTo>
                    <a:pt x="4716141" y="109220"/>
                  </a:lnTo>
                  <a:lnTo>
                    <a:pt x="4716141" y="31115"/>
                  </a:lnTo>
                  <a:lnTo>
                    <a:pt x="4731381" y="31115"/>
                  </a:lnTo>
                  <a:lnTo>
                    <a:pt x="4731381" y="38735"/>
                  </a:lnTo>
                  <a:cubicBezTo>
                    <a:pt x="4731381" y="38735"/>
                    <a:pt x="4733286" y="36195"/>
                    <a:pt x="4734556" y="34925"/>
                  </a:cubicBezTo>
                  <a:cubicBezTo>
                    <a:pt x="4735826" y="33655"/>
                    <a:pt x="4737096" y="33020"/>
                    <a:pt x="4739001" y="31750"/>
                  </a:cubicBezTo>
                  <a:cubicBezTo>
                    <a:pt x="4740271" y="31115"/>
                    <a:pt x="4742176" y="30480"/>
                    <a:pt x="4744081" y="29845"/>
                  </a:cubicBezTo>
                  <a:cubicBezTo>
                    <a:pt x="4745986" y="29845"/>
                    <a:pt x="4747891" y="29210"/>
                    <a:pt x="4749796" y="29210"/>
                  </a:cubicBezTo>
                  <a:close/>
                  <a:moveTo>
                    <a:pt x="4349110" y="29210"/>
                  </a:moveTo>
                  <a:cubicBezTo>
                    <a:pt x="4352285" y="29210"/>
                    <a:pt x="4354825" y="29210"/>
                    <a:pt x="4356730" y="29845"/>
                  </a:cubicBezTo>
                  <a:cubicBezTo>
                    <a:pt x="4358635" y="29845"/>
                    <a:pt x="4360540" y="31115"/>
                    <a:pt x="4362445" y="32385"/>
                  </a:cubicBezTo>
                  <a:lnTo>
                    <a:pt x="4358635" y="46990"/>
                  </a:lnTo>
                  <a:lnTo>
                    <a:pt x="4357365" y="46990"/>
                  </a:lnTo>
                  <a:cubicBezTo>
                    <a:pt x="4357365" y="46990"/>
                    <a:pt x="4354190" y="45085"/>
                    <a:pt x="4352285" y="45085"/>
                  </a:cubicBezTo>
                  <a:cubicBezTo>
                    <a:pt x="4350380" y="45085"/>
                    <a:pt x="4348475" y="44450"/>
                    <a:pt x="4345935" y="44450"/>
                  </a:cubicBezTo>
                  <a:cubicBezTo>
                    <a:pt x="4340855" y="44450"/>
                    <a:pt x="4337045" y="46355"/>
                    <a:pt x="4334505" y="49530"/>
                  </a:cubicBezTo>
                  <a:cubicBezTo>
                    <a:pt x="4331965" y="52705"/>
                    <a:pt x="4330695" y="57785"/>
                    <a:pt x="4330695" y="64770"/>
                  </a:cubicBezTo>
                  <a:lnTo>
                    <a:pt x="4330695" y="109220"/>
                  </a:lnTo>
                  <a:lnTo>
                    <a:pt x="4315455" y="109220"/>
                  </a:lnTo>
                  <a:lnTo>
                    <a:pt x="4315455" y="31115"/>
                  </a:lnTo>
                  <a:lnTo>
                    <a:pt x="4330695" y="31115"/>
                  </a:lnTo>
                  <a:lnTo>
                    <a:pt x="4330695" y="38735"/>
                  </a:lnTo>
                  <a:cubicBezTo>
                    <a:pt x="4330695" y="38735"/>
                    <a:pt x="4332600" y="36195"/>
                    <a:pt x="4333870" y="34925"/>
                  </a:cubicBezTo>
                  <a:cubicBezTo>
                    <a:pt x="4335140" y="33655"/>
                    <a:pt x="4336410" y="33020"/>
                    <a:pt x="4338315" y="31750"/>
                  </a:cubicBezTo>
                  <a:cubicBezTo>
                    <a:pt x="4339585" y="31115"/>
                    <a:pt x="4341490" y="30480"/>
                    <a:pt x="4343395" y="29845"/>
                  </a:cubicBezTo>
                  <a:cubicBezTo>
                    <a:pt x="4345300" y="29845"/>
                    <a:pt x="4347205" y="29210"/>
                    <a:pt x="4349110" y="29210"/>
                  </a:cubicBezTo>
                  <a:close/>
                  <a:moveTo>
                    <a:pt x="4044310" y="29210"/>
                  </a:moveTo>
                  <a:cubicBezTo>
                    <a:pt x="4050025" y="29210"/>
                    <a:pt x="4054470" y="30480"/>
                    <a:pt x="4058915" y="32385"/>
                  </a:cubicBezTo>
                  <a:cubicBezTo>
                    <a:pt x="4062725" y="34290"/>
                    <a:pt x="4066535" y="37465"/>
                    <a:pt x="4069075" y="40640"/>
                  </a:cubicBezTo>
                  <a:cubicBezTo>
                    <a:pt x="4071615" y="44450"/>
                    <a:pt x="4073520" y="48260"/>
                    <a:pt x="4075425" y="53340"/>
                  </a:cubicBezTo>
                  <a:cubicBezTo>
                    <a:pt x="4076695" y="57785"/>
                    <a:pt x="4077330" y="62865"/>
                    <a:pt x="4077330" y="68580"/>
                  </a:cubicBezTo>
                  <a:lnTo>
                    <a:pt x="4076060" y="68580"/>
                  </a:lnTo>
                  <a:cubicBezTo>
                    <a:pt x="4076060" y="68580"/>
                    <a:pt x="4076060" y="71120"/>
                    <a:pt x="4076060" y="72390"/>
                  </a:cubicBezTo>
                  <a:cubicBezTo>
                    <a:pt x="4076060" y="73660"/>
                    <a:pt x="4076060" y="74295"/>
                    <a:pt x="4076060" y="75565"/>
                  </a:cubicBezTo>
                  <a:lnTo>
                    <a:pt x="4024625" y="75565"/>
                  </a:lnTo>
                  <a:cubicBezTo>
                    <a:pt x="4024625" y="79375"/>
                    <a:pt x="4025895" y="82550"/>
                    <a:pt x="4027165" y="85090"/>
                  </a:cubicBezTo>
                  <a:cubicBezTo>
                    <a:pt x="4028435" y="87630"/>
                    <a:pt x="4029705" y="90170"/>
                    <a:pt x="4031610" y="91440"/>
                  </a:cubicBezTo>
                  <a:cubicBezTo>
                    <a:pt x="4033515" y="93345"/>
                    <a:pt x="4035420" y="94615"/>
                    <a:pt x="4037325" y="95250"/>
                  </a:cubicBezTo>
                  <a:cubicBezTo>
                    <a:pt x="4039230" y="95885"/>
                    <a:pt x="4041770" y="96520"/>
                    <a:pt x="4044310" y="96520"/>
                  </a:cubicBezTo>
                  <a:cubicBezTo>
                    <a:pt x="4046215" y="96520"/>
                    <a:pt x="4047485" y="96520"/>
                    <a:pt x="4049390" y="96520"/>
                  </a:cubicBezTo>
                  <a:cubicBezTo>
                    <a:pt x="4050660" y="96520"/>
                    <a:pt x="4052565" y="95885"/>
                    <a:pt x="4053835" y="95250"/>
                  </a:cubicBezTo>
                  <a:cubicBezTo>
                    <a:pt x="4055105" y="95250"/>
                    <a:pt x="4056375" y="93980"/>
                    <a:pt x="4057645" y="93345"/>
                  </a:cubicBezTo>
                  <a:cubicBezTo>
                    <a:pt x="4058915" y="93345"/>
                    <a:pt x="4060185" y="92075"/>
                    <a:pt x="4062090" y="90805"/>
                  </a:cubicBezTo>
                  <a:lnTo>
                    <a:pt x="4070980" y="100330"/>
                  </a:lnTo>
                  <a:cubicBezTo>
                    <a:pt x="4070980" y="100330"/>
                    <a:pt x="4067170" y="103505"/>
                    <a:pt x="4065265" y="104775"/>
                  </a:cubicBezTo>
                  <a:cubicBezTo>
                    <a:pt x="4063360" y="106045"/>
                    <a:pt x="4061455" y="106680"/>
                    <a:pt x="4059550" y="107950"/>
                  </a:cubicBezTo>
                  <a:cubicBezTo>
                    <a:pt x="4057645" y="108585"/>
                    <a:pt x="4055105" y="109855"/>
                    <a:pt x="4052565" y="109855"/>
                  </a:cubicBezTo>
                  <a:cubicBezTo>
                    <a:pt x="4050025" y="109855"/>
                    <a:pt x="4046850" y="110490"/>
                    <a:pt x="4043675" y="110490"/>
                  </a:cubicBezTo>
                  <a:cubicBezTo>
                    <a:pt x="4040500" y="110490"/>
                    <a:pt x="4037325" y="110490"/>
                    <a:pt x="4034150" y="109220"/>
                  </a:cubicBezTo>
                  <a:cubicBezTo>
                    <a:pt x="4030975" y="108585"/>
                    <a:pt x="4028435" y="107315"/>
                    <a:pt x="4026530" y="105410"/>
                  </a:cubicBezTo>
                  <a:cubicBezTo>
                    <a:pt x="4023990" y="104140"/>
                    <a:pt x="4022085" y="102235"/>
                    <a:pt x="4020180" y="100330"/>
                  </a:cubicBezTo>
                  <a:cubicBezTo>
                    <a:pt x="4018275" y="98425"/>
                    <a:pt x="4016370" y="95885"/>
                    <a:pt x="4015100" y="92710"/>
                  </a:cubicBezTo>
                  <a:cubicBezTo>
                    <a:pt x="4013195" y="89535"/>
                    <a:pt x="4011925" y="86360"/>
                    <a:pt x="4011290" y="82550"/>
                  </a:cubicBezTo>
                  <a:cubicBezTo>
                    <a:pt x="4010655" y="78740"/>
                    <a:pt x="4010020" y="74295"/>
                    <a:pt x="4010020" y="69850"/>
                  </a:cubicBezTo>
                  <a:cubicBezTo>
                    <a:pt x="4010020" y="63500"/>
                    <a:pt x="4010655" y="57150"/>
                    <a:pt x="4012560" y="52070"/>
                  </a:cubicBezTo>
                  <a:cubicBezTo>
                    <a:pt x="4014465" y="46990"/>
                    <a:pt x="4016370" y="42545"/>
                    <a:pt x="4019545" y="39370"/>
                  </a:cubicBezTo>
                  <a:cubicBezTo>
                    <a:pt x="4022720" y="36195"/>
                    <a:pt x="4025895" y="33020"/>
                    <a:pt x="4030340" y="31750"/>
                  </a:cubicBezTo>
                  <a:cubicBezTo>
                    <a:pt x="4034785" y="29845"/>
                    <a:pt x="4039230" y="29210"/>
                    <a:pt x="4044310" y="29210"/>
                  </a:cubicBezTo>
                  <a:close/>
                  <a:moveTo>
                    <a:pt x="3811900" y="29210"/>
                  </a:moveTo>
                  <a:cubicBezTo>
                    <a:pt x="3815075" y="29210"/>
                    <a:pt x="3817615" y="29210"/>
                    <a:pt x="3819520" y="29845"/>
                  </a:cubicBezTo>
                  <a:cubicBezTo>
                    <a:pt x="3821425" y="29845"/>
                    <a:pt x="3823330" y="31115"/>
                    <a:pt x="3825235" y="32385"/>
                  </a:cubicBezTo>
                  <a:lnTo>
                    <a:pt x="3821425" y="46990"/>
                  </a:lnTo>
                  <a:lnTo>
                    <a:pt x="3820155" y="46990"/>
                  </a:lnTo>
                  <a:cubicBezTo>
                    <a:pt x="3820155" y="46990"/>
                    <a:pt x="3816980" y="45085"/>
                    <a:pt x="3815075" y="45085"/>
                  </a:cubicBezTo>
                  <a:cubicBezTo>
                    <a:pt x="3813170" y="45085"/>
                    <a:pt x="3811265" y="44450"/>
                    <a:pt x="3808725" y="44450"/>
                  </a:cubicBezTo>
                  <a:cubicBezTo>
                    <a:pt x="3803645" y="44450"/>
                    <a:pt x="3799835" y="46355"/>
                    <a:pt x="3797295" y="49530"/>
                  </a:cubicBezTo>
                  <a:cubicBezTo>
                    <a:pt x="3794755" y="52705"/>
                    <a:pt x="3793485" y="57785"/>
                    <a:pt x="3793485" y="64770"/>
                  </a:cubicBezTo>
                  <a:lnTo>
                    <a:pt x="3793485" y="109220"/>
                  </a:lnTo>
                  <a:lnTo>
                    <a:pt x="3778245" y="109220"/>
                  </a:lnTo>
                  <a:lnTo>
                    <a:pt x="3778245" y="31115"/>
                  </a:lnTo>
                  <a:lnTo>
                    <a:pt x="3793485" y="31115"/>
                  </a:lnTo>
                  <a:lnTo>
                    <a:pt x="3793485" y="38735"/>
                  </a:lnTo>
                  <a:cubicBezTo>
                    <a:pt x="3793485" y="38735"/>
                    <a:pt x="3795390" y="36195"/>
                    <a:pt x="3796660" y="34925"/>
                  </a:cubicBezTo>
                  <a:cubicBezTo>
                    <a:pt x="3797930" y="33655"/>
                    <a:pt x="3799200" y="33020"/>
                    <a:pt x="3801105" y="31750"/>
                  </a:cubicBezTo>
                  <a:cubicBezTo>
                    <a:pt x="3802375" y="31115"/>
                    <a:pt x="3804280" y="30480"/>
                    <a:pt x="3806185" y="29845"/>
                  </a:cubicBezTo>
                  <a:cubicBezTo>
                    <a:pt x="3808090" y="29845"/>
                    <a:pt x="3809995" y="29210"/>
                    <a:pt x="3811900" y="29210"/>
                  </a:cubicBezTo>
                  <a:close/>
                  <a:moveTo>
                    <a:pt x="3729986" y="29210"/>
                  </a:moveTo>
                  <a:cubicBezTo>
                    <a:pt x="3735701" y="29210"/>
                    <a:pt x="3740146" y="30480"/>
                    <a:pt x="3744591" y="32385"/>
                  </a:cubicBezTo>
                  <a:cubicBezTo>
                    <a:pt x="3748401" y="34290"/>
                    <a:pt x="3752211" y="37465"/>
                    <a:pt x="3754751" y="40640"/>
                  </a:cubicBezTo>
                  <a:cubicBezTo>
                    <a:pt x="3757291" y="44450"/>
                    <a:pt x="3759196" y="48260"/>
                    <a:pt x="3761101" y="53340"/>
                  </a:cubicBezTo>
                  <a:cubicBezTo>
                    <a:pt x="3762371" y="57785"/>
                    <a:pt x="3763006" y="62865"/>
                    <a:pt x="3763006" y="68580"/>
                  </a:cubicBezTo>
                  <a:lnTo>
                    <a:pt x="3761736" y="68580"/>
                  </a:lnTo>
                  <a:cubicBezTo>
                    <a:pt x="3761736" y="68580"/>
                    <a:pt x="3761736" y="71120"/>
                    <a:pt x="3761736" y="72390"/>
                  </a:cubicBezTo>
                  <a:cubicBezTo>
                    <a:pt x="3761736" y="73660"/>
                    <a:pt x="3761736" y="74295"/>
                    <a:pt x="3761736" y="75565"/>
                  </a:cubicBezTo>
                  <a:lnTo>
                    <a:pt x="3710301" y="75565"/>
                  </a:lnTo>
                  <a:cubicBezTo>
                    <a:pt x="3710301" y="79375"/>
                    <a:pt x="3711571" y="82550"/>
                    <a:pt x="3712841" y="85090"/>
                  </a:cubicBezTo>
                  <a:cubicBezTo>
                    <a:pt x="3714111" y="87630"/>
                    <a:pt x="3715381" y="90170"/>
                    <a:pt x="3717286" y="91440"/>
                  </a:cubicBezTo>
                  <a:cubicBezTo>
                    <a:pt x="3719191" y="93345"/>
                    <a:pt x="3721096" y="94615"/>
                    <a:pt x="3723001" y="95250"/>
                  </a:cubicBezTo>
                  <a:cubicBezTo>
                    <a:pt x="3724906" y="95885"/>
                    <a:pt x="3727446" y="96520"/>
                    <a:pt x="3729986" y="96520"/>
                  </a:cubicBezTo>
                  <a:cubicBezTo>
                    <a:pt x="3731891" y="96520"/>
                    <a:pt x="3733161" y="96520"/>
                    <a:pt x="3735066" y="96520"/>
                  </a:cubicBezTo>
                  <a:cubicBezTo>
                    <a:pt x="3736336" y="96520"/>
                    <a:pt x="3738241" y="95885"/>
                    <a:pt x="3739511" y="95250"/>
                  </a:cubicBezTo>
                  <a:cubicBezTo>
                    <a:pt x="3740781" y="95250"/>
                    <a:pt x="3742051" y="93980"/>
                    <a:pt x="3743321" y="93345"/>
                  </a:cubicBezTo>
                  <a:cubicBezTo>
                    <a:pt x="3744591" y="93345"/>
                    <a:pt x="3745861" y="92075"/>
                    <a:pt x="3747766" y="90805"/>
                  </a:cubicBezTo>
                  <a:lnTo>
                    <a:pt x="3756656" y="100330"/>
                  </a:lnTo>
                  <a:cubicBezTo>
                    <a:pt x="3756656" y="100330"/>
                    <a:pt x="3752846" y="103505"/>
                    <a:pt x="3750941" y="104775"/>
                  </a:cubicBezTo>
                  <a:cubicBezTo>
                    <a:pt x="3749036" y="106045"/>
                    <a:pt x="3747131" y="106680"/>
                    <a:pt x="3745226" y="107950"/>
                  </a:cubicBezTo>
                  <a:cubicBezTo>
                    <a:pt x="3743321" y="108585"/>
                    <a:pt x="3740781" y="109855"/>
                    <a:pt x="3738241" y="109855"/>
                  </a:cubicBezTo>
                  <a:cubicBezTo>
                    <a:pt x="3735701" y="109855"/>
                    <a:pt x="3732526" y="110490"/>
                    <a:pt x="3729351" y="110490"/>
                  </a:cubicBezTo>
                  <a:cubicBezTo>
                    <a:pt x="3726176" y="110490"/>
                    <a:pt x="3723001" y="110490"/>
                    <a:pt x="3719826" y="109220"/>
                  </a:cubicBezTo>
                  <a:cubicBezTo>
                    <a:pt x="3716651" y="108585"/>
                    <a:pt x="3714111" y="107315"/>
                    <a:pt x="3712206" y="105410"/>
                  </a:cubicBezTo>
                  <a:cubicBezTo>
                    <a:pt x="3709666" y="104140"/>
                    <a:pt x="3707761" y="102235"/>
                    <a:pt x="3705856" y="100330"/>
                  </a:cubicBezTo>
                  <a:cubicBezTo>
                    <a:pt x="3703951" y="98425"/>
                    <a:pt x="3702046" y="95885"/>
                    <a:pt x="3700776" y="92710"/>
                  </a:cubicBezTo>
                  <a:cubicBezTo>
                    <a:pt x="3698871" y="89535"/>
                    <a:pt x="3697601" y="86360"/>
                    <a:pt x="3696966" y="82550"/>
                  </a:cubicBezTo>
                  <a:cubicBezTo>
                    <a:pt x="3696331" y="78740"/>
                    <a:pt x="3695696" y="74295"/>
                    <a:pt x="3695696" y="69850"/>
                  </a:cubicBezTo>
                  <a:cubicBezTo>
                    <a:pt x="3695696" y="63500"/>
                    <a:pt x="3696331" y="57150"/>
                    <a:pt x="3698236" y="52070"/>
                  </a:cubicBezTo>
                  <a:cubicBezTo>
                    <a:pt x="3700141" y="46990"/>
                    <a:pt x="3702046" y="42545"/>
                    <a:pt x="3705221" y="39370"/>
                  </a:cubicBezTo>
                  <a:cubicBezTo>
                    <a:pt x="3708396" y="36195"/>
                    <a:pt x="3711571" y="33020"/>
                    <a:pt x="3716016" y="31750"/>
                  </a:cubicBezTo>
                  <a:cubicBezTo>
                    <a:pt x="3720461" y="29845"/>
                    <a:pt x="3724906" y="29210"/>
                    <a:pt x="3729986" y="29210"/>
                  </a:cubicBezTo>
                  <a:close/>
                  <a:moveTo>
                    <a:pt x="3543296" y="29210"/>
                  </a:moveTo>
                  <a:cubicBezTo>
                    <a:pt x="3549011" y="29210"/>
                    <a:pt x="3553456" y="30480"/>
                    <a:pt x="3557901" y="32385"/>
                  </a:cubicBezTo>
                  <a:cubicBezTo>
                    <a:pt x="3561711" y="34290"/>
                    <a:pt x="3565521" y="37465"/>
                    <a:pt x="3568061" y="40640"/>
                  </a:cubicBezTo>
                  <a:cubicBezTo>
                    <a:pt x="3570601" y="44450"/>
                    <a:pt x="3572506" y="48260"/>
                    <a:pt x="3574411" y="53340"/>
                  </a:cubicBezTo>
                  <a:cubicBezTo>
                    <a:pt x="3575681" y="57785"/>
                    <a:pt x="3576316" y="62865"/>
                    <a:pt x="3576316" y="68580"/>
                  </a:cubicBezTo>
                  <a:lnTo>
                    <a:pt x="3575046" y="68580"/>
                  </a:lnTo>
                  <a:cubicBezTo>
                    <a:pt x="3575046" y="68580"/>
                    <a:pt x="3575046" y="71120"/>
                    <a:pt x="3575046" y="72390"/>
                  </a:cubicBezTo>
                  <a:cubicBezTo>
                    <a:pt x="3575046" y="73660"/>
                    <a:pt x="3575046" y="74295"/>
                    <a:pt x="3575046" y="75565"/>
                  </a:cubicBezTo>
                  <a:lnTo>
                    <a:pt x="3523611" y="75565"/>
                  </a:lnTo>
                  <a:cubicBezTo>
                    <a:pt x="3523611" y="79375"/>
                    <a:pt x="3524881" y="82550"/>
                    <a:pt x="3526151" y="85090"/>
                  </a:cubicBezTo>
                  <a:cubicBezTo>
                    <a:pt x="3527421" y="87630"/>
                    <a:pt x="3528691" y="90170"/>
                    <a:pt x="3530596" y="91440"/>
                  </a:cubicBezTo>
                  <a:cubicBezTo>
                    <a:pt x="3532501" y="93345"/>
                    <a:pt x="3534406" y="94615"/>
                    <a:pt x="3536311" y="95250"/>
                  </a:cubicBezTo>
                  <a:cubicBezTo>
                    <a:pt x="3538216" y="95885"/>
                    <a:pt x="3540756" y="96520"/>
                    <a:pt x="3543296" y="96520"/>
                  </a:cubicBezTo>
                  <a:cubicBezTo>
                    <a:pt x="3545201" y="96520"/>
                    <a:pt x="3546471" y="96520"/>
                    <a:pt x="3548376" y="96520"/>
                  </a:cubicBezTo>
                  <a:cubicBezTo>
                    <a:pt x="3549646" y="96520"/>
                    <a:pt x="3551551" y="95885"/>
                    <a:pt x="3552821" y="95250"/>
                  </a:cubicBezTo>
                  <a:cubicBezTo>
                    <a:pt x="3554091" y="95250"/>
                    <a:pt x="3555361" y="93980"/>
                    <a:pt x="3556631" y="93345"/>
                  </a:cubicBezTo>
                  <a:cubicBezTo>
                    <a:pt x="3557901" y="93345"/>
                    <a:pt x="3559171" y="92075"/>
                    <a:pt x="3561076" y="90805"/>
                  </a:cubicBezTo>
                  <a:lnTo>
                    <a:pt x="3569966" y="100330"/>
                  </a:lnTo>
                  <a:cubicBezTo>
                    <a:pt x="3569966" y="100330"/>
                    <a:pt x="3566156" y="103505"/>
                    <a:pt x="3564251" y="104775"/>
                  </a:cubicBezTo>
                  <a:cubicBezTo>
                    <a:pt x="3562346" y="106045"/>
                    <a:pt x="3560441" y="106680"/>
                    <a:pt x="3558536" y="107950"/>
                  </a:cubicBezTo>
                  <a:cubicBezTo>
                    <a:pt x="3556631" y="108585"/>
                    <a:pt x="3554091" y="109855"/>
                    <a:pt x="3551551" y="109855"/>
                  </a:cubicBezTo>
                  <a:cubicBezTo>
                    <a:pt x="3549011" y="109855"/>
                    <a:pt x="3545836" y="110490"/>
                    <a:pt x="3542661" y="110490"/>
                  </a:cubicBezTo>
                  <a:cubicBezTo>
                    <a:pt x="3539486" y="110490"/>
                    <a:pt x="3536311" y="110490"/>
                    <a:pt x="3533136" y="109220"/>
                  </a:cubicBezTo>
                  <a:cubicBezTo>
                    <a:pt x="3529961" y="108585"/>
                    <a:pt x="3527421" y="107315"/>
                    <a:pt x="3525516" y="105410"/>
                  </a:cubicBezTo>
                  <a:cubicBezTo>
                    <a:pt x="3522976" y="104140"/>
                    <a:pt x="3521071" y="102235"/>
                    <a:pt x="3519166" y="100330"/>
                  </a:cubicBezTo>
                  <a:cubicBezTo>
                    <a:pt x="3517261" y="98425"/>
                    <a:pt x="3515356" y="95885"/>
                    <a:pt x="3514086" y="92710"/>
                  </a:cubicBezTo>
                  <a:cubicBezTo>
                    <a:pt x="3512181" y="89535"/>
                    <a:pt x="3510911" y="86360"/>
                    <a:pt x="3510276" y="82550"/>
                  </a:cubicBezTo>
                  <a:cubicBezTo>
                    <a:pt x="3509641" y="78740"/>
                    <a:pt x="3509006" y="74295"/>
                    <a:pt x="3509006" y="69850"/>
                  </a:cubicBezTo>
                  <a:cubicBezTo>
                    <a:pt x="3509006" y="63500"/>
                    <a:pt x="3509641" y="57150"/>
                    <a:pt x="3511546" y="52070"/>
                  </a:cubicBezTo>
                  <a:cubicBezTo>
                    <a:pt x="3513451" y="46990"/>
                    <a:pt x="3515356" y="42545"/>
                    <a:pt x="3518531" y="39370"/>
                  </a:cubicBezTo>
                  <a:cubicBezTo>
                    <a:pt x="3521706" y="36195"/>
                    <a:pt x="3524881" y="33020"/>
                    <a:pt x="3529326" y="31750"/>
                  </a:cubicBezTo>
                  <a:cubicBezTo>
                    <a:pt x="3533771" y="29845"/>
                    <a:pt x="3538216" y="29210"/>
                    <a:pt x="3543296" y="29210"/>
                  </a:cubicBezTo>
                  <a:close/>
                  <a:moveTo>
                    <a:pt x="3345176" y="29210"/>
                  </a:moveTo>
                  <a:cubicBezTo>
                    <a:pt x="3350891" y="29210"/>
                    <a:pt x="3355336" y="30480"/>
                    <a:pt x="3359781" y="32385"/>
                  </a:cubicBezTo>
                  <a:cubicBezTo>
                    <a:pt x="3363591" y="34290"/>
                    <a:pt x="3367401" y="37465"/>
                    <a:pt x="3369941" y="40640"/>
                  </a:cubicBezTo>
                  <a:cubicBezTo>
                    <a:pt x="3372481" y="44450"/>
                    <a:pt x="3374386" y="48260"/>
                    <a:pt x="3376291" y="53340"/>
                  </a:cubicBezTo>
                  <a:cubicBezTo>
                    <a:pt x="3377561" y="57785"/>
                    <a:pt x="3378196" y="62865"/>
                    <a:pt x="3378196" y="68580"/>
                  </a:cubicBezTo>
                  <a:lnTo>
                    <a:pt x="3376926" y="68580"/>
                  </a:lnTo>
                  <a:cubicBezTo>
                    <a:pt x="3376926" y="68580"/>
                    <a:pt x="3376926" y="71120"/>
                    <a:pt x="3376926" y="72390"/>
                  </a:cubicBezTo>
                  <a:cubicBezTo>
                    <a:pt x="3376926" y="73660"/>
                    <a:pt x="3376926" y="74295"/>
                    <a:pt x="3376926" y="75565"/>
                  </a:cubicBezTo>
                  <a:lnTo>
                    <a:pt x="3325491" y="75565"/>
                  </a:lnTo>
                  <a:cubicBezTo>
                    <a:pt x="3325491" y="79375"/>
                    <a:pt x="3326761" y="82550"/>
                    <a:pt x="3328031" y="85090"/>
                  </a:cubicBezTo>
                  <a:cubicBezTo>
                    <a:pt x="3329301" y="87630"/>
                    <a:pt x="3330571" y="90170"/>
                    <a:pt x="3332476" y="91440"/>
                  </a:cubicBezTo>
                  <a:cubicBezTo>
                    <a:pt x="3334381" y="93345"/>
                    <a:pt x="3336286" y="94615"/>
                    <a:pt x="3338191" y="95250"/>
                  </a:cubicBezTo>
                  <a:cubicBezTo>
                    <a:pt x="3340096" y="95885"/>
                    <a:pt x="3342636" y="96520"/>
                    <a:pt x="3345176" y="96520"/>
                  </a:cubicBezTo>
                  <a:cubicBezTo>
                    <a:pt x="3347081" y="96520"/>
                    <a:pt x="3348351" y="96520"/>
                    <a:pt x="3350256" y="96520"/>
                  </a:cubicBezTo>
                  <a:cubicBezTo>
                    <a:pt x="3351526" y="96520"/>
                    <a:pt x="3353431" y="95885"/>
                    <a:pt x="3354701" y="95250"/>
                  </a:cubicBezTo>
                  <a:cubicBezTo>
                    <a:pt x="3355971" y="95250"/>
                    <a:pt x="3357241" y="93980"/>
                    <a:pt x="3358511" y="93345"/>
                  </a:cubicBezTo>
                  <a:cubicBezTo>
                    <a:pt x="3359781" y="93345"/>
                    <a:pt x="3361051" y="92075"/>
                    <a:pt x="3362956" y="90805"/>
                  </a:cubicBezTo>
                  <a:lnTo>
                    <a:pt x="3371846" y="100330"/>
                  </a:lnTo>
                  <a:cubicBezTo>
                    <a:pt x="3371846" y="100330"/>
                    <a:pt x="3368036" y="103505"/>
                    <a:pt x="3366131" y="104775"/>
                  </a:cubicBezTo>
                  <a:cubicBezTo>
                    <a:pt x="3364226" y="106045"/>
                    <a:pt x="3362321" y="106680"/>
                    <a:pt x="3360416" y="107950"/>
                  </a:cubicBezTo>
                  <a:cubicBezTo>
                    <a:pt x="3358511" y="108585"/>
                    <a:pt x="3355971" y="109855"/>
                    <a:pt x="3353431" y="109855"/>
                  </a:cubicBezTo>
                  <a:cubicBezTo>
                    <a:pt x="3350891" y="109855"/>
                    <a:pt x="3347716" y="110490"/>
                    <a:pt x="3344541" y="110490"/>
                  </a:cubicBezTo>
                  <a:cubicBezTo>
                    <a:pt x="3341366" y="110490"/>
                    <a:pt x="3338191" y="110490"/>
                    <a:pt x="3335016" y="109220"/>
                  </a:cubicBezTo>
                  <a:cubicBezTo>
                    <a:pt x="3331841" y="108585"/>
                    <a:pt x="3329301" y="107315"/>
                    <a:pt x="3327396" y="105410"/>
                  </a:cubicBezTo>
                  <a:cubicBezTo>
                    <a:pt x="3324856" y="104140"/>
                    <a:pt x="3322951" y="102235"/>
                    <a:pt x="3321046" y="100330"/>
                  </a:cubicBezTo>
                  <a:cubicBezTo>
                    <a:pt x="3319141" y="98425"/>
                    <a:pt x="3317236" y="95885"/>
                    <a:pt x="3315966" y="92710"/>
                  </a:cubicBezTo>
                  <a:cubicBezTo>
                    <a:pt x="3314061" y="89535"/>
                    <a:pt x="3312791" y="86360"/>
                    <a:pt x="3312156" y="82550"/>
                  </a:cubicBezTo>
                  <a:cubicBezTo>
                    <a:pt x="3311521" y="78740"/>
                    <a:pt x="3310886" y="74295"/>
                    <a:pt x="3310886" y="69850"/>
                  </a:cubicBezTo>
                  <a:cubicBezTo>
                    <a:pt x="3310886" y="63500"/>
                    <a:pt x="3311521" y="57150"/>
                    <a:pt x="3313426" y="52070"/>
                  </a:cubicBezTo>
                  <a:cubicBezTo>
                    <a:pt x="3315331" y="46990"/>
                    <a:pt x="3317236" y="42545"/>
                    <a:pt x="3320411" y="39370"/>
                  </a:cubicBezTo>
                  <a:cubicBezTo>
                    <a:pt x="3323586" y="36195"/>
                    <a:pt x="3326761" y="33020"/>
                    <a:pt x="3331206" y="31750"/>
                  </a:cubicBezTo>
                  <a:cubicBezTo>
                    <a:pt x="3335651" y="29845"/>
                    <a:pt x="3340096" y="29210"/>
                    <a:pt x="3345176" y="29210"/>
                  </a:cubicBezTo>
                  <a:close/>
                  <a:moveTo>
                    <a:pt x="3060696" y="29210"/>
                  </a:moveTo>
                  <a:cubicBezTo>
                    <a:pt x="3063871" y="29210"/>
                    <a:pt x="3066411" y="29210"/>
                    <a:pt x="3068316" y="29845"/>
                  </a:cubicBezTo>
                  <a:cubicBezTo>
                    <a:pt x="3070221" y="29845"/>
                    <a:pt x="3072126" y="31115"/>
                    <a:pt x="3074031" y="32385"/>
                  </a:cubicBezTo>
                  <a:lnTo>
                    <a:pt x="3070221" y="46990"/>
                  </a:lnTo>
                  <a:lnTo>
                    <a:pt x="3068951" y="46990"/>
                  </a:lnTo>
                  <a:cubicBezTo>
                    <a:pt x="3068951" y="46990"/>
                    <a:pt x="3065776" y="45085"/>
                    <a:pt x="3063871" y="45085"/>
                  </a:cubicBezTo>
                  <a:cubicBezTo>
                    <a:pt x="3061966" y="45085"/>
                    <a:pt x="3060061" y="44450"/>
                    <a:pt x="3057521" y="44450"/>
                  </a:cubicBezTo>
                  <a:cubicBezTo>
                    <a:pt x="3052441" y="44450"/>
                    <a:pt x="3048631" y="46355"/>
                    <a:pt x="3046091" y="49530"/>
                  </a:cubicBezTo>
                  <a:cubicBezTo>
                    <a:pt x="3043551" y="52705"/>
                    <a:pt x="3042281" y="57785"/>
                    <a:pt x="3042281" y="64770"/>
                  </a:cubicBezTo>
                  <a:lnTo>
                    <a:pt x="3042281" y="109220"/>
                  </a:lnTo>
                  <a:lnTo>
                    <a:pt x="3027041" y="109220"/>
                  </a:lnTo>
                  <a:lnTo>
                    <a:pt x="3027041" y="31115"/>
                  </a:lnTo>
                  <a:lnTo>
                    <a:pt x="3042281" y="31115"/>
                  </a:lnTo>
                  <a:lnTo>
                    <a:pt x="3042281" y="38735"/>
                  </a:lnTo>
                  <a:cubicBezTo>
                    <a:pt x="3042281" y="38735"/>
                    <a:pt x="3044186" y="36195"/>
                    <a:pt x="3045456" y="34925"/>
                  </a:cubicBezTo>
                  <a:cubicBezTo>
                    <a:pt x="3046726" y="33655"/>
                    <a:pt x="3047996" y="33020"/>
                    <a:pt x="3049901" y="31750"/>
                  </a:cubicBezTo>
                  <a:cubicBezTo>
                    <a:pt x="3051171" y="31115"/>
                    <a:pt x="3053076" y="30480"/>
                    <a:pt x="3054981" y="29845"/>
                  </a:cubicBezTo>
                  <a:cubicBezTo>
                    <a:pt x="3056886" y="29845"/>
                    <a:pt x="3058791" y="29210"/>
                    <a:pt x="3060696" y="29210"/>
                  </a:cubicBezTo>
                  <a:close/>
                  <a:moveTo>
                    <a:pt x="2978781" y="29210"/>
                  </a:moveTo>
                  <a:cubicBezTo>
                    <a:pt x="2984496" y="29210"/>
                    <a:pt x="2988941" y="30480"/>
                    <a:pt x="2993386" y="32385"/>
                  </a:cubicBezTo>
                  <a:cubicBezTo>
                    <a:pt x="2997196" y="34290"/>
                    <a:pt x="3001006" y="37465"/>
                    <a:pt x="3003546" y="40640"/>
                  </a:cubicBezTo>
                  <a:cubicBezTo>
                    <a:pt x="3006086" y="44450"/>
                    <a:pt x="3007991" y="48260"/>
                    <a:pt x="3009896" y="53340"/>
                  </a:cubicBezTo>
                  <a:cubicBezTo>
                    <a:pt x="3011166" y="57785"/>
                    <a:pt x="3011801" y="62865"/>
                    <a:pt x="3011801" y="68580"/>
                  </a:cubicBezTo>
                  <a:lnTo>
                    <a:pt x="3010531" y="68580"/>
                  </a:lnTo>
                  <a:cubicBezTo>
                    <a:pt x="3010531" y="68580"/>
                    <a:pt x="3010531" y="71120"/>
                    <a:pt x="3010531" y="72390"/>
                  </a:cubicBezTo>
                  <a:cubicBezTo>
                    <a:pt x="3010531" y="73660"/>
                    <a:pt x="3010531" y="74295"/>
                    <a:pt x="3010531" y="75565"/>
                  </a:cubicBezTo>
                  <a:lnTo>
                    <a:pt x="2959096" y="75565"/>
                  </a:lnTo>
                  <a:cubicBezTo>
                    <a:pt x="2959096" y="79375"/>
                    <a:pt x="2960366" y="82550"/>
                    <a:pt x="2961636" y="85090"/>
                  </a:cubicBezTo>
                  <a:cubicBezTo>
                    <a:pt x="2962906" y="87630"/>
                    <a:pt x="2964176" y="90170"/>
                    <a:pt x="2966081" y="91440"/>
                  </a:cubicBezTo>
                  <a:cubicBezTo>
                    <a:pt x="2967986" y="93345"/>
                    <a:pt x="2969891" y="94615"/>
                    <a:pt x="2971796" y="95250"/>
                  </a:cubicBezTo>
                  <a:cubicBezTo>
                    <a:pt x="2974336" y="95885"/>
                    <a:pt x="2976241" y="96520"/>
                    <a:pt x="2978781" y="96520"/>
                  </a:cubicBezTo>
                  <a:cubicBezTo>
                    <a:pt x="2980686" y="96520"/>
                    <a:pt x="2981956" y="96520"/>
                    <a:pt x="2983861" y="96520"/>
                  </a:cubicBezTo>
                  <a:cubicBezTo>
                    <a:pt x="2985131" y="96520"/>
                    <a:pt x="2987036" y="95885"/>
                    <a:pt x="2988306" y="95250"/>
                  </a:cubicBezTo>
                  <a:cubicBezTo>
                    <a:pt x="2989576" y="95250"/>
                    <a:pt x="2990846" y="93980"/>
                    <a:pt x="2992116" y="93345"/>
                  </a:cubicBezTo>
                  <a:cubicBezTo>
                    <a:pt x="2993386" y="93345"/>
                    <a:pt x="2994656" y="92075"/>
                    <a:pt x="2996561" y="90805"/>
                  </a:cubicBezTo>
                  <a:lnTo>
                    <a:pt x="3005451" y="100330"/>
                  </a:lnTo>
                  <a:cubicBezTo>
                    <a:pt x="3005451" y="100330"/>
                    <a:pt x="3001641" y="103505"/>
                    <a:pt x="2999736" y="104775"/>
                  </a:cubicBezTo>
                  <a:cubicBezTo>
                    <a:pt x="2997831" y="106045"/>
                    <a:pt x="2995926" y="106680"/>
                    <a:pt x="2994021" y="107950"/>
                  </a:cubicBezTo>
                  <a:cubicBezTo>
                    <a:pt x="2992116" y="108585"/>
                    <a:pt x="2989576" y="109855"/>
                    <a:pt x="2987036" y="109855"/>
                  </a:cubicBezTo>
                  <a:cubicBezTo>
                    <a:pt x="2984496" y="109855"/>
                    <a:pt x="2981321" y="110490"/>
                    <a:pt x="2978146" y="110490"/>
                  </a:cubicBezTo>
                  <a:cubicBezTo>
                    <a:pt x="2974971" y="110490"/>
                    <a:pt x="2971796" y="110490"/>
                    <a:pt x="2968621" y="109220"/>
                  </a:cubicBezTo>
                  <a:cubicBezTo>
                    <a:pt x="2965446" y="108585"/>
                    <a:pt x="2962906" y="107315"/>
                    <a:pt x="2961001" y="105410"/>
                  </a:cubicBezTo>
                  <a:cubicBezTo>
                    <a:pt x="2958461" y="104140"/>
                    <a:pt x="2956556" y="102235"/>
                    <a:pt x="2954651" y="100330"/>
                  </a:cubicBezTo>
                  <a:cubicBezTo>
                    <a:pt x="2952746" y="98425"/>
                    <a:pt x="2950841" y="95885"/>
                    <a:pt x="2949571" y="92710"/>
                  </a:cubicBezTo>
                  <a:cubicBezTo>
                    <a:pt x="2947666" y="89535"/>
                    <a:pt x="2946396" y="86360"/>
                    <a:pt x="2945761" y="82550"/>
                  </a:cubicBezTo>
                  <a:cubicBezTo>
                    <a:pt x="2945126" y="78740"/>
                    <a:pt x="2944491" y="74295"/>
                    <a:pt x="2944491" y="69850"/>
                  </a:cubicBezTo>
                  <a:cubicBezTo>
                    <a:pt x="2944491" y="63500"/>
                    <a:pt x="2945126" y="57150"/>
                    <a:pt x="2947031" y="52070"/>
                  </a:cubicBezTo>
                  <a:cubicBezTo>
                    <a:pt x="2948936" y="46990"/>
                    <a:pt x="2950841" y="42545"/>
                    <a:pt x="2954016" y="39370"/>
                  </a:cubicBezTo>
                  <a:cubicBezTo>
                    <a:pt x="2957191" y="36195"/>
                    <a:pt x="2960366" y="33020"/>
                    <a:pt x="2964811" y="31750"/>
                  </a:cubicBezTo>
                  <a:cubicBezTo>
                    <a:pt x="2969256" y="29845"/>
                    <a:pt x="2973701" y="29210"/>
                    <a:pt x="2978781" y="29210"/>
                  </a:cubicBezTo>
                  <a:close/>
                  <a:moveTo>
                    <a:pt x="2798440" y="29210"/>
                  </a:moveTo>
                  <a:cubicBezTo>
                    <a:pt x="2803520" y="29210"/>
                    <a:pt x="2807965" y="29845"/>
                    <a:pt x="2813045" y="31750"/>
                  </a:cubicBezTo>
                  <a:cubicBezTo>
                    <a:pt x="2817490" y="33655"/>
                    <a:pt x="2821935" y="35560"/>
                    <a:pt x="2825110" y="38100"/>
                  </a:cubicBezTo>
                  <a:lnTo>
                    <a:pt x="2827015" y="38100"/>
                  </a:lnTo>
                  <a:lnTo>
                    <a:pt x="2820030" y="50165"/>
                  </a:lnTo>
                  <a:cubicBezTo>
                    <a:pt x="2816855" y="47625"/>
                    <a:pt x="2813680" y="46355"/>
                    <a:pt x="2810505" y="45085"/>
                  </a:cubicBezTo>
                  <a:cubicBezTo>
                    <a:pt x="2807330" y="43815"/>
                    <a:pt x="2803520" y="43180"/>
                    <a:pt x="2799710" y="43180"/>
                  </a:cubicBezTo>
                  <a:cubicBezTo>
                    <a:pt x="2795900" y="43180"/>
                    <a:pt x="2793360" y="43815"/>
                    <a:pt x="2791455" y="45085"/>
                  </a:cubicBezTo>
                  <a:cubicBezTo>
                    <a:pt x="2789550" y="46355"/>
                    <a:pt x="2788915" y="48260"/>
                    <a:pt x="2788915" y="50165"/>
                  </a:cubicBezTo>
                  <a:cubicBezTo>
                    <a:pt x="2788915" y="51435"/>
                    <a:pt x="2788915" y="52070"/>
                    <a:pt x="2788915" y="52705"/>
                  </a:cubicBezTo>
                  <a:cubicBezTo>
                    <a:pt x="2788915" y="53340"/>
                    <a:pt x="2790185" y="54610"/>
                    <a:pt x="2790820" y="55245"/>
                  </a:cubicBezTo>
                  <a:cubicBezTo>
                    <a:pt x="2792090" y="55880"/>
                    <a:pt x="2793360" y="57150"/>
                    <a:pt x="2795265" y="57785"/>
                  </a:cubicBezTo>
                  <a:cubicBezTo>
                    <a:pt x="2797170" y="59055"/>
                    <a:pt x="2799710" y="59690"/>
                    <a:pt x="2802250" y="60960"/>
                  </a:cubicBezTo>
                  <a:cubicBezTo>
                    <a:pt x="2806695" y="62865"/>
                    <a:pt x="2810505" y="64135"/>
                    <a:pt x="2813680" y="66040"/>
                  </a:cubicBezTo>
                  <a:cubicBezTo>
                    <a:pt x="2816855" y="67310"/>
                    <a:pt x="2819395" y="69215"/>
                    <a:pt x="2821935" y="71120"/>
                  </a:cubicBezTo>
                  <a:cubicBezTo>
                    <a:pt x="2823840" y="73025"/>
                    <a:pt x="2825745" y="75565"/>
                    <a:pt x="2827015" y="78105"/>
                  </a:cubicBezTo>
                  <a:cubicBezTo>
                    <a:pt x="2828285" y="80645"/>
                    <a:pt x="2828920" y="83820"/>
                    <a:pt x="2828920" y="87630"/>
                  </a:cubicBezTo>
                  <a:cubicBezTo>
                    <a:pt x="2828920" y="92075"/>
                    <a:pt x="2828285" y="95250"/>
                    <a:pt x="2826380" y="98425"/>
                  </a:cubicBezTo>
                  <a:cubicBezTo>
                    <a:pt x="2824475" y="101600"/>
                    <a:pt x="2822570" y="103505"/>
                    <a:pt x="2820030" y="105410"/>
                  </a:cubicBezTo>
                  <a:cubicBezTo>
                    <a:pt x="2817490" y="107315"/>
                    <a:pt x="2814315" y="108585"/>
                    <a:pt x="2810505" y="109220"/>
                  </a:cubicBezTo>
                  <a:cubicBezTo>
                    <a:pt x="2806695" y="109855"/>
                    <a:pt x="2803520" y="110490"/>
                    <a:pt x="2799710" y="110490"/>
                  </a:cubicBezTo>
                  <a:cubicBezTo>
                    <a:pt x="2794630" y="110490"/>
                    <a:pt x="2789550" y="109855"/>
                    <a:pt x="2783835" y="107950"/>
                  </a:cubicBezTo>
                  <a:cubicBezTo>
                    <a:pt x="2778120" y="106045"/>
                    <a:pt x="2773675" y="103505"/>
                    <a:pt x="2769230" y="100965"/>
                  </a:cubicBezTo>
                  <a:lnTo>
                    <a:pt x="2776215" y="89535"/>
                  </a:lnTo>
                  <a:cubicBezTo>
                    <a:pt x="2780025" y="92075"/>
                    <a:pt x="2783835" y="93980"/>
                    <a:pt x="2787645" y="95250"/>
                  </a:cubicBezTo>
                  <a:cubicBezTo>
                    <a:pt x="2791455" y="96520"/>
                    <a:pt x="2795265" y="97155"/>
                    <a:pt x="2799075" y="97155"/>
                  </a:cubicBezTo>
                  <a:cubicBezTo>
                    <a:pt x="2804155" y="97155"/>
                    <a:pt x="2807330" y="96520"/>
                    <a:pt x="2809870" y="94615"/>
                  </a:cubicBezTo>
                  <a:cubicBezTo>
                    <a:pt x="2812410" y="93345"/>
                    <a:pt x="2813045" y="90805"/>
                    <a:pt x="2813045" y="88265"/>
                  </a:cubicBezTo>
                  <a:cubicBezTo>
                    <a:pt x="2813045" y="86995"/>
                    <a:pt x="2813045" y="85725"/>
                    <a:pt x="2811775" y="84455"/>
                  </a:cubicBezTo>
                  <a:cubicBezTo>
                    <a:pt x="2811140" y="83185"/>
                    <a:pt x="2809870" y="82550"/>
                    <a:pt x="2807965" y="81280"/>
                  </a:cubicBezTo>
                  <a:cubicBezTo>
                    <a:pt x="2806695" y="80010"/>
                    <a:pt x="2804790" y="79375"/>
                    <a:pt x="2802250" y="78105"/>
                  </a:cubicBezTo>
                  <a:cubicBezTo>
                    <a:pt x="2800345" y="77470"/>
                    <a:pt x="2797805" y="76200"/>
                    <a:pt x="2794630" y="74930"/>
                  </a:cubicBezTo>
                  <a:cubicBezTo>
                    <a:pt x="2790185" y="73025"/>
                    <a:pt x="2787010" y="71755"/>
                    <a:pt x="2783835" y="69850"/>
                  </a:cubicBezTo>
                  <a:cubicBezTo>
                    <a:pt x="2780660" y="67945"/>
                    <a:pt x="2778755" y="66675"/>
                    <a:pt x="2776850" y="64770"/>
                  </a:cubicBezTo>
                  <a:cubicBezTo>
                    <a:pt x="2774945" y="62865"/>
                    <a:pt x="2773675" y="60960"/>
                    <a:pt x="2773040" y="58420"/>
                  </a:cubicBezTo>
                  <a:cubicBezTo>
                    <a:pt x="2772405" y="55880"/>
                    <a:pt x="2771770" y="53340"/>
                    <a:pt x="2771770" y="50165"/>
                  </a:cubicBezTo>
                  <a:cubicBezTo>
                    <a:pt x="2771770" y="46990"/>
                    <a:pt x="2772405" y="43815"/>
                    <a:pt x="2773675" y="40640"/>
                  </a:cubicBezTo>
                  <a:cubicBezTo>
                    <a:pt x="2774945" y="38100"/>
                    <a:pt x="2776850" y="35560"/>
                    <a:pt x="2779390" y="34290"/>
                  </a:cubicBezTo>
                  <a:cubicBezTo>
                    <a:pt x="2781930" y="32385"/>
                    <a:pt x="2784470" y="31115"/>
                    <a:pt x="2787645" y="30480"/>
                  </a:cubicBezTo>
                  <a:cubicBezTo>
                    <a:pt x="2790820" y="29845"/>
                    <a:pt x="2794630" y="29210"/>
                    <a:pt x="2798440" y="29210"/>
                  </a:cubicBezTo>
                  <a:close/>
                  <a:moveTo>
                    <a:pt x="2723510" y="29210"/>
                  </a:moveTo>
                  <a:cubicBezTo>
                    <a:pt x="2725415" y="29210"/>
                    <a:pt x="2727320" y="29210"/>
                    <a:pt x="2729225" y="29210"/>
                  </a:cubicBezTo>
                  <a:cubicBezTo>
                    <a:pt x="2733670" y="29210"/>
                    <a:pt x="2738115" y="29845"/>
                    <a:pt x="2741290" y="31750"/>
                  </a:cubicBezTo>
                  <a:cubicBezTo>
                    <a:pt x="2744465" y="33020"/>
                    <a:pt x="2747640" y="35560"/>
                    <a:pt x="2750180" y="38100"/>
                  </a:cubicBezTo>
                  <a:cubicBezTo>
                    <a:pt x="2752720" y="41275"/>
                    <a:pt x="2753990" y="44450"/>
                    <a:pt x="2755260" y="48895"/>
                  </a:cubicBezTo>
                  <a:cubicBezTo>
                    <a:pt x="2756530" y="53340"/>
                    <a:pt x="2757165" y="58420"/>
                    <a:pt x="2757165" y="64135"/>
                  </a:cubicBezTo>
                  <a:lnTo>
                    <a:pt x="2757165" y="108585"/>
                  </a:lnTo>
                  <a:lnTo>
                    <a:pt x="2741925" y="108585"/>
                  </a:lnTo>
                  <a:lnTo>
                    <a:pt x="2741290" y="108585"/>
                  </a:lnTo>
                  <a:lnTo>
                    <a:pt x="2741290" y="64770"/>
                  </a:lnTo>
                  <a:cubicBezTo>
                    <a:pt x="2741290" y="57785"/>
                    <a:pt x="2740020" y="52070"/>
                    <a:pt x="2737480" y="48895"/>
                  </a:cubicBezTo>
                  <a:cubicBezTo>
                    <a:pt x="2734940" y="45085"/>
                    <a:pt x="2731130" y="43180"/>
                    <a:pt x="2725415" y="43180"/>
                  </a:cubicBezTo>
                  <a:cubicBezTo>
                    <a:pt x="2722875" y="43180"/>
                    <a:pt x="2720970" y="43180"/>
                    <a:pt x="2718430" y="44450"/>
                  </a:cubicBezTo>
                  <a:cubicBezTo>
                    <a:pt x="2716525" y="45085"/>
                    <a:pt x="2714620" y="46990"/>
                    <a:pt x="2713350" y="48260"/>
                  </a:cubicBezTo>
                  <a:cubicBezTo>
                    <a:pt x="2712080" y="50165"/>
                    <a:pt x="2710810" y="52070"/>
                    <a:pt x="2710175" y="54610"/>
                  </a:cubicBezTo>
                  <a:cubicBezTo>
                    <a:pt x="2710175" y="57150"/>
                    <a:pt x="2709540" y="59690"/>
                    <a:pt x="2709540" y="62865"/>
                  </a:cubicBezTo>
                  <a:lnTo>
                    <a:pt x="2709540" y="108585"/>
                  </a:lnTo>
                  <a:lnTo>
                    <a:pt x="2694300" y="108585"/>
                  </a:lnTo>
                  <a:lnTo>
                    <a:pt x="2694300" y="30480"/>
                  </a:lnTo>
                  <a:lnTo>
                    <a:pt x="2709540" y="30480"/>
                  </a:lnTo>
                  <a:lnTo>
                    <a:pt x="2709540" y="38100"/>
                  </a:lnTo>
                  <a:cubicBezTo>
                    <a:pt x="2709540" y="38100"/>
                    <a:pt x="2711445" y="35560"/>
                    <a:pt x="2713350" y="34290"/>
                  </a:cubicBezTo>
                  <a:cubicBezTo>
                    <a:pt x="2714620" y="33020"/>
                    <a:pt x="2716525" y="32385"/>
                    <a:pt x="2717795" y="31115"/>
                  </a:cubicBezTo>
                  <a:cubicBezTo>
                    <a:pt x="2719700" y="30480"/>
                    <a:pt x="2721605" y="29845"/>
                    <a:pt x="2723510" y="29210"/>
                  </a:cubicBezTo>
                  <a:close/>
                  <a:moveTo>
                    <a:pt x="2530470" y="29210"/>
                  </a:moveTo>
                  <a:cubicBezTo>
                    <a:pt x="2536185" y="29210"/>
                    <a:pt x="2540630" y="30480"/>
                    <a:pt x="2545075" y="32385"/>
                  </a:cubicBezTo>
                  <a:cubicBezTo>
                    <a:pt x="2548885" y="34290"/>
                    <a:pt x="2552695" y="37465"/>
                    <a:pt x="2555235" y="40640"/>
                  </a:cubicBezTo>
                  <a:cubicBezTo>
                    <a:pt x="2557775" y="44450"/>
                    <a:pt x="2559680" y="48260"/>
                    <a:pt x="2561585" y="53340"/>
                  </a:cubicBezTo>
                  <a:cubicBezTo>
                    <a:pt x="2562855" y="57785"/>
                    <a:pt x="2563490" y="62865"/>
                    <a:pt x="2563490" y="68580"/>
                  </a:cubicBezTo>
                  <a:lnTo>
                    <a:pt x="2562220" y="68580"/>
                  </a:lnTo>
                  <a:cubicBezTo>
                    <a:pt x="2562220" y="68580"/>
                    <a:pt x="2562220" y="71120"/>
                    <a:pt x="2562220" y="72390"/>
                  </a:cubicBezTo>
                  <a:cubicBezTo>
                    <a:pt x="2562220" y="73660"/>
                    <a:pt x="2562220" y="74295"/>
                    <a:pt x="2562220" y="75565"/>
                  </a:cubicBezTo>
                  <a:lnTo>
                    <a:pt x="2510785" y="75565"/>
                  </a:lnTo>
                  <a:cubicBezTo>
                    <a:pt x="2510785" y="79375"/>
                    <a:pt x="2512055" y="82550"/>
                    <a:pt x="2513325" y="85090"/>
                  </a:cubicBezTo>
                  <a:cubicBezTo>
                    <a:pt x="2514595" y="87630"/>
                    <a:pt x="2515865" y="90170"/>
                    <a:pt x="2517770" y="91440"/>
                  </a:cubicBezTo>
                  <a:cubicBezTo>
                    <a:pt x="2519675" y="93345"/>
                    <a:pt x="2521580" y="94615"/>
                    <a:pt x="2523485" y="95250"/>
                  </a:cubicBezTo>
                  <a:cubicBezTo>
                    <a:pt x="2525390" y="95885"/>
                    <a:pt x="2527930" y="96520"/>
                    <a:pt x="2530470" y="96520"/>
                  </a:cubicBezTo>
                  <a:cubicBezTo>
                    <a:pt x="2532375" y="96520"/>
                    <a:pt x="2533645" y="96520"/>
                    <a:pt x="2535550" y="96520"/>
                  </a:cubicBezTo>
                  <a:cubicBezTo>
                    <a:pt x="2536820" y="96520"/>
                    <a:pt x="2538725" y="95885"/>
                    <a:pt x="2539995" y="95250"/>
                  </a:cubicBezTo>
                  <a:cubicBezTo>
                    <a:pt x="2541265" y="95250"/>
                    <a:pt x="2542535" y="93980"/>
                    <a:pt x="2543805" y="93345"/>
                  </a:cubicBezTo>
                  <a:cubicBezTo>
                    <a:pt x="2545075" y="93345"/>
                    <a:pt x="2546345" y="92075"/>
                    <a:pt x="2548250" y="90805"/>
                  </a:cubicBezTo>
                  <a:lnTo>
                    <a:pt x="2557140" y="100330"/>
                  </a:lnTo>
                  <a:cubicBezTo>
                    <a:pt x="2557140" y="100330"/>
                    <a:pt x="2553330" y="103505"/>
                    <a:pt x="2551425" y="104775"/>
                  </a:cubicBezTo>
                  <a:cubicBezTo>
                    <a:pt x="2549520" y="106045"/>
                    <a:pt x="2547615" y="106680"/>
                    <a:pt x="2545710" y="107950"/>
                  </a:cubicBezTo>
                  <a:cubicBezTo>
                    <a:pt x="2543805" y="108585"/>
                    <a:pt x="2541265" y="109855"/>
                    <a:pt x="2538725" y="109855"/>
                  </a:cubicBezTo>
                  <a:cubicBezTo>
                    <a:pt x="2536185" y="109855"/>
                    <a:pt x="2533010" y="110490"/>
                    <a:pt x="2529835" y="110490"/>
                  </a:cubicBezTo>
                  <a:cubicBezTo>
                    <a:pt x="2526660" y="110490"/>
                    <a:pt x="2523485" y="110490"/>
                    <a:pt x="2520310" y="109220"/>
                  </a:cubicBezTo>
                  <a:cubicBezTo>
                    <a:pt x="2517135" y="108585"/>
                    <a:pt x="2514595" y="107315"/>
                    <a:pt x="2512690" y="105410"/>
                  </a:cubicBezTo>
                  <a:cubicBezTo>
                    <a:pt x="2510785" y="103505"/>
                    <a:pt x="2508245" y="102235"/>
                    <a:pt x="2506340" y="100330"/>
                  </a:cubicBezTo>
                  <a:cubicBezTo>
                    <a:pt x="2504435" y="98425"/>
                    <a:pt x="2502530" y="95885"/>
                    <a:pt x="2501260" y="92710"/>
                  </a:cubicBezTo>
                  <a:cubicBezTo>
                    <a:pt x="2499355" y="89535"/>
                    <a:pt x="2498085" y="86360"/>
                    <a:pt x="2497450" y="82550"/>
                  </a:cubicBezTo>
                  <a:cubicBezTo>
                    <a:pt x="2496815" y="78740"/>
                    <a:pt x="2496180" y="74295"/>
                    <a:pt x="2496180" y="69850"/>
                  </a:cubicBezTo>
                  <a:cubicBezTo>
                    <a:pt x="2496180" y="63500"/>
                    <a:pt x="2496815" y="57150"/>
                    <a:pt x="2498720" y="52070"/>
                  </a:cubicBezTo>
                  <a:cubicBezTo>
                    <a:pt x="2500625" y="46990"/>
                    <a:pt x="2502530" y="42545"/>
                    <a:pt x="2505705" y="39370"/>
                  </a:cubicBezTo>
                  <a:cubicBezTo>
                    <a:pt x="2508880" y="36195"/>
                    <a:pt x="2512055" y="33020"/>
                    <a:pt x="2516500" y="31750"/>
                  </a:cubicBezTo>
                  <a:cubicBezTo>
                    <a:pt x="2520945" y="29845"/>
                    <a:pt x="2525390" y="29210"/>
                    <a:pt x="2530470" y="29210"/>
                  </a:cubicBezTo>
                  <a:close/>
                  <a:moveTo>
                    <a:pt x="2298061" y="29210"/>
                  </a:moveTo>
                  <a:cubicBezTo>
                    <a:pt x="2301236" y="29210"/>
                    <a:pt x="2303776" y="29210"/>
                    <a:pt x="2305681" y="29845"/>
                  </a:cubicBezTo>
                  <a:cubicBezTo>
                    <a:pt x="2307586" y="29845"/>
                    <a:pt x="2309491" y="31115"/>
                    <a:pt x="2311396" y="32385"/>
                  </a:cubicBezTo>
                  <a:lnTo>
                    <a:pt x="2307586" y="46990"/>
                  </a:lnTo>
                  <a:lnTo>
                    <a:pt x="2306316" y="46990"/>
                  </a:lnTo>
                  <a:cubicBezTo>
                    <a:pt x="2306316" y="46990"/>
                    <a:pt x="2303141" y="45085"/>
                    <a:pt x="2301236" y="45085"/>
                  </a:cubicBezTo>
                  <a:cubicBezTo>
                    <a:pt x="2299331" y="45085"/>
                    <a:pt x="2297426" y="44450"/>
                    <a:pt x="2294886" y="44450"/>
                  </a:cubicBezTo>
                  <a:cubicBezTo>
                    <a:pt x="2289806" y="44450"/>
                    <a:pt x="2285996" y="46355"/>
                    <a:pt x="2283456" y="49530"/>
                  </a:cubicBezTo>
                  <a:cubicBezTo>
                    <a:pt x="2280916" y="52705"/>
                    <a:pt x="2279646" y="57785"/>
                    <a:pt x="2279646" y="64770"/>
                  </a:cubicBezTo>
                  <a:lnTo>
                    <a:pt x="2279646" y="109220"/>
                  </a:lnTo>
                  <a:lnTo>
                    <a:pt x="2264406" y="109220"/>
                  </a:lnTo>
                  <a:lnTo>
                    <a:pt x="2264406" y="31115"/>
                  </a:lnTo>
                  <a:lnTo>
                    <a:pt x="2279646" y="31115"/>
                  </a:lnTo>
                  <a:lnTo>
                    <a:pt x="2279646" y="38735"/>
                  </a:lnTo>
                  <a:cubicBezTo>
                    <a:pt x="2279646" y="38735"/>
                    <a:pt x="2281551" y="36195"/>
                    <a:pt x="2282821" y="34925"/>
                  </a:cubicBezTo>
                  <a:cubicBezTo>
                    <a:pt x="2284091" y="33655"/>
                    <a:pt x="2285361" y="33020"/>
                    <a:pt x="2287266" y="31750"/>
                  </a:cubicBezTo>
                  <a:cubicBezTo>
                    <a:pt x="2288536" y="31115"/>
                    <a:pt x="2290441" y="30480"/>
                    <a:pt x="2292346" y="29845"/>
                  </a:cubicBezTo>
                  <a:cubicBezTo>
                    <a:pt x="2294251" y="29845"/>
                    <a:pt x="2296156" y="29210"/>
                    <a:pt x="2298061" y="29210"/>
                  </a:cubicBezTo>
                  <a:close/>
                  <a:moveTo>
                    <a:pt x="2216145" y="29210"/>
                  </a:moveTo>
                  <a:cubicBezTo>
                    <a:pt x="2221860" y="29210"/>
                    <a:pt x="2226305" y="30480"/>
                    <a:pt x="2230750" y="32385"/>
                  </a:cubicBezTo>
                  <a:cubicBezTo>
                    <a:pt x="2234560" y="34290"/>
                    <a:pt x="2238370" y="37465"/>
                    <a:pt x="2240910" y="40640"/>
                  </a:cubicBezTo>
                  <a:cubicBezTo>
                    <a:pt x="2243450" y="44450"/>
                    <a:pt x="2245355" y="48260"/>
                    <a:pt x="2247260" y="53340"/>
                  </a:cubicBezTo>
                  <a:cubicBezTo>
                    <a:pt x="2248530" y="57785"/>
                    <a:pt x="2249165" y="62865"/>
                    <a:pt x="2249165" y="68580"/>
                  </a:cubicBezTo>
                  <a:lnTo>
                    <a:pt x="2247895" y="68580"/>
                  </a:lnTo>
                  <a:cubicBezTo>
                    <a:pt x="2247895" y="68580"/>
                    <a:pt x="2247895" y="71120"/>
                    <a:pt x="2247895" y="72390"/>
                  </a:cubicBezTo>
                  <a:cubicBezTo>
                    <a:pt x="2247895" y="73660"/>
                    <a:pt x="2247895" y="74295"/>
                    <a:pt x="2247895" y="75565"/>
                  </a:cubicBezTo>
                  <a:lnTo>
                    <a:pt x="2196460" y="75565"/>
                  </a:lnTo>
                  <a:cubicBezTo>
                    <a:pt x="2196460" y="79375"/>
                    <a:pt x="2197730" y="82550"/>
                    <a:pt x="2199000" y="85090"/>
                  </a:cubicBezTo>
                  <a:cubicBezTo>
                    <a:pt x="2200270" y="87630"/>
                    <a:pt x="2201540" y="90170"/>
                    <a:pt x="2203445" y="91440"/>
                  </a:cubicBezTo>
                  <a:cubicBezTo>
                    <a:pt x="2205350" y="93345"/>
                    <a:pt x="2207255" y="94615"/>
                    <a:pt x="2209160" y="95250"/>
                  </a:cubicBezTo>
                  <a:cubicBezTo>
                    <a:pt x="2211065" y="95885"/>
                    <a:pt x="2213605" y="96520"/>
                    <a:pt x="2216145" y="96520"/>
                  </a:cubicBezTo>
                  <a:cubicBezTo>
                    <a:pt x="2218050" y="96520"/>
                    <a:pt x="2219320" y="96520"/>
                    <a:pt x="2221225" y="96520"/>
                  </a:cubicBezTo>
                  <a:cubicBezTo>
                    <a:pt x="2222495" y="96520"/>
                    <a:pt x="2224400" y="95885"/>
                    <a:pt x="2225670" y="95250"/>
                  </a:cubicBezTo>
                  <a:cubicBezTo>
                    <a:pt x="2226940" y="95250"/>
                    <a:pt x="2228210" y="93980"/>
                    <a:pt x="2229480" y="93345"/>
                  </a:cubicBezTo>
                  <a:cubicBezTo>
                    <a:pt x="2230750" y="93345"/>
                    <a:pt x="2232020" y="92075"/>
                    <a:pt x="2233925" y="90805"/>
                  </a:cubicBezTo>
                  <a:lnTo>
                    <a:pt x="2242815" y="100330"/>
                  </a:lnTo>
                  <a:cubicBezTo>
                    <a:pt x="2242815" y="100330"/>
                    <a:pt x="2239005" y="103505"/>
                    <a:pt x="2237100" y="104775"/>
                  </a:cubicBezTo>
                  <a:cubicBezTo>
                    <a:pt x="2235195" y="106045"/>
                    <a:pt x="2233290" y="106680"/>
                    <a:pt x="2231385" y="107950"/>
                  </a:cubicBezTo>
                  <a:cubicBezTo>
                    <a:pt x="2229480" y="108585"/>
                    <a:pt x="2226940" y="109855"/>
                    <a:pt x="2224400" y="109855"/>
                  </a:cubicBezTo>
                  <a:cubicBezTo>
                    <a:pt x="2221860" y="109855"/>
                    <a:pt x="2218685" y="110490"/>
                    <a:pt x="2215510" y="110490"/>
                  </a:cubicBezTo>
                  <a:cubicBezTo>
                    <a:pt x="2212335" y="110490"/>
                    <a:pt x="2209160" y="110490"/>
                    <a:pt x="2205985" y="109220"/>
                  </a:cubicBezTo>
                  <a:cubicBezTo>
                    <a:pt x="2202810" y="108585"/>
                    <a:pt x="2200270" y="107315"/>
                    <a:pt x="2198365" y="105410"/>
                  </a:cubicBezTo>
                  <a:cubicBezTo>
                    <a:pt x="2195825" y="104140"/>
                    <a:pt x="2193920" y="102235"/>
                    <a:pt x="2192015" y="100330"/>
                  </a:cubicBezTo>
                  <a:cubicBezTo>
                    <a:pt x="2190110" y="98425"/>
                    <a:pt x="2188205" y="95885"/>
                    <a:pt x="2186935" y="92710"/>
                  </a:cubicBezTo>
                  <a:cubicBezTo>
                    <a:pt x="2185030" y="89535"/>
                    <a:pt x="2183760" y="86360"/>
                    <a:pt x="2183125" y="82550"/>
                  </a:cubicBezTo>
                  <a:cubicBezTo>
                    <a:pt x="2182490" y="78740"/>
                    <a:pt x="2181855" y="74295"/>
                    <a:pt x="2181855" y="69850"/>
                  </a:cubicBezTo>
                  <a:cubicBezTo>
                    <a:pt x="2181855" y="63500"/>
                    <a:pt x="2182490" y="57150"/>
                    <a:pt x="2184395" y="52070"/>
                  </a:cubicBezTo>
                  <a:cubicBezTo>
                    <a:pt x="2186300" y="46990"/>
                    <a:pt x="2188205" y="42545"/>
                    <a:pt x="2191380" y="39370"/>
                  </a:cubicBezTo>
                  <a:cubicBezTo>
                    <a:pt x="2194555" y="36195"/>
                    <a:pt x="2197730" y="33020"/>
                    <a:pt x="2202175" y="31750"/>
                  </a:cubicBezTo>
                  <a:cubicBezTo>
                    <a:pt x="2206620" y="29845"/>
                    <a:pt x="2211065" y="29210"/>
                    <a:pt x="2216145" y="29210"/>
                  </a:cubicBezTo>
                  <a:close/>
                  <a:moveTo>
                    <a:pt x="2029456" y="29210"/>
                  </a:moveTo>
                  <a:cubicBezTo>
                    <a:pt x="2035171" y="29210"/>
                    <a:pt x="2039616" y="30480"/>
                    <a:pt x="2044061" y="32385"/>
                  </a:cubicBezTo>
                  <a:cubicBezTo>
                    <a:pt x="2047871" y="34290"/>
                    <a:pt x="2051681" y="37465"/>
                    <a:pt x="2054221" y="40640"/>
                  </a:cubicBezTo>
                  <a:cubicBezTo>
                    <a:pt x="2056761" y="44450"/>
                    <a:pt x="2058666" y="48260"/>
                    <a:pt x="2060571" y="53340"/>
                  </a:cubicBezTo>
                  <a:cubicBezTo>
                    <a:pt x="2061841" y="57785"/>
                    <a:pt x="2062476" y="62865"/>
                    <a:pt x="2062476" y="68580"/>
                  </a:cubicBezTo>
                  <a:lnTo>
                    <a:pt x="2061206" y="68580"/>
                  </a:lnTo>
                  <a:cubicBezTo>
                    <a:pt x="2061206" y="68580"/>
                    <a:pt x="2061206" y="71120"/>
                    <a:pt x="2061206" y="72390"/>
                  </a:cubicBezTo>
                  <a:cubicBezTo>
                    <a:pt x="2061206" y="73660"/>
                    <a:pt x="2061206" y="74295"/>
                    <a:pt x="2061206" y="75565"/>
                  </a:cubicBezTo>
                  <a:lnTo>
                    <a:pt x="2009771" y="75565"/>
                  </a:lnTo>
                  <a:cubicBezTo>
                    <a:pt x="2009771" y="79375"/>
                    <a:pt x="2011041" y="82550"/>
                    <a:pt x="2012311" y="85090"/>
                  </a:cubicBezTo>
                  <a:cubicBezTo>
                    <a:pt x="2013581" y="87630"/>
                    <a:pt x="2014851" y="90170"/>
                    <a:pt x="2016756" y="91440"/>
                  </a:cubicBezTo>
                  <a:cubicBezTo>
                    <a:pt x="2018661" y="93345"/>
                    <a:pt x="2020566" y="94615"/>
                    <a:pt x="2022471" y="95250"/>
                  </a:cubicBezTo>
                  <a:cubicBezTo>
                    <a:pt x="2024376" y="95885"/>
                    <a:pt x="2026916" y="96520"/>
                    <a:pt x="2029456" y="96520"/>
                  </a:cubicBezTo>
                  <a:cubicBezTo>
                    <a:pt x="2031361" y="96520"/>
                    <a:pt x="2032631" y="96520"/>
                    <a:pt x="2034536" y="96520"/>
                  </a:cubicBezTo>
                  <a:cubicBezTo>
                    <a:pt x="2035806" y="96520"/>
                    <a:pt x="2037711" y="95885"/>
                    <a:pt x="2038981" y="95250"/>
                  </a:cubicBezTo>
                  <a:cubicBezTo>
                    <a:pt x="2040251" y="95250"/>
                    <a:pt x="2041521" y="93980"/>
                    <a:pt x="2042791" y="93345"/>
                  </a:cubicBezTo>
                  <a:cubicBezTo>
                    <a:pt x="2044061" y="93345"/>
                    <a:pt x="2045331" y="92075"/>
                    <a:pt x="2047236" y="90805"/>
                  </a:cubicBezTo>
                  <a:lnTo>
                    <a:pt x="2056126" y="100330"/>
                  </a:lnTo>
                  <a:cubicBezTo>
                    <a:pt x="2056126" y="100330"/>
                    <a:pt x="2052316" y="103505"/>
                    <a:pt x="2050411" y="104775"/>
                  </a:cubicBezTo>
                  <a:cubicBezTo>
                    <a:pt x="2048506" y="106045"/>
                    <a:pt x="2046601" y="106680"/>
                    <a:pt x="2044696" y="107950"/>
                  </a:cubicBezTo>
                  <a:cubicBezTo>
                    <a:pt x="2042791" y="108585"/>
                    <a:pt x="2040251" y="109855"/>
                    <a:pt x="2037711" y="109855"/>
                  </a:cubicBezTo>
                  <a:cubicBezTo>
                    <a:pt x="2035171" y="109855"/>
                    <a:pt x="2031996" y="110490"/>
                    <a:pt x="2028821" y="110490"/>
                  </a:cubicBezTo>
                  <a:cubicBezTo>
                    <a:pt x="2025646" y="110490"/>
                    <a:pt x="2022471" y="110490"/>
                    <a:pt x="2019296" y="109220"/>
                  </a:cubicBezTo>
                  <a:cubicBezTo>
                    <a:pt x="2016121" y="108585"/>
                    <a:pt x="2013581" y="107315"/>
                    <a:pt x="2011676" y="105410"/>
                  </a:cubicBezTo>
                  <a:cubicBezTo>
                    <a:pt x="2009136" y="104140"/>
                    <a:pt x="2007231" y="102235"/>
                    <a:pt x="2005326" y="100330"/>
                  </a:cubicBezTo>
                  <a:cubicBezTo>
                    <a:pt x="2003421" y="98425"/>
                    <a:pt x="2001516" y="95885"/>
                    <a:pt x="2000246" y="92710"/>
                  </a:cubicBezTo>
                  <a:cubicBezTo>
                    <a:pt x="1998341" y="89535"/>
                    <a:pt x="1997071" y="86360"/>
                    <a:pt x="1996436" y="82550"/>
                  </a:cubicBezTo>
                  <a:cubicBezTo>
                    <a:pt x="1995801" y="78740"/>
                    <a:pt x="1995166" y="74295"/>
                    <a:pt x="1995166" y="69850"/>
                  </a:cubicBezTo>
                  <a:cubicBezTo>
                    <a:pt x="1995166" y="63500"/>
                    <a:pt x="1995801" y="57150"/>
                    <a:pt x="1997706" y="52070"/>
                  </a:cubicBezTo>
                  <a:cubicBezTo>
                    <a:pt x="1999611" y="46990"/>
                    <a:pt x="2001516" y="42545"/>
                    <a:pt x="2004691" y="39370"/>
                  </a:cubicBezTo>
                  <a:cubicBezTo>
                    <a:pt x="2007866" y="36195"/>
                    <a:pt x="2011041" y="33020"/>
                    <a:pt x="2015486" y="31750"/>
                  </a:cubicBezTo>
                  <a:cubicBezTo>
                    <a:pt x="2019931" y="29845"/>
                    <a:pt x="2024376" y="29210"/>
                    <a:pt x="2029456" y="29210"/>
                  </a:cubicBezTo>
                  <a:close/>
                  <a:moveTo>
                    <a:pt x="1831336" y="29210"/>
                  </a:moveTo>
                  <a:cubicBezTo>
                    <a:pt x="1837051" y="29210"/>
                    <a:pt x="1841496" y="30480"/>
                    <a:pt x="1845941" y="32385"/>
                  </a:cubicBezTo>
                  <a:cubicBezTo>
                    <a:pt x="1849751" y="34290"/>
                    <a:pt x="1853561" y="37465"/>
                    <a:pt x="1856101" y="40640"/>
                  </a:cubicBezTo>
                  <a:cubicBezTo>
                    <a:pt x="1858641" y="44450"/>
                    <a:pt x="1860546" y="48260"/>
                    <a:pt x="1862451" y="53340"/>
                  </a:cubicBezTo>
                  <a:cubicBezTo>
                    <a:pt x="1863721" y="57785"/>
                    <a:pt x="1864356" y="62865"/>
                    <a:pt x="1864356" y="68580"/>
                  </a:cubicBezTo>
                  <a:lnTo>
                    <a:pt x="1863086" y="68580"/>
                  </a:lnTo>
                  <a:cubicBezTo>
                    <a:pt x="1863086" y="68580"/>
                    <a:pt x="1863086" y="71120"/>
                    <a:pt x="1863086" y="72390"/>
                  </a:cubicBezTo>
                  <a:cubicBezTo>
                    <a:pt x="1863086" y="73660"/>
                    <a:pt x="1863086" y="74295"/>
                    <a:pt x="1863086" y="75565"/>
                  </a:cubicBezTo>
                  <a:lnTo>
                    <a:pt x="1811651" y="75565"/>
                  </a:lnTo>
                  <a:cubicBezTo>
                    <a:pt x="1811651" y="79375"/>
                    <a:pt x="1812921" y="82550"/>
                    <a:pt x="1814191" y="85090"/>
                  </a:cubicBezTo>
                  <a:cubicBezTo>
                    <a:pt x="1815461" y="87630"/>
                    <a:pt x="1816731" y="90170"/>
                    <a:pt x="1818636" y="91440"/>
                  </a:cubicBezTo>
                  <a:cubicBezTo>
                    <a:pt x="1820541" y="93345"/>
                    <a:pt x="1822446" y="94615"/>
                    <a:pt x="1824351" y="95250"/>
                  </a:cubicBezTo>
                  <a:cubicBezTo>
                    <a:pt x="1826256" y="95885"/>
                    <a:pt x="1828796" y="96520"/>
                    <a:pt x="1831336" y="96520"/>
                  </a:cubicBezTo>
                  <a:cubicBezTo>
                    <a:pt x="1833241" y="96520"/>
                    <a:pt x="1834511" y="96520"/>
                    <a:pt x="1836416" y="96520"/>
                  </a:cubicBezTo>
                  <a:cubicBezTo>
                    <a:pt x="1837686" y="96520"/>
                    <a:pt x="1839591" y="95885"/>
                    <a:pt x="1840861" y="95250"/>
                  </a:cubicBezTo>
                  <a:cubicBezTo>
                    <a:pt x="1842131" y="95250"/>
                    <a:pt x="1843401" y="93980"/>
                    <a:pt x="1844671" y="93345"/>
                  </a:cubicBezTo>
                  <a:cubicBezTo>
                    <a:pt x="1845941" y="93345"/>
                    <a:pt x="1847211" y="92075"/>
                    <a:pt x="1849116" y="90805"/>
                  </a:cubicBezTo>
                  <a:lnTo>
                    <a:pt x="1858006" y="100330"/>
                  </a:lnTo>
                  <a:cubicBezTo>
                    <a:pt x="1858006" y="100330"/>
                    <a:pt x="1854196" y="103505"/>
                    <a:pt x="1852291" y="104775"/>
                  </a:cubicBezTo>
                  <a:cubicBezTo>
                    <a:pt x="1850386" y="106045"/>
                    <a:pt x="1848481" y="106680"/>
                    <a:pt x="1846576" y="107950"/>
                  </a:cubicBezTo>
                  <a:cubicBezTo>
                    <a:pt x="1844671" y="108585"/>
                    <a:pt x="1842131" y="109855"/>
                    <a:pt x="1839591" y="109855"/>
                  </a:cubicBezTo>
                  <a:cubicBezTo>
                    <a:pt x="1837051" y="109855"/>
                    <a:pt x="1833876" y="110490"/>
                    <a:pt x="1830701" y="110490"/>
                  </a:cubicBezTo>
                  <a:cubicBezTo>
                    <a:pt x="1827526" y="110490"/>
                    <a:pt x="1824351" y="110490"/>
                    <a:pt x="1821176" y="109220"/>
                  </a:cubicBezTo>
                  <a:cubicBezTo>
                    <a:pt x="1818001" y="108585"/>
                    <a:pt x="1815461" y="107315"/>
                    <a:pt x="1813556" y="105410"/>
                  </a:cubicBezTo>
                  <a:cubicBezTo>
                    <a:pt x="1811016" y="104140"/>
                    <a:pt x="1809111" y="102235"/>
                    <a:pt x="1807206" y="100330"/>
                  </a:cubicBezTo>
                  <a:cubicBezTo>
                    <a:pt x="1805301" y="98425"/>
                    <a:pt x="1803396" y="95885"/>
                    <a:pt x="1802126" y="92710"/>
                  </a:cubicBezTo>
                  <a:cubicBezTo>
                    <a:pt x="1800221" y="89535"/>
                    <a:pt x="1798951" y="86360"/>
                    <a:pt x="1798316" y="82550"/>
                  </a:cubicBezTo>
                  <a:cubicBezTo>
                    <a:pt x="1797681" y="78740"/>
                    <a:pt x="1797046" y="74295"/>
                    <a:pt x="1797046" y="69850"/>
                  </a:cubicBezTo>
                  <a:cubicBezTo>
                    <a:pt x="1797046" y="63500"/>
                    <a:pt x="1797681" y="57150"/>
                    <a:pt x="1799586" y="52070"/>
                  </a:cubicBezTo>
                  <a:cubicBezTo>
                    <a:pt x="1801491" y="46990"/>
                    <a:pt x="1803396" y="42545"/>
                    <a:pt x="1806571" y="39370"/>
                  </a:cubicBezTo>
                  <a:cubicBezTo>
                    <a:pt x="1809746" y="36195"/>
                    <a:pt x="1812921" y="33020"/>
                    <a:pt x="1817366" y="31750"/>
                  </a:cubicBezTo>
                  <a:cubicBezTo>
                    <a:pt x="1821811" y="29845"/>
                    <a:pt x="1826256" y="29210"/>
                    <a:pt x="1831336" y="29210"/>
                  </a:cubicBezTo>
                  <a:close/>
                  <a:moveTo>
                    <a:pt x="1501140" y="29210"/>
                  </a:moveTo>
                  <a:cubicBezTo>
                    <a:pt x="1503046" y="29210"/>
                    <a:pt x="1504951" y="29210"/>
                    <a:pt x="1506856" y="29210"/>
                  </a:cubicBezTo>
                  <a:cubicBezTo>
                    <a:pt x="1511301" y="29210"/>
                    <a:pt x="1515746" y="29845"/>
                    <a:pt x="1518920" y="31750"/>
                  </a:cubicBezTo>
                  <a:cubicBezTo>
                    <a:pt x="1522096" y="33020"/>
                    <a:pt x="1525271" y="35560"/>
                    <a:pt x="1527811" y="38100"/>
                  </a:cubicBezTo>
                  <a:cubicBezTo>
                    <a:pt x="1530351" y="41275"/>
                    <a:pt x="1531621" y="44450"/>
                    <a:pt x="1532891" y="48895"/>
                  </a:cubicBezTo>
                  <a:cubicBezTo>
                    <a:pt x="1534161" y="53340"/>
                    <a:pt x="1534796" y="58420"/>
                    <a:pt x="1534796" y="64135"/>
                  </a:cubicBezTo>
                  <a:lnTo>
                    <a:pt x="1534796" y="108585"/>
                  </a:lnTo>
                  <a:lnTo>
                    <a:pt x="1519556" y="108585"/>
                  </a:lnTo>
                  <a:lnTo>
                    <a:pt x="1518920" y="108585"/>
                  </a:lnTo>
                  <a:lnTo>
                    <a:pt x="1518920" y="64770"/>
                  </a:lnTo>
                  <a:cubicBezTo>
                    <a:pt x="1518920" y="57785"/>
                    <a:pt x="1517651" y="52070"/>
                    <a:pt x="1515111" y="48895"/>
                  </a:cubicBezTo>
                  <a:cubicBezTo>
                    <a:pt x="1512571" y="45085"/>
                    <a:pt x="1508761" y="43180"/>
                    <a:pt x="1503046" y="43180"/>
                  </a:cubicBezTo>
                  <a:cubicBezTo>
                    <a:pt x="1500506" y="43180"/>
                    <a:pt x="1498601" y="43180"/>
                    <a:pt x="1496061" y="44450"/>
                  </a:cubicBezTo>
                  <a:cubicBezTo>
                    <a:pt x="1494156" y="45085"/>
                    <a:pt x="1492250" y="46990"/>
                    <a:pt x="1490981" y="48260"/>
                  </a:cubicBezTo>
                  <a:cubicBezTo>
                    <a:pt x="1489711" y="50165"/>
                    <a:pt x="1488441" y="52070"/>
                    <a:pt x="1487806" y="54610"/>
                  </a:cubicBezTo>
                  <a:cubicBezTo>
                    <a:pt x="1487806" y="57150"/>
                    <a:pt x="1487170" y="59690"/>
                    <a:pt x="1487170" y="62865"/>
                  </a:cubicBezTo>
                  <a:lnTo>
                    <a:pt x="1487170" y="108585"/>
                  </a:lnTo>
                  <a:lnTo>
                    <a:pt x="1471931" y="108585"/>
                  </a:lnTo>
                  <a:lnTo>
                    <a:pt x="1471931" y="30480"/>
                  </a:lnTo>
                  <a:lnTo>
                    <a:pt x="1487170" y="30480"/>
                  </a:lnTo>
                  <a:lnTo>
                    <a:pt x="1487170" y="38100"/>
                  </a:lnTo>
                  <a:cubicBezTo>
                    <a:pt x="1487170" y="38100"/>
                    <a:pt x="1489076" y="35560"/>
                    <a:pt x="1490981" y="34290"/>
                  </a:cubicBezTo>
                  <a:cubicBezTo>
                    <a:pt x="1492250" y="33020"/>
                    <a:pt x="1494156" y="32385"/>
                    <a:pt x="1495426" y="31115"/>
                  </a:cubicBezTo>
                  <a:cubicBezTo>
                    <a:pt x="1497331" y="30480"/>
                    <a:pt x="1499236" y="29845"/>
                    <a:pt x="1501140" y="29210"/>
                  </a:cubicBezTo>
                  <a:close/>
                  <a:moveTo>
                    <a:pt x="1250316" y="29210"/>
                  </a:moveTo>
                  <a:cubicBezTo>
                    <a:pt x="1255396" y="29210"/>
                    <a:pt x="1259841" y="29845"/>
                    <a:pt x="1264286" y="31750"/>
                  </a:cubicBezTo>
                  <a:cubicBezTo>
                    <a:pt x="1268731" y="33655"/>
                    <a:pt x="1273176" y="35560"/>
                    <a:pt x="1276350" y="38100"/>
                  </a:cubicBezTo>
                  <a:lnTo>
                    <a:pt x="1278256" y="38100"/>
                  </a:lnTo>
                  <a:lnTo>
                    <a:pt x="1271271" y="50165"/>
                  </a:lnTo>
                  <a:cubicBezTo>
                    <a:pt x="1268095" y="47625"/>
                    <a:pt x="1264921" y="46355"/>
                    <a:pt x="1261746" y="45085"/>
                  </a:cubicBezTo>
                  <a:cubicBezTo>
                    <a:pt x="1258570" y="43815"/>
                    <a:pt x="1254761" y="43180"/>
                    <a:pt x="1250951" y="43180"/>
                  </a:cubicBezTo>
                  <a:cubicBezTo>
                    <a:pt x="1247141" y="43180"/>
                    <a:pt x="1244601" y="43815"/>
                    <a:pt x="1242696" y="45085"/>
                  </a:cubicBezTo>
                  <a:cubicBezTo>
                    <a:pt x="1240791" y="46355"/>
                    <a:pt x="1240156" y="48260"/>
                    <a:pt x="1240156" y="50165"/>
                  </a:cubicBezTo>
                  <a:cubicBezTo>
                    <a:pt x="1240156" y="51435"/>
                    <a:pt x="1240156" y="52070"/>
                    <a:pt x="1240156" y="52705"/>
                  </a:cubicBezTo>
                  <a:cubicBezTo>
                    <a:pt x="1240156" y="53340"/>
                    <a:pt x="1241426" y="54610"/>
                    <a:pt x="1242061" y="55245"/>
                  </a:cubicBezTo>
                  <a:cubicBezTo>
                    <a:pt x="1243331" y="55880"/>
                    <a:pt x="1244601" y="57150"/>
                    <a:pt x="1246506" y="57785"/>
                  </a:cubicBezTo>
                  <a:cubicBezTo>
                    <a:pt x="1248411" y="59055"/>
                    <a:pt x="1250951" y="59690"/>
                    <a:pt x="1253491" y="60960"/>
                  </a:cubicBezTo>
                  <a:cubicBezTo>
                    <a:pt x="1257936" y="62865"/>
                    <a:pt x="1261746" y="64135"/>
                    <a:pt x="1264921" y="66040"/>
                  </a:cubicBezTo>
                  <a:cubicBezTo>
                    <a:pt x="1268095" y="67310"/>
                    <a:pt x="1270635" y="69215"/>
                    <a:pt x="1273176" y="71120"/>
                  </a:cubicBezTo>
                  <a:cubicBezTo>
                    <a:pt x="1275080" y="73025"/>
                    <a:pt x="1276985" y="75565"/>
                    <a:pt x="1278256" y="78105"/>
                  </a:cubicBezTo>
                  <a:cubicBezTo>
                    <a:pt x="1279525" y="80645"/>
                    <a:pt x="1280161" y="83820"/>
                    <a:pt x="1280161" y="87630"/>
                  </a:cubicBezTo>
                  <a:cubicBezTo>
                    <a:pt x="1280161" y="92075"/>
                    <a:pt x="1279525" y="95250"/>
                    <a:pt x="1277621" y="98425"/>
                  </a:cubicBezTo>
                  <a:cubicBezTo>
                    <a:pt x="1275716" y="101600"/>
                    <a:pt x="1273811" y="103505"/>
                    <a:pt x="1271271" y="105410"/>
                  </a:cubicBezTo>
                  <a:cubicBezTo>
                    <a:pt x="1268731" y="107315"/>
                    <a:pt x="1265556" y="108585"/>
                    <a:pt x="1261746" y="109220"/>
                  </a:cubicBezTo>
                  <a:cubicBezTo>
                    <a:pt x="1257936" y="109855"/>
                    <a:pt x="1254761" y="110490"/>
                    <a:pt x="1250951" y="110490"/>
                  </a:cubicBezTo>
                  <a:cubicBezTo>
                    <a:pt x="1245871" y="110490"/>
                    <a:pt x="1240791" y="109855"/>
                    <a:pt x="1235711" y="107950"/>
                  </a:cubicBezTo>
                  <a:cubicBezTo>
                    <a:pt x="1229996" y="106045"/>
                    <a:pt x="1225551" y="103505"/>
                    <a:pt x="1221106" y="100965"/>
                  </a:cubicBezTo>
                  <a:lnTo>
                    <a:pt x="1228091" y="89535"/>
                  </a:lnTo>
                  <a:cubicBezTo>
                    <a:pt x="1231901" y="92075"/>
                    <a:pt x="1235711" y="93980"/>
                    <a:pt x="1239521" y="95250"/>
                  </a:cubicBezTo>
                  <a:cubicBezTo>
                    <a:pt x="1243331" y="96520"/>
                    <a:pt x="1247141" y="97155"/>
                    <a:pt x="1250951" y="97155"/>
                  </a:cubicBezTo>
                  <a:cubicBezTo>
                    <a:pt x="1256031" y="97155"/>
                    <a:pt x="1259205" y="96520"/>
                    <a:pt x="1261746" y="94615"/>
                  </a:cubicBezTo>
                  <a:cubicBezTo>
                    <a:pt x="1264286" y="93345"/>
                    <a:pt x="1264921" y="90805"/>
                    <a:pt x="1264921" y="88265"/>
                  </a:cubicBezTo>
                  <a:cubicBezTo>
                    <a:pt x="1264921" y="86995"/>
                    <a:pt x="1264921" y="85725"/>
                    <a:pt x="1263650" y="84455"/>
                  </a:cubicBezTo>
                  <a:cubicBezTo>
                    <a:pt x="1263015" y="83185"/>
                    <a:pt x="1261746" y="82550"/>
                    <a:pt x="1259841" y="81280"/>
                  </a:cubicBezTo>
                  <a:cubicBezTo>
                    <a:pt x="1258570" y="80010"/>
                    <a:pt x="1256666" y="79375"/>
                    <a:pt x="1254125" y="78105"/>
                  </a:cubicBezTo>
                  <a:cubicBezTo>
                    <a:pt x="1252221" y="77470"/>
                    <a:pt x="1249681" y="76200"/>
                    <a:pt x="1246506" y="74930"/>
                  </a:cubicBezTo>
                  <a:cubicBezTo>
                    <a:pt x="1242061" y="73025"/>
                    <a:pt x="1238886" y="71755"/>
                    <a:pt x="1235711" y="69850"/>
                  </a:cubicBezTo>
                  <a:cubicBezTo>
                    <a:pt x="1232536" y="67945"/>
                    <a:pt x="1230631" y="66675"/>
                    <a:pt x="1228726" y="64770"/>
                  </a:cubicBezTo>
                  <a:cubicBezTo>
                    <a:pt x="1226821" y="62865"/>
                    <a:pt x="1225551" y="60960"/>
                    <a:pt x="1224916" y="58420"/>
                  </a:cubicBezTo>
                  <a:cubicBezTo>
                    <a:pt x="1224281" y="55880"/>
                    <a:pt x="1223646" y="53340"/>
                    <a:pt x="1223646" y="50165"/>
                  </a:cubicBezTo>
                  <a:cubicBezTo>
                    <a:pt x="1223646" y="46990"/>
                    <a:pt x="1224281" y="43815"/>
                    <a:pt x="1225551" y="40640"/>
                  </a:cubicBezTo>
                  <a:cubicBezTo>
                    <a:pt x="1226821" y="38100"/>
                    <a:pt x="1228726" y="35560"/>
                    <a:pt x="1231266" y="34290"/>
                  </a:cubicBezTo>
                  <a:cubicBezTo>
                    <a:pt x="1233806" y="32385"/>
                    <a:pt x="1236346" y="31115"/>
                    <a:pt x="1239521" y="30480"/>
                  </a:cubicBezTo>
                  <a:cubicBezTo>
                    <a:pt x="1242696" y="29845"/>
                    <a:pt x="1246506" y="29210"/>
                    <a:pt x="1250316" y="29210"/>
                  </a:cubicBezTo>
                  <a:close/>
                  <a:moveTo>
                    <a:pt x="1180466" y="29210"/>
                  </a:moveTo>
                  <a:cubicBezTo>
                    <a:pt x="1186181" y="29210"/>
                    <a:pt x="1190626" y="30480"/>
                    <a:pt x="1195071" y="32385"/>
                  </a:cubicBezTo>
                  <a:cubicBezTo>
                    <a:pt x="1198881" y="34290"/>
                    <a:pt x="1202691" y="37465"/>
                    <a:pt x="1205231" y="40640"/>
                  </a:cubicBezTo>
                  <a:cubicBezTo>
                    <a:pt x="1207771" y="44450"/>
                    <a:pt x="1209676" y="48260"/>
                    <a:pt x="1211581" y="53340"/>
                  </a:cubicBezTo>
                  <a:cubicBezTo>
                    <a:pt x="1212851" y="57785"/>
                    <a:pt x="1213486" y="62865"/>
                    <a:pt x="1213486" y="68580"/>
                  </a:cubicBezTo>
                  <a:lnTo>
                    <a:pt x="1212216" y="68580"/>
                  </a:lnTo>
                  <a:cubicBezTo>
                    <a:pt x="1212216" y="68580"/>
                    <a:pt x="1212216" y="71120"/>
                    <a:pt x="1212216" y="72390"/>
                  </a:cubicBezTo>
                  <a:cubicBezTo>
                    <a:pt x="1212216" y="73660"/>
                    <a:pt x="1212216" y="74295"/>
                    <a:pt x="1212216" y="75565"/>
                  </a:cubicBezTo>
                  <a:lnTo>
                    <a:pt x="1160781" y="75565"/>
                  </a:lnTo>
                  <a:cubicBezTo>
                    <a:pt x="1160781" y="79375"/>
                    <a:pt x="1162051" y="82550"/>
                    <a:pt x="1163321" y="85090"/>
                  </a:cubicBezTo>
                  <a:cubicBezTo>
                    <a:pt x="1164591" y="87630"/>
                    <a:pt x="1165861" y="90170"/>
                    <a:pt x="1167766" y="91440"/>
                  </a:cubicBezTo>
                  <a:cubicBezTo>
                    <a:pt x="1169671" y="93345"/>
                    <a:pt x="1171576" y="94615"/>
                    <a:pt x="1173481" y="95250"/>
                  </a:cubicBezTo>
                  <a:cubicBezTo>
                    <a:pt x="1175386" y="95885"/>
                    <a:pt x="1177926" y="96520"/>
                    <a:pt x="1180466" y="96520"/>
                  </a:cubicBezTo>
                  <a:cubicBezTo>
                    <a:pt x="1182371" y="96520"/>
                    <a:pt x="1183641" y="96520"/>
                    <a:pt x="1185546" y="96520"/>
                  </a:cubicBezTo>
                  <a:cubicBezTo>
                    <a:pt x="1186816" y="96520"/>
                    <a:pt x="1188721" y="95885"/>
                    <a:pt x="1189991" y="95250"/>
                  </a:cubicBezTo>
                  <a:cubicBezTo>
                    <a:pt x="1191261" y="95250"/>
                    <a:pt x="1192531" y="93980"/>
                    <a:pt x="1193801" y="93345"/>
                  </a:cubicBezTo>
                  <a:cubicBezTo>
                    <a:pt x="1195071" y="93345"/>
                    <a:pt x="1196341" y="92075"/>
                    <a:pt x="1198246" y="90805"/>
                  </a:cubicBezTo>
                  <a:lnTo>
                    <a:pt x="1207136" y="100330"/>
                  </a:lnTo>
                  <a:cubicBezTo>
                    <a:pt x="1207136" y="100330"/>
                    <a:pt x="1203326" y="103505"/>
                    <a:pt x="1201421" y="104775"/>
                  </a:cubicBezTo>
                  <a:cubicBezTo>
                    <a:pt x="1199516" y="106045"/>
                    <a:pt x="1197611" y="106680"/>
                    <a:pt x="1195706" y="107950"/>
                  </a:cubicBezTo>
                  <a:cubicBezTo>
                    <a:pt x="1193801" y="108585"/>
                    <a:pt x="1191261" y="109855"/>
                    <a:pt x="1188721" y="109855"/>
                  </a:cubicBezTo>
                  <a:cubicBezTo>
                    <a:pt x="1186181" y="109855"/>
                    <a:pt x="1183006" y="110490"/>
                    <a:pt x="1179831" y="110490"/>
                  </a:cubicBezTo>
                  <a:cubicBezTo>
                    <a:pt x="1176656" y="110490"/>
                    <a:pt x="1173481" y="110490"/>
                    <a:pt x="1170306" y="109220"/>
                  </a:cubicBezTo>
                  <a:cubicBezTo>
                    <a:pt x="1167131" y="108585"/>
                    <a:pt x="1164591" y="107315"/>
                    <a:pt x="1162686" y="105410"/>
                  </a:cubicBezTo>
                  <a:cubicBezTo>
                    <a:pt x="1160781" y="103505"/>
                    <a:pt x="1158241" y="102235"/>
                    <a:pt x="1156336" y="100330"/>
                  </a:cubicBezTo>
                  <a:cubicBezTo>
                    <a:pt x="1154431" y="98425"/>
                    <a:pt x="1152526" y="95885"/>
                    <a:pt x="1151256" y="92710"/>
                  </a:cubicBezTo>
                  <a:cubicBezTo>
                    <a:pt x="1149351" y="89535"/>
                    <a:pt x="1148081" y="86360"/>
                    <a:pt x="1147446" y="82550"/>
                  </a:cubicBezTo>
                  <a:cubicBezTo>
                    <a:pt x="1146811" y="78740"/>
                    <a:pt x="1146176" y="74295"/>
                    <a:pt x="1146176" y="69850"/>
                  </a:cubicBezTo>
                  <a:cubicBezTo>
                    <a:pt x="1146176" y="63500"/>
                    <a:pt x="1146811" y="57150"/>
                    <a:pt x="1148716" y="52070"/>
                  </a:cubicBezTo>
                  <a:cubicBezTo>
                    <a:pt x="1150621" y="46990"/>
                    <a:pt x="1152526" y="42545"/>
                    <a:pt x="1155701" y="39370"/>
                  </a:cubicBezTo>
                  <a:cubicBezTo>
                    <a:pt x="1158876" y="36195"/>
                    <a:pt x="1162051" y="33020"/>
                    <a:pt x="1166496" y="31750"/>
                  </a:cubicBezTo>
                  <a:cubicBezTo>
                    <a:pt x="1170941" y="29845"/>
                    <a:pt x="1175386" y="29210"/>
                    <a:pt x="1180466" y="29210"/>
                  </a:cubicBezTo>
                  <a:close/>
                  <a:moveTo>
                    <a:pt x="901065" y="29210"/>
                  </a:moveTo>
                  <a:cubicBezTo>
                    <a:pt x="906780" y="29210"/>
                    <a:pt x="911225" y="30480"/>
                    <a:pt x="915670" y="32385"/>
                  </a:cubicBezTo>
                  <a:cubicBezTo>
                    <a:pt x="919480" y="34290"/>
                    <a:pt x="923290" y="37465"/>
                    <a:pt x="925830" y="40640"/>
                  </a:cubicBezTo>
                  <a:cubicBezTo>
                    <a:pt x="928370" y="44450"/>
                    <a:pt x="930275" y="48260"/>
                    <a:pt x="932180" y="53340"/>
                  </a:cubicBezTo>
                  <a:cubicBezTo>
                    <a:pt x="933450" y="57785"/>
                    <a:pt x="934085" y="62865"/>
                    <a:pt x="934085" y="68580"/>
                  </a:cubicBezTo>
                  <a:lnTo>
                    <a:pt x="932815" y="68580"/>
                  </a:lnTo>
                  <a:cubicBezTo>
                    <a:pt x="932815" y="68580"/>
                    <a:pt x="932815" y="71120"/>
                    <a:pt x="932815" y="72390"/>
                  </a:cubicBezTo>
                  <a:cubicBezTo>
                    <a:pt x="932815" y="73660"/>
                    <a:pt x="932815" y="74295"/>
                    <a:pt x="932815" y="75565"/>
                  </a:cubicBezTo>
                  <a:lnTo>
                    <a:pt x="881380" y="75565"/>
                  </a:lnTo>
                  <a:cubicBezTo>
                    <a:pt x="881380" y="79375"/>
                    <a:pt x="882650" y="82550"/>
                    <a:pt x="883920" y="85090"/>
                  </a:cubicBezTo>
                  <a:cubicBezTo>
                    <a:pt x="885190" y="87630"/>
                    <a:pt x="886460" y="90170"/>
                    <a:pt x="888365" y="91440"/>
                  </a:cubicBezTo>
                  <a:cubicBezTo>
                    <a:pt x="890270" y="93345"/>
                    <a:pt x="892175" y="94615"/>
                    <a:pt x="894080" y="95250"/>
                  </a:cubicBezTo>
                  <a:cubicBezTo>
                    <a:pt x="895985" y="95885"/>
                    <a:pt x="898525" y="96520"/>
                    <a:pt x="901065" y="96520"/>
                  </a:cubicBezTo>
                  <a:cubicBezTo>
                    <a:pt x="902970" y="96520"/>
                    <a:pt x="904240" y="96520"/>
                    <a:pt x="906145" y="96520"/>
                  </a:cubicBezTo>
                  <a:cubicBezTo>
                    <a:pt x="907415" y="96520"/>
                    <a:pt x="909320" y="95885"/>
                    <a:pt x="910590" y="95250"/>
                  </a:cubicBezTo>
                  <a:cubicBezTo>
                    <a:pt x="911860" y="95250"/>
                    <a:pt x="913130" y="93980"/>
                    <a:pt x="914400" y="93345"/>
                  </a:cubicBezTo>
                  <a:cubicBezTo>
                    <a:pt x="915670" y="93345"/>
                    <a:pt x="916940" y="92075"/>
                    <a:pt x="918845" y="90805"/>
                  </a:cubicBezTo>
                  <a:lnTo>
                    <a:pt x="927735" y="100330"/>
                  </a:lnTo>
                  <a:cubicBezTo>
                    <a:pt x="927735" y="100330"/>
                    <a:pt x="923925" y="103505"/>
                    <a:pt x="922020" y="104775"/>
                  </a:cubicBezTo>
                  <a:cubicBezTo>
                    <a:pt x="920115" y="106045"/>
                    <a:pt x="918210" y="106680"/>
                    <a:pt x="916305" y="107950"/>
                  </a:cubicBezTo>
                  <a:cubicBezTo>
                    <a:pt x="914400" y="108585"/>
                    <a:pt x="911860" y="109855"/>
                    <a:pt x="909320" y="109855"/>
                  </a:cubicBezTo>
                  <a:cubicBezTo>
                    <a:pt x="906780" y="109855"/>
                    <a:pt x="903605" y="110490"/>
                    <a:pt x="900430" y="110490"/>
                  </a:cubicBezTo>
                  <a:cubicBezTo>
                    <a:pt x="897255" y="110490"/>
                    <a:pt x="894080" y="110490"/>
                    <a:pt x="890905" y="109220"/>
                  </a:cubicBezTo>
                  <a:cubicBezTo>
                    <a:pt x="887730" y="108585"/>
                    <a:pt x="885190" y="107315"/>
                    <a:pt x="883285" y="105410"/>
                  </a:cubicBezTo>
                  <a:cubicBezTo>
                    <a:pt x="881380" y="103505"/>
                    <a:pt x="878840" y="102235"/>
                    <a:pt x="876935" y="100330"/>
                  </a:cubicBezTo>
                  <a:cubicBezTo>
                    <a:pt x="875030" y="98425"/>
                    <a:pt x="873125" y="95885"/>
                    <a:pt x="871855" y="92710"/>
                  </a:cubicBezTo>
                  <a:cubicBezTo>
                    <a:pt x="869950" y="89535"/>
                    <a:pt x="868680" y="86360"/>
                    <a:pt x="868045" y="82550"/>
                  </a:cubicBezTo>
                  <a:cubicBezTo>
                    <a:pt x="867410" y="78740"/>
                    <a:pt x="866775" y="74295"/>
                    <a:pt x="866775" y="69850"/>
                  </a:cubicBezTo>
                  <a:cubicBezTo>
                    <a:pt x="866775" y="63500"/>
                    <a:pt x="867410" y="57150"/>
                    <a:pt x="869315" y="52070"/>
                  </a:cubicBezTo>
                  <a:cubicBezTo>
                    <a:pt x="871220" y="46990"/>
                    <a:pt x="873125" y="42545"/>
                    <a:pt x="876300" y="39370"/>
                  </a:cubicBezTo>
                  <a:cubicBezTo>
                    <a:pt x="879475" y="36195"/>
                    <a:pt x="882650" y="33020"/>
                    <a:pt x="887095" y="31750"/>
                  </a:cubicBezTo>
                  <a:cubicBezTo>
                    <a:pt x="891540" y="29845"/>
                    <a:pt x="895985" y="29210"/>
                    <a:pt x="901065" y="29210"/>
                  </a:cubicBezTo>
                  <a:close/>
                  <a:moveTo>
                    <a:pt x="668656" y="29210"/>
                  </a:moveTo>
                  <a:cubicBezTo>
                    <a:pt x="671830" y="29210"/>
                    <a:pt x="674370" y="29210"/>
                    <a:pt x="676275" y="29845"/>
                  </a:cubicBezTo>
                  <a:cubicBezTo>
                    <a:pt x="678181" y="29845"/>
                    <a:pt x="680086" y="31115"/>
                    <a:pt x="681991" y="32385"/>
                  </a:cubicBezTo>
                  <a:lnTo>
                    <a:pt x="678181" y="46990"/>
                  </a:lnTo>
                  <a:lnTo>
                    <a:pt x="676910" y="46990"/>
                  </a:lnTo>
                  <a:cubicBezTo>
                    <a:pt x="676910" y="46990"/>
                    <a:pt x="673736" y="45085"/>
                    <a:pt x="671830" y="45085"/>
                  </a:cubicBezTo>
                  <a:cubicBezTo>
                    <a:pt x="669925" y="45085"/>
                    <a:pt x="668020" y="44450"/>
                    <a:pt x="665480" y="44450"/>
                  </a:cubicBezTo>
                  <a:cubicBezTo>
                    <a:pt x="660400" y="44450"/>
                    <a:pt x="656590" y="46355"/>
                    <a:pt x="654050" y="49530"/>
                  </a:cubicBezTo>
                  <a:cubicBezTo>
                    <a:pt x="651510" y="52705"/>
                    <a:pt x="650240" y="57785"/>
                    <a:pt x="650240" y="64770"/>
                  </a:cubicBezTo>
                  <a:lnTo>
                    <a:pt x="650240" y="109220"/>
                  </a:lnTo>
                  <a:lnTo>
                    <a:pt x="635000" y="109220"/>
                  </a:lnTo>
                  <a:lnTo>
                    <a:pt x="635000" y="31115"/>
                  </a:lnTo>
                  <a:lnTo>
                    <a:pt x="650240" y="31115"/>
                  </a:lnTo>
                  <a:lnTo>
                    <a:pt x="650240" y="38735"/>
                  </a:lnTo>
                  <a:cubicBezTo>
                    <a:pt x="650240" y="38735"/>
                    <a:pt x="652145" y="36195"/>
                    <a:pt x="653416" y="34925"/>
                  </a:cubicBezTo>
                  <a:cubicBezTo>
                    <a:pt x="654685" y="33655"/>
                    <a:pt x="655955" y="33020"/>
                    <a:pt x="657861" y="31750"/>
                  </a:cubicBezTo>
                  <a:cubicBezTo>
                    <a:pt x="659130" y="31115"/>
                    <a:pt x="661035" y="30480"/>
                    <a:pt x="662940" y="29845"/>
                  </a:cubicBezTo>
                  <a:cubicBezTo>
                    <a:pt x="664845" y="29845"/>
                    <a:pt x="666751" y="29210"/>
                    <a:pt x="668656" y="29210"/>
                  </a:cubicBezTo>
                  <a:close/>
                  <a:moveTo>
                    <a:pt x="586739" y="29210"/>
                  </a:moveTo>
                  <a:cubicBezTo>
                    <a:pt x="592454" y="29210"/>
                    <a:pt x="596899" y="30480"/>
                    <a:pt x="601344" y="32385"/>
                  </a:cubicBezTo>
                  <a:cubicBezTo>
                    <a:pt x="605154" y="34290"/>
                    <a:pt x="608964" y="37465"/>
                    <a:pt x="611504" y="40640"/>
                  </a:cubicBezTo>
                  <a:cubicBezTo>
                    <a:pt x="614044" y="44450"/>
                    <a:pt x="615949" y="48260"/>
                    <a:pt x="617854" y="53340"/>
                  </a:cubicBezTo>
                  <a:cubicBezTo>
                    <a:pt x="619124" y="57785"/>
                    <a:pt x="619759" y="62865"/>
                    <a:pt x="619759" y="68580"/>
                  </a:cubicBezTo>
                  <a:lnTo>
                    <a:pt x="618489" y="68580"/>
                  </a:lnTo>
                  <a:cubicBezTo>
                    <a:pt x="618489" y="68580"/>
                    <a:pt x="618489" y="71120"/>
                    <a:pt x="618489" y="72390"/>
                  </a:cubicBezTo>
                  <a:cubicBezTo>
                    <a:pt x="618489" y="73660"/>
                    <a:pt x="618489" y="74295"/>
                    <a:pt x="618489" y="75565"/>
                  </a:cubicBezTo>
                  <a:lnTo>
                    <a:pt x="567054" y="75565"/>
                  </a:lnTo>
                  <a:cubicBezTo>
                    <a:pt x="567054" y="79375"/>
                    <a:pt x="568324" y="82550"/>
                    <a:pt x="569594" y="85090"/>
                  </a:cubicBezTo>
                  <a:cubicBezTo>
                    <a:pt x="570864" y="87630"/>
                    <a:pt x="572134" y="90170"/>
                    <a:pt x="574039" y="91440"/>
                  </a:cubicBezTo>
                  <a:cubicBezTo>
                    <a:pt x="575944" y="93345"/>
                    <a:pt x="577849" y="94615"/>
                    <a:pt x="579754" y="95250"/>
                  </a:cubicBezTo>
                  <a:cubicBezTo>
                    <a:pt x="581659" y="95885"/>
                    <a:pt x="584199" y="96520"/>
                    <a:pt x="586739" y="96520"/>
                  </a:cubicBezTo>
                  <a:cubicBezTo>
                    <a:pt x="588644" y="96520"/>
                    <a:pt x="589914" y="96520"/>
                    <a:pt x="591819" y="96520"/>
                  </a:cubicBezTo>
                  <a:cubicBezTo>
                    <a:pt x="593089" y="96520"/>
                    <a:pt x="594994" y="95885"/>
                    <a:pt x="596264" y="95250"/>
                  </a:cubicBezTo>
                  <a:cubicBezTo>
                    <a:pt x="597534" y="95250"/>
                    <a:pt x="598804" y="93980"/>
                    <a:pt x="600074" y="93345"/>
                  </a:cubicBezTo>
                  <a:cubicBezTo>
                    <a:pt x="601344" y="93345"/>
                    <a:pt x="602614" y="92075"/>
                    <a:pt x="604519" y="90805"/>
                  </a:cubicBezTo>
                  <a:lnTo>
                    <a:pt x="613409" y="100330"/>
                  </a:lnTo>
                  <a:cubicBezTo>
                    <a:pt x="613409" y="100330"/>
                    <a:pt x="609599" y="103505"/>
                    <a:pt x="607694" y="104775"/>
                  </a:cubicBezTo>
                  <a:cubicBezTo>
                    <a:pt x="605789" y="106045"/>
                    <a:pt x="603884" y="106680"/>
                    <a:pt x="601979" y="107950"/>
                  </a:cubicBezTo>
                  <a:cubicBezTo>
                    <a:pt x="600074" y="108585"/>
                    <a:pt x="597534" y="109855"/>
                    <a:pt x="594994" y="109855"/>
                  </a:cubicBezTo>
                  <a:cubicBezTo>
                    <a:pt x="592454" y="109855"/>
                    <a:pt x="589279" y="110490"/>
                    <a:pt x="586104" y="110490"/>
                  </a:cubicBezTo>
                  <a:cubicBezTo>
                    <a:pt x="582929" y="110490"/>
                    <a:pt x="579754" y="110490"/>
                    <a:pt x="576579" y="109220"/>
                  </a:cubicBezTo>
                  <a:cubicBezTo>
                    <a:pt x="573404" y="108585"/>
                    <a:pt x="570864" y="107315"/>
                    <a:pt x="568959" y="105410"/>
                  </a:cubicBezTo>
                  <a:cubicBezTo>
                    <a:pt x="566419" y="104140"/>
                    <a:pt x="564514" y="102235"/>
                    <a:pt x="562609" y="100330"/>
                  </a:cubicBezTo>
                  <a:cubicBezTo>
                    <a:pt x="560704" y="98425"/>
                    <a:pt x="558799" y="95885"/>
                    <a:pt x="557529" y="92710"/>
                  </a:cubicBezTo>
                  <a:cubicBezTo>
                    <a:pt x="555624" y="89535"/>
                    <a:pt x="554354" y="86360"/>
                    <a:pt x="553719" y="82550"/>
                  </a:cubicBezTo>
                  <a:cubicBezTo>
                    <a:pt x="553084" y="78740"/>
                    <a:pt x="552449" y="74295"/>
                    <a:pt x="552449" y="69850"/>
                  </a:cubicBezTo>
                  <a:cubicBezTo>
                    <a:pt x="552449" y="63500"/>
                    <a:pt x="553084" y="57150"/>
                    <a:pt x="554989" y="52070"/>
                  </a:cubicBezTo>
                  <a:cubicBezTo>
                    <a:pt x="556894" y="46990"/>
                    <a:pt x="558799" y="42545"/>
                    <a:pt x="561974" y="39370"/>
                  </a:cubicBezTo>
                  <a:cubicBezTo>
                    <a:pt x="565149" y="36195"/>
                    <a:pt x="568324" y="33020"/>
                    <a:pt x="572769" y="31750"/>
                  </a:cubicBezTo>
                  <a:cubicBezTo>
                    <a:pt x="577214" y="29845"/>
                    <a:pt x="581659" y="29210"/>
                    <a:pt x="586739" y="29210"/>
                  </a:cubicBezTo>
                  <a:close/>
                  <a:moveTo>
                    <a:pt x="400050" y="29210"/>
                  </a:moveTo>
                  <a:cubicBezTo>
                    <a:pt x="405765" y="29210"/>
                    <a:pt x="410210" y="30480"/>
                    <a:pt x="414655" y="32385"/>
                  </a:cubicBezTo>
                  <a:cubicBezTo>
                    <a:pt x="418465" y="34290"/>
                    <a:pt x="422275" y="37465"/>
                    <a:pt x="424815" y="40640"/>
                  </a:cubicBezTo>
                  <a:cubicBezTo>
                    <a:pt x="427355" y="44450"/>
                    <a:pt x="429260" y="48260"/>
                    <a:pt x="431165" y="53340"/>
                  </a:cubicBezTo>
                  <a:cubicBezTo>
                    <a:pt x="432435" y="57785"/>
                    <a:pt x="433070" y="62865"/>
                    <a:pt x="433070" y="68580"/>
                  </a:cubicBezTo>
                  <a:lnTo>
                    <a:pt x="431800" y="68580"/>
                  </a:lnTo>
                  <a:cubicBezTo>
                    <a:pt x="431800" y="68580"/>
                    <a:pt x="431800" y="71120"/>
                    <a:pt x="431800" y="72390"/>
                  </a:cubicBezTo>
                  <a:cubicBezTo>
                    <a:pt x="431800" y="73660"/>
                    <a:pt x="431800" y="74295"/>
                    <a:pt x="431800" y="75565"/>
                  </a:cubicBezTo>
                  <a:lnTo>
                    <a:pt x="380365" y="75565"/>
                  </a:lnTo>
                  <a:cubicBezTo>
                    <a:pt x="380365" y="79375"/>
                    <a:pt x="381635" y="82550"/>
                    <a:pt x="382905" y="85090"/>
                  </a:cubicBezTo>
                  <a:cubicBezTo>
                    <a:pt x="384175" y="87630"/>
                    <a:pt x="385445" y="90170"/>
                    <a:pt x="387350" y="91440"/>
                  </a:cubicBezTo>
                  <a:cubicBezTo>
                    <a:pt x="389255" y="93345"/>
                    <a:pt x="391160" y="94615"/>
                    <a:pt x="393065" y="95250"/>
                  </a:cubicBezTo>
                  <a:cubicBezTo>
                    <a:pt x="394970" y="95885"/>
                    <a:pt x="397510" y="96520"/>
                    <a:pt x="400050" y="96520"/>
                  </a:cubicBezTo>
                  <a:cubicBezTo>
                    <a:pt x="401955" y="96520"/>
                    <a:pt x="403225" y="96520"/>
                    <a:pt x="405130" y="96520"/>
                  </a:cubicBezTo>
                  <a:cubicBezTo>
                    <a:pt x="406400" y="96520"/>
                    <a:pt x="408305" y="95885"/>
                    <a:pt x="409575" y="95250"/>
                  </a:cubicBezTo>
                  <a:cubicBezTo>
                    <a:pt x="410845" y="95250"/>
                    <a:pt x="412115" y="93980"/>
                    <a:pt x="413385" y="93345"/>
                  </a:cubicBezTo>
                  <a:cubicBezTo>
                    <a:pt x="414655" y="93345"/>
                    <a:pt x="415925" y="92075"/>
                    <a:pt x="417830" y="90805"/>
                  </a:cubicBezTo>
                  <a:lnTo>
                    <a:pt x="426720" y="100330"/>
                  </a:lnTo>
                  <a:cubicBezTo>
                    <a:pt x="426720" y="100330"/>
                    <a:pt x="422910" y="103505"/>
                    <a:pt x="421005" y="104775"/>
                  </a:cubicBezTo>
                  <a:cubicBezTo>
                    <a:pt x="419100" y="106045"/>
                    <a:pt x="417195" y="106680"/>
                    <a:pt x="415290" y="107950"/>
                  </a:cubicBezTo>
                  <a:cubicBezTo>
                    <a:pt x="413385" y="108585"/>
                    <a:pt x="410845" y="109855"/>
                    <a:pt x="408305" y="109855"/>
                  </a:cubicBezTo>
                  <a:cubicBezTo>
                    <a:pt x="405765" y="109855"/>
                    <a:pt x="402590" y="110490"/>
                    <a:pt x="399415" y="110490"/>
                  </a:cubicBezTo>
                  <a:cubicBezTo>
                    <a:pt x="396240" y="110490"/>
                    <a:pt x="393065" y="110490"/>
                    <a:pt x="389890" y="109220"/>
                  </a:cubicBezTo>
                  <a:cubicBezTo>
                    <a:pt x="386715" y="108585"/>
                    <a:pt x="384175" y="107315"/>
                    <a:pt x="382270" y="105410"/>
                  </a:cubicBezTo>
                  <a:cubicBezTo>
                    <a:pt x="380365" y="103505"/>
                    <a:pt x="377825" y="102235"/>
                    <a:pt x="375920" y="100330"/>
                  </a:cubicBezTo>
                  <a:cubicBezTo>
                    <a:pt x="374015" y="98425"/>
                    <a:pt x="372110" y="95885"/>
                    <a:pt x="370840" y="92710"/>
                  </a:cubicBezTo>
                  <a:cubicBezTo>
                    <a:pt x="368935" y="89535"/>
                    <a:pt x="367665" y="86360"/>
                    <a:pt x="367030" y="82550"/>
                  </a:cubicBezTo>
                  <a:cubicBezTo>
                    <a:pt x="366395" y="78740"/>
                    <a:pt x="365760" y="74295"/>
                    <a:pt x="365760" y="69850"/>
                  </a:cubicBezTo>
                  <a:cubicBezTo>
                    <a:pt x="365760" y="63500"/>
                    <a:pt x="366395" y="57150"/>
                    <a:pt x="368300" y="52070"/>
                  </a:cubicBezTo>
                  <a:cubicBezTo>
                    <a:pt x="370205" y="46990"/>
                    <a:pt x="372110" y="42545"/>
                    <a:pt x="375285" y="39370"/>
                  </a:cubicBezTo>
                  <a:cubicBezTo>
                    <a:pt x="378460" y="36195"/>
                    <a:pt x="381635" y="33020"/>
                    <a:pt x="386080" y="31750"/>
                  </a:cubicBezTo>
                  <a:cubicBezTo>
                    <a:pt x="390525" y="29845"/>
                    <a:pt x="394970" y="29210"/>
                    <a:pt x="400050" y="29210"/>
                  </a:cubicBezTo>
                  <a:close/>
                  <a:moveTo>
                    <a:pt x="201930" y="29210"/>
                  </a:moveTo>
                  <a:cubicBezTo>
                    <a:pt x="207645" y="29210"/>
                    <a:pt x="212090" y="30480"/>
                    <a:pt x="216535" y="32385"/>
                  </a:cubicBezTo>
                  <a:cubicBezTo>
                    <a:pt x="220345" y="34290"/>
                    <a:pt x="224155" y="37465"/>
                    <a:pt x="226695" y="40640"/>
                  </a:cubicBezTo>
                  <a:cubicBezTo>
                    <a:pt x="229235" y="44450"/>
                    <a:pt x="231140" y="48260"/>
                    <a:pt x="233045" y="53340"/>
                  </a:cubicBezTo>
                  <a:cubicBezTo>
                    <a:pt x="234315" y="57785"/>
                    <a:pt x="234950" y="62865"/>
                    <a:pt x="234950" y="68580"/>
                  </a:cubicBezTo>
                  <a:lnTo>
                    <a:pt x="233680" y="68580"/>
                  </a:lnTo>
                  <a:cubicBezTo>
                    <a:pt x="233680" y="68580"/>
                    <a:pt x="233680" y="71120"/>
                    <a:pt x="233680" y="72390"/>
                  </a:cubicBezTo>
                  <a:cubicBezTo>
                    <a:pt x="233680" y="73660"/>
                    <a:pt x="233680" y="74295"/>
                    <a:pt x="233680" y="75565"/>
                  </a:cubicBezTo>
                  <a:lnTo>
                    <a:pt x="182245" y="75565"/>
                  </a:lnTo>
                  <a:cubicBezTo>
                    <a:pt x="182245" y="79375"/>
                    <a:pt x="183515" y="82550"/>
                    <a:pt x="184785" y="85090"/>
                  </a:cubicBezTo>
                  <a:cubicBezTo>
                    <a:pt x="186055" y="87630"/>
                    <a:pt x="187325" y="90170"/>
                    <a:pt x="189230" y="91440"/>
                  </a:cubicBezTo>
                  <a:cubicBezTo>
                    <a:pt x="191135" y="93345"/>
                    <a:pt x="193040" y="94615"/>
                    <a:pt x="194945" y="95250"/>
                  </a:cubicBezTo>
                  <a:cubicBezTo>
                    <a:pt x="196850" y="95885"/>
                    <a:pt x="199390" y="96520"/>
                    <a:pt x="201930" y="96520"/>
                  </a:cubicBezTo>
                  <a:cubicBezTo>
                    <a:pt x="203835" y="96520"/>
                    <a:pt x="205105" y="96520"/>
                    <a:pt x="207010" y="96520"/>
                  </a:cubicBezTo>
                  <a:cubicBezTo>
                    <a:pt x="208280" y="96520"/>
                    <a:pt x="210185" y="95885"/>
                    <a:pt x="211455" y="95250"/>
                  </a:cubicBezTo>
                  <a:cubicBezTo>
                    <a:pt x="212725" y="95250"/>
                    <a:pt x="213995" y="93980"/>
                    <a:pt x="215265" y="93345"/>
                  </a:cubicBezTo>
                  <a:cubicBezTo>
                    <a:pt x="216535" y="93345"/>
                    <a:pt x="217805" y="92075"/>
                    <a:pt x="219710" y="90805"/>
                  </a:cubicBezTo>
                  <a:lnTo>
                    <a:pt x="228600" y="100330"/>
                  </a:lnTo>
                  <a:cubicBezTo>
                    <a:pt x="228600" y="100330"/>
                    <a:pt x="224790" y="103505"/>
                    <a:pt x="222885" y="104775"/>
                  </a:cubicBezTo>
                  <a:cubicBezTo>
                    <a:pt x="220980" y="106045"/>
                    <a:pt x="219075" y="106680"/>
                    <a:pt x="217170" y="107950"/>
                  </a:cubicBezTo>
                  <a:cubicBezTo>
                    <a:pt x="215265" y="108585"/>
                    <a:pt x="212725" y="109855"/>
                    <a:pt x="210185" y="109855"/>
                  </a:cubicBezTo>
                  <a:cubicBezTo>
                    <a:pt x="207645" y="109855"/>
                    <a:pt x="204470" y="110490"/>
                    <a:pt x="201295" y="110490"/>
                  </a:cubicBezTo>
                  <a:cubicBezTo>
                    <a:pt x="198120" y="110490"/>
                    <a:pt x="194945" y="110490"/>
                    <a:pt x="191770" y="109220"/>
                  </a:cubicBezTo>
                  <a:cubicBezTo>
                    <a:pt x="188595" y="108585"/>
                    <a:pt x="186055" y="107315"/>
                    <a:pt x="184150" y="105410"/>
                  </a:cubicBezTo>
                  <a:cubicBezTo>
                    <a:pt x="181610" y="104140"/>
                    <a:pt x="179705" y="102235"/>
                    <a:pt x="177800" y="100330"/>
                  </a:cubicBezTo>
                  <a:cubicBezTo>
                    <a:pt x="175895" y="98425"/>
                    <a:pt x="173990" y="95885"/>
                    <a:pt x="172720" y="92710"/>
                  </a:cubicBezTo>
                  <a:cubicBezTo>
                    <a:pt x="170815" y="89535"/>
                    <a:pt x="169545" y="86360"/>
                    <a:pt x="168910" y="82550"/>
                  </a:cubicBezTo>
                  <a:cubicBezTo>
                    <a:pt x="168275" y="78740"/>
                    <a:pt x="167640" y="74295"/>
                    <a:pt x="167640" y="69850"/>
                  </a:cubicBezTo>
                  <a:cubicBezTo>
                    <a:pt x="167640" y="63500"/>
                    <a:pt x="168275" y="57150"/>
                    <a:pt x="170180" y="52070"/>
                  </a:cubicBezTo>
                  <a:cubicBezTo>
                    <a:pt x="172085" y="46990"/>
                    <a:pt x="173990" y="42545"/>
                    <a:pt x="177165" y="39370"/>
                  </a:cubicBezTo>
                  <a:cubicBezTo>
                    <a:pt x="180340" y="36195"/>
                    <a:pt x="183515" y="33020"/>
                    <a:pt x="187960" y="31750"/>
                  </a:cubicBezTo>
                  <a:cubicBezTo>
                    <a:pt x="192405" y="29845"/>
                    <a:pt x="196850" y="29210"/>
                    <a:pt x="201930" y="29210"/>
                  </a:cubicBezTo>
                  <a:close/>
                  <a:moveTo>
                    <a:pt x="4664706" y="28574"/>
                  </a:moveTo>
                  <a:cubicBezTo>
                    <a:pt x="4669786" y="28574"/>
                    <a:pt x="4674231" y="29209"/>
                    <a:pt x="4678676" y="31749"/>
                  </a:cubicBezTo>
                  <a:cubicBezTo>
                    <a:pt x="4683121" y="33654"/>
                    <a:pt x="4686296" y="36194"/>
                    <a:pt x="4689471" y="40004"/>
                  </a:cubicBezTo>
                  <a:cubicBezTo>
                    <a:pt x="4692646" y="43814"/>
                    <a:pt x="4695186" y="47624"/>
                    <a:pt x="4696456" y="52704"/>
                  </a:cubicBezTo>
                  <a:cubicBezTo>
                    <a:pt x="4698361" y="57784"/>
                    <a:pt x="4698996" y="63499"/>
                    <a:pt x="4698996" y="69214"/>
                  </a:cubicBezTo>
                  <a:lnTo>
                    <a:pt x="4699631" y="69214"/>
                  </a:lnTo>
                  <a:cubicBezTo>
                    <a:pt x="4699631" y="75564"/>
                    <a:pt x="4698996" y="81279"/>
                    <a:pt x="4697091" y="86359"/>
                  </a:cubicBezTo>
                  <a:cubicBezTo>
                    <a:pt x="4695186" y="91439"/>
                    <a:pt x="4692646" y="95884"/>
                    <a:pt x="4689471" y="99059"/>
                  </a:cubicBezTo>
                  <a:cubicBezTo>
                    <a:pt x="4686296" y="102869"/>
                    <a:pt x="4682486" y="105409"/>
                    <a:pt x="4678041" y="107314"/>
                  </a:cubicBezTo>
                  <a:cubicBezTo>
                    <a:pt x="4673596" y="109219"/>
                    <a:pt x="4669151" y="109854"/>
                    <a:pt x="4664071" y="109854"/>
                  </a:cubicBezTo>
                  <a:cubicBezTo>
                    <a:pt x="4658991" y="109854"/>
                    <a:pt x="4654546" y="108584"/>
                    <a:pt x="4650101" y="106679"/>
                  </a:cubicBezTo>
                  <a:cubicBezTo>
                    <a:pt x="4645656" y="104774"/>
                    <a:pt x="4642481" y="102234"/>
                    <a:pt x="4639306" y="98424"/>
                  </a:cubicBezTo>
                  <a:cubicBezTo>
                    <a:pt x="4636131" y="94614"/>
                    <a:pt x="4633591" y="90804"/>
                    <a:pt x="4632321" y="85724"/>
                  </a:cubicBezTo>
                  <a:cubicBezTo>
                    <a:pt x="4630416" y="80644"/>
                    <a:pt x="4629781" y="74929"/>
                    <a:pt x="4629781" y="69214"/>
                  </a:cubicBezTo>
                  <a:cubicBezTo>
                    <a:pt x="4629781" y="63499"/>
                    <a:pt x="4630416" y="57149"/>
                    <a:pt x="4632321" y="52069"/>
                  </a:cubicBezTo>
                  <a:cubicBezTo>
                    <a:pt x="4634226" y="46989"/>
                    <a:pt x="4636766" y="42544"/>
                    <a:pt x="4639941" y="39369"/>
                  </a:cubicBezTo>
                  <a:cubicBezTo>
                    <a:pt x="4643116" y="35559"/>
                    <a:pt x="4646926" y="33019"/>
                    <a:pt x="4650736" y="31114"/>
                  </a:cubicBezTo>
                  <a:cubicBezTo>
                    <a:pt x="4655181" y="29209"/>
                    <a:pt x="4659626" y="28574"/>
                    <a:pt x="4664706" y="28574"/>
                  </a:cubicBezTo>
                  <a:close/>
                  <a:moveTo>
                    <a:pt x="4264655" y="28574"/>
                  </a:moveTo>
                  <a:cubicBezTo>
                    <a:pt x="4269735" y="28574"/>
                    <a:pt x="4274180" y="29209"/>
                    <a:pt x="4278625" y="31749"/>
                  </a:cubicBezTo>
                  <a:cubicBezTo>
                    <a:pt x="4283070" y="33654"/>
                    <a:pt x="4286245" y="36194"/>
                    <a:pt x="4289420" y="40004"/>
                  </a:cubicBezTo>
                  <a:cubicBezTo>
                    <a:pt x="4292595" y="43814"/>
                    <a:pt x="4295135" y="47624"/>
                    <a:pt x="4296405" y="52704"/>
                  </a:cubicBezTo>
                  <a:cubicBezTo>
                    <a:pt x="4298310" y="57784"/>
                    <a:pt x="4298945" y="63499"/>
                    <a:pt x="4298945" y="69214"/>
                  </a:cubicBezTo>
                  <a:lnTo>
                    <a:pt x="4299580" y="69214"/>
                  </a:lnTo>
                  <a:cubicBezTo>
                    <a:pt x="4299580" y="75564"/>
                    <a:pt x="4298945" y="81279"/>
                    <a:pt x="4297040" y="86359"/>
                  </a:cubicBezTo>
                  <a:cubicBezTo>
                    <a:pt x="4295135" y="91439"/>
                    <a:pt x="4292595" y="95884"/>
                    <a:pt x="4289420" y="99059"/>
                  </a:cubicBezTo>
                  <a:cubicBezTo>
                    <a:pt x="4286245" y="102869"/>
                    <a:pt x="4282435" y="105409"/>
                    <a:pt x="4277990" y="107314"/>
                  </a:cubicBezTo>
                  <a:cubicBezTo>
                    <a:pt x="4273545" y="109219"/>
                    <a:pt x="4269100" y="109854"/>
                    <a:pt x="4264020" y="109854"/>
                  </a:cubicBezTo>
                  <a:cubicBezTo>
                    <a:pt x="4258940" y="109854"/>
                    <a:pt x="4254495" y="108584"/>
                    <a:pt x="4250050" y="106679"/>
                  </a:cubicBezTo>
                  <a:cubicBezTo>
                    <a:pt x="4245605" y="104774"/>
                    <a:pt x="4242430" y="102234"/>
                    <a:pt x="4239255" y="98424"/>
                  </a:cubicBezTo>
                  <a:cubicBezTo>
                    <a:pt x="4236080" y="94614"/>
                    <a:pt x="4233540" y="90804"/>
                    <a:pt x="4232270" y="85724"/>
                  </a:cubicBezTo>
                  <a:cubicBezTo>
                    <a:pt x="4230365" y="80644"/>
                    <a:pt x="4229730" y="74929"/>
                    <a:pt x="4229730" y="69214"/>
                  </a:cubicBezTo>
                  <a:cubicBezTo>
                    <a:pt x="4229730" y="63499"/>
                    <a:pt x="4230365" y="57149"/>
                    <a:pt x="4232270" y="52069"/>
                  </a:cubicBezTo>
                  <a:cubicBezTo>
                    <a:pt x="4234175" y="46989"/>
                    <a:pt x="4236715" y="42544"/>
                    <a:pt x="4239890" y="39369"/>
                  </a:cubicBezTo>
                  <a:cubicBezTo>
                    <a:pt x="4243065" y="35559"/>
                    <a:pt x="4246875" y="33019"/>
                    <a:pt x="4250685" y="31114"/>
                  </a:cubicBezTo>
                  <a:cubicBezTo>
                    <a:pt x="4255130" y="29209"/>
                    <a:pt x="4259575" y="28574"/>
                    <a:pt x="4264655" y="28574"/>
                  </a:cubicBezTo>
                  <a:close/>
                  <a:moveTo>
                    <a:pt x="1420495" y="28574"/>
                  </a:moveTo>
                  <a:cubicBezTo>
                    <a:pt x="1425575" y="28574"/>
                    <a:pt x="1430020" y="29209"/>
                    <a:pt x="1434465" y="31749"/>
                  </a:cubicBezTo>
                  <a:cubicBezTo>
                    <a:pt x="1438910" y="33654"/>
                    <a:pt x="1442085" y="36194"/>
                    <a:pt x="1445260" y="40004"/>
                  </a:cubicBezTo>
                  <a:cubicBezTo>
                    <a:pt x="1448435" y="43814"/>
                    <a:pt x="1450975" y="47624"/>
                    <a:pt x="1452245" y="52704"/>
                  </a:cubicBezTo>
                  <a:cubicBezTo>
                    <a:pt x="1454150" y="57784"/>
                    <a:pt x="1454785" y="63499"/>
                    <a:pt x="1454785" y="69214"/>
                  </a:cubicBezTo>
                  <a:lnTo>
                    <a:pt x="1455420" y="69214"/>
                  </a:lnTo>
                  <a:cubicBezTo>
                    <a:pt x="1455420" y="75564"/>
                    <a:pt x="1454785" y="81279"/>
                    <a:pt x="1452880" y="86359"/>
                  </a:cubicBezTo>
                  <a:cubicBezTo>
                    <a:pt x="1450975" y="91439"/>
                    <a:pt x="1448435" y="95884"/>
                    <a:pt x="1445260" y="99059"/>
                  </a:cubicBezTo>
                  <a:cubicBezTo>
                    <a:pt x="1442085" y="102869"/>
                    <a:pt x="1438275" y="105409"/>
                    <a:pt x="1433830" y="107314"/>
                  </a:cubicBezTo>
                  <a:cubicBezTo>
                    <a:pt x="1429385" y="109219"/>
                    <a:pt x="1424940" y="109854"/>
                    <a:pt x="1419860" y="109854"/>
                  </a:cubicBezTo>
                  <a:cubicBezTo>
                    <a:pt x="1414780" y="109854"/>
                    <a:pt x="1410335" y="108584"/>
                    <a:pt x="1405890" y="106679"/>
                  </a:cubicBezTo>
                  <a:cubicBezTo>
                    <a:pt x="1401444" y="104774"/>
                    <a:pt x="1398270" y="102234"/>
                    <a:pt x="1395095" y="98424"/>
                  </a:cubicBezTo>
                  <a:cubicBezTo>
                    <a:pt x="1391920" y="94614"/>
                    <a:pt x="1389380" y="90804"/>
                    <a:pt x="1388110" y="85724"/>
                  </a:cubicBezTo>
                  <a:cubicBezTo>
                    <a:pt x="1386205" y="80644"/>
                    <a:pt x="1385570" y="74929"/>
                    <a:pt x="1385570" y="69214"/>
                  </a:cubicBezTo>
                  <a:cubicBezTo>
                    <a:pt x="1385570" y="63499"/>
                    <a:pt x="1386205" y="57149"/>
                    <a:pt x="1388110" y="52069"/>
                  </a:cubicBezTo>
                  <a:cubicBezTo>
                    <a:pt x="1390015" y="46989"/>
                    <a:pt x="1392555" y="42544"/>
                    <a:pt x="1395730" y="39369"/>
                  </a:cubicBezTo>
                  <a:cubicBezTo>
                    <a:pt x="1398905" y="35559"/>
                    <a:pt x="1402715" y="33019"/>
                    <a:pt x="1406525" y="31114"/>
                  </a:cubicBezTo>
                  <a:cubicBezTo>
                    <a:pt x="1410970" y="29209"/>
                    <a:pt x="1415415" y="28574"/>
                    <a:pt x="1420495" y="28574"/>
                  </a:cubicBezTo>
                  <a:close/>
                  <a:moveTo>
                    <a:pt x="3143245" y="5079"/>
                  </a:moveTo>
                  <a:lnTo>
                    <a:pt x="3219445" y="5079"/>
                  </a:lnTo>
                  <a:lnTo>
                    <a:pt x="3219445" y="20319"/>
                  </a:lnTo>
                  <a:lnTo>
                    <a:pt x="3188965" y="20319"/>
                  </a:lnTo>
                  <a:lnTo>
                    <a:pt x="3188965" y="108584"/>
                  </a:lnTo>
                  <a:lnTo>
                    <a:pt x="3173090" y="108584"/>
                  </a:lnTo>
                  <a:lnTo>
                    <a:pt x="3173090" y="20319"/>
                  </a:lnTo>
                  <a:lnTo>
                    <a:pt x="3143245" y="20319"/>
                  </a:lnTo>
                  <a:close/>
                  <a:moveTo>
                    <a:pt x="1628774" y="5079"/>
                  </a:moveTo>
                  <a:lnTo>
                    <a:pt x="1704970" y="5079"/>
                  </a:lnTo>
                  <a:lnTo>
                    <a:pt x="1704970" y="20319"/>
                  </a:lnTo>
                  <a:lnTo>
                    <a:pt x="1675129" y="20319"/>
                  </a:lnTo>
                  <a:lnTo>
                    <a:pt x="1675129" y="108584"/>
                  </a:lnTo>
                  <a:lnTo>
                    <a:pt x="1659255" y="108584"/>
                  </a:lnTo>
                  <a:lnTo>
                    <a:pt x="1659255" y="20319"/>
                  </a:lnTo>
                  <a:lnTo>
                    <a:pt x="1628774" y="20319"/>
                  </a:lnTo>
                  <a:close/>
                  <a:moveTo>
                    <a:pt x="0" y="5079"/>
                  </a:moveTo>
                  <a:lnTo>
                    <a:pt x="76200" y="5079"/>
                  </a:lnTo>
                  <a:lnTo>
                    <a:pt x="76200" y="20319"/>
                  </a:lnTo>
                  <a:lnTo>
                    <a:pt x="45720" y="20319"/>
                  </a:lnTo>
                  <a:lnTo>
                    <a:pt x="45720" y="108584"/>
                  </a:lnTo>
                  <a:lnTo>
                    <a:pt x="29845" y="108584"/>
                  </a:lnTo>
                  <a:lnTo>
                    <a:pt x="29845" y="20319"/>
                  </a:lnTo>
                  <a:lnTo>
                    <a:pt x="0" y="20319"/>
                  </a:lnTo>
                  <a:close/>
                  <a:moveTo>
                    <a:pt x="1362075" y="1269"/>
                  </a:moveTo>
                  <a:cubicBezTo>
                    <a:pt x="1363345" y="1269"/>
                    <a:pt x="1364615" y="1269"/>
                    <a:pt x="1365885" y="1904"/>
                  </a:cubicBezTo>
                  <a:cubicBezTo>
                    <a:pt x="1367155" y="1904"/>
                    <a:pt x="1367790" y="3174"/>
                    <a:pt x="1369060" y="3809"/>
                  </a:cubicBezTo>
                  <a:cubicBezTo>
                    <a:pt x="1369695" y="4444"/>
                    <a:pt x="1370965" y="5714"/>
                    <a:pt x="1370965" y="6984"/>
                  </a:cubicBezTo>
                  <a:cubicBezTo>
                    <a:pt x="1370965" y="8254"/>
                    <a:pt x="1371600" y="9524"/>
                    <a:pt x="1371600" y="10794"/>
                  </a:cubicBezTo>
                  <a:cubicBezTo>
                    <a:pt x="1371600" y="10794"/>
                    <a:pt x="1371600" y="13334"/>
                    <a:pt x="1370965" y="14604"/>
                  </a:cubicBezTo>
                  <a:cubicBezTo>
                    <a:pt x="1370965" y="15874"/>
                    <a:pt x="1369695" y="17144"/>
                    <a:pt x="1369060" y="17779"/>
                  </a:cubicBezTo>
                  <a:cubicBezTo>
                    <a:pt x="1368425" y="18414"/>
                    <a:pt x="1367155" y="19684"/>
                    <a:pt x="1365885" y="19684"/>
                  </a:cubicBezTo>
                  <a:cubicBezTo>
                    <a:pt x="1364615" y="19684"/>
                    <a:pt x="1363345" y="20319"/>
                    <a:pt x="1362075" y="20319"/>
                  </a:cubicBezTo>
                  <a:cubicBezTo>
                    <a:pt x="1360805" y="20319"/>
                    <a:pt x="1359535" y="20319"/>
                    <a:pt x="1358265" y="19684"/>
                  </a:cubicBezTo>
                  <a:cubicBezTo>
                    <a:pt x="1356995" y="19684"/>
                    <a:pt x="1355725" y="18414"/>
                    <a:pt x="1355090" y="17779"/>
                  </a:cubicBezTo>
                  <a:cubicBezTo>
                    <a:pt x="1354455" y="17144"/>
                    <a:pt x="1353185" y="15874"/>
                    <a:pt x="1353185" y="14604"/>
                  </a:cubicBezTo>
                  <a:cubicBezTo>
                    <a:pt x="1353185" y="13334"/>
                    <a:pt x="1352550" y="12064"/>
                    <a:pt x="1352550" y="10794"/>
                  </a:cubicBezTo>
                  <a:cubicBezTo>
                    <a:pt x="1352550" y="9524"/>
                    <a:pt x="1352550" y="8254"/>
                    <a:pt x="1353185" y="6984"/>
                  </a:cubicBezTo>
                  <a:cubicBezTo>
                    <a:pt x="1353185" y="5714"/>
                    <a:pt x="1354455" y="4444"/>
                    <a:pt x="1355090" y="3809"/>
                  </a:cubicBezTo>
                  <a:cubicBezTo>
                    <a:pt x="1355725" y="3174"/>
                    <a:pt x="1356995" y="1904"/>
                    <a:pt x="1358265" y="1904"/>
                  </a:cubicBezTo>
                  <a:cubicBezTo>
                    <a:pt x="1359535" y="1904"/>
                    <a:pt x="1360805" y="1269"/>
                    <a:pt x="1362075" y="1269"/>
                  </a:cubicBezTo>
                  <a:close/>
                  <a:moveTo>
                    <a:pt x="4789801" y="634"/>
                  </a:moveTo>
                  <a:lnTo>
                    <a:pt x="4789801" y="65404"/>
                  </a:lnTo>
                  <a:lnTo>
                    <a:pt x="4814566" y="31114"/>
                  </a:lnTo>
                  <a:lnTo>
                    <a:pt x="4831711" y="31114"/>
                  </a:lnTo>
                  <a:lnTo>
                    <a:pt x="4812026" y="57149"/>
                  </a:lnTo>
                  <a:lnTo>
                    <a:pt x="4835521" y="108584"/>
                  </a:lnTo>
                  <a:lnTo>
                    <a:pt x="4819011" y="108584"/>
                  </a:lnTo>
                  <a:lnTo>
                    <a:pt x="4801866" y="69849"/>
                  </a:lnTo>
                  <a:lnTo>
                    <a:pt x="4789801" y="85724"/>
                  </a:lnTo>
                  <a:lnTo>
                    <a:pt x="4789801" y="108584"/>
                  </a:lnTo>
                  <a:lnTo>
                    <a:pt x="4774561" y="108584"/>
                  </a:lnTo>
                  <a:lnTo>
                    <a:pt x="4774561" y="8889"/>
                  </a:lnTo>
                  <a:close/>
                  <a:moveTo>
                    <a:pt x="4472301" y="634"/>
                  </a:moveTo>
                  <a:lnTo>
                    <a:pt x="4472301" y="109219"/>
                  </a:lnTo>
                  <a:lnTo>
                    <a:pt x="4457061" y="109219"/>
                  </a:lnTo>
                  <a:lnTo>
                    <a:pt x="4457696" y="108584"/>
                  </a:lnTo>
                  <a:lnTo>
                    <a:pt x="4457696" y="100964"/>
                  </a:lnTo>
                  <a:cubicBezTo>
                    <a:pt x="4457696" y="100964"/>
                    <a:pt x="4454521" y="103504"/>
                    <a:pt x="4453251" y="104774"/>
                  </a:cubicBezTo>
                  <a:cubicBezTo>
                    <a:pt x="4451981" y="106044"/>
                    <a:pt x="4450076" y="106679"/>
                    <a:pt x="4448171" y="107949"/>
                  </a:cubicBezTo>
                  <a:cubicBezTo>
                    <a:pt x="4446266" y="108584"/>
                    <a:pt x="4444361" y="109219"/>
                    <a:pt x="4443091" y="109854"/>
                  </a:cubicBezTo>
                  <a:cubicBezTo>
                    <a:pt x="4441186" y="109854"/>
                    <a:pt x="4439281" y="109854"/>
                    <a:pt x="4437376" y="109854"/>
                  </a:cubicBezTo>
                  <a:cubicBezTo>
                    <a:pt x="4432931" y="109854"/>
                    <a:pt x="4429121" y="109219"/>
                    <a:pt x="4425946" y="107314"/>
                  </a:cubicBezTo>
                  <a:cubicBezTo>
                    <a:pt x="4422136" y="106044"/>
                    <a:pt x="4418961" y="103504"/>
                    <a:pt x="4416421" y="99694"/>
                  </a:cubicBezTo>
                  <a:cubicBezTo>
                    <a:pt x="4413881" y="96519"/>
                    <a:pt x="4411341" y="92074"/>
                    <a:pt x="4410071" y="86994"/>
                  </a:cubicBezTo>
                  <a:cubicBezTo>
                    <a:pt x="4408801" y="81914"/>
                    <a:pt x="4407531" y="75564"/>
                    <a:pt x="4407531" y="67944"/>
                  </a:cubicBezTo>
                  <a:cubicBezTo>
                    <a:pt x="4407531" y="61594"/>
                    <a:pt x="4408166" y="55244"/>
                    <a:pt x="4410071" y="50799"/>
                  </a:cubicBezTo>
                  <a:cubicBezTo>
                    <a:pt x="4411976" y="45719"/>
                    <a:pt x="4413881" y="41909"/>
                    <a:pt x="4417056" y="38734"/>
                  </a:cubicBezTo>
                  <a:cubicBezTo>
                    <a:pt x="4419596" y="35559"/>
                    <a:pt x="4423406" y="33019"/>
                    <a:pt x="4426581" y="31749"/>
                  </a:cubicBezTo>
                  <a:cubicBezTo>
                    <a:pt x="4430391" y="29844"/>
                    <a:pt x="4434201" y="29209"/>
                    <a:pt x="4438011" y="29209"/>
                  </a:cubicBezTo>
                  <a:cubicBezTo>
                    <a:pt x="4439916" y="29209"/>
                    <a:pt x="4441821" y="29209"/>
                    <a:pt x="4443726" y="29844"/>
                  </a:cubicBezTo>
                  <a:cubicBezTo>
                    <a:pt x="4445631" y="29844"/>
                    <a:pt x="4447536" y="31114"/>
                    <a:pt x="4448806" y="31749"/>
                  </a:cubicBezTo>
                  <a:cubicBezTo>
                    <a:pt x="4450711" y="32384"/>
                    <a:pt x="4451981" y="33654"/>
                    <a:pt x="4453251" y="34924"/>
                  </a:cubicBezTo>
                  <a:cubicBezTo>
                    <a:pt x="4454521" y="36194"/>
                    <a:pt x="4455791" y="36829"/>
                    <a:pt x="4457061" y="38099"/>
                  </a:cubicBezTo>
                  <a:lnTo>
                    <a:pt x="4457061" y="8254"/>
                  </a:lnTo>
                  <a:close/>
                  <a:moveTo>
                    <a:pt x="4390385" y="634"/>
                  </a:moveTo>
                  <a:lnTo>
                    <a:pt x="4390385" y="108584"/>
                  </a:lnTo>
                  <a:lnTo>
                    <a:pt x="4375145" y="108584"/>
                  </a:lnTo>
                  <a:lnTo>
                    <a:pt x="4375145" y="8889"/>
                  </a:lnTo>
                  <a:close/>
                  <a:moveTo>
                    <a:pt x="3946521" y="634"/>
                  </a:moveTo>
                  <a:lnTo>
                    <a:pt x="3946521" y="38099"/>
                  </a:lnTo>
                  <a:cubicBezTo>
                    <a:pt x="3946521" y="38099"/>
                    <a:pt x="3948426" y="35559"/>
                    <a:pt x="3950331" y="34289"/>
                  </a:cubicBezTo>
                  <a:cubicBezTo>
                    <a:pt x="3951601" y="33019"/>
                    <a:pt x="3953506" y="32384"/>
                    <a:pt x="3954776" y="31114"/>
                  </a:cubicBezTo>
                  <a:cubicBezTo>
                    <a:pt x="3956681" y="30479"/>
                    <a:pt x="3958586" y="29844"/>
                    <a:pt x="3960491" y="29209"/>
                  </a:cubicBezTo>
                  <a:cubicBezTo>
                    <a:pt x="3962396" y="29209"/>
                    <a:pt x="3964301" y="29209"/>
                    <a:pt x="3966206" y="29209"/>
                  </a:cubicBezTo>
                  <a:cubicBezTo>
                    <a:pt x="3970651" y="29209"/>
                    <a:pt x="3975096" y="29844"/>
                    <a:pt x="3978271" y="31749"/>
                  </a:cubicBezTo>
                  <a:cubicBezTo>
                    <a:pt x="3981446" y="33019"/>
                    <a:pt x="3984621" y="35559"/>
                    <a:pt x="3987161" y="38099"/>
                  </a:cubicBezTo>
                  <a:cubicBezTo>
                    <a:pt x="3989701" y="41274"/>
                    <a:pt x="3990971" y="44449"/>
                    <a:pt x="3992241" y="49529"/>
                  </a:cubicBezTo>
                  <a:cubicBezTo>
                    <a:pt x="3993511" y="53974"/>
                    <a:pt x="3994146" y="59054"/>
                    <a:pt x="3994146" y="64134"/>
                  </a:cubicBezTo>
                  <a:lnTo>
                    <a:pt x="3994146" y="108584"/>
                  </a:lnTo>
                  <a:lnTo>
                    <a:pt x="3978906" y="108584"/>
                  </a:lnTo>
                  <a:lnTo>
                    <a:pt x="3978271" y="108584"/>
                  </a:lnTo>
                  <a:lnTo>
                    <a:pt x="3978271" y="64769"/>
                  </a:lnTo>
                  <a:cubicBezTo>
                    <a:pt x="3978271" y="57784"/>
                    <a:pt x="3977001" y="52069"/>
                    <a:pt x="3974461" y="48894"/>
                  </a:cubicBezTo>
                  <a:cubicBezTo>
                    <a:pt x="3971921" y="45084"/>
                    <a:pt x="3968111" y="43814"/>
                    <a:pt x="3962396" y="43814"/>
                  </a:cubicBezTo>
                  <a:cubicBezTo>
                    <a:pt x="3959856" y="43814"/>
                    <a:pt x="3957951" y="43814"/>
                    <a:pt x="3956046" y="45084"/>
                  </a:cubicBezTo>
                  <a:cubicBezTo>
                    <a:pt x="3954141" y="45719"/>
                    <a:pt x="3952236" y="46989"/>
                    <a:pt x="3950966" y="48894"/>
                  </a:cubicBezTo>
                  <a:cubicBezTo>
                    <a:pt x="3949696" y="50799"/>
                    <a:pt x="3948426" y="52704"/>
                    <a:pt x="3947791" y="55244"/>
                  </a:cubicBezTo>
                  <a:cubicBezTo>
                    <a:pt x="3947156" y="57784"/>
                    <a:pt x="3946521" y="60324"/>
                    <a:pt x="3946521" y="63499"/>
                  </a:cubicBezTo>
                  <a:lnTo>
                    <a:pt x="3946521" y="109219"/>
                  </a:lnTo>
                  <a:lnTo>
                    <a:pt x="3931281" y="109219"/>
                  </a:lnTo>
                  <a:lnTo>
                    <a:pt x="3931281" y="8889"/>
                  </a:lnTo>
                  <a:close/>
                  <a:moveTo>
                    <a:pt x="3248021" y="634"/>
                  </a:moveTo>
                  <a:lnTo>
                    <a:pt x="3248021" y="38099"/>
                  </a:lnTo>
                  <a:cubicBezTo>
                    <a:pt x="3248021" y="38099"/>
                    <a:pt x="3249926" y="35559"/>
                    <a:pt x="3251831" y="34289"/>
                  </a:cubicBezTo>
                  <a:cubicBezTo>
                    <a:pt x="3253101" y="33019"/>
                    <a:pt x="3255006" y="32384"/>
                    <a:pt x="3256276" y="31114"/>
                  </a:cubicBezTo>
                  <a:cubicBezTo>
                    <a:pt x="3258181" y="30479"/>
                    <a:pt x="3260086" y="29844"/>
                    <a:pt x="3261991" y="29209"/>
                  </a:cubicBezTo>
                  <a:cubicBezTo>
                    <a:pt x="3263896" y="29209"/>
                    <a:pt x="3265801" y="29209"/>
                    <a:pt x="3267706" y="29209"/>
                  </a:cubicBezTo>
                  <a:cubicBezTo>
                    <a:pt x="3272151" y="29209"/>
                    <a:pt x="3276596" y="29844"/>
                    <a:pt x="3279771" y="31749"/>
                  </a:cubicBezTo>
                  <a:cubicBezTo>
                    <a:pt x="3282946" y="33019"/>
                    <a:pt x="3286121" y="35559"/>
                    <a:pt x="3288661" y="38099"/>
                  </a:cubicBezTo>
                  <a:cubicBezTo>
                    <a:pt x="3291201" y="41274"/>
                    <a:pt x="3292471" y="44449"/>
                    <a:pt x="3293741" y="49529"/>
                  </a:cubicBezTo>
                  <a:cubicBezTo>
                    <a:pt x="3295011" y="53974"/>
                    <a:pt x="3295646" y="59054"/>
                    <a:pt x="3295646" y="64134"/>
                  </a:cubicBezTo>
                  <a:lnTo>
                    <a:pt x="3295646" y="108584"/>
                  </a:lnTo>
                  <a:lnTo>
                    <a:pt x="3280406" y="108584"/>
                  </a:lnTo>
                  <a:lnTo>
                    <a:pt x="3279771" y="108584"/>
                  </a:lnTo>
                  <a:lnTo>
                    <a:pt x="3279771" y="64769"/>
                  </a:lnTo>
                  <a:cubicBezTo>
                    <a:pt x="3279771" y="57784"/>
                    <a:pt x="3278501" y="52069"/>
                    <a:pt x="3275961" y="48894"/>
                  </a:cubicBezTo>
                  <a:cubicBezTo>
                    <a:pt x="3273421" y="45084"/>
                    <a:pt x="3269611" y="43814"/>
                    <a:pt x="3263896" y="43814"/>
                  </a:cubicBezTo>
                  <a:cubicBezTo>
                    <a:pt x="3261356" y="43814"/>
                    <a:pt x="3259451" y="43814"/>
                    <a:pt x="3257546" y="45084"/>
                  </a:cubicBezTo>
                  <a:cubicBezTo>
                    <a:pt x="3255641" y="45719"/>
                    <a:pt x="3253736" y="46989"/>
                    <a:pt x="3252466" y="48894"/>
                  </a:cubicBezTo>
                  <a:cubicBezTo>
                    <a:pt x="3251196" y="50799"/>
                    <a:pt x="3249926" y="52704"/>
                    <a:pt x="3249291" y="55244"/>
                  </a:cubicBezTo>
                  <a:cubicBezTo>
                    <a:pt x="3248656" y="57784"/>
                    <a:pt x="3248021" y="60324"/>
                    <a:pt x="3248021" y="63499"/>
                  </a:cubicBezTo>
                  <a:lnTo>
                    <a:pt x="3248021" y="109219"/>
                  </a:lnTo>
                  <a:lnTo>
                    <a:pt x="3232781" y="109219"/>
                  </a:lnTo>
                  <a:lnTo>
                    <a:pt x="3232781" y="8889"/>
                  </a:lnTo>
                  <a:close/>
                  <a:moveTo>
                    <a:pt x="2432681" y="634"/>
                  </a:moveTo>
                  <a:lnTo>
                    <a:pt x="2432681" y="38099"/>
                  </a:lnTo>
                  <a:cubicBezTo>
                    <a:pt x="2432681" y="38099"/>
                    <a:pt x="2434586" y="35559"/>
                    <a:pt x="2436491" y="34289"/>
                  </a:cubicBezTo>
                  <a:cubicBezTo>
                    <a:pt x="2437761" y="33019"/>
                    <a:pt x="2439666" y="32384"/>
                    <a:pt x="2440936" y="31114"/>
                  </a:cubicBezTo>
                  <a:cubicBezTo>
                    <a:pt x="2442841" y="30479"/>
                    <a:pt x="2444746" y="29844"/>
                    <a:pt x="2446651" y="29209"/>
                  </a:cubicBezTo>
                  <a:cubicBezTo>
                    <a:pt x="2448556" y="29209"/>
                    <a:pt x="2450461" y="29209"/>
                    <a:pt x="2452366" y="29209"/>
                  </a:cubicBezTo>
                  <a:cubicBezTo>
                    <a:pt x="2456811" y="29209"/>
                    <a:pt x="2461256" y="29844"/>
                    <a:pt x="2464431" y="31749"/>
                  </a:cubicBezTo>
                  <a:cubicBezTo>
                    <a:pt x="2467606" y="33019"/>
                    <a:pt x="2470781" y="35559"/>
                    <a:pt x="2473321" y="38099"/>
                  </a:cubicBezTo>
                  <a:cubicBezTo>
                    <a:pt x="2475861" y="41274"/>
                    <a:pt x="2477131" y="44449"/>
                    <a:pt x="2478401" y="49529"/>
                  </a:cubicBezTo>
                  <a:cubicBezTo>
                    <a:pt x="2479671" y="53974"/>
                    <a:pt x="2480306" y="59054"/>
                    <a:pt x="2480306" y="64134"/>
                  </a:cubicBezTo>
                  <a:lnTo>
                    <a:pt x="2480306" y="108584"/>
                  </a:lnTo>
                  <a:lnTo>
                    <a:pt x="2465066" y="108584"/>
                  </a:lnTo>
                  <a:lnTo>
                    <a:pt x="2464431" y="108584"/>
                  </a:lnTo>
                  <a:lnTo>
                    <a:pt x="2464431" y="64769"/>
                  </a:lnTo>
                  <a:cubicBezTo>
                    <a:pt x="2464431" y="57784"/>
                    <a:pt x="2463161" y="52069"/>
                    <a:pt x="2460621" y="48894"/>
                  </a:cubicBezTo>
                  <a:cubicBezTo>
                    <a:pt x="2458081" y="45084"/>
                    <a:pt x="2454271" y="43814"/>
                    <a:pt x="2448556" y="43814"/>
                  </a:cubicBezTo>
                  <a:cubicBezTo>
                    <a:pt x="2446016" y="43814"/>
                    <a:pt x="2444111" y="43814"/>
                    <a:pt x="2442206" y="45084"/>
                  </a:cubicBezTo>
                  <a:cubicBezTo>
                    <a:pt x="2440301" y="45719"/>
                    <a:pt x="2438396" y="46989"/>
                    <a:pt x="2437126" y="48894"/>
                  </a:cubicBezTo>
                  <a:cubicBezTo>
                    <a:pt x="2435856" y="50799"/>
                    <a:pt x="2434586" y="52704"/>
                    <a:pt x="2433951" y="55244"/>
                  </a:cubicBezTo>
                  <a:cubicBezTo>
                    <a:pt x="2433316" y="57784"/>
                    <a:pt x="2432681" y="60324"/>
                    <a:pt x="2432681" y="63499"/>
                  </a:cubicBezTo>
                  <a:lnTo>
                    <a:pt x="2432681" y="109219"/>
                  </a:lnTo>
                  <a:lnTo>
                    <a:pt x="2417441" y="109219"/>
                  </a:lnTo>
                  <a:lnTo>
                    <a:pt x="2417441" y="8889"/>
                  </a:lnTo>
                  <a:close/>
                  <a:moveTo>
                    <a:pt x="1734181" y="634"/>
                  </a:moveTo>
                  <a:lnTo>
                    <a:pt x="1734181" y="38099"/>
                  </a:lnTo>
                  <a:cubicBezTo>
                    <a:pt x="1734181" y="38099"/>
                    <a:pt x="1736086" y="35559"/>
                    <a:pt x="1737991" y="34289"/>
                  </a:cubicBezTo>
                  <a:cubicBezTo>
                    <a:pt x="1739261" y="33019"/>
                    <a:pt x="1741166" y="32384"/>
                    <a:pt x="1742436" y="31114"/>
                  </a:cubicBezTo>
                  <a:cubicBezTo>
                    <a:pt x="1744341" y="30479"/>
                    <a:pt x="1746246" y="29844"/>
                    <a:pt x="1748151" y="29209"/>
                  </a:cubicBezTo>
                  <a:cubicBezTo>
                    <a:pt x="1750056" y="29209"/>
                    <a:pt x="1751961" y="29209"/>
                    <a:pt x="1753866" y="29209"/>
                  </a:cubicBezTo>
                  <a:cubicBezTo>
                    <a:pt x="1758311" y="29209"/>
                    <a:pt x="1762756" y="29844"/>
                    <a:pt x="1765931" y="31749"/>
                  </a:cubicBezTo>
                  <a:cubicBezTo>
                    <a:pt x="1769106" y="33019"/>
                    <a:pt x="1772281" y="35559"/>
                    <a:pt x="1774821" y="38099"/>
                  </a:cubicBezTo>
                  <a:cubicBezTo>
                    <a:pt x="1777361" y="41274"/>
                    <a:pt x="1778631" y="44449"/>
                    <a:pt x="1779901" y="49529"/>
                  </a:cubicBezTo>
                  <a:cubicBezTo>
                    <a:pt x="1781171" y="53974"/>
                    <a:pt x="1781806" y="59054"/>
                    <a:pt x="1781806" y="64134"/>
                  </a:cubicBezTo>
                  <a:lnTo>
                    <a:pt x="1781806" y="108584"/>
                  </a:lnTo>
                  <a:lnTo>
                    <a:pt x="1766566" y="108584"/>
                  </a:lnTo>
                  <a:lnTo>
                    <a:pt x="1765931" y="108584"/>
                  </a:lnTo>
                  <a:lnTo>
                    <a:pt x="1765931" y="64769"/>
                  </a:lnTo>
                  <a:cubicBezTo>
                    <a:pt x="1765931" y="57784"/>
                    <a:pt x="1764661" y="52069"/>
                    <a:pt x="1762121" y="48894"/>
                  </a:cubicBezTo>
                  <a:cubicBezTo>
                    <a:pt x="1759581" y="45084"/>
                    <a:pt x="1755771" y="43814"/>
                    <a:pt x="1750056" y="43814"/>
                  </a:cubicBezTo>
                  <a:cubicBezTo>
                    <a:pt x="1747516" y="43814"/>
                    <a:pt x="1745611" y="43814"/>
                    <a:pt x="1743706" y="45084"/>
                  </a:cubicBezTo>
                  <a:cubicBezTo>
                    <a:pt x="1741801" y="45719"/>
                    <a:pt x="1739896" y="46989"/>
                    <a:pt x="1738626" y="48894"/>
                  </a:cubicBezTo>
                  <a:cubicBezTo>
                    <a:pt x="1737356" y="50799"/>
                    <a:pt x="1736086" y="52704"/>
                    <a:pt x="1735451" y="55244"/>
                  </a:cubicBezTo>
                  <a:cubicBezTo>
                    <a:pt x="1734816" y="57784"/>
                    <a:pt x="1734181" y="60324"/>
                    <a:pt x="1734181" y="63499"/>
                  </a:cubicBezTo>
                  <a:lnTo>
                    <a:pt x="1734181" y="109219"/>
                  </a:lnTo>
                  <a:lnTo>
                    <a:pt x="1718941" y="109219"/>
                  </a:lnTo>
                  <a:lnTo>
                    <a:pt x="1718941" y="8889"/>
                  </a:lnTo>
                  <a:close/>
                  <a:moveTo>
                    <a:pt x="803275" y="634"/>
                  </a:moveTo>
                  <a:lnTo>
                    <a:pt x="803275" y="38099"/>
                  </a:lnTo>
                  <a:cubicBezTo>
                    <a:pt x="803275" y="38099"/>
                    <a:pt x="805180" y="35559"/>
                    <a:pt x="807085" y="34289"/>
                  </a:cubicBezTo>
                  <a:cubicBezTo>
                    <a:pt x="808355" y="33019"/>
                    <a:pt x="810260" y="32384"/>
                    <a:pt x="811530" y="31114"/>
                  </a:cubicBezTo>
                  <a:cubicBezTo>
                    <a:pt x="813435" y="30479"/>
                    <a:pt x="815340" y="29844"/>
                    <a:pt x="817245" y="29209"/>
                  </a:cubicBezTo>
                  <a:cubicBezTo>
                    <a:pt x="819150" y="29209"/>
                    <a:pt x="821055" y="29209"/>
                    <a:pt x="822960" y="29209"/>
                  </a:cubicBezTo>
                  <a:cubicBezTo>
                    <a:pt x="827405" y="29209"/>
                    <a:pt x="831850" y="29844"/>
                    <a:pt x="835025" y="31749"/>
                  </a:cubicBezTo>
                  <a:cubicBezTo>
                    <a:pt x="838200" y="33019"/>
                    <a:pt x="841375" y="35559"/>
                    <a:pt x="843915" y="38099"/>
                  </a:cubicBezTo>
                  <a:cubicBezTo>
                    <a:pt x="846455" y="41274"/>
                    <a:pt x="847725" y="44449"/>
                    <a:pt x="848995" y="49529"/>
                  </a:cubicBezTo>
                  <a:cubicBezTo>
                    <a:pt x="850265" y="53974"/>
                    <a:pt x="850900" y="59054"/>
                    <a:pt x="850900" y="64134"/>
                  </a:cubicBezTo>
                  <a:lnTo>
                    <a:pt x="850900" y="108584"/>
                  </a:lnTo>
                  <a:lnTo>
                    <a:pt x="835660" y="108584"/>
                  </a:lnTo>
                  <a:lnTo>
                    <a:pt x="835025" y="108584"/>
                  </a:lnTo>
                  <a:lnTo>
                    <a:pt x="835025" y="64769"/>
                  </a:lnTo>
                  <a:cubicBezTo>
                    <a:pt x="835025" y="57784"/>
                    <a:pt x="833755" y="52069"/>
                    <a:pt x="831215" y="48894"/>
                  </a:cubicBezTo>
                  <a:cubicBezTo>
                    <a:pt x="828675" y="45084"/>
                    <a:pt x="824865" y="43814"/>
                    <a:pt x="819150" y="43814"/>
                  </a:cubicBezTo>
                  <a:cubicBezTo>
                    <a:pt x="816610" y="43814"/>
                    <a:pt x="814705" y="43814"/>
                    <a:pt x="812800" y="45084"/>
                  </a:cubicBezTo>
                  <a:cubicBezTo>
                    <a:pt x="810895" y="45719"/>
                    <a:pt x="808990" y="46989"/>
                    <a:pt x="807720" y="48894"/>
                  </a:cubicBezTo>
                  <a:cubicBezTo>
                    <a:pt x="806450" y="50799"/>
                    <a:pt x="805180" y="52704"/>
                    <a:pt x="804545" y="55244"/>
                  </a:cubicBezTo>
                  <a:cubicBezTo>
                    <a:pt x="803910" y="57784"/>
                    <a:pt x="803275" y="60324"/>
                    <a:pt x="803275" y="63499"/>
                  </a:cubicBezTo>
                  <a:lnTo>
                    <a:pt x="803275" y="109219"/>
                  </a:lnTo>
                  <a:lnTo>
                    <a:pt x="788035" y="109219"/>
                  </a:lnTo>
                  <a:lnTo>
                    <a:pt x="788035" y="8889"/>
                  </a:lnTo>
                  <a:close/>
                  <a:moveTo>
                    <a:pt x="104774" y="634"/>
                  </a:moveTo>
                  <a:lnTo>
                    <a:pt x="104774" y="38099"/>
                  </a:lnTo>
                  <a:cubicBezTo>
                    <a:pt x="104774" y="38099"/>
                    <a:pt x="106679" y="35559"/>
                    <a:pt x="108584" y="34289"/>
                  </a:cubicBezTo>
                  <a:cubicBezTo>
                    <a:pt x="109854" y="33019"/>
                    <a:pt x="111759" y="32384"/>
                    <a:pt x="113029" y="31114"/>
                  </a:cubicBezTo>
                  <a:cubicBezTo>
                    <a:pt x="114934" y="30479"/>
                    <a:pt x="116839" y="29844"/>
                    <a:pt x="118744" y="29209"/>
                  </a:cubicBezTo>
                  <a:cubicBezTo>
                    <a:pt x="120649" y="29209"/>
                    <a:pt x="122554" y="29209"/>
                    <a:pt x="124459" y="29209"/>
                  </a:cubicBezTo>
                  <a:cubicBezTo>
                    <a:pt x="128904" y="29209"/>
                    <a:pt x="133349" y="29844"/>
                    <a:pt x="136524" y="31749"/>
                  </a:cubicBezTo>
                  <a:cubicBezTo>
                    <a:pt x="139699" y="33019"/>
                    <a:pt x="142874" y="35559"/>
                    <a:pt x="145414" y="38099"/>
                  </a:cubicBezTo>
                  <a:cubicBezTo>
                    <a:pt x="147954" y="41274"/>
                    <a:pt x="149224" y="44449"/>
                    <a:pt x="150494" y="49529"/>
                  </a:cubicBezTo>
                  <a:cubicBezTo>
                    <a:pt x="151764" y="53974"/>
                    <a:pt x="152399" y="59054"/>
                    <a:pt x="152399" y="64134"/>
                  </a:cubicBezTo>
                  <a:lnTo>
                    <a:pt x="152399" y="108584"/>
                  </a:lnTo>
                  <a:lnTo>
                    <a:pt x="137159" y="108584"/>
                  </a:lnTo>
                  <a:lnTo>
                    <a:pt x="136524" y="108584"/>
                  </a:lnTo>
                  <a:lnTo>
                    <a:pt x="136524" y="64769"/>
                  </a:lnTo>
                  <a:cubicBezTo>
                    <a:pt x="136524" y="57784"/>
                    <a:pt x="135254" y="52069"/>
                    <a:pt x="132714" y="48894"/>
                  </a:cubicBezTo>
                  <a:cubicBezTo>
                    <a:pt x="130174" y="45084"/>
                    <a:pt x="126364" y="43814"/>
                    <a:pt x="120649" y="43814"/>
                  </a:cubicBezTo>
                  <a:cubicBezTo>
                    <a:pt x="118109" y="43814"/>
                    <a:pt x="116204" y="43814"/>
                    <a:pt x="114299" y="45084"/>
                  </a:cubicBezTo>
                  <a:cubicBezTo>
                    <a:pt x="112394" y="45719"/>
                    <a:pt x="110489" y="46989"/>
                    <a:pt x="109219" y="48894"/>
                  </a:cubicBezTo>
                  <a:cubicBezTo>
                    <a:pt x="107949" y="50799"/>
                    <a:pt x="106679" y="52704"/>
                    <a:pt x="106044" y="55244"/>
                  </a:cubicBezTo>
                  <a:cubicBezTo>
                    <a:pt x="105409" y="57784"/>
                    <a:pt x="104774" y="60324"/>
                    <a:pt x="104774" y="63499"/>
                  </a:cubicBezTo>
                  <a:lnTo>
                    <a:pt x="104774" y="109219"/>
                  </a:lnTo>
                  <a:lnTo>
                    <a:pt x="89534" y="109219"/>
                  </a:lnTo>
                  <a:lnTo>
                    <a:pt x="89534" y="8889"/>
                  </a:lnTo>
                  <a:close/>
                  <a:moveTo>
                    <a:pt x="3894450" y="0"/>
                  </a:moveTo>
                  <a:lnTo>
                    <a:pt x="3894450" y="30480"/>
                  </a:lnTo>
                  <a:lnTo>
                    <a:pt x="3913500" y="30480"/>
                  </a:lnTo>
                  <a:lnTo>
                    <a:pt x="3913500" y="44450"/>
                  </a:lnTo>
                  <a:lnTo>
                    <a:pt x="3894450" y="44450"/>
                  </a:lnTo>
                  <a:lnTo>
                    <a:pt x="3894450" y="86995"/>
                  </a:lnTo>
                  <a:cubicBezTo>
                    <a:pt x="3894450" y="86995"/>
                    <a:pt x="3894450" y="90170"/>
                    <a:pt x="3894450" y="91440"/>
                  </a:cubicBezTo>
                  <a:cubicBezTo>
                    <a:pt x="3894450" y="92710"/>
                    <a:pt x="3895085" y="93345"/>
                    <a:pt x="3895720" y="94615"/>
                  </a:cubicBezTo>
                  <a:cubicBezTo>
                    <a:pt x="3896355" y="95250"/>
                    <a:pt x="3896990" y="95885"/>
                    <a:pt x="3898260" y="95885"/>
                  </a:cubicBezTo>
                  <a:cubicBezTo>
                    <a:pt x="3899530" y="95885"/>
                    <a:pt x="3900800" y="95885"/>
                    <a:pt x="3902070" y="95885"/>
                  </a:cubicBezTo>
                  <a:cubicBezTo>
                    <a:pt x="3903975" y="95885"/>
                    <a:pt x="3905880" y="95885"/>
                    <a:pt x="3908420" y="95250"/>
                  </a:cubicBezTo>
                  <a:cubicBezTo>
                    <a:pt x="3910325" y="94615"/>
                    <a:pt x="3912230" y="93980"/>
                    <a:pt x="3913500" y="93345"/>
                  </a:cubicBezTo>
                  <a:lnTo>
                    <a:pt x="3911595" y="106680"/>
                  </a:lnTo>
                  <a:cubicBezTo>
                    <a:pt x="3911595" y="106680"/>
                    <a:pt x="3907785" y="108585"/>
                    <a:pt x="3905245" y="109220"/>
                  </a:cubicBezTo>
                  <a:cubicBezTo>
                    <a:pt x="3902705" y="109855"/>
                    <a:pt x="3900165" y="110490"/>
                    <a:pt x="3896990" y="110490"/>
                  </a:cubicBezTo>
                  <a:cubicBezTo>
                    <a:pt x="3894450" y="110490"/>
                    <a:pt x="3891910" y="110490"/>
                    <a:pt x="3890005" y="109220"/>
                  </a:cubicBezTo>
                  <a:cubicBezTo>
                    <a:pt x="3888100" y="108585"/>
                    <a:pt x="3886195" y="107315"/>
                    <a:pt x="3884290" y="105410"/>
                  </a:cubicBezTo>
                  <a:cubicBezTo>
                    <a:pt x="3882385" y="103505"/>
                    <a:pt x="3881115" y="101600"/>
                    <a:pt x="3880480" y="99060"/>
                  </a:cubicBezTo>
                  <a:cubicBezTo>
                    <a:pt x="3879845" y="96520"/>
                    <a:pt x="3879210" y="93345"/>
                    <a:pt x="3879210" y="89535"/>
                  </a:cubicBezTo>
                  <a:lnTo>
                    <a:pt x="3879210" y="44450"/>
                  </a:lnTo>
                  <a:lnTo>
                    <a:pt x="3868415" y="44450"/>
                  </a:lnTo>
                  <a:lnTo>
                    <a:pt x="3868415" y="30480"/>
                  </a:lnTo>
                  <a:lnTo>
                    <a:pt x="3879210" y="30480"/>
                  </a:lnTo>
                  <a:lnTo>
                    <a:pt x="3879210" y="8255"/>
                  </a:lnTo>
                  <a:close/>
                  <a:moveTo>
                    <a:pt x="3664581" y="0"/>
                  </a:moveTo>
                  <a:lnTo>
                    <a:pt x="3664581" y="30480"/>
                  </a:lnTo>
                  <a:lnTo>
                    <a:pt x="3683631" y="30480"/>
                  </a:lnTo>
                  <a:lnTo>
                    <a:pt x="3683631" y="44450"/>
                  </a:lnTo>
                  <a:lnTo>
                    <a:pt x="3664581" y="44450"/>
                  </a:lnTo>
                  <a:lnTo>
                    <a:pt x="3664581" y="86995"/>
                  </a:lnTo>
                  <a:cubicBezTo>
                    <a:pt x="3664581" y="86995"/>
                    <a:pt x="3664581" y="90170"/>
                    <a:pt x="3664581" y="91440"/>
                  </a:cubicBezTo>
                  <a:cubicBezTo>
                    <a:pt x="3664581" y="92710"/>
                    <a:pt x="3665216" y="93345"/>
                    <a:pt x="3665851" y="94615"/>
                  </a:cubicBezTo>
                  <a:cubicBezTo>
                    <a:pt x="3666486" y="95250"/>
                    <a:pt x="3667121" y="95885"/>
                    <a:pt x="3668391" y="95885"/>
                  </a:cubicBezTo>
                  <a:cubicBezTo>
                    <a:pt x="3669661" y="95885"/>
                    <a:pt x="3670931" y="95885"/>
                    <a:pt x="3672201" y="95885"/>
                  </a:cubicBezTo>
                  <a:cubicBezTo>
                    <a:pt x="3674106" y="95885"/>
                    <a:pt x="3676011" y="95885"/>
                    <a:pt x="3678551" y="95250"/>
                  </a:cubicBezTo>
                  <a:cubicBezTo>
                    <a:pt x="3680456" y="94615"/>
                    <a:pt x="3682361" y="93980"/>
                    <a:pt x="3683631" y="93345"/>
                  </a:cubicBezTo>
                  <a:lnTo>
                    <a:pt x="3681726" y="106680"/>
                  </a:lnTo>
                  <a:cubicBezTo>
                    <a:pt x="3681726" y="106680"/>
                    <a:pt x="3677916" y="108585"/>
                    <a:pt x="3675376" y="109220"/>
                  </a:cubicBezTo>
                  <a:cubicBezTo>
                    <a:pt x="3672836" y="109855"/>
                    <a:pt x="3670296" y="110490"/>
                    <a:pt x="3667121" y="110490"/>
                  </a:cubicBezTo>
                  <a:cubicBezTo>
                    <a:pt x="3664581" y="110490"/>
                    <a:pt x="3662041" y="110490"/>
                    <a:pt x="3660136" y="109220"/>
                  </a:cubicBezTo>
                  <a:cubicBezTo>
                    <a:pt x="3658231" y="108585"/>
                    <a:pt x="3656326" y="107315"/>
                    <a:pt x="3654421" y="105410"/>
                  </a:cubicBezTo>
                  <a:cubicBezTo>
                    <a:pt x="3652516" y="103505"/>
                    <a:pt x="3651246" y="101600"/>
                    <a:pt x="3650611" y="99060"/>
                  </a:cubicBezTo>
                  <a:cubicBezTo>
                    <a:pt x="3649976" y="96520"/>
                    <a:pt x="3649341" y="93345"/>
                    <a:pt x="3649341" y="89535"/>
                  </a:cubicBezTo>
                  <a:lnTo>
                    <a:pt x="3649341" y="44450"/>
                  </a:lnTo>
                  <a:lnTo>
                    <a:pt x="3638546" y="44450"/>
                  </a:lnTo>
                  <a:lnTo>
                    <a:pt x="3638546" y="30480"/>
                  </a:lnTo>
                  <a:lnTo>
                    <a:pt x="3649341" y="30480"/>
                  </a:lnTo>
                  <a:lnTo>
                    <a:pt x="3649341" y="8255"/>
                  </a:lnTo>
                  <a:close/>
                  <a:moveTo>
                    <a:pt x="3610605" y="0"/>
                  </a:moveTo>
                  <a:lnTo>
                    <a:pt x="3610605" y="30480"/>
                  </a:lnTo>
                  <a:lnTo>
                    <a:pt x="3629655" y="30480"/>
                  </a:lnTo>
                  <a:lnTo>
                    <a:pt x="3629655" y="44450"/>
                  </a:lnTo>
                  <a:lnTo>
                    <a:pt x="3610605" y="44450"/>
                  </a:lnTo>
                  <a:lnTo>
                    <a:pt x="3610605" y="86995"/>
                  </a:lnTo>
                  <a:cubicBezTo>
                    <a:pt x="3610605" y="86995"/>
                    <a:pt x="3610605" y="90170"/>
                    <a:pt x="3610605" y="91440"/>
                  </a:cubicBezTo>
                  <a:cubicBezTo>
                    <a:pt x="3610605" y="92710"/>
                    <a:pt x="3611240" y="93345"/>
                    <a:pt x="3611875" y="94615"/>
                  </a:cubicBezTo>
                  <a:cubicBezTo>
                    <a:pt x="3612510" y="95250"/>
                    <a:pt x="3613145" y="95885"/>
                    <a:pt x="3614415" y="95885"/>
                  </a:cubicBezTo>
                  <a:cubicBezTo>
                    <a:pt x="3615685" y="95885"/>
                    <a:pt x="3616955" y="95885"/>
                    <a:pt x="3618225" y="95885"/>
                  </a:cubicBezTo>
                  <a:cubicBezTo>
                    <a:pt x="3620130" y="95885"/>
                    <a:pt x="3622035" y="95885"/>
                    <a:pt x="3624575" y="95250"/>
                  </a:cubicBezTo>
                  <a:cubicBezTo>
                    <a:pt x="3626480" y="94615"/>
                    <a:pt x="3628385" y="93980"/>
                    <a:pt x="3629655" y="93345"/>
                  </a:cubicBezTo>
                  <a:lnTo>
                    <a:pt x="3627750" y="106680"/>
                  </a:lnTo>
                  <a:cubicBezTo>
                    <a:pt x="3627750" y="106680"/>
                    <a:pt x="3623940" y="108585"/>
                    <a:pt x="3621400" y="109220"/>
                  </a:cubicBezTo>
                  <a:cubicBezTo>
                    <a:pt x="3618860" y="109855"/>
                    <a:pt x="3616320" y="110490"/>
                    <a:pt x="3613145" y="110490"/>
                  </a:cubicBezTo>
                  <a:cubicBezTo>
                    <a:pt x="3610605" y="110490"/>
                    <a:pt x="3608065" y="110490"/>
                    <a:pt x="3606160" y="109220"/>
                  </a:cubicBezTo>
                  <a:cubicBezTo>
                    <a:pt x="3604255" y="108585"/>
                    <a:pt x="3602350" y="107315"/>
                    <a:pt x="3600445" y="105410"/>
                  </a:cubicBezTo>
                  <a:cubicBezTo>
                    <a:pt x="3598540" y="103505"/>
                    <a:pt x="3597270" y="101600"/>
                    <a:pt x="3596635" y="99060"/>
                  </a:cubicBezTo>
                  <a:cubicBezTo>
                    <a:pt x="3596000" y="96520"/>
                    <a:pt x="3595365" y="93345"/>
                    <a:pt x="3595365" y="89535"/>
                  </a:cubicBezTo>
                  <a:lnTo>
                    <a:pt x="3595365" y="44450"/>
                  </a:lnTo>
                  <a:lnTo>
                    <a:pt x="3584570" y="44450"/>
                  </a:lnTo>
                  <a:lnTo>
                    <a:pt x="3584570" y="30480"/>
                  </a:lnTo>
                  <a:lnTo>
                    <a:pt x="3595365" y="30480"/>
                  </a:lnTo>
                  <a:lnTo>
                    <a:pt x="3595365" y="8255"/>
                  </a:lnTo>
                  <a:close/>
                  <a:moveTo>
                    <a:pt x="3445505" y="0"/>
                  </a:moveTo>
                  <a:lnTo>
                    <a:pt x="3445505" y="37465"/>
                  </a:lnTo>
                  <a:cubicBezTo>
                    <a:pt x="3445505" y="37465"/>
                    <a:pt x="3448680" y="34925"/>
                    <a:pt x="3449950" y="33655"/>
                  </a:cubicBezTo>
                  <a:cubicBezTo>
                    <a:pt x="3451220" y="33020"/>
                    <a:pt x="3452490" y="31750"/>
                    <a:pt x="3453760" y="31115"/>
                  </a:cubicBezTo>
                  <a:cubicBezTo>
                    <a:pt x="3455030" y="30480"/>
                    <a:pt x="3456935" y="29845"/>
                    <a:pt x="3458840" y="29210"/>
                  </a:cubicBezTo>
                  <a:cubicBezTo>
                    <a:pt x="3460745" y="29210"/>
                    <a:pt x="3463285" y="28575"/>
                    <a:pt x="3465825" y="28575"/>
                  </a:cubicBezTo>
                  <a:cubicBezTo>
                    <a:pt x="3470270" y="28575"/>
                    <a:pt x="3474080" y="29210"/>
                    <a:pt x="3477890" y="31115"/>
                  </a:cubicBezTo>
                  <a:cubicBezTo>
                    <a:pt x="3481700" y="32385"/>
                    <a:pt x="3484875" y="34925"/>
                    <a:pt x="3487415" y="38735"/>
                  </a:cubicBezTo>
                  <a:cubicBezTo>
                    <a:pt x="3489955" y="41910"/>
                    <a:pt x="3492495" y="46355"/>
                    <a:pt x="3493765" y="51435"/>
                  </a:cubicBezTo>
                  <a:cubicBezTo>
                    <a:pt x="3495035" y="56515"/>
                    <a:pt x="3496305" y="62865"/>
                    <a:pt x="3496305" y="70485"/>
                  </a:cubicBezTo>
                  <a:lnTo>
                    <a:pt x="3495670" y="71120"/>
                  </a:lnTo>
                  <a:cubicBezTo>
                    <a:pt x="3495670" y="77470"/>
                    <a:pt x="3495035" y="83820"/>
                    <a:pt x="3493130" y="88265"/>
                  </a:cubicBezTo>
                  <a:cubicBezTo>
                    <a:pt x="3491225" y="93345"/>
                    <a:pt x="3489320" y="97155"/>
                    <a:pt x="3486145" y="100330"/>
                  </a:cubicBezTo>
                  <a:cubicBezTo>
                    <a:pt x="3483605" y="103505"/>
                    <a:pt x="3479795" y="106045"/>
                    <a:pt x="3476620" y="107315"/>
                  </a:cubicBezTo>
                  <a:cubicBezTo>
                    <a:pt x="3472810" y="109220"/>
                    <a:pt x="3469000" y="109855"/>
                    <a:pt x="3465190" y="109855"/>
                  </a:cubicBezTo>
                  <a:cubicBezTo>
                    <a:pt x="3461380" y="109855"/>
                    <a:pt x="3457570" y="109220"/>
                    <a:pt x="3454395" y="107315"/>
                  </a:cubicBezTo>
                  <a:cubicBezTo>
                    <a:pt x="3450585" y="105410"/>
                    <a:pt x="3448045" y="103505"/>
                    <a:pt x="3445505" y="100965"/>
                  </a:cubicBezTo>
                  <a:lnTo>
                    <a:pt x="3445505" y="107950"/>
                  </a:lnTo>
                  <a:lnTo>
                    <a:pt x="3430265" y="107950"/>
                  </a:lnTo>
                  <a:lnTo>
                    <a:pt x="3430265" y="7620"/>
                  </a:lnTo>
                  <a:close/>
                  <a:moveTo>
                    <a:pt x="2380611" y="0"/>
                  </a:moveTo>
                  <a:lnTo>
                    <a:pt x="2380611" y="30480"/>
                  </a:lnTo>
                  <a:lnTo>
                    <a:pt x="2399661" y="30480"/>
                  </a:lnTo>
                  <a:lnTo>
                    <a:pt x="2399661" y="44450"/>
                  </a:lnTo>
                  <a:lnTo>
                    <a:pt x="2380611" y="44450"/>
                  </a:lnTo>
                  <a:lnTo>
                    <a:pt x="2380611" y="86995"/>
                  </a:lnTo>
                  <a:cubicBezTo>
                    <a:pt x="2380611" y="86995"/>
                    <a:pt x="2380611" y="90170"/>
                    <a:pt x="2380611" y="91440"/>
                  </a:cubicBezTo>
                  <a:cubicBezTo>
                    <a:pt x="2380611" y="92710"/>
                    <a:pt x="2381246" y="93345"/>
                    <a:pt x="2381881" y="94615"/>
                  </a:cubicBezTo>
                  <a:cubicBezTo>
                    <a:pt x="2382516" y="95250"/>
                    <a:pt x="2383151" y="95885"/>
                    <a:pt x="2384421" y="95885"/>
                  </a:cubicBezTo>
                  <a:cubicBezTo>
                    <a:pt x="2385691" y="95885"/>
                    <a:pt x="2386961" y="95885"/>
                    <a:pt x="2388231" y="95885"/>
                  </a:cubicBezTo>
                  <a:cubicBezTo>
                    <a:pt x="2390136" y="95885"/>
                    <a:pt x="2392041" y="95885"/>
                    <a:pt x="2394581" y="95250"/>
                  </a:cubicBezTo>
                  <a:cubicBezTo>
                    <a:pt x="2396486" y="94615"/>
                    <a:pt x="2398391" y="93980"/>
                    <a:pt x="2399661" y="93345"/>
                  </a:cubicBezTo>
                  <a:lnTo>
                    <a:pt x="2397756" y="106680"/>
                  </a:lnTo>
                  <a:cubicBezTo>
                    <a:pt x="2397756" y="106680"/>
                    <a:pt x="2393946" y="108585"/>
                    <a:pt x="2391406" y="109220"/>
                  </a:cubicBezTo>
                  <a:cubicBezTo>
                    <a:pt x="2388866" y="109855"/>
                    <a:pt x="2386326" y="110490"/>
                    <a:pt x="2383151" y="110490"/>
                  </a:cubicBezTo>
                  <a:cubicBezTo>
                    <a:pt x="2380611" y="110490"/>
                    <a:pt x="2378071" y="110490"/>
                    <a:pt x="2376166" y="109220"/>
                  </a:cubicBezTo>
                  <a:cubicBezTo>
                    <a:pt x="2374261" y="108585"/>
                    <a:pt x="2372356" y="107315"/>
                    <a:pt x="2370451" y="105410"/>
                  </a:cubicBezTo>
                  <a:cubicBezTo>
                    <a:pt x="2368546" y="103505"/>
                    <a:pt x="2367276" y="101600"/>
                    <a:pt x="2366641" y="99060"/>
                  </a:cubicBezTo>
                  <a:cubicBezTo>
                    <a:pt x="2366006" y="96520"/>
                    <a:pt x="2365371" y="93345"/>
                    <a:pt x="2365371" y="89535"/>
                  </a:cubicBezTo>
                  <a:lnTo>
                    <a:pt x="2365371" y="44450"/>
                  </a:lnTo>
                  <a:lnTo>
                    <a:pt x="2354576" y="44450"/>
                  </a:lnTo>
                  <a:lnTo>
                    <a:pt x="2354576" y="30480"/>
                  </a:lnTo>
                  <a:lnTo>
                    <a:pt x="2365371" y="30480"/>
                  </a:lnTo>
                  <a:lnTo>
                    <a:pt x="2365371" y="8255"/>
                  </a:lnTo>
                  <a:close/>
                  <a:moveTo>
                    <a:pt x="2150741" y="0"/>
                  </a:moveTo>
                  <a:lnTo>
                    <a:pt x="2150741" y="30480"/>
                  </a:lnTo>
                  <a:lnTo>
                    <a:pt x="2169791" y="30480"/>
                  </a:lnTo>
                  <a:lnTo>
                    <a:pt x="2169791" y="44450"/>
                  </a:lnTo>
                  <a:lnTo>
                    <a:pt x="2150741" y="44450"/>
                  </a:lnTo>
                  <a:lnTo>
                    <a:pt x="2150741" y="86995"/>
                  </a:lnTo>
                  <a:cubicBezTo>
                    <a:pt x="2150741" y="86995"/>
                    <a:pt x="2150741" y="90170"/>
                    <a:pt x="2150741" y="91440"/>
                  </a:cubicBezTo>
                  <a:cubicBezTo>
                    <a:pt x="2150741" y="92710"/>
                    <a:pt x="2151376" y="93345"/>
                    <a:pt x="2152011" y="94615"/>
                  </a:cubicBezTo>
                  <a:cubicBezTo>
                    <a:pt x="2152646" y="95250"/>
                    <a:pt x="2153281" y="95885"/>
                    <a:pt x="2154551" y="95885"/>
                  </a:cubicBezTo>
                  <a:cubicBezTo>
                    <a:pt x="2155821" y="95885"/>
                    <a:pt x="2157091" y="95885"/>
                    <a:pt x="2158361" y="95885"/>
                  </a:cubicBezTo>
                  <a:cubicBezTo>
                    <a:pt x="2160266" y="95885"/>
                    <a:pt x="2162171" y="95885"/>
                    <a:pt x="2164711" y="95250"/>
                  </a:cubicBezTo>
                  <a:cubicBezTo>
                    <a:pt x="2166616" y="94615"/>
                    <a:pt x="2168521" y="93980"/>
                    <a:pt x="2169791" y="93345"/>
                  </a:cubicBezTo>
                  <a:lnTo>
                    <a:pt x="2167886" y="106680"/>
                  </a:lnTo>
                  <a:cubicBezTo>
                    <a:pt x="2167886" y="106680"/>
                    <a:pt x="2164076" y="108585"/>
                    <a:pt x="2161536" y="109220"/>
                  </a:cubicBezTo>
                  <a:cubicBezTo>
                    <a:pt x="2158996" y="109855"/>
                    <a:pt x="2156456" y="110490"/>
                    <a:pt x="2153281" y="110490"/>
                  </a:cubicBezTo>
                  <a:cubicBezTo>
                    <a:pt x="2150741" y="110490"/>
                    <a:pt x="2148201" y="110490"/>
                    <a:pt x="2146296" y="109220"/>
                  </a:cubicBezTo>
                  <a:cubicBezTo>
                    <a:pt x="2144391" y="108585"/>
                    <a:pt x="2142486" y="107315"/>
                    <a:pt x="2140581" y="105410"/>
                  </a:cubicBezTo>
                  <a:cubicBezTo>
                    <a:pt x="2138676" y="103505"/>
                    <a:pt x="2137406" y="101600"/>
                    <a:pt x="2136771" y="99060"/>
                  </a:cubicBezTo>
                  <a:cubicBezTo>
                    <a:pt x="2136136" y="96520"/>
                    <a:pt x="2135501" y="93345"/>
                    <a:pt x="2135501" y="89535"/>
                  </a:cubicBezTo>
                  <a:lnTo>
                    <a:pt x="2135501" y="44450"/>
                  </a:lnTo>
                  <a:lnTo>
                    <a:pt x="2124706" y="44450"/>
                  </a:lnTo>
                  <a:lnTo>
                    <a:pt x="2124706" y="30480"/>
                  </a:lnTo>
                  <a:lnTo>
                    <a:pt x="2135501" y="30480"/>
                  </a:lnTo>
                  <a:lnTo>
                    <a:pt x="2135501" y="8255"/>
                  </a:lnTo>
                  <a:close/>
                  <a:moveTo>
                    <a:pt x="2096131" y="0"/>
                  </a:moveTo>
                  <a:lnTo>
                    <a:pt x="2096131" y="30480"/>
                  </a:lnTo>
                  <a:lnTo>
                    <a:pt x="2115181" y="30480"/>
                  </a:lnTo>
                  <a:lnTo>
                    <a:pt x="2115181" y="44450"/>
                  </a:lnTo>
                  <a:lnTo>
                    <a:pt x="2096131" y="44450"/>
                  </a:lnTo>
                  <a:lnTo>
                    <a:pt x="2096131" y="86995"/>
                  </a:lnTo>
                  <a:cubicBezTo>
                    <a:pt x="2096131" y="86995"/>
                    <a:pt x="2096131" y="90170"/>
                    <a:pt x="2096131" y="91440"/>
                  </a:cubicBezTo>
                  <a:cubicBezTo>
                    <a:pt x="2096131" y="92710"/>
                    <a:pt x="2096766" y="93345"/>
                    <a:pt x="2097401" y="94615"/>
                  </a:cubicBezTo>
                  <a:cubicBezTo>
                    <a:pt x="2098036" y="95250"/>
                    <a:pt x="2098671" y="95885"/>
                    <a:pt x="2099941" y="95885"/>
                  </a:cubicBezTo>
                  <a:cubicBezTo>
                    <a:pt x="2101211" y="95885"/>
                    <a:pt x="2102481" y="95885"/>
                    <a:pt x="2103751" y="95885"/>
                  </a:cubicBezTo>
                  <a:cubicBezTo>
                    <a:pt x="2105656" y="95885"/>
                    <a:pt x="2107561" y="95885"/>
                    <a:pt x="2110101" y="95250"/>
                  </a:cubicBezTo>
                  <a:cubicBezTo>
                    <a:pt x="2112006" y="94615"/>
                    <a:pt x="2113911" y="93980"/>
                    <a:pt x="2115181" y="93345"/>
                  </a:cubicBezTo>
                  <a:lnTo>
                    <a:pt x="2113276" y="106680"/>
                  </a:lnTo>
                  <a:cubicBezTo>
                    <a:pt x="2113276" y="106680"/>
                    <a:pt x="2109466" y="108585"/>
                    <a:pt x="2106926" y="109220"/>
                  </a:cubicBezTo>
                  <a:cubicBezTo>
                    <a:pt x="2104386" y="109855"/>
                    <a:pt x="2101846" y="110490"/>
                    <a:pt x="2098671" y="110490"/>
                  </a:cubicBezTo>
                  <a:cubicBezTo>
                    <a:pt x="2096131" y="110490"/>
                    <a:pt x="2093591" y="110490"/>
                    <a:pt x="2091686" y="109220"/>
                  </a:cubicBezTo>
                  <a:cubicBezTo>
                    <a:pt x="2089781" y="108585"/>
                    <a:pt x="2087876" y="107315"/>
                    <a:pt x="2085971" y="105410"/>
                  </a:cubicBezTo>
                  <a:cubicBezTo>
                    <a:pt x="2084066" y="103505"/>
                    <a:pt x="2082796" y="101600"/>
                    <a:pt x="2082161" y="99060"/>
                  </a:cubicBezTo>
                  <a:cubicBezTo>
                    <a:pt x="2081526" y="96520"/>
                    <a:pt x="2080891" y="93345"/>
                    <a:pt x="2080891" y="89535"/>
                  </a:cubicBezTo>
                  <a:lnTo>
                    <a:pt x="2080891" y="44450"/>
                  </a:lnTo>
                  <a:lnTo>
                    <a:pt x="2070096" y="44450"/>
                  </a:lnTo>
                  <a:lnTo>
                    <a:pt x="2070096" y="30480"/>
                  </a:lnTo>
                  <a:lnTo>
                    <a:pt x="2080891" y="30480"/>
                  </a:lnTo>
                  <a:lnTo>
                    <a:pt x="2080891" y="8255"/>
                  </a:lnTo>
                  <a:close/>
                  <a:moveTo>
                    <a:pt x="1931665" y="0"/>
                  </a:moveTo>
                  <a:lnTo>
                    <a:pt x="1931665" y="37465"/>
                  </a:lnTo>
                  <a:cubicBezTo>
                    <a:pt x="1931665" y="37465"/>
                    <a:pt x="1934840" y="34925"/>
                    <a:pt x="1936110" y="33655"/>
                  </a:cubicBezTo>
                  <a:cubicBezTo>
                    <a:pt x="1937380" y="33020"/>
                    <a:pt x="1938650" y="31750"/>
                    <a:pt x="1939920" y="31115"/>
                  </a:cubicBezTo>
                  <a:cubicBezTo>
                    <a:pt x="1941190" y="30480"/>
                    <a:pt x="1943095" y="29845"/>
                    <a:pt x="1945000" y="29210"/>
                  </a:cubicBezTo>
                  <a:cubicBezTo>
                    <a:pt x="1946905" y="29210"/>
                    <a:pt x="1949445" y="28575"/>
                    <a:pt x="1951985" y="28575"/>
                  </a:cubicBezTo>
                  <a:cubicBezTo>
                    <a:pt x="1956430" y="28575"/>
                    <a:pt x="1960240" y="29210"/>
                    <a:pt x="1964050" y="31115"/>
                  </a:cubicBezTo>
                  <a:cubicBezTo>
                    <a:pt x="1967860" y="32385"/>
                    <a:pt x="1971035" y="34925"/>
                    <a:pt x="1973575" y="38735"/>
                  </a:cubicBezTo>
                  <a:cubicBezTo>
                    <a:pt x="1976115" y="41910"/>
                    <a:pt x="1978655" y="46355"/>
                    <a:pt x="1979925" y="51435"/>
                  </a:cubicBezTo>
                  <a:cubicBezTo>
                    <a:pt x="1981195" y="56515"/>
                    <a:pt x="1982465" y="62865"/>
                    <a:pt x="1982465" y="70485"/>
                  </a:cubicBezTo>
                  <a:lnTo>
                    <a:pt x="1981830" y="71120"/>
                  </a:lnTo>
                  <a:cubicBezTo>
                    <a:pt x="1981830" y="77470"/>
                    <a:pt x="1981195" y="83820"/>
                    <a:pt x="1979290" y="88265"/>
                  </a:cubicBezTo>
                  <a:cubicBezTo>
                    <a:pt x="1977385" y="93345"/>
                    <a:pt x="1975480" y="97155"/>
                    <a:pt x="1972305" y="100330"/>
                  </a:cubicBezTo>
                  <a:cubicBezTo>
                    <a:pt x="1969765" y="103505"/>
                    <a:pt x="1965955" y="106045"/>
                    <a:pt x="1962780" y="107315"/>
                  </a:cubicBezTo>
                  <a:cubicBezTo>
                    <a:pt x="1958970" y="109220"/>
                    <a:pt x="1955160" y="109855"/>
                    <a:pt x="1951350" y="109855"/>
                  </a:cubicBezTo>
                  <a:cubicBezTo>
                    <a:pt x="1947540" y="109855"/>
                    <a:pt x="1943730" y="109220"/>
                    <a:pt x="1940555" y="107315"/>
                  </a:cubicBezTo>
                  <a:cubicBezTo>
                    <a:pt x="1936745" y="105410"/>
                    <a:pt x="1934205" y="103505"/>
                    <a:pt x="1931665" y="100965"/>
                  </a:cubicBezTo>
                  <a:lnTo>
                    <a:pt x="1931665" y="107950"/>
                  </a:lnTo>
                  <a:lnTo>
                    <a:pt x="1916425" y="107950"/>
                  </a:lnTo>
                  <a:lnTo>
                    <a:pt x="1916425" y="7620"/>
                  </a:lnTo>
                  <a:close/>
                  <a:moveTo>
                    <a:pt x="1316991" y="0"/>
                  </a:moveTo>
                  <a:lnTo>
                    <a:pt x="1316991" y="30480"/>
                  </a:lnTo>
                  <a:lnTo>
                    <a:pt x="1336041" y="30480"/>
                  </a:lnTo>
                  <a:lnTo>
                    <a:pt x="1336041" y="44450"/>
                  </a:lnTo>
                  <a:lnTo>
                    <a:pt x="1316991" y="44450"/>
                  </a:lnTo>
                  <a:lnTo>
                    <a:pt x="1316991" y="86995"/>
                  </a:lnTo>
                  <a:cubicBezTo>
                    <a:pt x="1316991" y="86995"/>
                    <a:pt x="1316991" y="90170"/>
                    <a:pt x="1316991" y="91440"/>
                  </a:cubicBezTo>
                  <a:cubicBezTo>
                    <a:pt x="1316991" y="92710"/>
                    <a:pt x="1317627" y="93345"/>
                    <a:pt x="1318261" y="94615"/>
                  </a:cubicBezTo>
                  <a:cubicBezTo>
                    <a:pt x="1318896" y="95250"/>
                    <a:pt x="1319531" y="95885"/>
                    <a:pt x="1320801" y="95885"/>
                  </a:cubicBezTo>
                  <a:cubicBezTo>
                    <a:pt x="1322072" y="95885"/>
                    <a:pt x="1323341" y="95885"/>
                    <a:pt x="1324611" y="95885"/>
                  </a:cubicBezTo>
                  <a:cubicBezTo>
                    <a:pt x="1326516" y="95885"/>
                    <a:pt x="1328422" y="95885"/>
                    <a:pt x="1330961" y="95250"/>
                  </a:cubicBezTo>
                  <a:cubicBezTo>
                    <a:pt x="1332867" y="94615"/>
                    <a:pt x="1334772" y="93980"/>
                    <a:pt x="1336041" y="93345"/>
                  </a:cubicBezTo>
                  <a:lnTo>
                    <a:pt x="1334136" y="106680"/>
                  </a:lnTo>
                  <a:cubicBezTo>
                    <a:pt x="1334136" y="106680"/>
                    <a:pt x="1330326" y="108585"/>
                    <a:pt x="1327786" y="109220"/>
                  </a:cubicBezTo>
                  <a:cubicBezTo>
                    <a:pt x="1325246" y="109855"/>
                    <a:pt x="1322706" y="110490"/>
                    <a:pt x="1319531" y="110490"/>
                  </a:cubicBezTo>
                  <a:cubicBezTo>
                    <a:pt x="1316991" y="110490"/>
                    <a:pt x="1314451" y="110490"/>
                    <a:pt x="1312546" y="109220"/>
                  </a:cubicBezTo>
                  <a:cubicBezTo>
                    <a:pt x="1310641" y="108585"/>
                    <a:pt x="1308736" y="107315"/>
                    <a:pt x="1306831" y="105410"/>
                  </a:cubicBezTo>
                  <a:cubicBezTo>
                    <a:pt x="1304926" y="103505"/>
                    <a:pt x="1303656" y="101600"/>
                    <a:pt x="1303021" y="99060"/>
                  </a:cubicBezTo>
                  <a:cubicBezTo>
                    <a:pt x="1302386" y="96520"/>
                    <a:pt x="1301751" y="93345"/>
                    <a:pt x="1301751" y="89535"/>
                  </a:cubicBezTo>
                  <a:lnTo>
                    <a:pt x="1301751" y="44450"/>
                  </a:lnTo>
                  <a:lnTo>
                    <a:pt x="1290956" y="44450"/>
                  </a:lnTo>
                  <a:lnTo>
                    <a:pt x="1290956" y="30480"/>
                  </a:lnTo>
                  <a:lnTo>
                    <a:pt x="1301751" y="30480"/>
                  </a:lnTo>
                  <a:lnTo>
                    <a:pt x="1301751" y="8255"/>
                  </a:lnTo>
                  <a:close/>
                  <a:moveTo>
                    <a:pt x="751206" y="0"/>
                  </a:moveTo>
                  <a:lnTo>
                    <a:pt x="751206" y="30480"/>
                  </a:lnTo>
                  <a:lnTo>
                    <a:pt x="770256" y="30480"/>
                  </a:lnTo>
                  <a:lnTo>
                    <a:pt x="770256" y="44450"/>
                  </a:lnTo>
                  <a:lnTo>
                    <a:pt x="751206" y="44450"/>
                  </a:lnTo>
                  <a:lnTo>
                    <a:pt x="751206" y="86995"/>
                  </a:lnTo>
                  <a:cubicBezTo>
                    <a:pt x="751206" y="86995"/>
                    <a:pt x="751206" y="90170"/>
                    <a:pt x="751206" y="91440"/>
                  </a:cubicBezTo>
                  <a:cubicBezTo>
                    <a:pt x="751206" y="92710"/>
                    <a:pt x="751841" y="93345"/>
                    <a:pt x="752476" y="94615"/>
                  </a:cubicBezTo>
                  <a:cubicBezTo>
                    <a:pt x="753111" y="95250"/>
                    <a:pt x="753746" y="95885"/>
                    <a:pt x="755016" y="95885"/>
                  </a:cubicBezTo>
                  <a:cubicBezTo>
                    <a:pt x="756286" y="95885"/>
                    <a:pt x="757556" y="95885"/>
                    <a:pt x="758826" y="95885"/>
                  </a:cubicBezTo>
                  <a:cubicBezTo>
                    <a:pt x="760731" y="95885"/>
                    <a:pt x="762636" y="95885"/>
                    <a:pt x="765176" y="95250"/>
                  </a:cubicBezTo>
                  <a:cubicBezTo>
                    <a:pt x="767081" y="94615"/>
                    <a:pt x="768986" y="93980"/>
                    <a:pt x="770256" y="93345"/>
                  </a:cubicBezTo>
                  <a:lnTo>
                    <a:pt x="768351" y="106680"/>
                  </a:lnTo>
                  <a:cubicBezTo>
                    <a:pt x="768351" y="106680"/>
                    <a:pt x="764541" y="108585"/>
                    <a:pt x="762001" y="109220"/>
                  </a:cubicBezTo>
                  <a:cubicBezTo>
                    <a:pt x="759461" y="109855"/>
                    <a:pt x="756921" y="110490"/>
                    <a:pt x="753746" y="110490"/>
                  </a:cubicBezTo>
                  <a:cubicBezTo>
                    <a:pt x="751206" y="110490"/>
                    <a:pt x="748666" y="110490"/>
                    <a:pt x="746761" y="109220"/>
                  </a:cubicBezTo>
                  <a:cubicBezTo>
                    <a:pt x="744856" y="108585"/>
                    <a:pt x="742951" y="107315"/>
                    <a:pt x="741045" y="105410"/>
                  </a:cubicBezTo>
                  <a:cubicBezTo>
                    <a:pt x="739141" y="103505"/>
                    <a:pt x="737871" y="101600"/>
                    <a:pt x="737236" y="99060"/>
                  </a:cubicBezTo>
                  <a:cubicBezTo>
                    <a:pt x="736600" y="96520"/>
                    <a:pt x="735966" y="93345"/>
                    <a:pt x="735966" y="89535"/>
                  </a:cubicBezTo>
                  <a:lnTo>
                    <a:pt x="735966" y="44450"/>
                  </a:lnTo>
                  <a:lnTo>
                    <a:pt x="725171" y="44450"/>
                  </a:lnTo>
                  <a:lnTo>
                    <a:pt x="725171" y="30480"/>
                  </a:lnTo>
                  <a:lnTo>
                    <a:pt x="735966" y="30480"/>
                  </a:lnTo>
                  <a:lnTo>
                    <a:pt x="735966" y="8255"/>
                  </a:lnTo>
                  <a:close/>
                  <a:moveTo>
                    <a:pt x="521335" y="0"/>
                  </a:moveTo>
                  <a:lnTo>
                    <a:pt x="521335" y="30480"/>
                  </a:lnTo>
                  <a:lnTo>
                    <a:pt x="540385" y="30480"/>
                  </a:lnTo>
                  <a:lnTo>
                    <a:pt x="540385" y="44450"/>
                  </a:lnTo>
                  <a:lnTo>
                    <a:pt x="521335" y="44450"/>
                  </a:lnTo>
                  <a:lnTo>
                    <a:pt x="521335" y="86995"/>
                  </a:lnTo>
                  <a:cubicBezTo>
                    <a:pt x="521335" y="86995"/>
                    <a:pt x="521335" y="90170"/>
                    <a:pt x="521335" y="91440"/>
                  </a:cubicBezTo>
                  <a:cubicBezTo>
                    <a:pt x="521335" y="92710"/>
                    <a:pt x="521970" y="93345"/>
                    <a:pt x="522605" y="94615"/>
                  </a:cubicBezTo>
                  <a:cubicBezTo>
                    <a:pt x="523240" y="95250"/>
                    <a:pt x="523875" y="95885"/>
                    <a:pt x="525145" y="95885"/>
                  </a:cubicBezTo>
                  <a:cubicBezTo>
                    <a:pt x="526415" y="95885"/>
                    <a:pt x="527685" y="95885"/>
                    <a:pt x="528955" y="95885"/>
                  </a:cubicBezTo>
                  <a:cubicBezTo>
                    <a:pt x="530860" y="95885"/>
                    <a:pt x="532765" y="95885"/>
                    <a:pt x="535305" y="95250"/>
                  </a:cubicBezTo>
                  <a:cubicBezTo>
                    <a:pt x="537210" y="94615"/>
                    <a:pt x="539115" y="93980"/>
                    <a:pt x="540385" y="93345"/>
                  </a:cubicBezTo>
                  <a:lnTo>
                    <a:pt x="538480" y="106680"/>
                  </a:lnTo>
                  <a:cubicBezTo>
                    <a:pt x="538480" y="106680"/>
                    <a:pt x="534670" y="108585"/>
                    <a:pt x="532130" y="109220"/>
                  </a:cubicBezTo>
                  <a:cubicBezTo>
                    <a:pt x="529590" y="109855"/>
                    <a:pt x="527050" y="110490"/>
                    <a:pt x="523875" y="110490"/>
                  </a:cubicBezTo>
                  <a:cubicBezTo>
                    <a:pt x="521335" y="110490"/>
                    <a:pt x="518795" y="110490"/>
                    <a:pt x="516890" y="109220"/>
                  </a:cubicBezTo>
                  <a:cubicBezTo>
                    <a:pt x="514985" y="108585"/>
                    <a:pt x="513080" y="107315"/>
                    <a:pt x="511175" y="105410"/>
                  </a:cubicBezTo>
                  <a:cubicBezTo>
                    <a:pt x="509270" y="103505"/>
                    <a:pt x="508000" y="101600"/>
                    <a:pt x="507365" y="99060"/>
                  </a:cubicBezTo>
                  <a:cubicBezTo>
                    <a:pt x="506730" y="96520"/>
                    <a:pt x="506095" y="93345"/>
                    <a:pt x="506095" y="89535"/>
                  </a:cubicBezTo>
                  <a:lnTo>
                    <a:pt x="506095" y="44450"/>
                  </a:lnTo>
                  <a:lnTo>
                    <a:pt x="495300" y="44450"/>
                  </a:lnTo>
                  <a:lnTo>
                    <a:pt x="495300" y="30480"/>
                  </a:lnTo>
                  <a:lnTo>
                    <a:pt x="506095" y="30480"/>
                  </a:lnTo>
                  <a:lnTo>
                    <a:pt x="506095" y="8255"/>
                  </a:lnTo>
                  <a:close/>
                  <a:moveTo>
                    <a:pt x="466724" y="0"/>
                  </a:moveTo>
                  <a:lnTo>
                    <a:pt x="466724" y="30480"/>
                  </a:lnTo>
                  <a:lnTo>
                    <a:pt x="485774" y="30480"/>
                  </a:lnTo>
                  <a:lnTo>
                    <a:pt x="485774" y="44450"/>
                  </a:lnTo>
                  <a:lnTo>
                    <a:pt x="466724" y="44450"/>
                  </a:lnTo>
                  <a:lnTo>
                    <a:pt x="466724" y="86995"/>
                  </a:lnTo>
                  <a:cubicBezTo>
                    <a:pt x="466724" y="86995"/>
                    <a:pt x="466724" y="90170"/>
                    <a:pt x="466724" y="91440"/>
                  </a:cubicBezTo>
                  <a:cubicBezTo>
                    <a:pt x="466724" y="92710"/>
                    <a:pt x="467359" y="93345"/>
                    <a:pt x="467994" y="94615"/>
                  </a:cubicBezTo>
                  <a:cubicBezTo>
                    <a:pt x="468629" y="95250"/>
                    <a:pt x="469264" y="95885"/>
                    <a:pt x="470534" y="95885"/>
                  </a:cubicBezTo>
                  <a:cubicBezTo>
                    <a:pt x="471804" y="95885"/>
                    <a:pt x="473074" y="95885"/>
                    <a:pt x="474344" y="95885"/>
                  </a:cubicBezTo>
                  <a:cubicBezTo>
                    <a:pt x="476249" y="95885"/>
                    <a:pt x="478154" y="95885"/>
                    <a:pt x="480694" y="95250"/>
                  </a:cubicBezTo>
                  <a:cubicBezTo>
                    <a:pt x="482599" y="94615"/>
                    <a:pt x="484504" y="93980"/>
                    <a:pt x="485774" y="93345"/>
                  </a:cubicBezTo>
                  <a:lnTo>
                    <a:pt x="483869" y="106680"/>
                  </a:lnTo>
                  <a:cubicBezTo>
                    <a:pt x="483869" y="106680"/>
                    <a:pt x="480059" y="108585"/>
                    <a:pt x="477519" y="109220"/>
                  </a:cubicBezTo>
                  <a:cubicBezTo>
                    <a:pt x="474979" y="109855"/>
                    <a:pt x="472439" y="110490"/>
                    <a:pt x="469264" y="110490"/>
                  </a:cubicBezTo>
                  <a:cubicBezTo>
                    <a:pt x="466724" y="110490"/>
                    <a:pt x="464184" y="110490"/>
                    <a:pt x="462279" y="109220"/>
                  </a:cubicBezTo>
                  <a:cubicBezTo>
                    <a:pt x="460374" y="108585"/>
                    <a:pt x="458469" y="107315"/>
                    <a:pt x="456564" y="105410"/>
                  </a:cubicBezTo>
                  <a:cubicBezTo>
                    <a:pt x="454659" y="103505"/>
                    <a:pt x="453389" y="101600"/>
                    <a:pt x="452754" y="99060"/>
                  </a:cubicBezTo>
                  <a:cubicBezTo>
                    <a:pt x="452119" y="96520"/>
                    <a:pt x="451484" y="93345"/>
                    <a:pt x="451484" y="89535"/>
                  </a:cubicBezTo>
                  <a:lnTo>
                    <a:pt x="451484" y="44450"/>
                  </a:lnTo>
                  <a:lnTo>
                    <a:pt x="440689" y="44450"/>
                  </a:lnTo>
                  <a:lnTo>
                    <a:pt x="440689" y="30480"/>
                  </a:lnTo>
                  <a:lnTo>
                    <a:pt x="451484" y="30480"/>
                  </a:lnTo>
                  <a:lnTo>
                    <a:pt x="451484" y="8255"/>
                  </a:lnTo>
                  <a:close/>
                  <a:moveTo>
                    <a:pt x="302259" y="0"/>
                  </a:moveTo>
                  <a:lnTo>
                    <a:pt x="302259" y="37465"/>
                  </a:lnTo>
                  <a:cubicBezTo>
                    <a:pt x="302259" y="37465"/>
                    <a:pt x="305434" y="34925"/>
                    <a:pt x="306704" y="33655"/>
                  </a:cubicBezTo>
                  <a:cubicBezTo>
                    <a:pt x="307974" y="33020"/>
                    <a:pt x="309244" y="31750"/>
                    <a:pt x="310514" y="31115"/>
                  </a:cubicBezTo>
                  <a:cubicBezTo>
                    <a:pt x="311784" y="30480"/>
                    <a:pt x="313689" y="29845"/>
                    <a:pt x="315594" y="29210"/>
                  </a:cubicBezTo>
                  <a:cubicBezTo>
                    <a:pt x="317499" y="29210"/>
                    <a:pt x="320039" y="28575"/>
                    <a:pt x="322579" y="28575"/>
                  </a:cubicBezTo>
                  <a:cubicBezTo>
                    <a:pt x="327024" y="28575"/>
                    <a:pt x="330834" y="29210"/>
                    <a:pt x="334644" y="31115"/>
                  </a:cubicBezTo>
                  <a:cubicBezTo>
                    <a:pt x="338454" y="32385"/>
                    <a:pt x="341629" y="34925"/>
                    <a:pt x="344169" y="38735"/>
                  </a:cubicBezTo>
                  <a:cubicBezTo>
                    <a:pt x="346709" y="41910"/>
                    <a:pt x="349249" y="46355"/>
                    <a:pt x="350519" y="51435"/>
                  </a:cubicBezTo>
                  <a:cubicBezTo>
                    <a:pt x="351789" y="56515"/>
                    <a:pt x="353059" y="62865"/>
                    <a:pt x="353059" y="70485"/>
                  </a:cubicBezTo>
                  <a:lnTo>
                    <a:pt x="352424" y="71120"/>
                  </a:lnTo>
                  <a:cubicBezTo>
                    <a:pt x="352424" y="77470"/>
                    <a:pt x="351789" y="83820"/>
                    <a:pt x="349884" y="88265"/>
                  </a:cubicBezTo>
                  <a:cubicBezTo>
                    <a:pt x="347979" y="93345"/>
                    <a:pt x="346074" y="97155"/>
                    <a:pt x="342899" y="100330"/>
                  </a:cubicBezTo>
                  <a:cubicBezTo>
                    <a:pt x="340359" y="103505"/>
                    <a:pt x="336549" y="106045"/>
                    <a:pt x="333374" y="107315"/>
                  </a:cubicBezTo>
                  <a:cubicBezTo>
                    <a:pt x="329564" y="109220"/>
                    <a:pt x="325754" y="109855"/>
                    <a:pt x="321944" y="109855"/>
                  </a:cubicBezTo>
                  <a:cubicBezTo>
                    <a:pt x="318134" y="109855"/>
                    <a:pt x="314324" y="109220"/>
                    <a:pt x="311149" y="107315"/>
                  </a:cubicBezTo>
                  <a:cubicBezTo>
                    <a:pt x="307339" y="105410"/>
                    <a:pt x="304799" y="103505"/>
                    <a:pt x="302259" y="100965"/>
                  </a:cubicBezTo>
                  <a:lnTo>
                    <a:pt x="302259" y="107950"/>
                  </a:lnTo>
                  <a:lnTo>
                    <a:pt x="287019" y="107950"/>
                  </a:lnTo>
                  <a:lnTo>
                    <a:pt x="287019" y="7620"/>
                  </a:lnTo>
                  <a:close/>
                </a:path>
              </a:pathLst>
            </a:custGeom>
            <a:solidFill>
              <a:srgbClr val="FFFFFF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9767D4D9-A47B-4020-6B9B-87B081166C85}"/>
              </a:ext>
            </a:extLst>
          </p:cNvPr>
          <p:cNvGrpSpPr/>
          <p:nvPr userDrawn="1"/>
        </p:nvGrpSpPr>
        <p:grpSpPr>
          <a:xfrm>
            <a:off x="486027" y="1291009"/>
            <a:ext cx="5709082" cy="4360545"/>
            <a:chOff x="485774" y="1291008"/>
            <a:chExt cx="5706110" cy="4360545"/>
          </a:xfrm>
        </p:grpSpPr>
        <p:sp>
          <p:nvSpPr>
            <p:cNvPr id="299" name="Freeform 298">
              <a:extLst>
                <a:ext uri="{FF2B5EF4-FFF2-40B4-BE49-F238E27FC236}">
                  <a16:creationId xmlns:a16="http://schemas.microsoft.com/office/drawing/2014/main" id="{70589FC3-4491-BD75-2C16-660DF0B71BBC}"/>
                </a:ext>
              </a:extLst>
            </p:cNvPr>
            <p:cNvSpPr/>
            <p:nvPr/>
          </p:nvSpPr>
          <p:spPr>
            <a:xfrm>
              <a:off x="485774" y="5549953"/>
              <a:ext cx="508000" cy="101600"/>
            </a:xfrm>
            <a:custGeom>
              <a:avLst/>
              <a:gdLst>
                <a:gd name="connsiteX0" fmla="*/ 406400 w 508000"/>
                <a:gd name="connsiteY0" fmla="*/ 0 h 101600"/>
                <a:gd name="connsiteX1" fmla="*/ 508000 w 508000"/>
                <a:gd name="connsiteY1" fmla="*/ 0 h 101600"/>
                <a:gd name="connsiteX2" fmla="*/ 508000 w 508000"/>
                <a:gd name="connsiteY2" fmla="*/ 101600 h 101600"/>
                <a:gd name="connsiteX3" fmla="*/ 406400 w 508000"/>
                <a:gd name="connsiteY3" fmla="*/ 101600 h 101600"/>
                <a:gd name="connsiteX4" fmla="*/ 203200 w 508000"/>
                <a:gd name="connsiteY4" fmla="*/ 0 h 101600"/>
                <a:gd name="connsiteX5" fmla="*/ 304800 w 508000"/>
                <a:gd name="connsiteY5" fmla="*/ 0 h 101600"/>
                <a:gd name="connsiteX6" fmla="*/ 304800 w 508000"/>
                <a:gd name="connsiteY6" fmla="*/ 101600 h 101600"/>
                <a:gd name="connsiteX7" fmla="*/ 203200 w 508000"/>
                <a:gd name="connsiteY7" fmla="*/ 101600 h 101600"/>
                <a:gd name="connsiteX8" fmla="*/ 0 w 508000"/>
                <a:gd name="connsiteY8" fmla="*/ 0 h 101600"/>
                <a:gd name="connsiteX9" fmla="*/ 101600 w 508000"/>
                <a:gd name="connsiteY9" fmla="*/ 0 h 101600"/>
                <a:gd name="connsiteX10" fmla="*/ 101600 w 508000"/>
                <a:gd name="connsiteY10" fmla="*/ 101600 h 101600"/>
                <a:gd name="connsiteX11" fmla="*/ 0 w 508000"/>
                <a:gd name="connsiteY11" fmla="*/ 101600 h 101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08000" h="101600">
                  <a:moveTo>
                    <a:pt x="406400" y="0"/>
                  </a:moveTo>
                  <a:lnTo>
                    <a:pt x="508000" y="0"/>
                  </a:lnTo>
                  <a:lnTo>
                    <a:pt x="508000" y="101600"/>
                  </a:lnTo>
                  <a:lnTo>
                    <a:pt x="406400" y="101600"/>
                  </a:lnTo>
                  <a:close/>
                  <a:moveTo>
                    <a:pt x="203200" y="0"/>
                  </a:moveTo>
                  <a:lnTo>
                    <a:pt x="304800" y="0"/>
                  </a:lnTo>
                  <a:lnTo>
                    <a:pt x="304800" y="101600"/>
                  </a:lnTo>
                  <a:lnTo>
                    <a:pt x="203200" y="101600"/>
                  </a:lnTo>
                  <a:close/>
                  <a:moveTo>
                    <a:pt x="0" y="0"/>
                  </a:moveTo>
                  <a:lnTo>
                    <a:pt x="101600" y="0"/>
                  </a:lnTo>
                  <a:lnTo>
                    <a:pt x="101600" y="101600"/>
                  </a:lnTo>
                  <a:lnTo>
                    <a:pt x="0" y="101600"/>
                  </a:lnTo>
                  <a:close/>
                </a:path>
              </a:pathLst>
            </a:custGeom>
            <a:solidFill>
              <a:schemeClr val="tx2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293" name="Freeform 292">
              <a:extLst>
                <a:ext uri="{FF2B5EF4-FFF2-40B4-BE49-F238E27FC236}">
                  <a16:creationId xmlns:a16="http://schemas.microsoft.com/office/drawing/2014/main" id="{B00DB918-F11D-F855-5478-ECB25A1AC3D1}"/>
                </a:ext>
              </a:extLst>
            </p:cNvPr>
            <p:cNvSpPr/>
            <p:nvPr/>
          </p:nvSpPr>
          <p:spPr>
            <a:xfrm>
              <a:off x="485775" y="1291008"/>
              <a:ext cx="5706109" cy="4359275"/>
            </a:xfrm>
            <a:custGeom>
              <a:avLst/>
              <a:gdLst>
                <a:gd name="connsiteX0" fmla="*/ 0 w 5706109"/>
                <a:gd name="connsiteY0" fmla="*/ 4157346 h 4359275"/>
                <a:gd name="connsiteX1" fmla="*/ 101600 w 5706109"/>
                <a:gd name="connsiteY1" fmla="*/ 4157346 h 4359275"/>
                <a:gd name="connsiteX2" fmla="*/ 101600 w 5706109"/>
                <a:gd name="connsiteY2" fmla="*/ 1075055 h 4359275"/>
                <a:gd name="connsiteX3" fmla="*/ 101600 w 5706109"/>
                <a:gd name="connsiteY3" fmla="*/ 1075055 h 4359275"/>
                <a:gd name="connsiteX4" fmla="*/ 191770 w 5706109"/>
                <a:gd name="connsiteY4" fmla="*/ 1059180 h 4359275"/>
                <a:gd name="connsiteX5" fmla="*/ 861060 w 5706109"/>
                <a:gd name="connsiteY5" fmla="*/ 942975 h 4359275"/>
                <a:gd name="connsiteX6" fmla="*/ 1195705 w 5706109"/>
                <a:gd name="connsiteY6" fmla="*/ 885190 h 4359275"/>
                <a:gd name="connsiteX7" fmla="*/ 1362710 w 5706109"/>
                <a:gd name="connsiteY7" fmla="*/ 855980 h 4359275"/>
                <a:gd name="connsiteX8" fmla="*/ 1529715 w 5706109"/>
                <a:gd name="connsiteY8" fmla="*/ 826770 h 4359275"/>
                <a:gd name="connsiteX9" fmla="*/ 1864360 w 5706109"/>
                <a:gd name="connsiteY9" fmla="*/ 768985 h 4359275"/>
                <a:gd name="connsiteX10" fmla="*/ 2031365 w 5706109"/>
                <a:gd name="connsiteY10" fmla="*/ 739775 h 4359275"/>
                <a:gd name="connsiteX11" fmla="*/ 2198370 w 5706109"/>
                <a:gd name="connsiteY11" fmla="*/ 710565 h 4359275"/>
                <a:gd name="connsiteX12" fmla="*/ 2365375 w 5706109"/>
                <a:gd name="connsiteY12" fmla="*/ 681355 h 4359275"/>
                <a:gd name="connsiteX13" fmla="*/ 2532380 w 5706109"/>
                <a:gd name="connsiteY13" fmla="*/ 652145 h 4359275"/>
                <a:gd name="connsiteX14" fmla="*/ 2699385 w 5706109"/>
                <a:gd name="connsiteY14" fmla="*/ 622935 h 4359275"/>
                <a:gd name="connsiteX15" fmla="*/ 2866390 w 5706109"/>
                <a:gd name="connsiteY15" fmla="*/ 593725 h 4359275"/>
                <a:gd name="connsiteX16" fmla="*/ 5461000 w 5706109"/>
                <a:gd name="connsiteY16" fmla="*/ 144145 h 4359275"/>
                <a:gd name="connsiteX17" fmla="*/ 5602605 w 5706109"/>
                <a:gd name="connsiteY17" fmla="*/ 119380 h 4359275"/>
                <a:gd name="connsiteX18" fmla="*/ 5602605 w 5706109"/>
                <a:gd name="connsiteY18" fmla="*/ 119380 h 4359275"/>
                <a:gd name="connsiteX19" fmla="*/ 5602605 w 5706109"/>
                <a:gd name="connsiteY19" fmla="*/ 4257676 h 4359275"/>
                <a:gd name="connsiteX20" fmla="*/ 609600 w 5706109"/>
                <a:gd name="connsiteY20" fmla="*/ 4257676 h 4359275"/>
                <a:gd name="connsiteX21" fmla="*/ 609600 w 5706109"/>
                <a:gd name="connsiteY21" fmla="*/ 4359276 h 4359275"/>
                <a:gd name="connsiteX22" fmla="*/ 5706110 w 5706109"/>
                <a:gd name="connsiteY22" fmla="*/ 4359276 h 4359275"/>
                <a:gd name="connsiteX23" fmla="*/ 5706110 w 5706109"/>
                <a:gd name="connsiteY23" fmla="*/ 0 h 4359275"/>
                <a:gd name="connsiteX24" fmla="*/ 5704840 w 5706109"/>
                <a:gd name="connsiteY24" fmla="*/ 0 h 4359275"/>
                <a:gd name="connsiteX25" fmla="*/ 5445760 w 5706109"/>
                <a:gd name="connsiteY25" fmla="*/ 45085 h 4359275"/>
                <a:gd name="connsiteX26" fmla="*/ 2851150 w 5706109"/>
                <a:gd name="connsiteY26" fmla="*/ 494665 h 4359275"/>
                <a:gd name="connsiteX27" fmla="*/ 2684145 w 5706109"/>
                <a:gd name="connsiteY27" fmla="*/ 523875 h 4359275"/>
                <a:gd name="connsiteX28" fmla="*/ 2517140 w 5706109"/>
                <a:gd name="connsiteY28" fmla="*/ 553085 h 4359275"/>
                <a:gd name="connsiteX29" fmla="*/ 2350135 w 5706109"/>
                <a:gd name="connsiteY29" fmla="*/ 582295 h 4359275"/>
                <a:gd name="connsiteX30" fmla="*/ 2183130 w 5706109"/>
                <a:gd name="connsiteY30" fmla="*/ 611505 h 4359275"/>
                <a:gd name="connsiteX31" fmla="*/ 2016125 w 5706109"/>
                <a:gd name="connsiteY31" fmla="*/ 640715 h 4359275"/>
                <a:gd name="connsiteX32" fmla="*/ 1849120 w 5706109"/>
                <a:gd name="connsiteY32" fmla="*/ 669925 h 4359275"/>
                <a:gd name="connsiteX33" fmla="*/ 1514475 w 5706109"/>
                <a:gd name="connsiteY33" fmla="*/ 727710 h 4359275"/>
                <a:gd name="connsiteX34" fmla="*/ 1347470 w 5706109"/>
                <a:gd name="connsiteY34" fmla="*/ 756920 h 4359275"/>
                <a:gd name="connsiteX35" fmla="*/ 1180465 w 5706109"/>
                <a:gd name="connsiteY35" fmla="*/ 786130 h 4359275"/>
                <a:gd name="connsiteX36" fmla="*/ 845820 w 5706109"/>
                <a:gd name="connsiteY36" fmla="*/ 843915 h 4359275"/>
                <a:gd name="connsiteX37" fmla="*/ 176530 w 5706109"/>
                <a:gd name="connsiteY37" fmla="*/ 960120 h 4359275"/>
                <a:gd name="connsiteX38" fmla="*/ 3175 w 5706109"/>
                <a:gd name="connsiteY38" fmla="*/ 989965 h 4359275"/>
                <a:gd name="connsiteX39" fmla="*/ 1905 w 5706109"/>
                <a:gd name="connsiteY39" fmla="*/ 989965 h 4359275"/>
                <a:gd name="connsiteX40" fmla="*/ 1905 w 5706109"/>
                <a:gd name="connsiteY40" fmla="*/ 4158616 h 4359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5706109" h="4359275">
                  <a:moveTo>
                    <a:pt x="0" y="4157346"/>
                  </a:moveTo>
                  <a:lnTo>
                    <a:pt x="101600" y="4157346"/>
                  </a:lnTo>
                  <a:lnTo>
                    <a:pt x="101600" y="1075055"/>
                  </a:lnTo>
                  <a:lnTo>
                    <a:pt x="101600" y="1075055"/>
                  </a:lnTo>
                  <a:lnTo>
                    <a:pt x="191770" y="1059180"/>
                  </a:lnTo>
                  <a:lnTo>
                    <a:pt x="861060" y="942975"/>
                  </a:lnTo>
                  <a:lnTo>
                    <a:pt x="1195705" y="885190"/>
                  </a:lnTo>
                  <a:lnTo>
                    <a:pt x="1362710" y="855980"/>
                  </a:lnTo>
                  <a:lnTo>
                    <a:pt x="1529715" y="826770"/>
                  </a:lnTo>
                  <a:lnTo>
                    <a:pt x="1864360" y="768985"/>
                  </a:lnTo>
                  <a:lnTo>
                    <a:pt x="2031365" y="739775"/>
                  </a:lnTo>
                  <a:lnTo>
                    <a:pt x="2198370" y="710565"/>
                  </a:lnTo>
                  <a:lnTo>
                    <a:pt x="2365375" y="681355"/>
                  </a:lnTo>
                  <a:lnTo>
                    <a:pt x="2532380" y="652145"/>
                  </a:lnTo>
                  <a:lnTo>
                    <a:pt x="2699385" y="622935"/>
                  </a:lnTo>
                  <a:lnTo>
                    <a:pt x="2866390" y="593725"/>
                  </a:lnTo>
                  <a:cubicBezTo>
                    <a:pt x="3731260" y="443865"/>
                    <a:pt x="4596130" y="294005"/>
                    <a:pt x="5461000" y="144145"/>
                  </a:cubicBezTo>
                  <a:lnTo>
                    <a:pt x="5602605" y="119380"/>
                  </a:lnTo>
                  <a:lnTo>
                    <a:pt x="5602605" y="119380"/>
                  </a:lnTo>
                  <a:lnTo>
                    <a:pt x="5602605" y="4257676"/>
                  </a:lnTo>
                  <a:lnTo>
                    <a:pt x="609600" y="4257676"/>
                  </a:lnTo>
                  <a:lnTo>
                    <a:pt x="609600" y="4359276"/>
                  </a:lnTo>
                  <a:lnTo>
                    <a:pt x="5706110" y="4359276"/>
                  </a:lnTo>
                  <a:lnTo>
                    <a:pt x="5706110" y="0"/>
                  </a:lnTo>
                  <a:lnTo>
                    <a:pt x="5704840" y="0"/>
                  </a:lnTo>
                  <a:cubicBezTo>
                    <a:pt x="5618480" y="15240"/>
                    <a:pt x="5532120" y="30480"/>
                    <a:pt x="5445760" y="45085"/>
                  </a:cubicBezTo>
                  <a:cubicBezTo>
                    <a:pt x="4580890" y="194945"/>
                    <a:pt x="3716020" y="344805"/>
                    <a:pt x="2851150" y="494665"/>
                  </a:cubicBezTo>
                  <a:lnTo>
                    <a:pt x="2684145" y="523875"/>
                  </a:lnTo>
                  <a:lnTo>
                    <a:pt x="2517140" y="553085"/>
                  </a:lnTo>
                  <a:lnTo>
                    <a:pt x="2350135" y="582295"/>
                  </a:lnTo>
                  <a:lnTo>
                    <a:pt x="2183130" y="611505"/>
                  </a:lnTo>
                  <a:lnTo>
                    <a:pt x="2016125" y="640715"/>
                  </a:lnTo>
                  <a:lnTo>
                    <a:pt x="1849120" y="669925"/>
                  </a:lnTo>
                  <a:lnTo>
                    <a:pt x="1514475" y="727710"/>
                  </a:lnTo>
                  <a:lnTo>
                    <a:pt x="1347470" y="756920"/>
                  </a:lnTo>
                  <a:lnTo>
                    <a:pt x="1180465" y="786130"/>
                  </a:lnTo>
                  <a:lnTo>
                    <a:pt x="845820" y="843915"/>
                  </a:lnTo>
                  <a:lnTo>
                    <a:pt x="176530" y="960120"/>
                  </a:lnTo>
                  <a:lnTo>
                    <a:pt x="3175" y="989965"/>
                  </a:lnTo>
                  <a:lnTo>
                    <a:pt x="1905" y="989965"/>
                  </a:lnTo>
                  <a:lnTo>
                    <a:pt x="1905" y="4158616"/>
                  </a:lnTo>
                  <a:close/>
                </a:path>
              </a:pathLst>
            </a:custGeom>
            <a:gradFill flip="none" rotWithShape="1">
              <a:gsLst>
                <a:gs pos="46000">
                  <a:srgbClr val="FFE600"/>
                </a:gs>
                <a:gs pos="66000">
                  <a:srgbClr val="FF32FF"/>
                </a:gs>
                <a:gs pos="100000">
                  <a:srgbClr val="32FFFF"/>
                </a:gs>
              </a:gsLst>
              <a:lin ang="18600000" scaled="0"/>
              <a:tileRect/>
            </a:gradFill>
            <a:ln w="818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 sz="1800"/>
            </a:p>
          </p:txBody>
        </p:sp>
      </p:grpSp>
      <p:sp>
        <p:nvSpPr>
          <p:cNvPr id="274" name="Subtitle 2">
            <a:extLst>
              <a:ext uri="{FF2B5EF4-FFF2-40B4-BE49-F238E27FC236}">
                <a16:creationId xmlns:a16="http://schemas.microsoft.com/office/drawing/2014/main" id="{74103396-CF0A-A808-BF1B-463C3EF7376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90225" y="4436486"/>
            <a:ext cx="4910184" cy="511939"/>
          </a:xfrm>
        </p:spPr>
        <p:txBody>
          <a:bodyPr wrap="square">
            <a:noAutofit/>
          </a:bodyPr>
          <a:lstStyle>
            <a:lvl1pPr marL="0" indent="0" algn="l">
              <a:buNone/>
              <a:defRPr sz="1600"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/>
          </a:p>
        </p:txBody>
      </p:sp>
      <p:sp>
        <p:nvSpPr>
          <p:cNvPr id="275" name="Title 4">
            <a:extLst>
              <a:ext uri="{FF2B5EF4-FFF2-40B4-BE49-F238E27FC236}">
                <a16:creationId xmlns:a16="http://schemas.microsoft.com/office/drawing/2014/main" id="{B57CD4DB-AED0-4F7E-41BA-02CA96598A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90226" y="2698752"/>
            <a:ext cx="4908564" cy="1654043"/>
          </a:xfrm>
        </p:spPr>
        <p:txBody>
          <a:bodyPr anchor="t">
            <a:noAutofit/>
          </a:bodyPr>
          <a:lstStyle>
            <a:lvl1pPr>
              <a:defRPr sz="4200" b="1" i="0">
                <a:solidFill>
                  <a:schemeClr val="bg1"/>
                </a:solidFill>
                <a:latin typeface="EYInterstate Regular" panose="02000503020000020004" pitchFamily="2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289" name="Text Placeholder 288">
            <a:extLst>
              <a:ext uri="{FF2B5EF4-FFF2-40B4-BE49-F238E27FC236}">
                <a16:creationId xmlns:a16="http://schemas.microsoft.com/office/drawing/2014/main" id="{31D45A6D-135C-8C27-4F13-A3BC79AB3ED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90226" y="5047486"/>
            <a:ext cx="4908565" cy="246221"/>
          </a:xfrm>
        </p:spPr>
        <p:txBody>
          <a:bodyPr wrap="square">
            <a:spAutoFit/>
          </a:bodyPr>
          <a:lstStyle>
            <a:lvl1pPr marL="0" indent="0">
              <a:buNone/>
              <a:defRPr sz="1600" b="1">
                <a:latin typeface="+mj-lt"/>
              </a:defRPr>
            </a:lvl1pPr>
            <a:lvl2pPr marL="252000" indent="0">
              <a:buNone/>
              <a:defRPr sz="1600" b="1">
                <a:latin typeface="+mj-lt"/>
              </a:defRPr>
            </a:lvl2pPr>
            <a:lvl3pPr marL="504000" indent="0">
              <a:buNone/>
              <a:defRPr sz="1600" b="1">
                <a:latin typeface="+mj-lt"/>
              </a:defRPr>
            </a:lvl3pPr>
            <a:lvl4pPr marL="756000" indent="0">
              <a:buNone/>
              <a:defRPr sz="1600" b="1">
                <a:latin typeface="+mj-lt"/>
              </a:defRPr>
            </a:lvl4pPr>
            <a:lvl5pPr marL="1008000" indent="0">
              <a:buNone/>
              <a:defRPr sz="1600" b="1">
                <a:latin typeface="+mj-lt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grpSp>
        <p:nvGrpSpPr>
          <p:cNvPr id="310" name="Group 309">
            <a:extLst>
              <a:ext uri="{FF2B5EF4-FFF2-40B4-BE49-F238E27FC236}">
                <a16:creationId xmlns:a16="http://schemas.microsoft.com/office/drawing/2014/main" id="{CE838069-3AB1-D532-FB66-FDAEA51877B1}"/>
              </a:ext>
            </a:extLst>
          </p:cNvPr>
          <p:cNvGrpSpPr/>
          <p:nvPr userDrawn="1"/>
        </p:nvGrpSpPr>
        <p:grpSpPr bwMode="black">
          <a:xfrm>
            <a:off x="10568726" y="5167683"/>
            <a:ext cx="1219835" cy="1284606"/>
            <a:chOff x="10563224" y="5158158"/>
            <a:chExt cx="1219200" cy="1284606"/>
          </a:xfrm>
        </p:grpSpPr>
        <p:sp>
          <p:nvSpPr>
            <p:cNvPr id="311" name="Freeform 310">
              <a:extLst>
                <a:ext uri="{FF2B5EF4-FFF2-40B4-BE49-F238E27FC236}">
                  <a16:creationId xmlns:a16="http://schemas.microsoft.com/office/drawing/2014/main" id="{E6AE5B0D-79EC-EE9E-636A-1E7D4A6A240A}"/>
                </a:ext>
              </a:extLst>
            </p:cNvPr>
            <p:cNvSpPr/>
            <p:nvPr/>
          </p:nvSpPr>
          <p:spPr bwMode="black">
            <a:xfrm>
              <a:off x="10826115" y="5158158"/>
              <a:ext cx="805814" cy="294004"/>
            </a:xfrm>
            <a:custGeom>
              <a:avLst/>
              <a:gdLst>
                <a:gd name="connsiteX0" fmla="*/ 805814 w 805814"/>
                <a:gd name="connsiteY0" fmla="*/ 0 h 294004"/>
                <a:gd name="connsiteX1" fmla="*/ 0 w 805814"/>
                <a:gd name="connsiteY1" fmla="*/ 294005 h 294004"/>
                <a:gd name="connsiteX2" fmla="*/ 805814 w 805814"/>
                <a:gd name="connsiteY2" fmla="*/ 151765 h 294004"/>
                <a:gd name="connsiteX3" fmla="*/ 805814 w 805814"/>
                <a:gd name="connsiteY3" fmla="*/ 0 h 2940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05814" h="294004">
                  <a:moveTo>
                    <a:pt x="805814" y="0"/>
                  </a:moveTo>
                  <a:lnTo>
                    <a:pt x="0" y="294005"/>
                  </a:lnTo>
                  <a:lnTo>
                    <a:pt x="805814" y="151765"/>
                  </a:lnTo>
                  <a:lnTo>
                    <a:pt x="805814" y="0"/>
                  </a:lnTo>
                  <a:close/>
                </a:path>
              </a:pathLst>
            </a:custGeom>
            <a:solidFill>
              <a:srgbClr val="FFE600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12" name="Freeform 311">
              <a:extLst>
                <a:ext uri="{FF2B5EF4-FFF2-40B4-BE49-F238E27FC236}">
                  <a16:creationId xmlns:a16="http://schemas.microsoft.com/office/drawing/2014/main" id="{8B00C66D-FD9B-3996-472E-1CEF16690026}"/>
                </a:ext>
              </a:extLst>
            </p:cNvPr>
            <p:cNvSpPr/>
            <p:nvPr/>
          </p:nvSpPr>
          <p:spPr bwMode="black">
            <a:xfrm>
              <a:off x="10563224" y="5574083"/>
              <a:ext cx="1219200" cy="868681"/>
            </a:xfrm>
            <a:custGeom>
              <a:avLst/>
              <a:gdLst>
                <a:gd name="connsiteX0" fmla="*/ 245110 w 1219200"/>
                <a:gd name="connsiteY0" fmla="*/ 839471 h 868681"/>
                <a:gd name="connsiteX1" fmla="*/ 246379 w 1219200"/>
                <a:gd name="connsiteY1" fmla="*/ 839471 h 868681"/>
                <a:gd name="connsiteX2" fmla="*/ 245041 w 1219200"/>
                <a:gd name="connsiteY2" fmla="*/ 839979 h 868681"/>
                <a:gd name="connsiteX3" fmla="*/ 522605 w 1219200"/>
                <a:gd name="connsiteY3" fmla="*/ 796926 h 868681"/>
                <a:gd name="connsiteX4" fmla="*/ 504189 w 1219200"/>
                <a:gd name="connsiteY4" fmla="*/ 821691 h 868681"/>
                <a:gd name="connsiteX5" fmla="*/ 522605 w 1219200"/>
                <a:gd name="connsiteY5" fmla="*/ 845821 h 868681"/>
                <a:gd name="connsiteX6" fmla="*/ 541019 w 1219200"/>
                <a:gd name="connsiteY6" fmla="*/ 821691 h 868681"/>
                <a:gd name="connsiteX7" fmla="*/ 522605 w 1219200"/>
                <a:gd name="connsiteY7" fmla="*/ 796926 h 868681"/>
                <a:gd name="connsiteX8" fmla="*/ 817245 w 1219200"/>
                <a:gd name="connsiteY8" fmla="*/ 796291 h 868681"/>
                <a:gd name="connsiteX9" fmla="*/ 800735 w 1219200"/>
                <a:gd name="connsiteY9" fmla="*/ 819786 h 868681"/>
                <a:gd name="connsiteX10" fmla="*/ 817879 w 1219200"/>
                <a:gd name="connsiteY10" fmla="*/ 846456 h 868681"/>
                <a:gd name="connsiteX11" fmla="*/ 833754 w 1219200"/>
                <a:gd name="connsiteY11" fmla="*/ 838836 h 868681"/>
                <a:gd name="connsiteX12" fmla="*/ 833754 w 1219200"/>
                <a:gd name="connsiteY12" fmla="*/ 838201 h 868681"/>
                <a:gd name="connsiteX13" fmla="*/ 833754 w 1219200"/>
                <a:gd name="connsiteY13" fmla="*/ 803911 h 868681"/>
                <a:gd name="connsiteX14" fmla="*/ 817245 w 1219200"/>
                <a:gd name="connsiteY14" fmla="*/ 796291 h 868681"/>
                <a:gd name="connsiteX15" fmla="*/ 1179195 w 1219200"/>
                <a:gd name="connsiteY15" fmla="*/ 794386 h 868681"/>
                <a:gd name="connsiteX16" fmla="*/ 1163320 w 1219200"/>
                <a:gd name="connsiteY16" fmla="*/ 811531 h 868681"/>
                <a:gd name="connsiteX17" fmla="*/ 1163954 w 1219200"/>
                <a:gd name="connsiteY17" fmla="*/ 811531 h 868681"/>
                <a:gd name="connsiteX18" fmla="*/ 1195704 w 1219200"/>
                <a:gd name="connsiteY18" fmla="*/ 811531 h 868681"/>
                <a:gd name="connsiteX19" fmla="*/ 1179195 w 1219200"/>
                <a:gd name="connsiteY19" fmla="*/ 794386 h 868681"/>
                <a:gd name="connsiteX20" fmla="*/ 909320 w 1219200"/>
                <a:gd name="connsiteY20" fmla="*/ 794386 h 868681"/>
                <a:gd name="connsiteX21" fmla="*/ 893445 w 1219200"/>
                <a:gd name="connsiteY21" fmla="*/ 811531 h 868681"/>
                <a:gd name="connsiteX22" fmla="*/ 894079 w 1219200"/>
                <a:gd name="connsiteY22" fmla="*/ 811531 h 868681"/>
                <a:gd name="connsiteX23" fmla="*/ 925829 w 1219200"/>
                <a:gd name="connsiteY23" fmla="*/ 811531 h 868681"/>
                <a:gd name="connsiteX24" fmla="*/ 909320 w 1219200"/>
                <a:gd name="connsiteY24" fmla="*/ 794386 h 868681"/>
                <a:gd name="connsiteX25" fmla="*/ 737870 w 1219200"/>
                <a:gd name="connsiteY25" fmla="*/ 775971 h 868681"/>
                <a:gd name="connsiteX26" fmla="*/ 761364 w 1219200"/>
                <a:gd name="connsiteY26" fmla="*/ 775971 h 868681"/>
                <a:gd name="connsiteX27" fmla="*/ 761364 w 1219200"/>
                <a:gd name="connsiteY27" fmla="*/ 866141 h 868681"/>
                <a:gd name="connsiteX28" fmla="*/ 737870 w 1219200"/>
                <a:gd name="connsiteY28" fmla="*/ 866141 h 868681"/>
                <a:gd name="connsiteX29" fmla="*/ 143510 w 1219200"/>
                <a:gd name="connsiteY29" fmla="*/ 775971 h 868681"/>
                <a:gd name="connsiteX30" fmla="*/ 167004 w 1219200"/>
                <a:gd name="connsiteY30" fmla="*/ 775971 h 868681"/>
                <a:gd name="connsiteX31" fmla="*/ 167004 w 1219200"/>
                <a:gd name="connsiteY31" fmla="*/ 866141 h 868681"/>
                <a:gd name="connsiteX32" fmla="*/ 143510 w 1219200"/>
                <a:gd name="connsiteY32" fmla="*/ 866141 h 868681"/>
                <a:gd name="connsiteX33" fmla="*/ 635 w 1219200"/>
                <a:gd name="connsiteY33" fmla="*/ 775971 h 868681"/>
                <a:gd name="connsiteX34" fmla="*/ 26670 w 1219200"/>
                <a:gd name="connsiteY34" fmla="*/ 775971 h 868681"/>
                <a:gd name="connsiteX35" fmla="*/ 40004 w 1219200"/>
                <a:gd name="connsiteY35" fmla="*/ 828041 h 868681"/>
                <a:gd name="connsiteX36" fmla="*/ 55245 w 1219200"/>
                <a:gd name="connsiteY36" fmla="*/ 775971 h 868681"/>
                <a:gd name="connsiteX37" fmla="*/ 76200 w 1219200"/>
                <a:gd name="connsiteY37" fmla="*/ 775971 h 868681"/>
                <a:gd name="connsiteX38" fmla="*/ 91439 w 1219200"/>
                <a:gd name="connsiteY38" fmla="*/ 828041 h 868681"/>
                <a:gd name="connsiteX39" fmla="*/ 105409 w 1219200"/>
                <a:gd name="connsiteY39" fmla="*/ 775971 h 868681"/>
                <a:gd name="connsiteX40" fmla="*/ 130810 w 1219200"/>
                <a:gd name="connsiteY40" fmla="*/ 775971 h 868681"/>
                <a:gd name="connsiteX41" fmla="*/ 102235 w 1219200"/>
                <a:gd name="connsiteY41" fmla="*/ 866141 h 868681"/>
                <a:gd name="connsiteX42" fmla="*/ 80644 w 1219200"/>
                <a:gd name="connsiteY42" fmla="*/ 866141 h 868681"/>
                <a:gd name="connsiteX43" fmla="*/ 65405 w 1219200"/>
                <a:gd name="connsiteY43" fmla="*/ 811531 h 868681"/>
                <a:gd name="connsiteX44" fmla="*/ 50165 w 1219200"/>
                <a:gd name="connsiteY44" fmla="*/ 866141 h 868681"/>
                <a:gd name="connsiteX45" fmla="*/ 28575 w 1219200"/>
                <a:gd name="connsiteY45" fmla="*/ 866141 h 868681"/>
                <a:gd name="connsiteX46" fmla="*/ 1181099 w 1219200"/>
                <a:gd name="connsiteY46" fmla="*/ 774066 h 868681"/>
                <a:gd name="connsiteX47" fmla="*/ 1219200 w 1219200"/>
                <a:gd name="connsiteY47" fmla="*/ 821056 h 868681"/>
                <a:gd name="connsiteX48" fmla="*/ 1218564 w 1219200"/>
                <a:gd name="connsiteY48" fmla="*/ 821056 h 868681"/>
                <a:gd name="connsiteX49" fmla="*/ 1218564 w 1219200"/>
                <a:gd name="connsiteY49" fmla="*/ 828676 h 868681"/>
                <a:gd name="connsiteX50" fmla="*/ 1163954 w 1219200"/>
                <a:gd name="connsiteY50" fmla="*/ 828676 h 868681"/>
                <a:gd name="connsiteX51" fmla="*/ 1183004 w 1219200"/>
                <a:gd name="connsiteY51" fmla="*/ 846456 h 868681"/>
                <a:gd name="connsiteX52" fmla="*/ 1198879 w 1219200"/>
                <a:gd name="connsiteY52" fmla="*/ 840106 h 868681"/>
                <a:gd name="connsiteX53" fmla="*/ 1214754 w 1219200"/>
                <a:gd name="connsiteY53" fmla="*/ 853441 h 868681"/>
                <a:gd name="connsiteX54" fmla="*/ 1182370 w 1219200"/>
                <a:gd name="connsiteY54" fmla="*/ 868046 h 868681"/>
                <a:gd name="connsiteX55" fmla="*/ 1141095 w 1219200"/>
                <a:gd name="connsiteY55" fmla="*/ 821056 h 868681"/>
                <a:gd name="connsiteX56" fmla="*/ 1181099 w 1219200"/>
                <a:gd name="connsiteY56" fmla="*/ 774066 h 868681"/>
                <a:gd name="connsiteX57" fmla="*/ 1097915 w 1219200"/>
                <a:gd name="connsiteY57" fmla="*/ 774066 h 868681"/>
                <a:gd name="connsiteX58" fmla="*/ 1133474 w 1219200"/>
                <a:gd name="connsiteY58" fmla="*/ 793751 h 868681"/>
                <a:gd name="connsiteX59" fmla="*/ 1118235 w 1219200"/>
                <a:gd name="connsiteY59" fmla="*/ 808991 h 868681"/>
                <a:gd name="connsiteX60" fmla="*/ 1097915 w 1219200"/>
                <a:gd name="connsiteY60" fmla="*/ 796291 h 868681"/>
                <a:gd name="connsiteX61" fmla="*/ 1078864 w 1219200"/>
                <a:gd name="connsiteY61" fmla="*/ 820421 h 868681"/>
                <a:gd name="connsiteX62" fmla="*/ 1097915 w 1219200"/>
                <a:gd name="connsiteY62" fmla="*/ 845186 h 868681"/>
                <a:gd name="connsiteX63" fmla="*/ 1118235 w 1219200"/>
                <a:gd name="connsiteY63" fmla="*/ 833756 h 868681"/>
                <a:gd name="connsiteX64" fmla="*/ 1118870 w 1219200"/>
                <a:gd name="connsiteY64" fmla="*/ 834391 h 868681"/>
                <a:gd name="connsiteX65" fmla="*/ 1133474 w 1219200"/>
                <a:gd name="connsiteY65" fmla="*/ 848361 h 868681"/>
                <a:gd name="connsiteX66" fmla="*/ 1097280 w 1219200"/>
                <a:gd name="connsiteY66" fmla="*/ 868046 h 868681"/>
                <a:gd name="connsiteX67" fmla="*/ 1054735 w 1219200"/>
                <a:gd name="connsiteY67" fmla="*/ 821056 h 868681"/>
                <a:gd name="connsiteX68" fmla="*/ 1097915 w 1219200"/>
                <a:gd name="connsiteY68" fmla="*/ 774066 h 868681"/>
                <a:gd name="connsiteX69" fmla="*/ 1009015 w 1219200"/>
                <a:gd name="connsiteY69" fmla="*/ 774066 h 868681"/>
                <a:gd name="connsiteX70" fmla="*/ 1041400 w 1219200"/>
                <a:gd name="connsiteY70" fmla="*/ 815341 h 868681"/>
                <a:gd name="connsiteX71" fmla="*/ 1041400 w 1219200"/>
                <a:gd name="connsiteY71" fmla="*/ 866141 h 868681"/>
                <a:gd name="connsiteX72" fmla="*/ 1017905 w 1219200"/>
                <a:gd name="connsiteY72" fmla="*/ 866141 h 868681"/>
                <a:gd name="connsiteX73" fmla="*/ 1017905 w 1219200"/>
                <a:gd name="connsiteY73" fmla="*/ 817246 h 868681"/>
                <a:gd name="connsiteX74" fmla="*/ 1002665 w 1219200"/>
                <a:gd name="connsiteY74" fmla="*/ 796291 h 868681"/>
                <a:gd name="connsiteX75" fmla="*/ 986790 w 1219200"/>
                <a:gd name="connsiteY75" fmla="*/ 816611 h 868681"/>
                <a:gd name="connsiteX76" fmla="*/ 986790 w 1219200"/>
                <a:gd name="connsiteY76" fmla="*/ 866141 h 868681"/>
                <a:gd name="connsiteX77" fmla="*/ 963295 w 1219200"/>
                <a:gd name="connsiteY77" fmla="*/ 866141 h 868681"/>
                <a:gd name="connsiteX78" fmla="*/ 963295 w 1219200"/>
                <a:gd name="connsiteY78" fmla="*/ 775971 h 868681"/>
                <a:gd name="connsiteX79" fmla="*/ 986790 w 1219200"/>
                <a:gd name="connsiteY79" fmla="*/ 775971 h 868681"/>
                <a:gd name="connsiteX80" fmla="*/ 986790 w 1219200"/>
                <a:gd name="connsiteY80" fmla="*/ 782321 h 868681"/>
                <a:gd name="connsiteX81" fmla="*/ 1009015 w 1219200"/>
                <a:gd name="connsiteY81" fmla="*/ 774066 h 868681"/>
                <a:gd name="connsiteX82" fmla="*/ 911224 w 1219200"/>
                <a:gd name="connsiteY82" fmla="*/ 774066 h 868681"/>
                <a:gd name="connsiteX83" fmla="*/ 949325 w 1219200"/>
                <a:gd name="connsiteY83" fmla="*/ 821056 h 868681"/>
                <a:gd name="connsiteX84" fmla="*/ 948689 w 1219200"/>
                <a:gd name="connsiteY84" fmla="*/ 821056 h 868681"/>
                <a:gd name="connsiteX85" fmla="*/ 948689 w 1219200"/>
                <a:gd name="connsiteY85" fmla="*/ 828676 h 868681"/>
                <a:gd name="connsiteX86" fmla="*/ 894079 w 1219200"/>
                <a:gd name="connsiteY86" fmla="*/ 828676 h 868681"/>
                <a:gd name="connsiteX87" fmla="*/ 913129 w 1219200"/>
                <a:gd name="connsiteY87" fmla="*/ 846456 h 868681"/>
                <a:gd name="connsiteX88" fmla="*/ 929004 w 1219200"/>
                <a:gd name="connsiteY88" fmla="*/ 840106 h 868681"/>
                <a:gd name="connsiteX89" fmla="*/ 944879 w 1219200"/>
                <a:gd name="connsiteY89" fmla="*/ 853441 h 868681"/>
                <a:gd name="connsiteX90" fmla="*/ 912495 w 1219200"/>
                <a:gd name="connsiteY90" fmla="*/ 868046 h 868681"/>
                <a:gd name="connsiteX91" fmla="*/ 871220 w 1219200"/>
                <a:gd name="connsiteY91" fmla="*/ 821056 h 868681"/>
                <a:gd name="connsiteX92" fmla="*/ 911224 w 1219200"/>
                <a:gd name="connsiteY92" fmla="*/ 774066 h 868681"/>
                <a:gd name="connsiteX93" fmla="*/ 623570 w 1219200"/>
                <a:gd name="connsiteY93" fmla="*/ 774066 h 868681"/>
                <a:gd name="connsiteX94" fmla="*/ 655954 w 1219200"/>
                <a:gd name="connsiteY94" fmla="*/ 815341 h 868681"/>
                <a:gd name="connsiteX95" fmla="*/ 655954 w 1219200"/>
                <a:gd name="connsiteY95" fmla="*/ 866141 h 868681"/>
                <a:gd name="connsiteX96" fmla="*/ 632459 w 1219200"/>
                <a:gd name="connsiteY96" fmla="*/ 866141 h 868681"/>
                <a:gd name="connsiteX97" fmla="*/ 632459 w 1219200"/>
                <a:gd name="connsiteY97" fmla="*/ 817246 h 868681"/>
                <a:gd name="connsiteX98" fmla="*/ 617220 w 1219200"/>
                <a:gd name="connsiteY98" fmla="*/ 796291 h 868681"/>
                <a:gd name="connsiteX99" fmla="*/ 601345 w 1219200"/>
                <a:gd name="connsiteY99" fmla="*/ 816611 h 868681"/>
                <a:gd name="connsiteX100" fmla="*/ 601345 w 1219200"/>
                <a:gd name="connsiteY100" fmla="*/ 866141 h 868681"/>
                <a:gd name="connsiteX101" fmla="*/ 577849 w 1219200"/>
                <a:gd name="connsiteY101" fmla="*/ 866141 h 868681"/>
                <a:gd name="connsiteX102" fmla="*/ 577849 w 1219200"/>
                <a:gd name="connsiteY102" fmla="*/ 775971 h 868681"/>
                <a:gd name="connsiteX103" fmla="*/ 601345 w 1219200"/>
                <a:gd name="connsiteY103" fmla="*/ 775971 h 868681"/>
                <a:gd name="connsiteX104" fmla="*/ 601345 w 1219200"/>
                <a:gd name="connsiteY104" fmla="*/ 782321 h 868681"/>
                <a:gd name="connsiteX105" fmla="*/ 623570 w 1219200"/>
                <a:gd name="connsiteY105" fmla="*/ 774066 h 868681"/>
                <a:gd name="connsiteX106" fmla="*/ 522605 w 1219200"/>
                <a:gd name="connsiteY106" fmla="*/ 774066 h 868681"/>
                <a:gd name="connsiteX107" fmla="*/ 564515 w 1219200"/>
                <a:gd name="connsiteY107" fmla="*/ 821056 h 868681"/>
                <a:gd name="connsiteX108" fmla="*/ 522605 w 1219200"/>
                <a:gd name="connsiteY108" fmla="*/ 868046 h 868681"/>
                <a:gd name="connsiteX109" fmla="*/ 480695 w 1219200"/>
                <a:gd name="connsiteY109" fmla="*/ 821056 h 868681"/>
                <a:gd name="connsiteX110" fmla="*/ 522605 w 1219200"/>
                <a:gd name="connsiteY110" fmla="*/ 774066 h 868681"/>
                <a:gd name="connsiteX111" fmla="*/ 436879 w 1219200"/>
                <a:gd name="connsiteY111" fmla="*/ 774066 h 868681"/>
                <a:gd name="connsiteX112" fmla="*/ 472439 w 1219200"/>
                <a:gd name="connsiteY112" fmla="*/ 793751 h 868681"/>
                <a:gd name="connsiteX113" fmla="*/ 457200 w 1219200"/>
                <a:gd name="connsiteY113" fmla="*/ 808991 h 868681"/>
                <a:gd name="connsiteX114" fmla="*/ 436879 w 1219200"/>
                <a:gd name="connsiteY114" fmla="*/ 796291 h 868681"/>
                <a:gd name="connsiteX115" fmla="*/ 417829 w 1219200"/>
                <a:gd name="connsiteY115" fmla="*/ 820421 h 868681"/>
                <a:gd name="connsiteX116" fmla="*/ 436879 w 1219200"/>
                <a:gd name="connsiteY116" fmla="*/ 845186 h 868681"/>
                <a:gd name="connsiteX117" fmla="*/ 457200 w 1219200"/>
                <a:gd name="connsiteY117" fmla="*/ 833756 h 868681"/>
                <a:gd name="connsiteX118" fmla="*/ 457834 w 1219200"/>
                <a:gd name="connsiteY118" fmla="*/ 834391 h 868681"/>
                <a:gd name="connsiteX119" fmla="*/ 472439 w 1219200"/>
                <a:gd name="connsiteY119" fmla="*/ 848361 h 868681"/>
                <a:gd name="connsiteX120" fmla="*/ 436245 w 1219200"/>
                <a:gd name="connsiteY120" fmla="*/ 868046 h 868681"/>
                <a:gd name="connsiteX121" fmla="*/ 393700 w 1219200"/>
                <a:gd name="connsiteY121" fmla="*/ 821056 h 868681"/>
                <a:gd name="connsiteX122" fmla="*/ 436879 w 1219200"/>
                <a:gd name="connsiteY122" fmla="*/ 774066 h 868681"/>
                <a:gd name="connsiteX123" fmla="*/ 219075 w 1219200"/>
                <a:gd name="connsiteY123" fmla="*/ 742316 h 868681"/>
                <a:gd name="connsiteX124" fmla="*/ 219075 w 1219200"/>
                <a:gd name="connsiteY124" fmla="*/ 777241 h 868681"/>
                <a:gd name="connsiteX125" fmla="*/ 245110 w 1219200"/>
                <a:gd name="connsiteY125" fmla="*/ 777241 h 868681"/>
                <a:gd name="connsiteX126" fmla="*/ 245110 w 1219200"/>
                <a:gd name="connsiteY126" fmla="*/ 798831 h 868681"/>
                <a:gd name="connsiteX127" fmla="*/ 219075 w 1219200"/>
                <a:gd name="connsiteY127" fmla="*/ 798831 h 868681"/>
                <a:gd name="connsiteX128" fmla="*/ 219075 w 1219200"/>
                <a:gd name="connsiteY128" fmla="*/ 835661 h 868681"/>
                <a:gd name="connsiteX129" fmla="*/ 227965 w 1219200"/>
                <a:gd name="connsiteY129" fmla="*/ 846456 h 868681"/>
                <a:gd name="connsiteX130" fmla="*/ 245041 w 1219200"/>
                <a:gd name="connsiteY130" fmla="*/ 839979 h 868681"/>
                <a:gd name="connsiteX131" fmla="*/ 241935 w 1219200"/>
                <a:gd name="connsiteY131" fmla="*/ 862966 h 868681"/>
                <a:gd name="connsiteX132" fmla="*/ 219709 w 1219200"/>
                <a:gd name="connsiteY132" fmla="*/ 868681 h 868681"/>
                <a:gd name="connsiteX133" fmla="*/ 195579 w 1219200"/>
                <a:gd name="connsiteY133" fmla="*/ 842011 h 868681"/>
                <a:gd name="connsiteX134" fmla="*/ 195579 w 1219200"/>
                <a:gd name="connsiteY134" fmla="*/ 798831 h 868681"/>
                <a:gd name="connsiteX135" fmla="*/ 179704 w 1219200"/>
                <a:gd name="connsiteY135" fmla="*/ 798831 h 868681"/>
                <a:gd name="connsiteX136" fmla="*/ 179704 w 1219200"/>
                <a:gd name="connsiteY136" fmla="*/ 777241 h 868681"/>
                <a:gd name="connsiteX137" fmla="*/ 195579 w 1219200"/>
                <a:gd name="connsiteY137" fmla="*/ 777241 h 868681"/>
                <a:gd name="connsiteX138" fmla="*/ 195579 w 1219200"/>
                <a:gd name="connsiteY138" fmla="*/ 753746 h 868681"/>
                <a:gd name="connsiteX139" fmla="*/ 749935 w 1219200"/>
                <a:gd name="connsiteY139" fmla="*/ 741681 h 868681"/>
                <a:gd name="connsiteX140" fmla="*/ 763269 w 1219200"/>
                <a:gd name="connsiteY140" fmla="*/ 755016 h 868681"/>
                <a:gd name="connsiteX141" fmla="*/ 749935 w 1219200"/>
                <a:gd name="connsiteY141" fmla="*/ 768351 h 868681"/>
                <a:gd name="connsiteX142" fmla="*/ 736599 w 1219200"/>
                <a:gd name="connsiteY142" fmla="*/ 755016 h 868681"/>
                <a:gd name="connsiteX143" fmla="*/ 749935 w 1219200"/>
                <a:gd name="connsiteY143" fmla="*/ 741681 h 868681"/>
                <a:gd name="connsiteX144" fmla="*/ 154939 w 1219200"/>
                <a:gd name="connsiteY144" fmla="*/ 741681 h 868681"/>
                <a:gd name="connsiteX145" fmla="*/ 168275 w 1219200"/>
                <a:gd name="connsiteY145" fmla="*/ 755016 h 868681"/>
                <a:gd name="connsiteX146" fmla="*/ 154939 w 1219200"/>
                <a:gd name="connsiteY146" fmla="*/ 768351 h 868681"/>
                <a:gd name="connsiteX147" fmla="*/ 141605 w 1219200"/>
                <a:gd name="connsiteY147" fmla="*/ 755016 h 868681"/>
                <a:gd name="connsiteX148" fmla="*/ 154939 w 1219200"/>
                <a:gd name="connsiteY148" fmla="*/ 741681 h 868681"/>
                <a:gd name="connsiteX149" fmla="*/ 856614 w 1219200"/>
                <a:gd name="connsiteY149" fmla="*/ 741046 h 868681"/>
                <a:gd name="connsiteX150" fmla="*/ 856614 w 1219200"/>
                <a:gd name="connsiteY150" fmla="*/ 866141 h 868681"/>
                <a:gd name="connsiteX151" fmla="*/ 833120 w 1219200"/>
                <a:gd name="connsiteY151" fmla="*/ 866141 h 868681"/>
                <a:gd name="connsiteX152" fmla="*/ 833120 w 1219200"/>
                <a:gd name="connsiteY152" fmla="*/ 860426 h 868681"/>
                <a:gd name="connsiteX153" fmla="*/ 812799 w 1219200"/>
                <a:gd name="connsiteY153" fmla="*/ 868046 h 868681"/>
                <a:gd name="connsiteX154" fmla="*/ 775970 w 1219200"/>
                <a:gd name="connsiteY154" fmla="*/ 820421 h 868681"/>
                <a:gd name="connsiteX155" fmla="*/ 812165 w 1219200"/>
                <a:gd name="connsiteY155" fmla="*/ 774066 h 868681"/>
                <a:gd name="connsiteX156" fmla="*/ 833120 w 1219200"/>
                <a:gd name="connsiteY156" fmla="*/ 781051 h 868681"/>
                <a:gd name="connsiteX157" fmla="*/ 833120 w 1219200"/>
                <a:gd name="connsiteY157" fmla="*/ 752476 h 868681"/>
                <a:gd name="connsiteX158" fmla="*/ 707390 w 1219200"/>
                <a:gd name="connsiteY158" fmla="*/ 741046 h 868681"/>
                <a:gd name="connsiteX159" fmla="*/ 724534 w 1219200"/>
                <a:gd name="connsiteY159" fmla="*/ 743586 h 868681"/>
                <a:gd name="connsiteX160" fmla="*/ 724534 w 1219200"/>
                <a:gd name="connsiteY160" fmla="*/ 744221 h 868681"/>
                <a:gd name="connsiteX161" fmla="*/ 724534 w 1219200"/>
                <a:gd name="connsiteY161" fmla="*/ 762636 h 868681"/>
                <a:gd name="connsiteX162" fmla="*/ 713105 w 1219200"/>
                <a:gd name="connsiteY162" fmla="*/ 760731 h 868681"/>
                <a:gd name="connsiteX163" fmla="*/ 703579 w 1219200"/>
                <a:gd name="connsiteY163" fmla="*/ 768351 h 868681"/>
                <a:gd name="connsiteX164" fmla="*/ 703579 w 1219200"/>
                <a:gd name="connsiteY164" fmla="*/ 775336 h 868681"/>
                <a:gd name="connsiteX165" fmla="*/ 722629 w 1219200"/>
                <a:gd name="connsiteY165" fmla="*/ 775336 h 868681"/>
                <a:gd name="connsiteX166" fmla="*/ 722629 w 1219200"/>
                <a:gd name="connsiteY166" fmla="*/ 796926 h 868681"/>
                <a:gd name="connsiteX167" fmla="*/ 703579 w 1219200"/>
                <a:gd name="connsiteY167" fmla="*/ 796926 h 868681"/>
                <a:gd name="connsiteX168" fmla="*/ 703579 w 1219200"/>
                <a:gd name="connsiteY168" fmla="*/ 865506 h 868681"/>
                <a:gd name="connsiteX169" fmla="*/ 680084 w 1219200"/>
                <a:gd name="connsiteY169" fmla="*/ 865506 h 868681"/>
                <a:gd name="connsiteX170" fmla="*/ 680084 w 1219200"/>
                <a:gd name="connsiteY170" fmla="*/ 796926 h 868681"/>
                <a:gd name="connsiteX171" fmla="*/ 667385 w 1219200"/>
                <a:gd name="connsiteY171" fmla="*/ 796926 h 868681"/>
                <a:gd name="connsiteX172" fmla="*/ 667385 w 1219200"/>
                <a:gd name="connsiteY172" fmla="*/ 775336 h 868681"/>
                <a:gd name="connsiteX173" fmla="*/ 680084 w 1219200"/>
                <a:gd name="connsiteY173" fmla="*/ 775336 h 868681"/>
                <a:gd name="connsiteX174" fmla="*/ 680084 w 1219200"/>
                <a:gd name="connsiteY174" fmla="*/ 764541 h 868681"/>
                <a:gd name="connsiteX175" fmla="*/ 707390 w 1219200"/>
                <a:gd name="connsiteY175" fmla="*/ 741046 h 868681"/>
                <a:gd name="connsiteX176" fmla="*/ 282575 w 1219200"/>
                <a:gd name="connsiteY176" fmla="*/ 741046 h 868681"/>
                <a:gd name="connsiteX177" fmla="*/ 282575 w 1219200"/>
                <a:gd name="connsiteY177" fmla="*/ 782321 h 868681"/>
                <a:gd name="connsiteX178" fmla="*/ 304799 w 1219200"/>
                <a:gd name="connsiteY178" fmla="*/ 774066 h 868681"/>
                <a:gd name="connsiteX179" fmla="*/ 336549 w 1219200"/>
                <a:gd name="connsiteY179" fmla="*/ 815341 h 868681"/>
                <a:gd name="connsiteX180" fmla="*/ 336549 w 1219200"/>
                <a:gd name="connsiteY180" fmla="*/ 866141 h 868681"/>
                <a:gd name="connsiteX181" fmla="*/ 313689 w 1219200"/>
                <a:gd name="connsiteY181" fmla="*/ 866141 h 868681"/>
                <a:gd name="connsiteX182" fmla="*/ 313689 w 1219200"/>
                <a:gd name="connsiteY182" fmla="*/ 817246 h 868681"/>
                <a:gd name="connsiteX183" fmla="*/ 298450 w 1219200"/>
                <a:gd name="connsiteY183" fmla="*/ 796291 h 868681"/>
                <a:gd name="connsiteX184" fmla="*/ 282575 w 1219200"/>
                <a:gd name="connsiteY184" fmla="*/ 816611 h 868681"/>
                <a:gd name="connsiteX185" fmla="*/ 282575 w 1219200"/>
                <a:gd name="connsiteY185" fmla="*/ 866141 h 868681"/>
                <a:gd name="connsiteX186" fmla="*/ 259079 w 1219200"/>
                <a:gd name="connsiteY186" fmla="*/ 866141 h 868681"/>
                <a:gd name="connsiteX187" fmla="*/ 259079 w 1219200"/>
                <a:gd name="connsiteY187" fmla="*/ 752476 h 868681"/>
                <a:gd name="connsiteX188" fmla="*/ 92709 w 1219200"/>
                <a:gd name="connsiteY188" fmla="*/ 648336 h 868681"/>
                <a:gd name="connsiteX189" fmla="*/ 92709 w 1219200"/>
                <a:gd name="connsiteY189" fmla="*/ 649606 h 868681"/>
                <a:gd name="connsiteX190" fmla="*/ 92427 w 1219200"/>
                <a:gd name="connsiteY190" fmla="*/ 648959 h 868681"/>
                <a:gd name="connsiteX191" fmla="*/ 230504 w 1219200"/>
                <a:gd name="connsiteY191" fmla="*/ 643256 h 868681"/>
                <a:gd name="connsiteX192" fmla="*/ 215900 w 1219200"/>
                <a:gd name="connsiteY192" fmla="*/ 654686 h 868681"/>
                <a:gd name="connsiteX193" fmla="*/ 228599 w 1219200"/>
                <a:gd name="connsiteY193" fmla="*/ 667386 h 868681"/>
                <a:gd name="connsiteX194" fmla="*/ 245745 w 1219200"/>
                <a:gd name="connsiteY194" fmla="*/ 658496 h 868681"/>
                <a:gd name="connsiteX195" fmla="*/ 245745 w 1219200"/>
                <a:gd name="connsiteY195" fmla="*/ 647066 h 868681"/>
                <a:gd name="connsiteX196" fmla="*/ 230504 w 1219200"/>
                <a:gd name="connsiteY196" fmla="*/ 643256 h 868681"/>
                <a:gd name="connsiteX197" fmla="*/ 321310 w 1219200"/>
                <a:gd name="connsiteY197" fmla="*/ 614046 h 868681"/>
                <a:gd name="connsiteX198" fmla="*/ 306704 w 1219200"/>
                <a:gd name="connsiteY198" fmla="*/ 622301 h 868681"/>
                <a:gd name="connsiteX199" fmla="*/ 306704 w 1219200"/>
                <a:gd name="connsiteY199" fmla="*/ 656591 h 868681"/>
                <a:gd name="connsiteX200" fmla="*/ 323215 w 1219200"/>
                <a:gd name="connsiteY200" fmla="*/ 664846 h 868681"/>
                <a:gd name="connsiteX201" fmla="*/ 339090 w 1219200"/>
                <a:gd name="connsiteY201" fmla="*/ 640716 h 868681"/>
                <a:gd name="connsiteX202" fmla="*/ 338454 w 1219200"/>
                <a:gd name="connsiteY202" fmla="*/ 640716 h 868681"/>
                <a:gd name="connsiteX203" fmla="*/ 321310 w 1219200"/>
                <a:gd name="connsiteY203" fmla="*/ 614046 h 868681"/>
                <a:gd name="connsiteX204" fmla="*/ 1179195 w 1219200"/>
                <a:gd name="connsiteY204" fmla="*/ 612776 h 868681"/>
                <a:gd name="connsiteX205" fmla="*/ 1163320 w 1219200"/>
                <a:gd name="connsiteY205" fmla="*/ 629921 h 868681"/>
                <a:gd name="connsiteX206" fmla="*/ 1163954 w 1219200"/>
                <a:gd name="connsiteY206" fmla="*/ 629921 h 868681"/>
                <a:gd name="connsiteX207" fmla="*/ 1195704 w 1219200"/>
                <a:gd name="connsiteY207" fmla="*/ 629921 h 868681"/>
                <a:gd name="connsiteX208" fmla="*/ 1179195 w 1219200"/>
                <a:gd name="connsiteY208" fmla="*/ 612776 h 868681"/>
                <a:gd name="connsiteX209" fmla="*/ 689610 w 1219200"/>
                <a:gd name="connsiteY209" fmla="*/ 612776 h 868681"/>
                <a:gd name="connsiteX210" fmla="*/ 673735 w 1219200"/>
                <a:gd name="connsiteY210" fmla="*/ 629921 h 868681"/>
                <a:gd name="connsiteX211" fmla="*/ 674370 w 1219200"/>
                <a:gd name="connsiteY211" fmla="*/ 629921 h 868681"/>
                <a:gd name="connsiteX212" fmla="*/ 706120 w 1219200"/>
                <a:gd name="connsiteY212" fmla="*/ 629921 h 868681"/>
                <a:gd name="connsiteX213" fmla="*/ 689610 w 1219200"/>
                <a:gd name="connsiteY213" fmla="*/ 612776 h 868681"/>
                <a:gd name="connsiteX214" fmla="*/ 410845 w 1219200"/>
                <a:gd name="connsiteY214" fmla="*/ 612776 h 868681"/>
                <a:gd name="connsiteX215" fmla="*/ 395605 w 1219200"/>
                <a:gd name="connsiteY215" fmla="*/ 629921 h 868681"/>
                <a:gd name="connsiteX216" fmla="*/ 427355 w 1219200"/>
                <a:gd name="connsiteY216" fmla="*/ 629921 h 868681"/>
                <a:gd name="connsiteX217" fmla="*/ 410845 w 1219200"/>
                <a:gd name="connsiteY217" fmla="*/ 612776 h 868681"/>
                <a:gd name="connsiteX218" fmla="*/ 991870 w 1219200"/>
                <a:gd name="connsiteY218" fmla="*/ 594361 h 868681"/>
                <a:gd name="connsiteX219" fmla="*/ 1014095 w 1219200"/>
                <a:gd name="connsiteY219" fmla="*/ 594361 h 868681"/>
                <a:gd name="connsiteX220" fmla="*/ 1014095 w 1219200"/>
                <a:gd name="connsiteY220" fmla="*/ 643256 h 868681"/>
                <a:gd name="connsiteX221" fmla="*/ 1029334 w 1219200"/>
                <a:gd name="connsiteY221" fmla="*/ 664846 h 868681"/>
                <a:gd name="connsiteX222" fmla="*/ 1044575 w 1219200"/>
                <a:gd name="connsiteY222" fmla="*/ 644526 h 868681"/>
                <a:gd name="connsiteX223" fmla="*/ 1044575 w 1219200"/>
                <a:gd name="connsiteY223" fmla="*/ 594996 h 868681"/>
                <a:gd name="connsiteX224" fmla="*/ 1066799 w 1219200"/>
                <a:gd name="connsiteY224" fmla="*/ 594996 h 868681"/>
                <a:gd name="connsiteX225" fmla="*/ 1066799 w 1219200"/>
                <a:gd name="connsiteY225" fmla="*/ 684531 h 868681"/>
                <a:gd name="connsiteX226" fmla="*/ 1044575 w 1219200"/>
                <a:gd name="connsiteY226" fmla="*/ 684531 h 868681"/>
                <a:gd name="connsiteX227" fmla="*/ 1044575 w 1219200"/>
                <a:gd name="connsiteY227" fmla="*/ 678181 h 868681"/>
                <a:gd name="connsiteX228" fmla="*/ 1023620 w 1219200"/>
                <a:gd name="connsiteY228" fmla="*/ 686436 h 868681"/>
                <a:gd name="connsiteX229" fmla="*/ 991870 w 1219200"/>
                <a:gd name="connsiteY229" fmla="*/ 645161 h 868681"/>
                <a:gd name="connsiteX230" fmla="*/ 836295 w 1219200"/>
                <a:gd name="connsiteY230" fmla="*/ 594361 h 868681"/>
                <a:gd name="connsiteX231" fmla="*/ 858519 w 1219200"/>
                <a:gd name="connsiteY231" fmla="*/ 594361 h 868681"/>
                <a:gd name="connsiteX232" fmla="*/ 858519 w 1219200"/>
                <a:gd name="connsiteY232" fmla="*/ 643256 h 868681"/>
                <a:gd name="connsiteX233" fmla="*/ 873760 w 1219200"/>
                <a:gd name="connsiteY233" fmla="*/ 664846 h 868681"/>
                <a:gd name="connsiteX234" fmla="*/ 889000 w 1219200"/>
                <a:gd name="connsiteY234" fmla="*/ 644526 h 868681"/>
                <a:gd name="connsiteX235" fmla="*/ 889000 w 1219200"/>
                <a:gd name="connsiteY235" fmla="*/ 594996 h 868681"/>
                <a:gd name="connsiteX236" fmla="*/ 911224 w 1219200"/>
                <a:gd name="connsiteY236" fmla="*/ 594996 h 868681"/>
                <a:gd name="connsiteX237" fmla="*/ 911224 w 1219200"/>
                <a:gd name="connsiteY237" fmla="*/ 684531 h 868681"/>
                <a:gd name="connsiteX238" fmla="*/ 889000 w 1219200"/>
                <a:gd name="connsiteY238" fmla="*/ 684531 h 868681"/>
                <a:gd name="connsiteX239" fmla="*/ 889000 w 1219200"/>
                <a:gd name="connsiteY239" fmla="*/ 678181 h 868681"/>
                <a:gd name="connsiteX240" fmla="*/ 868045 w 1219200"/>
                <a:gd name="connsiteY240" fmla="*/ 686436 h 868681"/>
                <a:gd name="connsiteX241" fmla="*/ 836295 w 1219200"/>
                <a:gd name="connsiteY241" fmla="*/ 645161 h 868681"/>
                <a:gd name="connsiteX242" fmla="*/ 1181099 w 1219200"/>
                <a:gd name="connsiteY242" fmla="*/ 592456 h 868681"/>
                <a:gd name="connsiteX243" fmla="*/ 1219200 w 1219200"/>
                <a:gd name="connsiteY243" fmla="*/ 639446 h 868681"/>
                <a:gd name="connsiteX244" fmla="*/ 1218564 w 1219200"/>
                <a:gd name="connsiteY244" fmla="*/ 639446 h 868681"/>
                <a:gd name="connsiteX245" fmla="*/ 1218564 w 1219200"/>
                <a:gd name="connsiteY245" fmla="*/ 647066 h 868681"/>
                <a:gd name="connsiteX246" fmla="*/ 1163954 w 1219200"/>
                <a:gd name="connsiteY246" fmla="*/ 647066 h 868681"/>
                <a:gd name="connsiteX247" fmla="*/ 1183004 w 1219200"/>
                <a:gd name="connsiteY247" fmla="*/ 664846 h 868681"/>
                <a:gd name="connsiteX248" fmla="*/ 1198879 w 1219200"/>
                <a:gd name="connsiteY248" fmla="*/ 658496 h 868681"/>
                <a:gd name="connsiteX249" fmla="*/ 1214754 w 1219200"/>
                <a:gd name="connsiteY249" fmla="*/ 671831 h 868681"/>
                <a:gd name="connsiteX250" fmla="*/ 1182370 w 1219200"/>
                <a:gd name="connsiteY250" fmla="*/ 686436 h 868681"/>
                <a:gd name="connsiteX251" fmla="*/ 1141095 w 1219200"/>
                <a:gd name="connsiteY251" fmla="*/ 639446 h 868681"/>
                <a:gd name="connsiteX252" fmla="*/ 1181099 w 1219200"/>
                <a:gd name="connsiteY252" fmla="*/ 592456 h 868681"/>
                <a:gd name="connsiteX253" fmla="*/ 691515 w 1219200"/>
                <a:gd name="connsiteY253" fmla="*/ 592456 h 868681"/>
                <a:gd name="connsiteX254" fmla="*/ 729614 w 1219200"/>
                <a:gd name="connsiteY254" fmla="*/ 639446 h 868681"/>
                <a:gd name="connsiteX255" fmla="*/ 728980 w 1219200"/>
                <a:gd name="connsiteY255" fmla="*/ 639446 h 868681"/>
                <a:gd name="connsiteX256" fmla="*/ 728980 w 1219200"/>
                <a:gd name="connsiteY256" fmla="*/ 647066 h 868681"/>
                <a:gd name="connsiteX257" fmla="*/ 674370 w 1219200"/>
                <a:gd name="connsiteY257" fmla="*/ 647066 h 868681"/>
                <a:gd name="connsiteX258" fmla="*/ 693420 w 1219200"/>
                <a:gd name="connsiteY258" fmla="*/ 664846 h 868681"/>
                <a:gd name="connsiteX259" fmla="*/ 709295 w 1219200"/>
                <a:gd name="connsiteY259" fmla="*/ 658496 h 868681"/>
                <a:gd name="connsiteX260" fmla="*/ 725170 w 1219200"/>
                <a:gd name="connsiteY260" fmla="*/ 671831 h 868681"/>
                <a:gd name="connsiteX261" fmla="*/ 692784 w 1219200"/>
                <a:gd name="connsiteY261" fmla="*/ 686436 h 868681"/>
                <a:gd name="connsiteX262" fmla="*/ 651510 w 1219200"/>
                <a:gd name="connsiteY262" fmla="*/ 639446 h 868681"/>
                <a:gd name="connsiteX263" fmla="*/ 691515 w 1219200"/>
                <a:gd name="connsiteY263" fmla="*/ 592456 h 868681"/>
                <a:gd name="connsiteX264" fmla="*/ 412114 w 1219200"/>
                <a:gd name="connsiteY264" fmla="*/ 592456 h 868681"/>
                <a:gd name="connsiteX265" fmla="*/ 448310 w 1219200"/>
                <a:gd name="connsiteY265" fmla="*/ 639446 h 868681"/>
                <a:gd name="connsiteX266" fmla="*/ 448310 w 1219200"/>
                <a:gd name="connsiteY266" fmla="*/ 647066 h 868681"/>
                <a:gd name="connsiteX267" fmla="*/ 395605 w 1219200"/>
                <a:gd name="connsiteY267" fmla="*/ 647066 h 868681"/>
                <a:gd name="connsiteX268" fmla="*/ 415290 w 1219200"/>
                <a:gd name="connsiteY268" fmla="*/ 664846 h 868681"/>
                <a:gd name="connsiteX269" fmla="*/ 430530 w 1219200"/>
                <a:gd name="connsiteY269" fmla="*/ 658496 h 868681"/>
                <a:gd name="connsiteX270" fmla="*/ 446405 w 1219200"/>
                <a:gd name="connsiteY270" fmla="*/ 671831 h 868681"/>
                <a:gd name="connsiteX271" fmla="*/ 413385 w 1219200"/>
                <a:gd name="connsiteY271" fmla="*/ 686436 h 868681"/>
                <a:gd name="connsiteX272" fmla="*/ 372110 w 1219200"/>
                <a:gd name="connsiteY272" fmla="*/ 640081 h 868681"/>
                <a:gd name="connsiteX273" fmla="*/ 412114 w 1219200"/>
                <a:gd name="connsiteY273" fmla="*/ 592456 h 868681"/>
                <a:gd name="connsiteX274" fmla="*/ 326390 w 1219200"/>
                <a:gd name="connsiteY274" fmla="*/ 592456 h 868681"/>
                <a:gd name="connsiteX275" fmla="*/ 361314 w 1219200"/>
                <a:gd name="connsiteY275" fmla="*/ 639446 h 868681"/>
                <a:gd name="connsiteX276" fmla="*/ 326390 w 1219200"/>
                <a:gd name="connsiteY276" fmla="*/ 686436 h 868681"/>
                <a:gd name="connsiteX277" fmla="*/ 306070 w 1219200"/>
                <a:gd name="connsiteY277" fmla="*/ 678816 h 868681"/>
                <a:gd name="connsiteX278" fmla="*/ 306070 w 1219200"/>
                <a:gd name="connsiteY278" fmla="*/ 706121 h 868681"/>
                <a:gd name="connsiteX279" fmla="*/ 283845 w 1219200"/>
                <a:gd name="connsiteY279" fmla="*/ 717551 h 868681"/>
                <a:gd name="connsiteX280" fmla="*/ 283845 w 1219200"/>
                <a:gd name="connsiteY280" fmla="*/ 594361 h 868681"/>
                <a:gd name="connsiteX281" fmla="*/ 306070 w 1219200"/>
                <a:gd name="connsiteY281" fmla="*/ 594361 h 868681"/>
                <a:gd name="connsiteX282" fmla="*/ 306070 w 1219200"/>
                <a:gd name="connsiteY282" fmla="*/ 600711 h 868681"/>
                <a:gd name="connsiteX283" fmla="*/ 326390 w 1219200"/>
                <a:gd name="connsiteY283" fmla="*/ 592456 h 868681"/>
                <a:gd name="connsiteX284" fmla="*/ 231775 w 1219200"/>
                <a:gd name="connsiteY284" fmla="*/ 592456 h 868681"/>
                <a:gd name="connsiteX285" fmla="*/ 268605 w 1219200"/>
                <a:gd name="connsiteY285" fmla="*/ 624206 h 868681"/>
                <a:gd name="connsiteX286" fmla="*/ 268605 w 1219200"/>
                <a:gd name="connsiteY286" fmla="*/ 684531 h 868681"/>
                <a:gd name="connsiteX287" fmla="*/ 267970 w 1219200"/>
                <a:gd name="connsiteY287" fmla="*/ 684531 h 868681"/>
                <a:gd name="connsiteX288" fmla="*/ 245745 w 1219200"/>
                <a:gd name="connsiteY288" fmla="*/ 684531 h 868681"/>
                <a:gd name="connsiteX289" fmla="*/ 245745 w 1219200"/>
                <a:gd name="connsiteY289" fmla="*/ 678181 h 868681"/>
                <a:gd name="connsiteX290" fmla="*/ 224790 w 1219200"/>
                <a:gd name="connsiteY290" fmla="*/ 686436 h 868681"/>
                <a:gd name="connsiteX291" fmla="*/ 193040 w 1219200"/>
                <a:gd name="connsiteY291" fmla="*/ 655321 h 868681"/>
                <a:gd name="connsiteX292" fmla="*/ 227965 w 1219200"/>
                <a:gd name="connsiteY292" fmla="*/ 624841 h 868681"/>
                <a:gd name="connsiteX293" fmla="*/ 245745 w 1219200"/>
                <a:gd name="connsiteY293" fmla="*/ 628651 h 868681"/>
                <a:gd name="connsiteX294" fmla="*/ 245745 w 1219200"/>
                <a:gd name="connsiteY294" fmla="*/ 623571 h 868681"/>
                <a:gd name="connsiteX295" fmla="*/ 230504 w 1219200"/>
                <a:gd name="connsiteY295" fmla="*/ 611506 h 868681"/>
                <a:gd name="connsiteX296" fmla="*/ 209549 w 1219200"/>
                <a:gd name="connsiteY296" fmla="*/ 617221 h 868681"/>
                <a:gd name="connsiteX297" fmla="*/ 200659 w 1219200"/>
                <a:gd name="connsiteY297" fmla="*/ 601346 h 868681"/>
                <a:gd name="connsiteX298" fmla="*/ 231775 w 1219200"/>
                <a:gd name="connsiteY298" fmla="*/ 592456 h 868681"/>
                <a:gd name="connsiteX299" fmla="*/ 1125855 w 1219200"/>
                <a:gd name="connsiteY299" fmla="*/ 591821 h 868681"/>
                <a:gd name="connsiteX300" fmla="*/ 1142364 w 1219200"/>
                <a:gd name="connsiteY300" fmla="*/ 598171 h 868681"/>
                <a:gd name="connsiteX301" fmla="*/ 1141730 w 1219200"/>
                <a:gd name="connsiteY301" fmla="*/ 598806 h 868681"/>
                <a:gd name="connsiteX302" fmla="*/ 1132840 w 1219200"/>
                <a:gd name="connsiteY302" fmla="*/ 621031 h 868681"/>
                <a:gd name="connsiteX303" fmla="*/ 1120140 w 1219200"/>
                <a:gd name="connsiteY303" fmla="*/ 615316 h 868681"/>
                <a:gd name="connsiteX304" fmla="*/ 1106805 w 1219200"/>
                <a:gd name="connsiteY304" fmla="*/ 635001 h 868681"/>
                <a:gd name="connsiteX305" fmla="*/ 1106805 w 1219200"/>
                <a:gd name="connsiteY305" fmla="*/ 683896 h 868681"/>
                <a:gd name="connsiteX306" fmla="*/ 1084579 w 1219200"/>
                <a:gd name="connsiteY306" fmla="*/ 683896 h 868681"/>
                <a:gd name="connsiteX307" fmla="*/ 1084579 w 1219200"/>
                <a:gd name="connsiteY307" fmla="*/ 593726 h 868681"/>
                <a:gd name="connsiteX308" fmla="*/ 1106805 w 1219200"/>
                <a:gd name="connsiteY308" fmla="*/ 593726 h 868681"/>
                <a:gd name="connsiteX309" fmla="*/ 1106805 w 1219200"/>
                <a:gd name="connsiteY309" fmla="*/ 600076 h 868681"/>
                <a:gd name="connsiteX310" fmla="*/ 1125855 w 1219200"/>
                <a:gd name="connsiteY310" fmla="*/ 591821 h 868681"/>
                <a:gd name="connsiteX311" fmla="*/ 47625 w 1219200"/>
                <a:gd name="connsiteY311" fmla="*/ 563881 h 868681"/>
                <a:gd name="connsiteX312" fmla="*/ 90170 w 1219200"/>
                <a:gd name="connsiteY312" fmla="*/ 582296 h 868681"/>
                <a:gd name="connsiteX313" fmla="*/ 73659 w 1219200"/>
                <a:gd name="connsiteY313" fmla="*/ 598806 h 868681"/>
                <a:gd name="connsiteX314" fmla="*/ 46355 w 1219200"/>
                <a:gd name="connsiteY314" fmla="*/ 586741 h 868681"/>
                <a:gd name="connsiteX315" fmla="*/ 28575 w 1219200"/>
                <a:gd name="connsiteY315" fmla="*/ 598171 h 868681"/>
                <a:gd name="connsiteX316" fmla="*/ 33655 w 1219200"/>
                <a:gd name="connsiteY316" fmla="*/ 606426 h 868681"/>
                <a:gd name="connsiteX317" fmla="*/ 52704 w 1219200"/>
                <a:gd name="connsiteY317" fmla="*/ 612776 h 868681"/>
                <a:gd name="connsiteX318" fmla="*/ 81915 w 1219200"/>
                <a:gd name="connsiteY318" fmla="*/ 624841 h 868681"/>
                <a:gd name="connsiteX319" fmla="*/ 92427 w 1219200"/>
                <a:gd name="connsiteY319" fmla="*/ 648959 h 868681"/>
                <a:gd name="connsiteX320" fmla="*/ 79454 w 1219200"/>
                <a:gd name="connsiteY320" fmla="*/ 677626 h 868681"/>
                <a:gd name="connsiteX321" fmla="*/ 47625 w 1219200"/>
                <a:gd name="connsiteY321" fmla="*/ 686436 h 868681"/>
                <a:gd name="connsiteX322" fmla="*/ 0 w 1219200"/>
                <a:gd name="connsiteY322" fmla="*/ 664846 h 868681"/>
                <a:gd name="connsiteX323" fmla="*/ 16510 w 1219200"/>
                <a:gd name="connsiteY323" fmla="*/ 650241 h 868681"/>
                <a:gd name="connsiteX324" fmla="*/ 46989 w 1219200"/>
                <a:gd name="connsiteY324" fmla="*/ 664211 h 868681"/>
                <a:gd name="connsiteX325" fmla="*/ 68579 w 1219200"/>
                <a:gd name="connsiteY325" fmla="*/ 649606 h 868681"/>
                <a:gd name="connsiteX326" fmla="*/ 61595 w 1219200"/>
                <a:gd name="connsiteY326" fmla="*/ 640081 h 868681"/>
                <a:gd name="connsiteX327" fmla="*/ 41909 w 1219200"/>
                <a:gd name="connsiteY327" fmla="*/ 634366 h 868681"/>
                <a:gd name="connsiteX328" fmla="*/ 14605 w 1219200"/>
                <a:gd name="connsiteY328" fmla="*/ 623571 h 868681"/>
                <a:gd name="connsiteX329" fmla="*/ 4444 w 1219200"/>
                <a:gd name="connsiteY329" fmla="*/ 599441 h 868681"/>
                <a:gd name="connsiteX330" fmla="*/ 47625 w 1219200"/>
                <a:gd name="connsiteY330" fmla="*/ 563881 h 868681"/>
                <a:gd name="connsiteX331" fmla="*/ 814070 w 1219200"/>
                <a:gd name="connsiteY331" fmla="*/ 560071 h 868681"/>
                <a:gd name="connsiteX332" fmla="*/ 830579 w 1219200"/>
                <a:gd name="connsiteY332" fmla="*/ 562611 h 868681"/>
                <a:gd name="connsiteX333" fmla="*/ 829945 w 1219200"/>
                <a:gd name="connsiteY333" fmla="*/ 562611 h 868681"/>
                <a:gd name="connsiteX334" fmla="*/ 829945 w 1219200"/>
                <a:gd name="connsiteY334" fmla="*/ 581026 h 868681"/>
                <a:gd name="connsiteX335" fmla="*/ 818515 w 1219200"/>
                <a:gd name="connsiteY335" fmla="*/ 579121 h 868681"/>
                <a:gd name="connsiteX336" fmla="*/ 808989 w 1219200"/>
                <a:gd name="connsiteY336" fmla="*/ 586741 h 868681"/>
                <a:gd name="connsiteX337" fmla="*/ 808989 w 1219200"/>
                <a:gd name="connsiteY337" fmla="*/ 594361 h 868681"/>
                <a:gd name="connsiteX338" fmla="*/ 824230 w 1219200"/>
                <a:gd name="connsiteY338" fmla="*/ 594361 h 868681"/>
                <a:gd name="connsiteX339" fmla="*/ 824230 w 1219200"/>
                <a:gd name="connsiteY339" fmla="*/ 615951 h 868681"/>
                <a:gd name="connsiteX340" fmla="*/ 808989 w 1219200"/>
                <a:gd name="connsiteY340" fmla="*/ 615951 h 868681"/>
                <a:gd name="connsiteX341" fmla="*/ 808989 w 1219200"/>
                <a:gd name="connsiteY341" fmla="*/ 684531 h 868681"/>
                <a:gd name="connsiteX342" fmla="*/ 786765 w 1219200"/>
                <a:gd name="connsiteY342" fmla="*/ 684531 h 868681"/>
                <a:gd name="connsiteX343" fmla="*/ 786765 w 1219200"/>
                <a:gd name="connsiteY343" fmla="*/ 615951 h 868681"/>
                <a:gd name="connsiteX344" fmla="*/ 775970 w 1219200"/>
                <a:gd name="connsiteY344" fmla="*/ 615951 h 868681"/>
                <a:gd name="connsiteX345" fmla="*/ 775970 w 1219200"/>
                <a:gd name="connsiteY345" fmla="*/ 594361 h 868681"/>
                <a:gd name="connsiteX346" fmla="*/ 786765 w 1219200"/>
                <a:gd name="connsiteY346" fmla="*/ 594361 h 868681"/>
                <a:gd name="connsiteX347" fmla="*/ 786765 w 1219200"/>
                <a:gd name="connsiteY347" fmla="*/ 583566 h 868681"/>
                <a:gd name="connsiteX348" fmla="*/ 814070 w 1219200"/>
                <a:gd name="connsiteY348" fmla="*/ 560071 h 868681"/>
                <a:gd name="connsiteX349" fmla="*/ 957579 w 1219200"/>
                <a:gd name="connsiteY349" fmla="*/ 559436 h 868681"/>
                <a:gd name="connsiteX350" fmla="*/ 957579 w 1219200"/>
                <a:gd name="connsiteY350" fmla="*/ 594361 h 868681"/>
                <a:gd name="connsiteX351" fmla="*/ 979170 w 1219200"/>
                <a:gd name="connsiteY351" fmla="*/ 594361 h 868681"/>
                <a:gd name="connsiteX352" fmla="*/ 979170 w 1219200"/>
                <a:gd name="connsiteY352" fmla="*/ 615951 h 868681"/>
                <a:gd name="connsiteX353" fmla="*/ 957579 w 1219200"/>
                <a:gd name="connsiteY353" fmla="*/ 615951 h 868681"/>
                <a:gd name="connsiteX354" fmla="*/ 957579 w 1219200"/>
                <a:gd name="connsiteY354" fmla="*/ 654051 h 868681"/>
                <a:gd name="connsiteX355" fmla="*/ 966470 w 1219200"/>
                <a:gd name="connsiteY355" fmla="*/ 664846 h 868681"/>
                <a:gd name="connsiteX356" fmla="*/ 981075 w 1219200"/>
                <a:gd name="connsiteY356" fmla="*/ 658496 h 868681"/>
                <a:gd name="connsiteX357" fmla="*/ 977900 w 1219200"/>
                <a:gd name="connsiteY357" fmla="*/ 681356 h 868681"/>
                <a:gd name="connsiteX358" fmla="*/ 959485 w 1219200"/>
                <a:gd name="connsiteY358" fmla="*/ 686436 h 868681"/>
                <a:gd name="connsiteX359" fmla="*/ 935355 w 1219200"/>
                <a:gd name="connsiteY359" fmla="*/ 659766 h 868681"/>
                <a:gd name="connsiteX360" fmla="*/ 935355 w 1219200"/>
                <a:gd name="connsiteY360" fmla="*/ 615951 h 868681"/>
                <a:gd name="connsiteX361" fmla="*/ 922655 w 1219200"/>
                <a:gd name="connsiteY361" fmla="*/ 615951 h 868681"/>
                <a:gd name="connsiteX362" fmla="*/ 922655 w 1219200"/>
                <a:gd name="connsiteY362" fmla="*/ 594361 h 868681"/>
                <a:gd name="connsiteX363" fmla="*/ 935355 w 1219200"/>
                <a:gd name="connsiteY363" fmla="*/ 594361 h 868681"/>
                <a:gd name="connsiteX364" fmla="*/ 935355 w 1219200"/>
                <a:gd name="connsiteY364" fmla="*/ 570866 h 868681"/>
                <a:gd name="connsiteX365" fmla="*/ 586739 w 1219200"/>
                <a:gd name="connsiteY365" fmla="*/ 559436 h 868681"/>
                <a:gd name="connsiteX366" fmla="*/ 586739 w 1219200"/>
                <a:gd name="connsiteY366" fmla="*/ 600711 h 868681"/>
                <a:gd name="connsiteX367" fmla="*/ 607695 w 1219200"/>
                <a:gd name="connsiteY367" fmla="*/ 592456 h 868681"/>
                <a:gd name="connsiteX368" fmla="*/ 639445 w 1219200"/>
                <a:gd name="connsiteY368" fmla="*/ 633731 h 868681"/>
                <a:gd name="connsiteX369" fmla="*/ 639445 w 1219200"/>
                <a:gd name="connsiteY369" fmla="*/ 684531 h 868681"/>
                <a:gd name="connsiteX370" fmla="*/ 617220 w 1219200"/>
                <a:gd name="connsiteY370" fmla="*/ 684531 h 868681"/>
                <a:gd name="connsiteX371" fmla="*/ 617220 w 1219200"/>
                <a:gd name="connsiteY371" fmla="*/ 635636 h 868681"/>
                <a:gd name="connsiteX372" fmla="*/ 601980 w 1219200"/>
                <a:gd name="connsiteY372" fmla="*/ 614681 h 868681"/>
                <a:gd name="connsiteX373" fmla="*/ 586739 w 1219200"/>
                <a:gd name="connsiteY373" fmla="*/ 635001 h 868681"/>
                <a:gd name="connsiteX374" fmla="*/ 586739 w 1219200"/>
                <a:gd name="connsiteY374" fmla="*/ 684531 h 868681"/>
                <a:gd name="connsiteX375" fmla="*/ 564515 w 1219200"/>
                <a:gd name="connsiteY375" fmla="*/ 684531 h 868681"/>
                <a:gd name="connsiteX376" fmla="*/ 564515 w 1219200"/>
                <a:gd name="connsiteY376" fmla="*/ 570866 h 868681"/>
                <a:gd name="connsiteX377" fmla="*/ 529590 w 1219200"/>
                <a:gd name="connsiteY377" fmla="*/ 559436 h 868681"/>
                <a:gd name="connsiteX378" fmla="*/ 529590 w 1219200"/>
                <a:gd name="connsiteY378" fmla="*/ 594361 h 868681"/>
                <a:gd name="connsiteX379" fmla="*/ 550545 w 1219200"/>
                <a:gd name="connsiteY379" fmla="*/ 594361 h 868681"/>
                <a:gd name="connsiteX380" fmla="*/ 550545 w 1219200"/>
                <a:gd name="connsiteY380" fmla="*/ 615951 h 868681"/>
                <a:gd name="connsiteX381" fmla="*/ 529590 w 1219200"/>
                <a:gd name="connsiteY381" fmla="*/ 615951 h 868681"/>
                <a:gd name="connsiteX382" fmla="*/ 529590 w 1219200"/>
                <a:gd name="connsiteY382" fmla="*/ 654051 h 868681"/>
                <a:gd name="connsiteX383" fmla="*/ 538480 w 1219200"/>
                <a:gd name="connsiteY383" fmla="*/ 664846 h 868681"/>
                <a:gd name="connsiteX384" fmla="*/ 553084 w 1219200"/>
                <a:gd name="connsiteY384" fmla="*/ 658496 h 868681"/>
                <a:gd name="connsiteX385" fmla="*/ 549909 w 1219200"/>
                <a:gd name="connsiteY385" fmla="*/ 681356 h 868681"/>
                <a:gd name="connsiteX386" fmla="*/ 531495 w 1219200"/>
                <a:gd name="connsiteY386" fmla="*/ 686436 h 868681"/>
                <a:gd name="connsiteX387" fmla="*/ 507364 w 1219200"/>
                <a:gd name="connsiteY387" fmla="*/ 659766 h 868681"/>
                <a:gd name="connsiteX388" fmla="*/ 507364 w 1219200"/>
                <a:gd name="connsiteY388" fmla="*/ 615951 h 868681"/>
                <a:gd name="connsiteX389" fmla="*/ 491489 w 1219200"/>
                <a:gd name="connsiteY389" fmla="*/ 615951 h 868681"/>
                <a:gd name="connsiteX390" fmla="*/ 491489 w 1219200"/>
                <a:gd name="connsiteY390" fmla="*/ 594361 h 868681"/>
                <a:gd name="connsiteX391" fmla="*/ 507364 w 1219200"/>
                <a:gd name="connsiteY391" fmla="*/ 594361 h 868681"/>
                <a:gd name="connsiteX392" fmla="*/ 507364 w 1219200"/>
                <a:gd name="connsiteY392" fmla="*/ 570866 h 868681"/>
                <a:gd name="connsiteX393" fmla="*/ 128269 w 1219200"/>
                <a:gd name="connsiteY393" fmla="*/ 559436 h 868681"/>
                <a:gd name="connsiteX394" fmla="*/ 128269 w 1219200"/>
                <a:gd name="connsiteY394" fmla="*/ 600711 h 868681"/>
                <a:gd name="connsiteX395" fmla="*/ 149224 w 1219200"/>
                <a:gd name="connsiteY395" fmla="*/ 592456 h 868681"/>
                <a:gd name="connsiteX396" fmla="*/ 180974 w 1219200"/>
                <a:gd name="connsiteY396" fmla="*/ 633731 h 868681"/>
                <a:gd name="connsiteX397" fmla="*/ 180974 w 1219200"/>
                <a:gd name="connsiteY397" fmla="*/ 684531 h 868681"/>
                <a:gd name="connsiteX398" fmla="*/ 158750 w 1219200"/>
                <a:gd name="connsiteY398" fmla="*/ 684531 h 868681"/>
                <a:gd name="connsiteX399" fmla="*/ 158750 w 1219200"/>
                <a:gd name="connsiteY399" fmla="*/ 635636 h 868681"/>
                <a:gd name="connsiteX400" fmla="*/ 143510 w 1219200"/>
                <a:gd name="connsiteY400" fmla="*/ 614681 h 868681"/>
                <a:gd name="connsiteX401" fmla="*/ 128269 w 1219200"/>
                <a:gd name="connsiteY401" fmla="*/ 635001 h 868681"/>
                <a:gd name="connsiteX402" fmla="*/ 128269 w 1219200"/>
                <a:gd name="connsiteY402" fmla="*/ 684531 h 868681"/>
                <a:gd name="connsiteX403" fmla="*/ 106045 w 1219200"/>
                <a:gd name="connsiteY403" fmla="*/ 684531 h 868681"/>
                <a:gd name="connsiteX404" fmla="*/ 106045 w 1219200"/>
                <a:gd name="connsiteY404" fmla="*/ 570866 h 868681"/>
                <a:gd name="connsiteX405" fmla="*/ 269875 w 1219200"/>
                <a:gd name="connsiteY405" fmla="*/ 635 h 868681"/>
                <a:gd name="connsiteX406" fmla="*/ 501015 w 1219200"/>
                <a:gd name="connsiteY406" fmla="*/ 635 h 868681"/>
                <a:gd name="connsiteX407" fmla="*/ 554989 w 1219200"/>
                <a:gd name="connsiteY407" fmla="*/ 94615 h 868681"/>
                <a:gd name="connsiteX408" fmla="*/ 391795 w 1219200"/>
                <a:gd name="connsiteY408" fmla="*/ 94615 h 868681"/>
                <a:gd name="connsiteX409" fmla="*/ 391795 w 1219200"/>
                <a:gd name="connsiteY409" fmla="*/ 161925 h 868681"/>
                <a:gd name="connsiteX410" fmla="*/ 539114 w 1219200"/>
                <a:gd name="connsiteY410" fmla="*/ 161925 h 868681"/>
                <a:gd name="connsiteX411" fmla="*/ 539114 w 1219200"/>
                <a:gd name="connsiteY411" fmla="*/ 247650 h 868681"/>
                <a:gd name="connsiteX412" fmla="*/ 391795 w 1219200"/>
                <a:gd name="connsiteY412" fmla="*/ 247650 h 868681"/>
                <a:gd name="connsiteX413" fmla="*/ 391795 w 1219200"/>
                <a:gd name="connsiteY413" fmla="*/ 314325 h 868681"/>
                <a:gd name="connsiteX414" fmla="*/ 595629 w 1219200"/>
                <a:gd name="connsiteY414" fmla="*/ 314325 h 868681"/>
                <a:gd name="connsiteX415" fmla="*/ 595629 w 1219200"/>
                <a:gd name="connsiteY415" fmla="*/ 408305 h 868681"/>
                <a:gd name="connsiteX416" fmla="*/ 269875 w 1219200"/>
                <a:gd name="connsiteY416" fmla="*/ 408305 h 868681"/>
                <a:gd name="connsiteX417" fmla="*/ 539114 w 1219200"/>
                <a:gd name="connsiteY417" fmla="*/ 0 h 868681"/>
                <a:gd name="connsiteX418" fmla="*/ 674370 w 1219200"/>
                <a:gd name="connsiteY418" fmla="*/ 0 h 868681"/>
                <a:gd name="connsiteX419" fmla="*/ 743584 w 1219200"/>
                <a:gd name="connsiteY419" fmla="*/ 132715 h 868681"/>
                <a:gd name="connsiteX420" fmla="*/ 812799 w 1219200"/>
                <a:gd name="connsiteY420" fmla="*/ 0 h 868681"/>
                <a:gd name="connsiteX421" fmla="*/ 946150 w 1219200"/>
                <a:gd name="connsiteY421" fmla="*/ 0 h 868681"/>
                <a:gd name="connsiteX422" fmla="*/ 803275 w 1219200"/>
                <a:gd name="connsiteY422" fmla="*/ 246380 h 868681"/>
                <a:gd name="connsiteX423" fmla="*/ 803275 w 1219200"/>
                <a:gd name="connsiteY423" fmla="*/ 407670 h 868681"/>
                <a:gd name="connsiteX424" fmla="*/ 681355 w 1219200"/>
                <a:gd name="connsiteY424" fmla="*/ 407670 h 868681"/>
                <a:gd name="connsiteX425" fmla="*/ 681355 w 1219200"/>
                <a:gd name="connsiteY425" fmla="*/ 246380 h 868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</a:cxnLst>
              <a:rect l="l" t="t" r="r" b="b"/>
              <a:pathLst>
                <a:path w="1219200" h="868681">
                  <a:moveTo>
                    <a:pt x="245110" y="839471"/>
                  </a:moveTo>
                  <a:lnTo>
                    <a:pt x="246379" y="839471"/>
                  </a:lnTo>
                  <a:lnTo>
                    <a:pt x="245041" y="839979"/>
                  </a:lnTo>
                  <a:close/>
                  <a:moveTo>
                    <a:pt x="522605" y="796926"/>
                  </a:moveTo>
                  <a:cubicBezTo>
                    <a:pt x="509905" y="796926"/>
                    <a:pt x="504189" y="807721"/>
                    <a:pt x="504189" y="821691"/>
                  </a:cubicBezTo>
                  <a:cubicBezTo>
                    <a:pt x="504189" y="831216"/>
                    <a:pt x="508000" y="845821"/>
                    <a:pt x="522605" y="845821"/>
                  </a:cubicBezTo>
                  <a:cubicBezTo>
                    <a:pt x="537845" y="845821"/>
                    <a:pt x="541019" y="831851"/>
                    <a:pt x="541019" y="821691"/>
                  </a:cubicBezTo>
                  <a:cubicBezTo>
                    <a:pt x="541019" y="807721"/>
                    <a:pt x="535305" y="796926"/>
                    <a:pt x="522605" y="796926"/>
                  </a:cubicBezTo>
                  <a:close/>
                  <a:moveTo>
                    <a:pt x="817245" y="796291"/>
                  </a:moveTo>
                  <a:cubicBezTo>
                    <a:pt x="803909" y="796291"/>
                    <a:pt x="800735" y="807086"/>
                    <a:pt x="800735" y="819786"/>
                  </a:cubicBezTo>
                  <a:cubicBezTo>
                    <a:pt x="800735" y="834391"/>
                    <a:pt x="805180" y="846456"/>
                    <a:pt x="817879" y="846456"/>
                  </a:cubicBezTo>
                  <a:cubicBezTo>
                    <a:pt x="824230" y="846456"/>
                    <a:pt x="828674" y="843281"/>
                    <a:pt x="833754" y="838836"/>
                  </a:cubicBezTo>
                  <a:lnTo>
                    <a:pt x="833754" y="838201"/>
                  </a:lnTo>
                  <a:lnTo>
                    <a:pt x="833754" y="803911"/>
                  </a:lnTo>
                  <a:cubicBezTo>
                    <a:pt x="828674" y="798831"/>
                    <a:pt x="824230" y="796291"/>
                    <a:pt x="817245" y="796291"/>
                  </a:cubicBezTo>
                  <a:close/>
                  <a:moveTo>
                    <a:pt x="1179195" y="794386"/>
                  </a:moveTo>
                  <a:cubicBezTo>
                    <a:pt x="1168400" y="794386"/>
                    <a:pt x="1163954" y="803911"/>
                    <a:pt x="1163320" y="811531"/>
                  </a:cubicBezTo>
                  <a:lnTo>
                    <a:pt x="1163954" y="811531"/>
                  </a:lnTo>
                  <a:lnTo>
                    <a:pt x="1195704" y="811531"/>
                  </a:lnTo>
                  <a:cubicBezTo>
                    <a:pt x="1195070" y="801371"/>
                    <a:pt x="1188720" y="794386"/>
                    <a:pt x="1179195" y="794386"/>
                  </a:cubicBezTo>
                  <a:close/>
                  <a:moveTo>
                    <a:pt x="909320" y="794386"/>
                  </a:moveTo>
                  <a:cubicBezTo>
                    <a:pt x="898525" y="794386"/>
                    <a:pt x="894079" y="803911"/>
                    <a:pt x="893445" y="811531"/>
                  </a:cubicBezTo>
                  <a:lnTo>
                    <a:pt x="894079" y="811531"/>
                  </a:lnTo>
                  <a:lnTo>
                    <a:pt x="925829" y="811531"/>
                  </a:lnTo>
                  <a:cubicBezTo>
                    <a:pt x="925195" y="801371"/>
                    <a:pt x="918845" y="794386"/>
                    <a:pt x="909320" y="794386"/>
                  </a:cubicBezTo>
                  <a:close/>
                  <a:moveTo>
                    <a:pt x="737870" y="775971"/>
                  </a:moveTo>
                  <a:lnTo>
                    <a:pt x="761364" y="775971"/>
                  </a:lnTo>
                  <a:lnTo>
                    <a:pt x="761364" y="866141"/>
                  </a:lnTo>
                  <a:lnTo>
                    <a:pt x="737870" y="866141"/>
                  </a:lnTo>
                  <a:close/>
                  <a:moveTo>
                    <a:pt x="143510" y="775971"/>
                  </a:moveTo>
                  <a:lnTo>
                    <a:pt x="167004" y="775971"/>
                  </a:lnTo>
                  <a:lnTo>
                    <a:pt x="167004" y="866141"/>
                  </a:lnTo>
                  <a:lnTo>
                    <a:pt x="143510" y="866141"/>
                  </a:lnTo>
                  <a:close/>
                  <a:moveTo>
                    <a:pt x="635" y="775971"/>
                  </a:moveTo>
                  <a:lnTo>
                    <a:pt x="26670" y="775971"/>
                  </a:lnTo>
                  <a:lnTo>
                    <a:pt x="40004" y="828041"/>
                  </a:lnTo>
                  <a:lnTo>
                    <a:pt x="55245" y="775971"/>
                  </a:lnTo>
                  <a:lnTo>
                    <a:pt x="76200" y="775971"/>
                  </a:lnTo>
                  <a:lnTo>
                    <a:pt x="91439" y="828041"/>
                  </a:lnTo>
                  <a:lnTo>
                    <a:pt x="105409" y="775971"/>
                  </a:lnTo>
                  <a:lnTo>
                    <a:pt x="130810" y="775971"/>
                  </a:lnTo>
                  <a:lnTo>
                    <a:pt x="102235" y="866141"/>
                  </a:lnTo>
                  <a:lnTo>
                    <a:pt x="80644" y="866141"/>
                  </a:lnTo>
                  <a:lnTo>
                    <a:pt x="65405" y="811531"/>
                  </a:lnTo>
                  <a:lnTo>
                    <a:pt x="50165" y="866141"/>
                  </a:lnTo>
                  <a:lnTo>
                    <a:pt x="28575" y="866141"/>
                  </a:lnTo>
                  <a:close/>
                  <a:moveTo>
                    <a:pt x="1181099" y="774066"/>
                  </a:moveTo>
                  <a:cubicBezTo>
                    <a:pt x="1204595" y="774066"/>
                    <a:pt x="1219200" y="795021"/>
                    <a:pt x="1219200" y="821056"/>
                  </a:cubicBezTo>
                  <a:lnTo>
                    <a:pt x="1218564" y="821056"/>
                  </a:lnTo>
                  <a:cubicBezTo>
                    <a:pt x="1218564" y="821056"/>
                    <a:pt x="1218564" y="827406"/>
                    <a:pt x="1218564" y="828676"/>
                  </a:cubicBezTo>
                  <a:lnTo>
                    <a:pt x="1163954" y="828676"/>
                  </a:lnTo>
                  <a:cubicBezTo>
                    <a:pt x="1165224" y="841376"/>
                    <a:pt x="1173480" y="846456"/>
                    <a:pt x="1183004" y="846456"/>
                  </a:cubicBezTo>
                  <a:cubicBezTo>
                    <a:pt x="1188720" y="846456"/>
                    <a:pt x="1193799" y="844551"/>
                    <a:pt x="1198879" y="840106"/>
                  </a:cubicBezTo>
                  <a:lnTo>
                    <a:pt x="1214754" y="853441"/>
                  </a:lnTo>
                  <a:cubicBezTo>
                    <a:pt x="1206500" y="864236"/>
                    <a:pt x="1193799" y="868046"/>
                    <a:pt x="1182370" y="868046"/>
                  </a:cubicBezTo>
                  <a:cubicBezTo>
                    <a:pt x="1156335" y="868046"/>
                    <a:pt x="1141095" y="847726"/>
                    <a:pt x="1141095" y="821056"/>
                  </a:cubicBezTo>
                  <a:cubicBezTo>
                    <a:pt x="1141095" y="792481"/>
                    <a:pt x="1158875" y="774066"/>
                    <a:pt x="1181099" y="774066"/>
                  </a:cubicBezTo>
                  <a:close/>
                  <a:moveTo>
                    <a:pt x="1097915" y="774066"/>
                  </a:moveTo>
                  <a:cubicBezTo>
                    <a:pt x="1113790" y="774066"/>
                    <a:pt x="1125220" y="781051"/>
                    <a:pt x="1133474" y="793751"/>
                  </a:cubicBezTo>
                  <a:lnTo>
                    <a:pt x="1118235" y="808991"/>
                  </a:lnTo>
                  <a:cubicBezTo>
                    <a:pt x="1113155" y="802006"/>
                    <a:pt x="1107439" y="796291"/>
                    <a:pt x="1097915" y="796291"/>
                  </a:cubicBezTo>
                  <a:cubicBezTo>
                    <a:pt x="1085215" y="796291"/>
                    <a:pt x="1078864" y="807086"/>
                    <a:pt x="1078864" y="820421"/>
                  </a:cubicBezTo>
                  <a:cubicBezTo>
                    <a:pt x="1078864" y="833121"/>
                    <a:pt x="1084579" y="845186"/>
                    <a:pt x="1097915" y="845186"/>
                  </a:cubicBezTo>
                  <a:cubicBezTo>
                    <a:pt x="1106170" y="845186"/>
                    <a:pt x="1113155" y="840741"/>
                    <a:pt x="1118235" y="833756"/>
                  </a:cubicBezTo>
                  <a:lnTo>
                    <a:pt x="1118870" y="834391"/>
                  </a:lnTo>
                  <a:lnTo>
                    <a:pt x="1133474" y="848361"/>
                  </a:lnTo>
                  <a:cubicBezTo>
                    <a:pt x="1125855" y="857886"/>
                    <a:pt x="1115060" y="868046"/>
                    <a:pt x="1097280" y="868046"/>
                  </a:cubicBezTo>
                  <a:cubicBezTo>
                    <a:pt x="1072515" y="868046"/>
                    <a:pt x="1054735" y="848361"/>
                    <a:pt x="1054735" y="821056"/>
                  </a:cubicBezTo>
                  <a:cubicBezTo>
                    <a:pt x="1054735" y="796291"/>
                    <a:pt x="1069974" y="774066"/>
                    <a:pt x="1097915" y="774066"/>
                  </a:cubicBezTo>
                  <a:close/>
                  <a:moveTo>
                    <a:pt x="1009015" y="774066"/>
                  </a:moveTo>
                  <a:cubicBezTo>
                    <a:pt x="1033144" y="774066"/>
                    <a:pt x="1041400" y="793116"/>
                    <a:pt x="1041400" y="815341"/>
                  </a:cubicBezTo>
                  <a:lnTo>
                    <a:pt x="1041400" y="866141"/>
                  </a:lnTo>
                  <a:lnTo>
                    <a:pt x="1017905" y="866141"/>
                  </a:lnTo>
                  <a:lnTo>
                    <a:pt x="1017905" y="817246"/>
                  </a:lnTo>
                  <a:cubicBezTo>
                    <a:pt x="1017905" y="804546"/>
                    <a:pt x="1014730" y="796291"/>
                    <a:pt x="1002665" y="796291"/>
                  </a:cubicBezTo>
                  <a:cubicBezTo>
                    <a:pt x="990599" y="796291"/>
                    <a:pt x="986790" y="803276"/>
                    <a:pt x="986790" y="816611"/>
                  </a:cubicBezTo>
                  <a:lnTo>
                    <a:pt x="986790" y="866141"/>
                  </a:lnTo>
                  <a:lnTo>
                    <a:pt x="963295" y="866141"/>
                  </a:lnTo>
                  <a:lnTo>
                    <a:pt x="963295" y="775971"/>
                  </a:lnTo>
                  <a:lnTo>
                    <a:pt x="986790" y="775971"/>
                  </a:lnTo>
                  <a:lnTo>
                    <a:pt x="986790" y="782321"/>
                  </a:lnTo>
                  <a:cubicBezTo>
                    <a:pt x="991870" y="777241"/>
                    <a:pt x="998855" y="774066"/>
                    <a:pt x="1009015" y="774066"/>
                  </a:cubicBezTo>
                  <a:close/>
                  <a:moveTo>
                    <a:pt x="911224" y="774066"/>
                  </a:moveTo>
                  <a:cubicBezTo>
                    <a:pt x="934720" y="774066"/>
                    <a:pt x="949325" y="795021"/>
                    <a:pt x="949325" y="821056"/>
                  </a:cubicBezTo>
                  <a:lnTo>
                    <a:pt x="948689" y="821056"/>
                  </a:lnTo>
                  <a:cubicBezTo>
                    <a:pt x="948689" y="821056"/>
                    <a:pt x="948689" y="827406"/>
                    <a:pt x="948689" y="828676"/>
                  </a:cubicBezTo>
                  <a:lnTo>
                    <a:pt x="894079" y="828676"/>
                  </a:lnTo>
                  <a:cubicBezTo>
                    <a:pt x="895349" y="841376"/>
                    <a:pt x="903605" y="846456"/>
                    <a:pt x="913129" y="846456"/>
                  </a:cubicBezTo>
                  <a:cubicBezTo>
                    <a:pt x="918845" y="846456"/>
                    <a:pt x="923924" y="844551"/>
                    <a:pt x="929004" y="840106"/>
                  </a:cubicBezTo>
                  <a:lnTo>
                    <a:pt x="944879" y="853441"/>
                  </a:lnTo>
                  <a:cubicBezTo>
                    <a:pt x="936625" y="864236"/>
                    <a:pt x="923924" y="868046"/>
                    <a:pt x="912495" y="868046"/>
                  </a:cubicBezTo>
                  <a:cubicBezTo>
                    <a:pt x="886459" y="868046"/>
                    <a:pt x="871220" y="847726"/>
                    <a:pt x="871220" y="821056"/>
                  </a:cubicBezTo>
                  <a:cubicBezTo>
                    <a:pt x="871220" y="792481"/>
                    <a:pt x="889000" y="774066"/>
                    <a:pt x="911224" y="774066"/>
                  </a:cubicBezTo>
                  <a:close/>
                  <a:moveTo>
                    <a:pt x="623570" y="774066"/>
                  </a:moveTo>
                  <a:cubicBezTo>
                    <a:pt x="647700" y="774066"/>
                    <a:pt x="655954" y="793116"/>
                    <a:pt x="655954" y="815341"/>
                  </a:cubicBezTo>
                  <a:lnTo>
                    <a:pt x="655954" y="866141"/>
                  </a:lnTo>
                  <a:lnTo>
                    <a:pt x="632459" y="866141"/>
                  </a:lnTo>
                  <a:lnTo>
                    <a:pt x="632459" y="817246"/>
                  </a:lnTo>
                  <a:cubicBezTo>
                    <a:pt x="632459" y="804546"/>
                    <a:pt x="629284" y="796291"/>
                    <a:pt x="617220" y="796291"/>
                  </a:cubicBezTo>
                  <a:cubicBezTo>
                    <a:pt x="605155" y="796291"/>
                    <a:pt x="601345" y="803276"/>
                    <a:pt x="601345" y="816611"/>
                  </a:cubicBezTo>
                  <a:lnTo>
                    <a:pt x="601345" y="866141"/>
                  </a:lnTo>
                  <a:lnTo>
                    <a:pt x="577849" y="866141"/>
                  </a:lnTo>
                  <a:lnTo>
                    <a:pt x="577849" y="775971"/>
                  </a:lnTo>
                  <a:lnTo>
                    <a:pt x="601345" y="775971"/>
                  </a:lnTo>
                  <a:lnTo>
                    <a:pt x="601345" y="782321"/>
                  </a:lnTo>
                  <a:cubicBezTo>
                    <a:pt x="606424" y="777241"/>
                    <a:pt x="613409" y="774066"/>
                    <a:pt x="623570" y="774066"/>
                  </a:cubicBezTo>
                  <a:close/>
                  <a:moveTo>
                    <a:pt x="522605" y="774066"/>
                  </a:moveTo>
                  <a:cubicBezTo>
                    <a:pt x="548004" y="774066"/>
                    <a:pt x="564515" y="793116"/>
                    <a:pt x="564515" y="821056"/>
                  </a:cubicBezTo>
                  <a:cubicBezTo>
                    <a:pt x="564515" y="848996"/>
                    <a:pt x="546735" y="868046"/>
                    <a:pt x="522605" y="868046"/>
                  </a:cubicBezTo>
                  <a:cubicBezTo>
                    <a:pt x="498474" y="868046"/>
                    <a:pt x="480695" y="848996"/>
                    <a:pt x="480695" y="821056"/>
                  </a:cubicBezTo>
                  <a:cubicBezTo>
                    <a:pt x="480695" y="794386"/>
                    <a:pt x="496570" y="774066"/>
                    <a:pt x="522605" y="774066"/>
                  </a:cubicBezTo>
                  <a:close/>
                  <a:moveTo>
                    <a:pt x="436879" y="774066"/>
                  </a:moveTo>
                  <a:cubicBezTo>
                    <a:pt x="452754" y="774066"/>
                    <a:pt x="464185" y="781051"/>
                    <a:pt x="472439" y="793751"/>
                  </a:cubicBezTo>
                  <a:lnTo>
                    <a:pt x="457200" y="808991"/>
                  </a:lnTo>
                  <a:cubicBezTo>
                    <a:pt x="452120" y="802006"/>
                    <a:pt x="446405" y="796291"/>
                    <a:pt x="436879" y="796291"/>
                  </a:cubicBezTo>
                  <a:cubicBezTo>
                    <a:pt x="424180" y="796291"/>
                    <a:pt x="417829" y="807086"/>
                    <a:pt x="417829" y="820421"/>
                  </a:cubicBezTo>
                  <a:cubicBezTo>
                    <a:pt x="417829" y="833121"/>
                    <a:pt x="423545" y="845186"/>
                    <a:pt x="436879" y="845186"/>
                  </a:cubicBezTo>
                  <a:cubicBezTo>
                    <a:pt x="445135" y="845186"/>
                    <a:pt x="452120" y="840741"/>
                    <a:pt x="457200" y="833756"/>
                  </a:cubicBezTo>
                  <a:lnTo>
                    <a:pt x="457834" y="834391"/>
                  </a:lnTo>
                  <a:lnTo>
                    <a:pt x="472439" y="848361"/>
                  </a:lnTo>
                  <a:cubicBezTo>
                    <a:pt x="464820" y="857886"/>
                    <a:pt x="454025" y="868046"/>
                    <a:pt x="436245" y="868046"/>
                  </a:cubicBezTo>
                  <a:cubicBezTo>
                    <a:pt x="411480" y="868046"/>
                    <a:pt x="393700" y="848361"/>
                    <a:pt x="393700" y="821056"/>
                  </a:cubicBezTo>
                  <a:cubicBezTo>
                    <a:pt x="393700" y="796291"/>
                    <a:pt x="408939" y="774066"/>
                    <a:pt x="436879" y="774066"/>
                  </a:cubicBezTo>
                  <a:close/>
                  <a:moveTo>
                    <a:pt x="219075" y="742316"/>
                  </a:moveTo>
                  <a:lnTo>
                    <a:pt x="219075" y="777241"/>
                  </a:lnTo>
                  <a:lnTo>
                    <a:pt x="245110" y="777241"/>
                  </a:lnTo>
                  <a:lnTo>
                    <a:pt x="245110" y="798831"/>
                  </a:lnTo>
                  <a:lnTo>
                    <a:pt x="219075" y="798831"/>
                  </a:lnTo>
                  <a:lnTo>
                    <a:pt x="219075" y="835661"/>
                  </a:lnTo>
                  <a:cubicBezTo>
                    <a:pt x="219075" y="843916"/>
                    <a:pt x="222250" y="846456"/>
                    <a:pt x="227965" y="846456"/>
                  </a:cubicBezTo>
                  <a:lnTo>
                    <a:pt x="245041" y="839979"/>
                  </a:lnTo>
                  <a:lnTo>
                    <a:pt x="241935" y="862966"/>
                  </a:lnTo>
                  <a:cubicBezTo>
                    <a:pt x="236855" y="866776"/>
                    <a:pt x="225424" y="868681"/>
                    <a:pt x="219709" y="868681"/>
                  </a:cubicBezTo>
                  <a:cubicBezTo>
                    <a:pt x="205739" y="868681"/>
                    <a:pt x="195579" y="857251"/>
                    <a:pt x="195579" y="842011"/>
                  </a:cubicBezTo>
                  <a:lnTo>
                    <a:pt x="195579" y="798831"/>
                  </a:lnTo>
                  <a:lnTo>
                    <a:pt x="179704" y="798831"/>
                  </a:lnTo>
                  <a:lnTo>
                    <a:pt x="179704" y="777241"/>
                  </a:lnTo>
                  <a:lnTo>
                    <a:pt x="195579" y="777241"/>
                  </a:lnTo>
                  <a:lnTo>
                    <a:pt x="195579" y="753746"/>
                  </a:lnTo>
                  <a:close/>
                  <a:moveTo>
                    <a:pt x="749935" y="741681"/>
                  </a:moveTo>
                  <a:cubicBezTo>
                    <a:pt x="757555" y="741681"/>
                    <a:pt x="763269" y="747396"/>
                    <a:pt x="763269" y="755016"/>
                  </a:cubicBezTo>
                  <a:cubicBezTo>
                    <a:pt x="763269" y="762636"/>
                    <a:pt x="757555" y="768351"/>
                    <a:pt x="749935" y="768351"/>
                  </a:cubicBezTo>
                  <a:cubicBezTo>
                    <a:pt x="742314" y="768351"/>
                    <a:pt x="736599" y="762636"/>
                    <a:pt x="736599" y="755016"/>
                  </a:cubicBezTo>
                  <a:cubicBezTo>
                    <a:pt x="736599" y="747396"/>
                    <a:pt x="742314" y="741681"/>
                    <a:pt x="749935" y="741681"/>
                  </a:cubicBezTo>
                  <a:close/>
                  <a:moveTo>
                    <a:pt x="154939" y="741681"/>
                  </a:moveTo>
                  <a:cubicBezTo>
                    <a:pt x="162560" y="741681"/>
                    <a:pt x="168275" y="747396"/>
                    <a:pt x="168275" y="755016"/>
                  </a:cubicBezTo>
                  <a:cubicBezTo>
                    <a:pt x="168275" y="762636"/>
                    <a:pt x="162560" y="768351"/>
                    <a:pt x="154939" y="768351"/>
                  </a:cubicBezTo>
                  <a:cubicBezTo>
                    <a:pt x="147320" y="768351"/>
                    <a:pt x="141605" y="762636"/>
                    <a:pt x="141605" y="755016"/>
                  </a:cubicBezTo>
                  <a:cubicBezTo>
                    <a:pt x="141605" y="747396"/>
                    <a:pt x="147320" y="741681"/>
                    <a:pt x="154939" y="741681"/>
                  </a:cubicBezTo>
                  <a:close/>
                  <a:moveTo>
                    <a:pt x="856614" y="741046"/>
                  </a:moveTo>
                  <a:lnTo>
                    <a:pt x="856614" y="866141"/>
                  </a:lnTo>
                  <a:lnTo>
                    <a:pt x="833120" y="866141"/>
                  </a:lnTo>
                  <a:lnTo>
                    <a:pt x="833120" y="860426"/>
                  </a:lnTo>
                  <a:cubicBezTo>
                    <a:pt x="825500" y="866141"/>
                    <a:pt x="821055" y="868046"/>
                    <a:pt x="812799" y="868046"/>
                  </a:cubicBezTo>
                  <a:cubicBezTo>
                    <a:pt x="786765" y="868046"/>
                    <a:pt x="775970" y="845821"/>
                    <a:pt x="775970" y="820421"/>
                  </a:cubicBezTo>
                  <a:cubicBezTo>
                    <a:pt x="775970" y="793116"/>
                    <a:pt x="788670" y="774066"/>
                    <a:pt x="812165" y="774066"/>
                  </a:cubicBezTo>
                  <a:cubicBezTo>
                    <a:pt x="819784" y="774066"/>
                    <a:pt x="827405" y="775971"/>
                    <a:pt x="833120" y="781051"/>
                  </a:cubicBezTo>
                  <a:lnTo>
                    <a:pt x="833120" y="752476"/>
                  </a:lnTo>
                  <a:close/>
                  <a:moveTo>
                    <a:pt x="707390" y="741046"/>
                  </a:moveTo>
                  <a:cubicBezTo>
                    <a:pt x="712470" y="741046"/>
                    <a:pt x="719454" y="741046"/>
                    <a:pt x="724534" y="743586"/>
                  </a:cubicBezTo>
                  <a:lnTo>
                    <a:pt x="724534" y="744221"/>
                  </a:lnTo>
                  <a:lnTo>
                    <a:pt x="724534" y="762636"/>
                  </a:lnTo>
                  <a:cubicBezTo>
                    <a:pt x="721360" y="761366"/>
                    <a:pt x="716280" y="760731"/>
                    <a:pt x="713105" y="760731"/>
                  </a:cubicBezTo>
                  <a:cubicBezTo>
                    <a:pt x="706120" y="760731"/>
                    <a:pt x="703579" y="762636"/>
                    <a:pt x="703579" y="768351"/>
                  </a:cubicBezTo>
                  <a:lnTo>
                    <a:pt x="703579" y="775336"/>
                  </a:lnTo>
                  <a:lnTo>
                    <a:pt x="722629" y="775336"/>
                  </a:lnTo>
                  <a:lnTo>
                    <a:pt x="722629" y="796926"/>
                  </a:lnTo>
                  <a:lnTo>
                    <a:pt x="703579" y="796926"/>
                  </a:lnTo>
                  <a:lnTo>
                    <a:pt x="703579" y="865506"/>
                  </a:lnTo>
                  <a:lnTo>
                    <a:pt x="680084" y="865506"/>
                  </a:lnTo>
                  <a:lnTo>
                    <a:pt x="680084" y="796926"/>
                  </a:lnTo>
                  <a:lnTo>
                    <a:pt x="667385" y="796926"/>
                  </a:lnTo>
                  <a:lnTo>
                    <a:pt x="667385" y="775336"/>
                  </a:lnTo>
                  <a:lnTo>
                    <a:pt x="680084" y="775336"/>
                  </a:lnTo>
                  <a:lnTo>
                    <a:pt x="680084" y="764541"/>
                  </a:lnTo>
                  <a:cubicBezTo>
                    <a:pt x="680084" y="748031"/>
                    <a:pt x="690879" y="741046"/>
                    <a:pt x="707390" y="741046"/>
                  </a:cubicBezTo>
                  <a:close/>
                  <a:moveTo>
                    <a:pt x="282575" y="741046"/>
                  </a:moveTo>
                  <a:lnTo>
                    <a:pt x="282575" y="782321"/>
                  </a:lnTo>
                  <a:cubicBezTo>
                    <a:pt x="287019" y="777241"/>
                    <a:pt x="295909" y="774066"/>
                    <a:pt x="304799" y="774066"/>
                  </a:cubicBezTo>
                  <a:cubicBezTo>
                    <a:pt x="328295" y="774066"/>
                    <a:pt x="336549" y="792481"/>
                    <a:pt x="336549" y="815341"/>
                  </a:cubicBezTo>
                  <a:lnTo>
                    <a:pt x="336549" y="866141"/>
                  </a:lnTo>
                  <a:lnTo>
                    <a:pt x="313689" y="866141"/>
                  </a:lnTo>
                  <a:lnTo>
                    <a:pt x="313689" y="817246"/>
                  </a:lnTo>
                  <a:cubicBezTo>
                    <a:pt x="313689" y="804546"/>
                    <a:pt x="310515" y="796291"/>
                    <a:pt x="298450" y="796291"/>
                  </a:cubicBezTo>
                  <a:cubicBezTo>
                    <a:pt x="286385" y="796291"/>
                    <a:pt x="282575" y="803276"/>
                    <a:pt x="282575" y="816611"/>
                  </a:cubicBezTo>
                  <a:lnTo>
                    <a:pt x="282575" y="866141"/>
                  </a:lnTo>
                  <a:lnTo>
                    <a:pt x="259079" y="866141"/>
                  </a:lnTo>
                  <a:lnTo>
                    <a:pt x="259079" y="752476"/>
                  </a:lnTo>
                  <a:close/>
                  <a:moveTo>
                    <a:pt x="92709" y="648336"/>
                  </a:moveTo>
                  <a:lnTo>
                    <a:pt x="92709" y="649606"/>
                  </a:lnTo>
                  <a:lnTo>
                    <a:pt x="92427" y="648959"/>
                  </a:lnTo>
                  <a:close/>
                  <a:moveTo>
                    <a:pt x="230504" y="643256"/>
                  </a:moveTo>
                  <a:cubicBezTo>
                    <a:pt x="220345" y="643256"/>
                    <a:pt x="215900" y="647701"/>
                    <a:pt x="215900" y="654686"/>
                  </a:cubicBezTo>
                  <a:cubicBezTo>
                    <a:pt x="215900" y="661671"/>
                    <a:pt x="220345" y="667386"/>
                    <a:pt x="228599" y="667386"/>
                  </a:cubicBezTo>
                  <a:cubicBezTo>
                    <a:pt x="233045" y="667386"/>
                    <a:pt x="240665" y="666116"/>
                    <a:pt x="245745" y="658496"/>
                  </a:cubicBezTo>
                  <a:lnTo>
                    <a:pt x="245745" y="647066"/>
                  </a:lnTo>
                  <a:cubicBezTo>
                    <a:pt x="241299" y="643891"/>
                    <a:pt x="234950" y="643256"/>
                    <a:pt x="230504" y="643256"/>
                  </a:cubicBezTo>
                  <a:close/>
                  <a:moveTo>
                    <a:pt x="321310" y="614046"/>
                  </a:moveTo>
                  <a:cubicBezTo>
                    <a:pt x="314959" y="614046"/>
                    <a:pt x="309879" y="617221"/>
                    <a:pt x="306704" y="622301"/>
                  </a:cubicBezTo>
                  <a:lnTo>
                    <a:pt x="306704" y="656591"/>
                  </a:lnTo>
                  <a:cubicBezTo>
                    <a:pt x="310515" y="661671"/>
                    <a:pt x="316230" y="664846"/>
                    <a:pt x="323215" y="664846"/>
                  </a:cubicBezTo>
                  <a:cubicBezTo>
                    <a:pt x="335915" y="664846"/>
                    <a:pt x="339090" y="653416"/>
                    <a:pt x="339090" y="640716"/>
                  </a:cubicBezTo>
                  <a:lnTo>
                    <a:pt x="338454" y="640716"/>
                  </a:lnTo>
                  <a:cubicBezTo>
                    <a:pt x="338454" y="627381"/>
                    <a:pt x="335280" y="614046"/>
                    <a:pt x="321310" y="614046"/>
                  </a:cubicBezTo>
                  <a:close/>
                  <a:moveTo>
                    <a:pt x="1179195" y="612776"/>
                  </a:moveTo>
                  <a:cubicBezTo>
                    <a:pt x="1168400" y="612776"/>
                    <a:pt x="1163954" y="622301"/>
                    <a:pt x="1163320" y="629921"/>
                  </a:cubicBezTo>
                  <a:lnTo>
                    <a:pt x="1163954" y="629921"/>
                  </a:lnTo>
                  <a:lnTo>
                    <a:pt x="1195704" y="629921"/>
                  </a:lnTo>
                  <a:cubicBezTo>
                    <a:pt x="1195070" y="619761"/>
                    <a:pt x="1188720" y="612776"/>
                    <a:pt x="1179195" y="612776"/>
                  </a:cubicBezTo>
                  <a:close/>
                  <a:moveTo>
                    <a:pt x="689610" y="612776"/>
                  </a:moveTo>
                  <a:cubicBezTo>
                    <a:pt x="678814" y="612776"/>
                    <a:pt x="674370" y="622301"/>
                    <a:pt x="673735" y="629921"/>
                  </a:cubicBezTo>
                  <a:lnTo>
                    <a:pt x="674370" y="629921"/>
                  </a:lnTo>
                  <a:lnTo>
                    <a:pt x="706120" y="629921"/>
                  </a:lnTo>
                  <a:cubicBezTo>
                    <a:pt x="705485" y="619761"/>
                    <a:pt x="699135" y="612776"/>
                    <a:pt x="689610" y="612776"/>
                  </a:cubicBezTo>
                  <a:close/>
                  <a:moveTo>
                    <a:pt x="410845" y="612776"/>
                  </a:moveTo>
                  <a:cubicBezTo>
                    <a:pt x="400685" y="612776"/>
                    <a:pt x="396239" y="622301"/>
                    <a:pt x="395605" y="629921"/>
                  </a:cubicBezTo>
                  <a:lnTo>
                    <a:pt x="427355" y="629921"/>
                  </a:lnTo>
                  <a:cubicBezTo>
                    <a:pt x="426084" y="619761"/>
                    <a:pt x="420370" y="612776"/>
                    <a:pt x="410845" y="612776"/>
                  </a:cubicBezTo>
                  <a:close/>
                  <a:moveTo>
                    <a:pt x="991870" y="594361"/>
                  </a:moveTo>
                  <a:lnTo>
                    <a:pt x="1014095" y="594361"/>
                  </a:lnTo>
                  <a:lnTo>
                    <a:pt x="1014095" y="643256"/>
                  </a:lnTo>
                  <a:cubicBezTo>
                    <a:pt x="1014095" y="655321"/>
                    <a:pt x="1016635" y="664846"/>
                    <a:pt x="1029334" y="664846"/>
                  </a:cubicBezTo>
                  <a:cubicBezTo>
                    <a:pt x="1042034" y="664846"/>
                    <a:pt x="1044575" y="655321"/>
                    <a:pt x="1044575" y="644526"/>
                  </a:cubicBezTo>
                  <a:lnTo>
                    <a:pt x="1044575" y="594996"/>
                  </a:lnTo>
                  <a:lnTo>
                    <a:pt x="1066799" y="594996"/>
                  </a:lnTo>
                  <a:lnTo>
                    <a:pt x="1066799" y="684531"/>
                  </a:lnTo>
                  <a:lnTo>
                    <a:pt x="1044575" y="684531"/>
                  </a:lnTo>
                  <a:lnTo>
                    <a:pt x="1044575" y="678181"/>
                  </a:lnTo>
                  <a:cubicBezTo>
                    <a:pt x="1039495" y="683896"/>
                    <a:pt x="1031875" y="686436"/>
                    <a:pt x="1023620" y="686436"/>
                  </a:cubicBezTo>
                  <a:cubicBezTo>
                    <a:pt x="1000125" y="686436"/>
                    <a:pt x="991870" y="669926"/>
                    <a:pt x="991870" y="645161"/>
                  </a:cubicBezTo>
                  <a:close/>
                  <a:moveTo>
                    <a:pt x="836295" y="594361"/>
                  </a:moveTo>
                  <a:lnTo>
                    <a:pt x="858519" y="594361"/>
                  </a:lnTo>
                  <a:lnTo>
                    <a:pt x="858519" y="643256"/>
                  </a:lnTo>
                  <a:cubicBezTo>
                    <a:pt x="858519" y="655321"/>
                    <a:pt x="861060" y="664846"/>
                    <a:pt x="873760" y="664846"/>
                  </a:cubicBezTo>
                  <a:cubicBezTo>
                    <a:pt x="886459" y="664846"/>
                    <a:pt x="889000" y="655321"/>
                    <a:pt x="889000" y="644526"/>
                  </a:cubicBezTo>
                  <a:lnTo>
                    <a:pt x="889000" y="594996"/>
                  </a:lnTo>
                  <a:lnTo>
                    <a:pt x="911224" y="594996"/>
                  </a:lnTo>
                  <a:lnTo>
                    <a:pt x="911224" y="684531"/>
                  </a:lnTo>
                  <a:lnTo>
                    <a:pt x="889000" y="684531"/>
                  </a:lnTo>
                  <a:lnTo>
                    <a:pt x="889000" y="678181"/>
                  </a:lnTo>
                  <a:cubicBezTo>
                    <a:pt x="883920" y="683896"/>
                    <a:pt x="876299" y="686436"/>
                    <a:pt x="868045" y="686436"/>
                  </a:cubicBezTo>
                  <a:cubicBezTo>
                    <a:pt x="844549" y="686436"/>
                    <a:pt x="836295" y="669926"/>
                    <a:pt x="836295" y="645161"/>
                  </a:cubicBezTo>
                  <a:close/>
                  <a:moveTo>
                    <a:pt x="1181099" y="592456"/>
                  </a:moveTo>
                  <a:cubicBezTo>
                    <a:pt x="1204595" y="592456"/>
                    <a:pt x="1219200" y="613411"/>
                    <a:pt x="1219200" y="639446"/>
                  </a:cubicBezTo>
                  <a:lnTo>
                    <a:pt x="1218564" y="639446"/>
                  </a:lnTo>
                  <a:cubicBezTo>
                    <a:pt x="1218564" y="639446"/>
                    <a:pt x="1218564" y="645796"/>
                    <a:pt x="1218564" y="647066"/>
                  </a:cubicBezTo>
                  <a:lnTo>
                    <a:pt x="1163954" y="647066"/>
                  </a:lnTo>
                  <a:cubicBezTo>
                    <a:pt x="1165224" y="659766"/>
                    <a:pt x="1173480" y="664846"/>
                    <a:pt x="1183004" y="664846"/>
                  </a:cubicBezTo>
                  <a:cubicBezTo>
                    <a:pt x="1188720" y="664846"/>
                    <a:pt x="1193799" y="662941"/>
                    <a:pt x="1198879" y="658496"/>
                  </a:cubicBezTo>
                  <a:lnTo>
                    <a:pt x="1214754" y="671831"/>
                  </a:lnTo>
                  <a:cubicBezTo>
                    <a:pt x="1206500" y="682626"/>
                    <a:pt x="1193799" y="686436"/>
                    <a:pt x="1182370" y="686436"/>
                  </a:cubicBezTo>
                  <a:cubicBezTo>
                    <a:pt x="1156335" y="686436"/>
                    <a:pt x="1141095" y="666116"/>
                    <a:pt x="1141095" y="639446"/>
                  </a:cubicBezTo>
                  <a:cubicBezTo>
                    <a:pt x="1141095" y="610871"/>
                    <a:pt x="1158875" y="592456"/>
                    <a:pt x="1181099" y="592456"/>
                  </a:cubicBezTo>
                  <a:close/>
                  <a:moveTo>
                    <a:pt x="691515" y="592456"/>
                  </a:moveTo>
                  <a:cubicBezTo>
                    <a:pt x="715010" y="592456"/>
                    <a:pt x="729614" y="613411"/>
                    <a:pt x="729614" y="639446"/>
                  </a:cubicBezTo>
                  <a:lnTo>
                    <a:pt x="728980" y="639446"/>
                  </a:lnTo>
                  <a:cubicBezTo>
                    <a:pt x="728980" y="639446"/>
                    <a:pt x="728980" y="645796"/>
                    <a:pt x="728980" y="647066"/>
                  </a:cubicBezTo>
                  <a:lnTo>
                    <a:pt x="674370" y="647066"/>
                  </a:lnTo>
                  <a:cubicBezTo>
                    <a:pt x="675640" y="659766"/>
                    <a:pt x="683894" y="664846"/>
                    <a:pt x="693420" y="664846"/>
                  </a:cubicBezTo>
                  <a:cubicBezTo>
                    <a:pt x="699135" y="664846"/>
                    <a:pt x="704215" y="662941"/>
                    <a:pt x="709295" y="658496"/>
                  </a:cubicBezTo>
                  <a:lnTo>
                    <a:pt x="725170" y="671831"/>
                  </a:lnTo>
                  <a:cubicBezTo>
                    <a:pt x="716915" y="682626"/>
                    <a:pt x="704215" y="686436"/>
                    <a:pt x="692784" y="686436"/>
                  </a:cubicBezTo>
                  <a:cubicBezTo>
                    <a:pt x="666750" y="686436"/>
                    <a:pt x="651510" y="666116"/>
                    <a:pt x="651510" y="639446"/>
                  </a:cubicBezTo>
                  <a:cubicBezTo>
                    <a:pt x="651510" y="610871"/>
                    <a:pt x="669290" y="592456"/>
                    <a:pt x="691515" y="592456"/>
                  </a:cubicBezTo>
                  <a:close/>
                  <a:moveTo>
                    <a:pt x="412114" y="592456"/>
                  </a:moveTo>
                  <a:cubicBezTo>
                    <a:pt x="437515" y="592456"/>
                    <a:pt x="448310" y="615316"/>
                    <a:pt x="448310" y="639446"/>
                  </a:cubicBezTo>
                  <a:cubicBezTo>
                    <a:pt x="448310" y="639446"/>
                    <a:pt x="448310" y="645796"/>
                    <a:pt x="448310" y="647066"/>
                  </a:cubicBezTo>
                  <a:lnTo>
                    <a:pt x="395605" y="647066"/>
                  </a:lnTo>
                  <a:cubicBezTo>
                    <a:pt x="396875" y="659766"/>
                    <a:pt x="405129" y="664846"/>
                    <a:pt x="415290" y="664846"/>
                  </a:cubicBezTo>
                  <a:cubicBezTo>
                    <a:pt x="421004" y="664846"/>
                    <a:pt x="426084" y="662941"/>
                    <a:pt x="430530" y="658496"/>
                  </a:cubicBezTo>
                  <a:lnTo>
                    <a:pt x="446405" y="671831"/>
                  </a:lnTo>
                  <a:cubicBezTo>
                    <a:pt x="438784" y="681991"/>
                    <a:pt x="425450" y="686436"/>
                    <a:pt x="413385" y="686436"/>
                  </a:cubicBezTo>
                  <a:cubicBezTo>
                    <a:pt x="387349" y="686436"/>
                    <a:pt x="372110" y="666116"/>
                    <a:pt x="372110" y="640081"/>
                  </a:cubicBezTo>
                  <a:cubicBezTo>
                    <a:pt x="372110" y="614046"/>
                    <a:pt x="388620" y="592456"/>
                    <a:pt x="412114" y="592456"/>
                  </a:cubicBezTo>
                  <a:close/>
                  <a:moveTo>
                    <a:pt x="326390" y="592456"/>
                  </a:moveTo>
                  <a:cubicBezTo>
                    <a:pt x="350519" y="592456"/>
                    <a:pt x="361314" y="615316"/>
                    <a:pt x="361314" y="639446"/>
                  </a:cubicBezTo>
                  <a:cubicBezTo>
                    <a:pt x="361314" y="662306"/>
                    <a:pt x="351790" y="686436"/>
                    <a:pt x="326390" y="686436"/>
                  </a:cubicBezTo>
                  <a:cubicBezTo>
                    <a:pt x="316230" y="686436"/>
                    <a:pt x="310515" y="682626"/>
                    <a:pt x="306070" y="678816"/>
                  </a:cubicBezTo>
                  <a:lnTo>
                    <a:pt x="306070" y="706121"/>
                  </a:lnTo>
                  <a:lnTo>
                    <a:pt x="283845" y="717551"/>
                  </a:lnTo>
                  <a:lnTo>
                    <a:pt x="283845" y="594361"/>
                  </a:lnTo>
                  <a:lnTo>
                    <a:pt x="306070" y="594361"/>
                  </a:lnTo>
                  <a:lnTo>
                    <a:pt x="306070" y="600711"/>
                  </a:lnTo>
                  <a:cubicBezTo>
                    <a:pt x="311784" y="595631"/>
                    <a:pt x="318135" y="592456"/>
                    <a:pt x="326390" y="592456"/>
                  </a:cubicBezTo>
                  <a:close/>
                  <a:moveTo>
                    <a:pt x="231775" y="592456"/>
                  </a:moveTo>
                  <a:cubicBezTo>
                    <a:pt x="254635" y="592456"/>
                    <a:pt x="268605" y="603251"/>
                    <a:pt x="268605" y="624206"/>
                  </a:cubicBezTo>
                  <a:lnTo>
                    <a:pt x="268605" y="684531"/>
                  </a:lnTo>
                  <a:lnTo>
                    <a:pt x="267970" y="684531"/>
                  </a:lnTo>
                  <a:lnTo>
                    <a:pt x="245745" y="684531"/>
                  </a:lnTo>
                  <a:lnTo>
                    <a:pt x="245745" y="678181"/>
                  </a:lnTo>
                  <a:cubicBezTo>
                    <a:pt x="240665" y="683261"/>
                    <a:pt x="233680" y="686436"/>
                    <a:pt x="224790" y="686436"/>
                  </a:cubicBezTo>
                  <a:cubicBezTo>
                    <a:pt x="207010" y="686436"/>
                    <a:pt x="193040" y="675006"/>
                    <a:pt x="193040" y="655321"/>
                  </a:cubicBezTo>
                  <a:cubicBezTo>
                    <a:pt x="193040" y="635636"/>
                    <a:pt x="206375" y="624841"/>
                    <a:pt x="227965" y="624841"/>
                  </a:cubicBezTo>
                  <a:cubicBezTo>
                    <a:pt x="233680" y="624841"/>
                    <a:pt x="239394" y="625476"/>
                    <a:pt x="245745" y="628651"/>
                  </a:cubicBezTo>
                  <a:lnTo>
                    <a:pt x="245745" y="623571"/>
                  </a:lnTo>
                  <a:cubicBezTo>
                    <a:pt x="245745" y="615316"/>
                    <a:pt x="240030" y="611506"/>
                    <a:pt x="230504" y="611506"/>
                  </a:cubicBezTo>
                  <a:cubicBezTo>
                    <a:pt x="223519" y="611506"/>
                    <a:pt x="216534" y="613411"/>
                    <a:pt x="209549" y="617221"/>
                  </a:cubicBezTo>
                  <a:lnTo>
                    <a:pt x="200659" y="601346"/>
                  </a:lnTo>
                  <a:cubicBezTo>
                    <a:pt x="210185" y="594996"/>
                    <a:pt x="219709" y="592456"/>
                    <a:pt x="231775" y="592456"/>
                  </a:cubicBezTo>
                  <a:close/>
                  <a:moveTo>
                    <a:pt x="1125855" y="591821"/>
                  </a:moveTo>
                  <a:cubicBezTo>
                    <a:pt x="1132204" y="591821"/>
                    <a:pt x="1137920" y="593726"/>
                    <a:pt x="1142364" y="598171"/>
                  </a:cubicBezTo>
                  <a:lnTo>
                    <a:pt x="1141730" y="598806"/>
                  </a:lnTo>
                  <a:lnTo>
                    <a:pt x="1132840" y="621031"/>
                  </a:lnTo>
                  <a:cubicBezTo>
                    <a:pt x="1129665" y="617856"/>
                    <a:pt x="1125220" y="615316"/>
                    <a:pt x="1120140" y="615316"/>
                  </a:cubicBezTo>
                  <a:cubicBezTo>
                    <a:pt x="1109345" y="615316"/>
                    <a:pt x="1106805" y="624206"/>
                    <a:pt x="1106805" y="635001"/>
                  </a:cubicBezTo>
                  <a:lnTo>
                    <a:pt x="1106805" y="683896"/>
                  </a:lnTo>
                  <a:lnTo>
                    <a:pt x="1084579" y="683896"/>
                  </a:lnTo>
                  <a:lnTo>
                    <a:pt x="1084579" y="593726"/>
                  </a:lnTo>
                  <a:lnTo>
                    <a:pt x="1106805" y="593726"/>
                  </a:lnTo>
                  <a:lnTo>
                    <a:pt x="1106805" y="600076"/>
                  </a:lnTo>
                  <a:cubicBezTo>
                    <a:pt x="1111885" y="594996"/>
                    <a:pt x="1118235" y="591821"/>
                    <a:pt x="1125855" y="591821"/>
                  </a:cubicBezTo>
                  <a:close/>
                  <a:moveTo>
                    <a:pt x="47625" y="563881"/>
                  </a:moveTo>
                  <a:cubicBezTo>
                    <a:pt x="66040" y="563881"/>
                    <a:pt x="79375" y="571501"/>
                    <a:pt x="90170" y="582296"/>
                  </a:cubicBezTo>
                  <a:lnTo>
                    <a:pt x="73659" y="598806"/>
                  </a:lnTo>
                  <a:cubicBezTo>
                    <a:pt x="66040" y="591186"/>
                    <a:pt x="58420" y="586741"/>
                    <a:pt x="46355" y="586741"/>
                  </a:cubicBezTo>
                  <a:cubicBezTo>
                    <a:pt x="36194" y="586741"/>
                    <a:pt x="28575" y="589916"/>
                    <a:pt x="28575" y="598171"/>
                  </a:cubicBezTo>
                  <a:cubicBezTo>
                    <a:pt x="28575" y="601981"/>
                    <a:pt x="29845" y="604521"/>
                    <a:pt x="33655" y="606426"/>
                  </a:cubicBezTo>
                  <a:cubicBezTo>
                    <a:pt x="38099" y="608966"/>
                    <a:pt x="43814" y="610236"/>
                    <a:pt x="52704" y="612776"/>
                  </a:cubicBezTo>
                  <a:cubicBezTo>
                    <a:pt x="63500" y="615951"/>
                    <a:pt x="73659" y="617856"/>
                    <a:pt x="81915" y="624841"/>
                  </a:cubicBezTo>
                  <a:lnTo>
                    <a:pt x="92427" y="648959"/>
                  </a:lnTo>
                  <a:lnTo>
                    <a:pt x="79454" y="677626"/>
                  </a:lnTo>
                  <a:cubicBezTo>
                    <a:pt x="71279" y="683738"/>
                    <a:pt x="60008" y="686436"/>
                    <a:pt x="47625" y="686436"/>
                  </a:cubicBezTo>
                  <a:cubicBezTo>
                    <a:pt x="29845" y="686436"/>
                    <a:pt x="10795" y="680721"/>
                    <a:pt x="0" y="664846"/>
                  </a:cubicBezTo>
                  <a:lnTo>
                    <a:pt x="16510" y="650241"/>
                  </a:lnTo>
                  <a:cubicBezTo>
                    <a:pt x="24129" y="659766"/>
                    <a:pt x="35560" y="664211"/>
                    <a:pt x="46989" y="664211"/>
                  </a:cubicBezTo>
                  <a:cubicBezTo>
                    <a:pt x="60325" y="664211"/>
                    <a:pt x="68579" y="657861"/>
                    <a:pt x="68579" y="649606"/>
                  </a:cubicBezTo>
                  <a:cubicBezTo>
                    <a:pt x="68579" y="646431"/>
                    <a:pt x="67310" y="642621"/>
                    <a:pt x="61595" y="640081"/>
                  </a:cubicBezTo>
                  <a:cubicBezTo>
                    <a:pt x="57150" y="638176"/>
                    <a:pt x="52069" y="636906"/>
                    <a:pt x="41909" y="634366"/>
                  </a:cubicBezTo>
                  <a:cubicBezTo>
                    <a:pt x="35560" y="633096"/>
                    <a:pt x="22860" y="629921"/>
                    <a:pt x="14605" y="623571"/>
                  </a:cubicBezTo>
                  <a:cubicBezTo>
                    <a:pt x="6349" y="617221"/>
                    <a:pt x="4444" y="607696"/>
                    <a:pt x="4444" y="599441"/>
                  </a:cubicBezTo>
                  <a:cubicBezTo>
                    <a:pt x="4444" y="574041"/>
                    <a:pt x="26034" y="563881"/>
                    <a:pt x="47625" y="563881"/>
                  </a:cubicBezTo>
                  <a:close/>
                  <a:moveTo>
                    <a:pt x="814070" y="560071"/>
                  </a:moveTo>
                  <a:cubicBezTo>
                    <a:pt x="820420" y="560071"/>
                    <a:pt x="824864" y="561341"/>
                    <a:pt x="830579" y="562611"/>
                  </a:cubicBezTo>
                  <a:lnTo>
                    <a:pt x="829945" y="562611"/>
                  </a:lnTo>
                  <a:lnTo>
                    <a:pt x="829945" y="581026"/>
                  </a:lnTo>
                  <a:cubicBezTo>
                    <a:pt x="824864" y="579756"/>
                    <a:pt x="821055" y="579121"/>
                    <a:pt x="818515" y="579121"/>
                  </a:cubicBezTo>
                  <a:cubicBezTo>
                    <a:pt x="810260" y="579121"/>
                    <a:pt x="808989" y="582296"/>
                    <a:pt x="808989" y="586741"/>
                  </a:cubicBezTo>
                  <a:lnTo>
                    <a:pt x="808989" y="594361"/>
                  </a:lnTo>
                  <a:lnTo>
                    <a:pt x="824230" y="594361"/>
                  </a:lnTo>
                  <a:lnTo>
                    <a:pt x="824230" y="615951"/>
                  </a:lnTo>
                  <a:lnTo>
                    <a:pt x="808989" y="615951"/>
                  </a:lnTo>
                  <a:lnTo>
                    <a:pt x="808989" y="684531"/>
                  </a:lnTo>
                  <a:lnTo>
                    <a:pt x="786765" y="684531"/>
                  </a:lnTo>
                  <a:lnTo>
                    <a:pt x="786765" y="615951"/>
                  </a:lnTo>
                  <a:lnTo>
                    <a:pt x="775970" y="615951"/>
                  </a:lnTo>
                  <a:lnTo>
                    <a:pt x="775970" y="594361"/>
                  </a:lnTo>
                  <a:lnTo>
                    <a:pt x="786765" y="594361"/>
                  </a:lnTo>
                  <a:lnTo>
                    <a:pt x="786765" y="583566"/>
                  </a:lnTo>
                  <a:cubicBezTo>
                    <a:pt x="786765" y="567691"/>
                    <a:pt x="795019" y="560071"/>
                    <a:pt x="814070" y="560071"/>
                  </a:cubicBezTo>
                  <a:close/>
                  <a:moveTo>
                    <a:pt x="957579" y="559436"/>
                  </a:moveTo>
                  <a:lnTo>
                    <a:pt x="957579" y="594361"/>
                  </a:lnTo>
                  <a:lnTo>
                    <a:pt x="979170" y="594361"/>
                  </a:lnTo>
                  <a:lnTo>
                    <a:pt x="979170" y="615951"/>
                  </a:lnTo>
                  <a:lnTo>
                    <a:pt x="957579" y="615951"/>
                  </a:lnTo>
                  <a:lnTo>
                    <a:pt x="957579" y="654051"/>
                  </a:lnTo>
                  <a:cubicBezTo>
                    <a:pt x="957579" y="661671"/>
                    <a:pt x="960754" y="664846"/>
                    <a:pt x="966470" y="664846"/>
                  </a:cubicBezTo>
                  <a:cubicBezTo>
                    <a:pt x="972185" y="664846"/>
                    <a:pt x="977900" y="661671"/>
                    <a:pt x="981075" y="658496"/>
                  </a:cubicBezTo>
                  <a:lnTo>
                    <a:pt x="977900" y="681356"/>
                  </a:lnTo>
                  <a:cubicBezTo>
                    <a:pt x="973454" y="685166"/>
                    <a:pt x="965200" y="686436"/>
                    <a:pt x="959485" y="686436"/>
                  </a:cubicBezTo>
                  <a:cubicBezTo>
                    <a:pt x="945515" y="686436"/>
                    <a:pt x="935355" y="676276"/>
                    <a:pt x="935355" y="659766"/>
                  </a:cubicBezTo>
                  <a:lnTo>
                    <a:pt x="935355" y="615951"/>
                  </a:lnTo>
                  <a:lnTo>
                    <a:pt x="922655" y="615951"/>
                  </a:lnTo>
                  <a:lnTo>
                    <a:pt x="922655" y="594361"/>
                  </a:lnTo>
                  <a:lnTo>
                    <a:pt x="935355" y="594361"/>
                  </a:lnTo>
                  <a:lnTo>
                    <a:pt x="935355" y="570866"/>
                  </a:lnTo>
                  <a:close/>
                  <a:moveTo>
                    <a:pt x="586739" y="559436"/>
                  </a:moveTo>
                  <a:lnTo>
                    <a:pt x="586739" y="600711"/>
                  </a:lnTo>
                  <a:cubicBezTo>
                    <a:pt x="591820" y="595631"/>
                    <a:pt x="597534" y="592456"/>
                    <a:pt x="607695" y="592456"/>
                  </a:cubicBezTo>
                  <a:cubicBezTo>
                    <a:pt x="631825" y="592456"/>
                    <a:pt x="639445" y="610871"/>
                    <a:pt x="639445" y="633731"/>
                  </a:cubicBezTo>
                  <a:lnTo>
                    <a:pt x="639445" y="684531"/>
                  </a:lnTo>
                  <a:lnTo>
                    <a:pt x="617220" y="684531"/>
                  </a:lnTo>
                  <a:lnTo>
                    <a:pt x="617220" y="635636"/>
                  </a:lnTo>
                  <a:cubicBezTo>
                    <a:pt x="617220" y="623571"/>
                    <a:pt x="614680" y="614681"/>
                    <a:pt x="601980" y="614681"/>
                  </a:cubicBezTo>
                  <a:cubicBezTo>
                    <a:pt x="589280" y="614681"/>
                    <a:pt x="586739" y="622936"/>
                    <a:pt x="586739" y="635001"/>
                  </a:cubicBezTo>
                  <a:lnTo>
                    <a:pt x="586739" y="684531"/>
                  </a:lnTo>
                  <a:lnTo>
                    <a:pt x="564515" y="684531"/>
                  </a:lnTo>
                  <a:lnTo>
                    <a:pt x="564515" y="570866"/>
                  </a:lnTo>
                  <a:close/>
                  <a:moveTo>
                    <a:pt x="529590" y="559436"/>
                  </a:moveTo>
                  <a:lnTo>
                    <a:pt x="529590" y="594361"/>
                  </a:lnTo>
                  <a:lnTo>
                    <a:pt x="550545" y="594361"/>
                  </a:lnTo>
                  <a:lnTo>
                    <a:pt x="550545" y="615951"/>
                  </a:lnTo>
                  <a:lnTo>
                    <a:pt x="529590" y="615951"/>
                  </a:lnTo>
                  <a:lnTo>
                    <a:pt x="529590" y="654051"/>
                  </a:lnTo>
                  <a:cubicBezTo>
                    <a:pt x="529590" y="661671"/>
                    <a:pt x="532765" y="664846"/>
                    <a:pt x="538480" y="664846"/>
                  </a:cubicBezTo>
                  <a:cubicBezTo>
                    <a:pt x="544195" y="664846"/>
                    <a:pt x="549275" y="661671"/>
                    <a:pt x="553084" y="658496"/>
                  </a:cubicBezTo>
                  <a:lnTo>
                    <a:pt x="549909" y="681356"/>
                  </a:lnTo>
                  <a:cubicBezTo>
                    <a:pt x="545465" y="685166"/>
                    <a:pt x="537209" y="686436"/>
                    <a:pt x="531495" y="686436"/>
                  </a:cubicBezTo>
                  <a:cubicBezTo>
                    <a:pt x="517525" y="686436"/>
                    <a:pt x="507364" y="676276"/>
                    <a:pt x="507364" y="659766"/>
                  </a:cubicBezTo>
                  <a:lnTo>
                    <a:pt x="507364" y="615951"/>
                  </a:lnTo>
                  <a:lnTo>
                    <a:pt x="491489" y="615951"/>
                  </a:lnTo>
                  <a:lnTo>
                    <a:pt x="491489" y="594361"/>
                  </a:lnTo>
                  <a:lnTo>
                    <a:pt x="507364" y="594361"/>
                  </a:lnTo>
                  <a:lnTo>
                    <a:pt x="507364" y="570866"/>
                  </a:lnTo>
                  <a:close/>
                  <a:moveTo>
                    <a:pt x="128269" y="559436"/>
                  </a:moveTo>
                  <a:lnTo>
                    <a:pt x="128269" y="600711"/>
                  </a:lnTo>
                  <a:cubicBezTo>
                    <a:pt x="133349" y="595631"/>
                    <a:pt x="139064" y="592456"/>
                    <a:pt x="149224" y="592456"/>
                  </a:cubicBezTo>
                  <a:cubicBezTo>
                    <a:pt x="173355" y="592456"/>
                    <a:pt x="180974" y="610871"/>
                    <a:pt x="180974" y="633731"/>
                  </a:cubicBezTo>
                  <a:lnTo>
                    <a:pt x="180974" y="684531"/>
                  </a:lnTo>
                  <a:lnTo>
                    <a:pt x="158750" y="684531"/>
                  </a:lnTo>
                  <a:lnTo>
                    <a:pt x="158750" y="635636"/>
                  </a:lnTo>
                  <a:cubicBezTo>
                    <a:pt x="158750" y="623571"/>
                    <a:pt x="156209" y="614681"/>
                    <a:pt x="143510" y="614681"/>
                  </a:cubicBezTo>
                  <a:cubicBezTo>
                    <a:pt x="130810" y="614681"/>
                    <a:pt x="128269" y="622936"/>
                    <a:pt x="128269" y="635001"/>
                  </a:cubicBezTo>
                  <a:lnTo>
                    <a:pt x="128269" y="684531"/>
                  </a:lnTo>
                  <a:lnTo>
                    <a:pt x="106045" y="684531"/>
                  </a:lnTo>
                  <a:lnTo>
                    <a:pt x="106045" y="570866"/>
                  </a:lnTo>
                  <a:close/>
                  <a:moveTo>
                    <a:pt x="269875" y="635"/>
                  </a:moveTo>
                  <a:lnTo>
                    <a:pt x="501015" y="635"/>
                  </a:lnTo>
                  <a:lnTo>
                    <a:pt x="554989" y="94615"/>
                  </a:lnTo>
                  <a:lnTo>
                    <a:pt x="391795" y="94615"/>
                  </a:lnTo>
                  <a:lnTo>
                    <a:pt x="391795" y="161925"/>
                  </a:lnTo>
                  <a:lnTo>
                    <a:pt x="539114" y="161925"/>
                  </a:lnTo>
                  <a:lnTo>
                    <a:pt x="539114" y="247650"/>
                  </a:lnTo>
                  <a:lnTo>
                    <a:pt x="391795" y="247650"/>
                  </a:lnTo>
                  <a:lnTo>
                    <a:pt x="391795" y="314325"/>
                  </a:lnTo>
                  <a:lnTo>
                    <a:pt x="595629" y="314325"/>
                  </a:lnTo>
                  <a:lnTo>
                    <a:pt x="595629" y="408305"/>
                  </a:lnTo>
                  <a:lnTo>
                    <a:pt x="269875" y="408305"/>
                  </a:lnTo>
                  <a:close/>
                  <a:moveTo>
                    <a:pt x="539114" y="0"/>
                  </a:moveTo>
                  <a:lnTo>
                    <a:pt x="674370" y="0"/>
                  </a:lnTo>
                  <a:lnTo>
                    <a:pt x="743584" y="132715"/>
                  </a:lnTo>
                  <a:lnTo>
                    <a:pt x="812799" y="0"/>
                  </a:lnTo>
                  <a:lnTo>
                    <a:pt x="946150" y="0"/>
                  </a:lnTo>
                  <a:lnTo>
                    <a:pt x="803275" y="246380"/>
                  </a:lnTo>
                  <a:lnTo>
                    <a:pt x="803275" y="407670"/>
                  </a:lnTo>
                  <a:lnTo>
                    <a:pt x="681355" y="407670"/>
                  </a:lnTo>
                  <a:lnTo>
                    <a:pt x="681355" y="246380"/>
                  </a:lnTo>
                  <a:close/>
                </a:path>
              </a:pathLst>
            </a:custGeom>
            <a:solidFill>
              <a:srgbClr val="FFFFFF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</p:spTree>
    <p:extLst>
      <p:ext uri="{BB962C8B-B14F-4D97-AF65-F5344CB8AC3E}">
        <p14:creationId xmlns:p14="http://schemas.microsoft.com/office/powerpoint/2010/main" val="2974039103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Spectrum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bright light in the dark&#10;&#10;Description automatically generated">
            <a:extLst>
              <a:ext uri="{FF2B5EF4-FFF2-40B4-BE49-F238E27FC236}">
                <a16:creationId xmlns:a16="http://schemas.microsoft.com/office/drawing/2014/main" id="{963FEC0B-473D-E3B8-1E1E-E29DFA66AD11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0"/>
            <a:ext cx="12199551" cy="6858000"/>
          </a:xfrm>
          <a:prstGeom prst="rect">
            <a:avLst/>
          </a:prstGeom>
        </p:spPr>
      </p:pic>
      <p:grpSp>
        <p:nvGrpSpPr>
          <p:cNvPr id="16" name="Group 15">
            <a:extLst>
              <a:ext uri="{FF2B5EF4-FFF2-40B4-BE49-F238E27FC236}">
                <a16:creationId xmlns:a16="http://schemas.microsoft.com/office/drawing/2014/main" id="{D6511197-B1BA-E6CC-13B8-2DD99B355A04}"/>
              </a:ext>
            </a:extLst>
          </p:cNvPr>
          <p:cNvGrpSpPr/>
          <p:nvPr userDrawn="1"/>
        </p:nvGrpSpPr>
        <p:grpSpPr bwMode="black">
          <a:xfrm>
            <a:off x="10568726" y="5167683"/>
            <a:ext cx="1219835" cy="1284606"/>
            <a:chOff x="10563224" y="5158158"/>
            <a:chExt cx="1219200" cy="1284606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1EE8315B-FEB1-CC4D-6FB1-F5D1F2C1EE95}"/>
                </a:ext>
              </a:extLst>
            </p:cNvPr>
            <p:cNvSpPr/>
            <p:nvPr/>
          </p:nvSpPr>
          <p:spPr bwMode="black">
            <a:xfrm>
              <a:off x="10826115" y="5158158"/>
              <a:ext cx="805814" cy="294004"/>
            </a:xfrm>
            <a:custGeom>
              <a:avLst/>
              <a:gdLst>
                <a:gd name="connsiteX0" fmla="*/ 805814 w 805814"/>
                <a:gd name="connsiteY0" fmla="*/ 0 h 294004"/>
                <a:gd name="connsiteX1" fmla="*/ 0 w 805814"/>
                <a:gd name="connsiteY1" fmla="*/ 294005 h 294004"/>
                <a:gd name="connsiteX2" fmla="*/ 805814 w 805814"/>
                <a:gd name="connsiteY2" fmla="*/ 151765 h 294004"/>
                <a:gd name="connsiteX3" fmla="*/ 805814 w 805814"/>
                <a:gd name="connsiteY3" fmla="*/ 0 h 2940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05814" h="294004">
                  <a:moveTo>
                    <a:pt x="805814" y="0"/>
                  </a:moveTo>
                  <a:lnTo>
                    <a:pt x="0" y="294005"/>
                  </a:lnTo>
                  <a:lnTo>
                    <a:pt x="805814" y="151765"/>
                  </a:lnTo>
                  <a:lnTo>
                    <a:pt x="805814" y="0"/>
                  </a:lnTo>
                  <a:close/>
                </a:path>
              </a:pathLst>
            </a:custGeom>
            <a:solidFill>
              <a:srgbClr val="FFE600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23" name="Freeform 22">
              <a:extLst>
                <a:ext uri="{FF2B5EF4-FFF2-40B4-BE49-F238E27FC236}">
                  <a16:creationId xmlns:a16="http://schemas.microsoft.com/office/drawing/2014/main" id="{F51C6EC0-0FDE-C123-7424-1752D2374435}"/>
                </a:ext>
              </a:extLst>
            </p:cNvPr>
            <p:cNvSpPr/>
            <p:nvPr/>
          </p:nvSpPr>
          <p:spPr bwMode="black">
            <a:xfrm>
              <a:off x="10563224" y="5574083"/>
              <a:ext cx="1219200" cy="868681"/>
            </a:xfrm>
            <a:custGeom>
              <a:avLst/>
              <a:gdLst>
                <a:gd name="connsiteX0" fmla="*/ 245110 w 1219200"/>
                <a:gd name="connsiteY0" fmla="*/ 839471 h 868681"/>
                <a:gd name="connsiteX1" fmla="*/ 246379 w 1219200"/>
                <a:gd name="connsiteY1" fmla="*/ 839471 h 868681"/>
                <a:gd name="connsiteX2" fmla="*/ 245041 w 1219200"/>
                <a:gd name="connsiteY2" fmla="*/ 839979 h 868681"/>
                <a:gd name="connsiteX3" fmla="*/ 522605 w 1219200"/>
                <a:gd name="connsiteY3" fmla="*/ 796926 h 868681"/>
                <a:gd name="connsiteX4" fmla="*/ 504189 w 1219200"/>
                <a:gd name="connsiteY4" fmla="*/ 821691 h 868681"/>
                <a:gd name="connsiteX5" fmla="*/ 522605 w 1219200"/>
                <a:gd name="connsiteY5" fmla="*/ 845821 h 868681"/>
                <a:gd name="connsiteX6" fmla="*/ 541019 w 1219200"/>
                <a:gd name="connsiteY6" fmla="*/ 821691 h 868681"/>
                <a:gd name="connsiteX7" fmla="*/ 522605 w 1219200"/>
                <a:gd name="connsiteY7" fmla="*/ 796926 h 868681"/>
                <a:gd name="connsiteX8" fmla="*/ 817245 w 1219200"/>
                <a:gd name="connsiteY8" fmla="*/ 796291 h 868681"/>
                <a:gd name="connsiteX9" fmla="*/ 800735 w 1219200"/>
                <a:gd name="connsiteY9" fmla="*/ 819786 h 868681"/>
                <a:gd name="connsiteX10" fmla="*/ 817879 w 1219200"/>
                <a:gd name="connsiteY10" fmla="*/ 846456 h 868681"/>
                <a:gd name="connsiteX11" fmla="*/ 833754 w 1219200"/>
                <a:gd name="connsiteY11" fmla="*/ 838836 h 868681"/>
                <a:gd name="connsiteX12" fmla="*/ 833754 w 1219200"/>
                <a:gd name="connsiteY12" fmla="*/ 838201 h 868681"/>
                <a:gd name="connsiteX13" fmla="*/ 833754 w 1219200"/>
                <a:gd name="connsiteY13" fmla="*/ 803911 h 868681"/>
                <a:gd name="connsiteX14" fmla="*/ 817245 w 1219200"/>
                <a:gd name="connsiteY14" fmla="*/ 796291 h 868681"/>
                <a:gd name="connsiteX15" fmla="*/ 1179195 w 1219200"/>
                <a:gd name="connsiteY15" fmla="*/ 794386 h 868681"/>
                <a:gd name="connsiteX16" fmla="*/ 1163320 w 1219200"/>
                <a:gd name="connsiteY16" fmla="*/ 811531 h 868681"/>
                <a:gd name="connsiteX17" fmla="*/ 1163954 w 1219200"/>
                <a:gd name="connsiteY17" fmla="*/ 811531 h 868681"/>
                <a:gd name="connsiteX18" fmla="*/ 1195704 w 1219200"/>
                <a:gd name="connsiteY18" fmla="*/ 811531 h 868681"/>
                <a:gd name="connsiteX19" fmla="*/ 1179195 w 1219200"/>
                <a:gd name="connsiteY19" fmla="*/ 794386 h 868681"/>
                <a:gd name="connsiteX20" fmla="*/ 909320 w 1219200"/>
                <a:gd name="connsiteY20" fmla="*/ 794386 h 868681"/>
                <a:gd name="connsiteX21" fmla="*/ 893445 w 1219200"/>
                <a:gd name="connsiteY21" fmla="*/ 811531 h 868681"/>
                <a:gd name="connsiteX22" fmla="*/ 894079 w 1219200"/>
                <a:gd name="connsiteY22" fmla="*/ 811531 h 868681"/>
                <a:gd name="connsiteX23" fmla="*/ 925829 w 1219200"/>
                <a:gd name="connsiteY23" fmla="*/ 811531 h 868681"/>
                <a:gd name="connsiteX24" fmla="*/ 909320 w 1219200"/>
                <a:gd name="connsiteY24" fmla="*/ 794386 h 868681"/>
                <a:gd name="connsiteX25" fmla="*/ 737870 w 1219200"/>
                <a:gd name="connsiteY25" fmla="*/ 775971 h 868681"/>
                <a:gd name="connsiteX26" fmla="*/ 761364 w 1219200"/>
                <a:gd name="connsiteY26" fmla="*/ 775971 h 868681"/>
                <a:gd name="connsiteX27" fmla="*/ 761364 w 1219200"/>
                <a:gd name="connsiteY27" fmla="*/ 866141 h 868681"/>
                <a:gd name="connsiteX28" fmla="*/ 737870 w 1219200"/>
                <a:gd name="connsiteY28" fmla="*/ 866141 h 868681"/>
                <a:gd name="connsiteX29" fmla="*/ 143510 w 1219200"/>
                <a:gd name="connsiteY29" fmla="*/ 775971 h 868681"/>
                <a:gd name="connsiteX30" fmla="*/ 167004 w 1219200"/>
                <a:gd name="connsiteY30" fmla="*/ 775971 h 868681"/>
                <a:gd name="connsiteX31" fmla="*/ 167004 w 1219200"/>
                <a:gd name="connsiteY31" fmla="*/ 866141 h 868681"/>
                <a:gd name="connsiteX32" fmla="*/ 143510 w 1219200"/>
                <a:gd name="connsiteY32" fmla="*/ 866141 h 868681"/>
                <a:gd name="connsiteX33" fmla="*/ 635 w 1219200"/>
                <a:gd name="connsiteY33" fmla="*/ 775971 h 868681"/>
                <a:gd name="connsiteX34" fmla="*/ 26670 w 1219200"/>
                <a:gd name="connsiteY34" fmla="*/ 775971 h 868681"/>
                <a:gd name="connsiteX35" fmla="*/ 40004 w 1219200"/>
                <a:gd name="connsiteY35" fmla="*/ 828041 h 868681"/>
                <a:gd name="connsiteX36" fmla="*/ 55245 w 1219200"/>
                <a:gd name="connsiteY36" fmla="*/ 775971 h 868681"/>
                <a:gd name="connsiteX37" fmla="*/ 76200 w 1219200"/>
                <a:gd name="connsiteY37" fmla="*/ 775971 h 868681"/>
                <a:gd name="connsiteX38" fmla="*/ 91439 w 1219200"/>
                <a:gd name="connsiteY38" fmla="*/ 828041 h 868681"/>
                <a:gd name="connsiteX39" fmla="*/ 105409 w 1219200"/>
                <a:gd name="connsiteY39" fmla="*/ 775971 h 868681"/>
                <a:gd name="connsiteX40" fmla="*/ 130810 w 1219200"/>
                <a:gd name="connsiteY40" fmla="*/ 775971 h 868681"/>
                <a:gd name="connsiteX41" fmla="*/ 102235 w 1219200"/>
                <a:gd name="connsiteY41" fmla="*/ 866141 h 868681"/>
                <a:gd name="connsiteX42" fmla="*/ 80644 w 1219200"/>
                <a:gd name="connsiteY42" fmla="*/ 866141 h 868681"/>
                <a:gd name="connsiteX43" fmla="*/ 65405 w 1219200"/>
                <a:gd name="connsiteY43" fmla="*/ 811531 h 868681"/>
                <a:gd name="connsiteX44" fmla="*/ 50165 w 1219200"/>
                <a:gd name="connsiteY44" fmla="*/ 866141 h 868681"/>
                <a:gd name="connsiteX45" fmla="*/ 28575 w 1219200"/>
                <a:gd name="connsiteY45" fmla="*/ 866141 h 868681"/>
                <a:gd name="connsiteX46" fmla="*/ 1181099 w 1219200"/>
                <a:gd name="connsiteY46" fmla="*/ 774066 h 868681"/>
                <a:gd name="connsiteX47" fmla="*/ 1219200 w 1219200"/>
                <a:gd name="connsiteY47" fmla="*/ 821056 h 868681"/>
                <a:gd name="connsiteX48" fmla="*/ 1218564 w 1219200"/>
                <a:gd name="connsiteY48" fmla="*/ 821056 h 868681"/>
                <a:gd name="connsiteX49" fmla="*/ 1218564 w 1219200"/>
                <a:gd name="connsiteY49" fmla="*/ 828676 h 868681"/>
                <a:gd name="connsiteX50" fmla="*/ 1163954 w 1219200"/>
                <a:gd name="connsiteY50" fmla="*/ 828676 h 868681"/>
                <a:gd name="connsiteX51" fmla="*/ 1183004 w 1219200"/>
                <a:gd name="connsiteY51" fmla="*/ 846456 h 868681"/>
                <a:gd name="connsiteX52" fmla="*/ 1198879 w 1219200"/>
                <a:gd name="connsiteY52" fmla="*/ 840106 h 868681"/>
                <a:gd name="connsiteX53" fmla="*/ 1214754 w 1219200"/>
                <a:gd name="connsiteY53" fmla="*/ 853441 h 868681"/>
                <a:gd name="connsiteX54" fmla="*/ 1182370 w 1219200"/>
                <a:gd name="connsiteY54" fmla="*/ 868046 h 868681"/>
                <a:gd name="connsiteX55" fmla="*/ 1141095 w 1219200"/>
                <a:gd name="connsiteY55" fmla="*/ 821056 h 868681"/>
                <a:gd name="connsiteX56" fmla="*/ 1181099 w 1219200"/>
                <a:gd name="connsiteY56" fmla="*/ 774066 h 868681"/>
                <a:gd name="connsiteX57" fmla="*/ 1097915 w 1219200"/>
                <a:gd name="connsiteY57" fmla="*/ 774066 h 868681"/>
                <a:gd name="connsiteX58" fmla="*/ 1133474 w 1219200"/>
                <a:gd name="connsiteY58" fmla="*/ 793751 h 868681"/>
                <a:gd name="connsiteX59" fmla="*/ 1118235 w 1219200"/>
                <a:gd name="connsiteY59" fmla="*/ 808991 h 868681"/>
                <a:gd name="connsiteX60" fmla="*/ 1097915 w 1219200"/>
                <a:gd name="connsiteY60" fmla="*/ 796291 h 868681"/>
                <a:gd name="connsiteX61" fmla="*/ 1078864 w 1219200"/>
                <a:gd name="connsiteY61" fmla="*/ 820421 h 868681"/>
                <a:gd name="connsiteX62" fmla="*/ 1097915 w 1219200"/>
                <a:gd name="connsiteY62" fmla="*/ 845186 h 868681"/>
                <a:gd name="connsiteX63" fmla="*/ 1118235 w 1219200"/>
                <a:gd name="connsiteY63" fmla="*/ 833756 h 868681"/>
                <a:gd name="connsiteX64" fmla="*/ 1118870 w 1219200"/>
                <a:gd name="connsiteY64" fmla="*/ 834391 h 868681"/>
                <a:gd name="connsiteX65" fmla="*/ 1133474 w 1219200"/>
                <a:gd name="connsiteY65" fmla="*/ 848361 h 868681"/>
                <a:gd name="connsiteX66" fmla="*/ 1097280 w 1219200"/>
                <a:gd name="connsiteY66" fmla="*/ 868046 h 868681"/>
                <a:gd name="connsiteX67" fmla="*/ 1054735 w 1219200"/>
                <a:gd name="connsiteY67" fmla="*/ 821056 h 868681"/>
                <a:gd name="connsiteX68" fmla="*/ 1097915 w 1219200"/>
                <a:gd name="connsiteY68" fmla="*/ 774066 h 868681"/>
                <a:gd name="connsiteX69" fmla="*/ 1009015 w 1219200"/>
                <a:gd name="connsiteY69" fmla="*/ 774066 h 868681"/>
                <a:gd name="connsiteX70" fmla="*/ 1041400 w 1219200"/>
                <a:gd name="connsiteY70" fmla="*/ 815341 h 868681"/>
                <a:gd name="connsiteX71" fmla="*/ 1041400 w 1219200"/>
                <a:gd name="connsiteY71" fmla="*/ 866141 h 868681"/>
                <a:gd name="connsiteX72" fmla="*/ 1017905 w 1219200"/>
                <a:gd name="connsiteY72" fmla="*/ 866141 h 868681"/>
                <a:gd name="connsiteX73" fmla="*/ 1017905 w 1219200"/>
                <a:gd name="connsiteY73" fmla="*/ 817246 h 868681"/>
                <a:gd name="connsiteX74" fmla="*/ 1002665 w 1219200"/>
                <a:gd name="connsiteY74" fmla="*/ 796291 h 868681"/>
                <a:gd name="connsiteX75" fmla="*/ 986790 w 1219200"/>
                <a:gd name="connsiteY75" fmla="*/ 816611 h 868681"/>
                <a:gd name="connsiteX76" fmla="*/ 986790 w 1219200"/>
                <a:gd name="connsiteY76" fmla="*/ 866141 h 868681"/>
                <a:gd name="connsiteX77" fmla="*/ 963295 w 1219200"/>
                <a:gd name="connsiteY77" fmla="*/ 866141 h 868681"/>
                <a:gd name="connsiteX78" fmla="*/ 963295 w 1219200"/>
                <a:gd name="connsiteY78" fmla="*/ 775971 h 868681"/>
                <a:gd name="connsiteX79" fmla="*/ 986790 w 1219200"/>
                <a:gd name="connsiteY79" fmla="*/ 775971 h 868681"/>
                <a:gd name="connsiteX80" fmla="*/ 986790 w 1219200"/>
                <a:gd name="connsiteY80" fmla="*/ 782321 h 868681"/>
                <a:gd name="connsiteX81" fmla="*/ 1009015 w 1219200"/>
                <a:gd name="connsiteY81" fmla="*/ 774066 h 868681"/>
                <a:gd name="connsiteX82" fmla="*/ 911224 w 1219200"/>
                <a:gd name="connsiteY82" fmla="*/ 774066 h 868681"/>
                <a:gd name="connsiteX83" fmla="*/ 949325 w 1219200"/>
                <a:gd name="connsiteY83" fmla="*/ 821056 h 868681"/>
                <a:gd name="connsiteX84" fmla="*/ 948689 w 1219200"/>
                <a:gd name="connsiteY84" fmla="*/ 821056 h 868681"/>
                <a:gd name="connsiteX85" fmla="*/ 948689 w 1219200"/>
                <a:gd name="connsiteY85" fmla="*/ 828676 h 868681"/>
                <a:gd name="connsiteX86" fmla="*/ 894079 w 1219200"/>
                <a:gd name="connsiteY86" fmla="*/ 828676 h 868681"/>
                <a:gd name="connsiteX87" fmla="*/ 913129 w 1219200"/>
                <a:gd name="connsiteY87" fmla="*/ 846456 h 868681"/>
                <a:gd name="connsiteX88" fmla="*/ 929004 w 1219200"/>
                <a:gd name="connsiteY88" fmla="*/ 840106 h 868681"/>
                <a:gd name="connsiteX89" fmla="*/ 944879 w 1219200"/>
                <a:gd name="connsiteY89" fmla="*/ 853441 h 868681"/>
                <a:gd name="connsiteX90" fmla="*/ 912495 w 1219200"/>
                <a:gd name="connsiteY90" fmla="*/ 868046 h 868681"/>
                <a:gd name="connsiteX91" fmla="*/ 871220 w 1219200"/>
                <a:gd name="connsiteY91" fmla="*/ 821056 h 868681"/>
                <a:gd name="connsiteX92" fmla="*/ 911224 w 1219200"/>
                <a:gd name="connsiteY92" fmla="*/ 774066 h 868681"/>
                <a:gd name="connsiteX93" fmla="*/ 623570 w 1219200"/>
                <a:gd name="connsiteY93" fmla="*/ 774066 h 868681"/>
                <a:gd name="connsiteX94" fmla="*/ 655954 w 1219200"/>
                <a:gd name="connsiteY94" fmla="*/ 815341 h 868681"/>
                <a:gd name="connsiteX95" fmla="*/ 655954 w 1219200"/>
                <a:gd name="connsiteY95" fmla="*/ 866141 h 868681"/>
                <a:gd name="connsiteX96" fmla="*/ 632459 w 1219200"/>
                <a:gd name="connsiteY96" fmla="*/ 866141 h 868681"/>
                <a:gd name="connsiteX97" fmla="*/ 632459 w 1219200"/>
                <a:gd name="connsiteY97" fmla="*/ 817246 h 868681"/>
                <a:gd name="connsiteX98" fmla="*/ 617220 w 1219200"/>
                <a:gd name="connsiteY98" fmla="*/ 796291 h 868681"/>
                <a:gd name="connsiteX99" fmla="*/ 601345 w 1219200"/>
                <a:gd name="connsiteY99" fmla="*/ 816611 h 868681"/>
                <a:gd name="connsiteX100" fmla="*/ 601345 w 1219200"/>
                <a:gd name="connsiteY100" fmla="*/ 866141 h 868681"/>
                <a:gd name="connsiteX101" fmla="*/ 577849 w 1219200"/>
                <a:gd name="connsiteY101" fmla="*/ 866141 h 868681"/>
                <a:gd name="connsiteX102" fmla="*/ 577849 w 1219200"/>
                <a:gd name="connsiteY102" fmla="*/ 775971 h 868681"/>
                <a:gd name="connsiteX103" fmla="*/ 601345 w 1219200"/>
                <a:gd name="connsiteY103" fmla="*/ 775971 h 868681"/>
                <a:gd name="connsiteX104" fmla="*/ 601345 w 1219200"/>
                <a:gd name="connsiteY104" fmla="*/ 782321 h 868681"/>
                <a:gd name="connsiteX105" fmla="*/ 623570 w 1219200"/>
                <a:gd name="connsiteY105" fmla="*/ 774066 h 868681"/>
                <a:gd name="connsiteX106" fmla="*/ 522605 w 1219200"/>
                <a:gd name="connsiteY106" fmla="*/ 774066 h 868681"/>
                <a:gd name="connsiteX107" fmla="*/ 564515 w 1219200"/>
                <a:gd name="connsiteY107" fmla="*/ 821056 h 868681"/>
                <a:gd name="connsiteX108" fmla="*/ 522605 w 1219200"/>
                <a:gd name="connsiteY108" fmla="*/ 868046 h 868681"/>
                <a:gd name="connsiteX109" fmla="*/ 480695 w 1219200"/>
                <a:gd name="connsiteY109" fmla="*/ 821056 h 868681"/>
                <a:gd name="connsiteX110" fmla="*/ 522605 w 1219200"/>
                <a:gd name="connsiteY110" fmla="*/ 774066 h 868681"/>
                <a:gd name="connsiteX111" fmla="*/ 436879 w 1219200"/>
                <a:gd name="connsiteY111" fmla="*/ 774066 h 868681"/>
                <a:gd name="connsiteX112" fmla="*/ 472439 w 1219200"/>
                <a:gd name="connsiteY112" fmla="*/ 793751 h 868681"/>
                <a:gd name="connsiteX113" fmla="*/ 457200 w 1219200"/>
                <a:gd name="connsiteY113" fmla="*/ 808991 h 868681"/>
                <a:gd name="connsiteX114" fmla="*/ 436879 w 1219200"/>
                <a:gd name="connsiteY114" fmla="*/ 796291 h 868681"/>
                <a:gd name="connsiteX115" fmla="*/ 417829 w 1219200"/>
                <a:gd name="connsiteY115" fmla="*/ 820421 h 868681"/>
                <a:gd name="connsiteX116" fmla="*/ 436879 w 1219200"/>
                <a:gd name="connsiteY116" fmla="*/ 845186 h 868681"/>
                <a:gd name="connsiteX117" fmla="*/ 457200 w 1219200"/>
                <a:gd name="connsiteY117" fmla="*/ 833756 h 868681"/>
                <a:gd name="connsiteX118" fmla="*/ 457834 w 1219200"/>
                <a:gd name="connsiteY118" fmla="*/ 834391 h 868681"/>
                <a:gd name="connsiteX119" fmla="*/ 472439 w 1219200"/>
                <a:gd name="connsiteY119" fmla="*/ 848361 h 868681"/>
                <a:gd name="connsiteX120" fmla="*/ 436245 w 1219200"/>
                <a:gd name="connsiteY120" fmla="*/ 868046 h 868681"/>
                <a:gd name="connsiteX121" fmla="*/ 393700 w 1219200"/>
                <a:gd name="connsiteY121" fmla="*/ 821056 h 868681"/>
                <a:gd name="connsiteX122" fmla="*/ 436879 w 1219200"/>
                <a:gd name="connsiteY122" fmla="*/ 774066 h 868681"/>
                <a:gd name="connsiteX123" fmla="*/ 219075 w 1219200"/>
                <a:gd name="connsiteY123" fmla="*/ 742316 h 868681"/>
                <a:gd name="connsiteX124" fmla="*/ 219075 w 1219200"/>
                <a:gd name="connsiteY124" fmla="*/ 777241 h 868681"/>
                <a:gd name="connsiteX125" fmla="*/ 245110 w 1219200"/>
                <a:gd name="connsiteY125" fmla="*/ 777241 h 868681"/>
                <a:gd name="connsiteX126" fmla="*/ 245110 w 1219200"/>
                <a:gd name="connsiteY126" fmla="*/ 798831 h 868681"/>
                <a:gd name="connsiteX127" fmla="*/ 219075 w 1219200"/>
                <a:gd name="connsiteY127" fmla="*/ 798831 h 868681"/>
                <a:gd name="connsiteX128" fmla="*/ 219075 w 1219200"/>
                <a:gd name="connsiteY128" fmla="*/ 835661 h 868681"/>
                <a:gd name="connsiteX129" fmla="*/ 227965 w 1219200"/>
                <a:gd name="connsiteY129" fmla="*/ 846456 h 868681"/>
                <a:gd name="connsiteX130" fmla="*/ 245041 w 1219200"/>
                <a:gd name="connsiteY130" fmla="*/ 839979 h 868681"/>
                <a:gd name="connsiteX131" fmla="*/ 241935 w 1219200"/>
                <a:gd name="connsiteY131" fmla="*/ 862966 h 868681"/>
                <a:gd name="connsiteX132" fmla="*/ 219709 w 1219200"/>
                <a:gd name="connsiteY132" fmla="*/ 868681 h 868681"/>
                <a:gd name="connsiteX133" fmla="*/ 195579 w 1219200"/>
                <a:gd name="connsiteY133" fmla="*/ 842011 h 868681"/>
                <a:gd name="connsiteX134" fmla="*/ 195579 w 1219200"/>
                <a:gd name="connsiteY134" fmla="*/ 798831 h 868681"/>
                <a:gd name="connsiteX135" fmla="*/ 179704 w 1219200"/>
                <a:gd name="connsiteY135" fmla="*/ 798831 h 868681"/>
                <a:gd name="connsiteX136" fmla="*/ 179704 w 1219200"/>
                <a:gd name="connsiteY136" fmla="*/ 777241 h 868681"/>
                <a:gd name="connsiteX137" fmla="*/ 195579 w 1219200"/>
                <a:gd name="connsiteY137" fmla="*/ 777241 h 868681"/>
                <a:gd name="connsiteX138" fmla="*/ 195579 w 1219200"/>
                <a:gd name="connsiteY138" fmla="*/ 753746 h 868681"/>
                <a:gd name="connsiteX139" fmla="*/ 749935 w 1219200"/>
                <a:gd name="connsiteY139" fmla="*/ 741681 h 868681"/>
                <a:gd name="connsiteX140" fmla="*/ 763269 w 1219200"/>
                <a:gd name="connsiteY140" fmla="*/ 755016 h 868681"/>
                <a:gd name="connsiteX141" fmla="*/ 749935 w 1219200"/>
                <a:gd name="connsiteY141" fmla="*/ 768351 h 868681"/>
                <a:gd name="connsiteX142" fmla="*/ 736599 w 1219200"/>
                <a:gd name="connsiteY142" fmla="*/ 755016 h 868681"/>
                <a:gd name="connsiteX143" fmla="*/ 749935 w 1219200"/>
                <a:gd name="connsiteY143" fmla="*/ 741681 h 868681"/>
                <a:gd name="connsiteX144" fmla="*/ 154939 w 1219200"/>
                <a:gd name="connsiteY144" fmla="*/ 741681 h 868681"/>
                <a:gd name="connsiteX145" fmla="*/ 168275 w 1219200"/>
                <a:gd name="connsiteY145" fmla="*/ 755016 h 868681"/>
                <a:gd name="connsiteX146" fmla="*/ 154939 w 1219200"/>
                <a:gd name="connsiteY146" fmla="*/ 768351 h 868681"/>
                <a:gd name="connsiteX147" fmla="*/ 141605 w 1219200"/>
                <a:gd name="connsiteY147" fmla="*/ 755016 h 868681"/>
                <a:gd name="connsiteX148" fmla="*/ 154939 w 1219200"/>
                <a:gd name="connsiteY148" fmla="*/ 741681 h 868681"/>
                <a:gd name="connsiteX149" fmla="*/ 856614 w 1219200"/>
                <a:gd name="connsiteY149" fmla="*/ 741046 h 868681"/>
                <a:gd name="connsiteX150" fmla="*/ 856614 w 1219200"/>
                <a:gd name="connsiteY150" fmla="*/ 866141 h 868681"/>
                <a:gd name="connsiteX151" fmla="*/ 833120 w 1219200"/>
                <a:gd name="connsiteY151" fmla="*/ 866141 h 868681"/>
                <a:gd name="connsiteX152" fmla="*/ 833120 w 1219200"/>
                <a:gd name="connsiteY152" fmla="*/ 860426 h 868681"/>
                <a:gd name="connsiteX153" fmla="*/ 812799 w 1219200"/>
                <a:gd name="connsiteY153" fmla="*/ 868046 h 868681"/>
                <a:gd name="connsiteX154" fmla="*/ 775970 w 1219200"/>
                <a:gd name="connsiteY154" fmla="*/ 820421 h 868681"/>
                <a:gd name="connsiteX155" fmla="*/ 812165 w 1219200"/>
                <a:gd name="connsiteY155" fmla="*/ 774066 h 868681"/>
                <a:gd name="connsiteX156" fmla="*/ 833120 w 1219200"/>
                <a:gd name="connsiteY156" fmla="*/ 781051 h 868681"/>
                <a:gd name="connsiteX157" fmla="*/ 833120 w 1219200"/>
                <a:gd name="connsiteY157" fmla="*/ 752476 h 868681"/>
                <a:gd name="connsiteX158" fmla="*/ 707390 w 1219200"/>
                <a:gd name="connsiteY158" fmla="*/ 741046 h 868681"/>
                <a:gd name="connsiteX159" fmla="*/ 724534 w 1219200"/>
                <a:gd name="connsiteY159" fmla="*/ 743586 h 868681"/>
                <a:gd name="connsiteX160" fmla="*/ 724534 w 1219200"/>
                <a:gd name="connsiteY160" fmla="*/ 744221 h 868681"/>
                <a:gd name="connsiteX161" fmla="*/ 724534 w 1219200"/>
                <a:gd name="connsiteY161" fmla="*/ 762636 h 868681"/>
                <a:gd name="connsiteX162" fmla="*/ 713105 w 1219200"/>
                <a:gd name="connsiteY162" fmla="*/ 760731 h 868681"/>
                <a:gd name="connsiteX163" fmla="*/ 703579 w 1219200"/>
                <a:gd name="connsiteY163" fmla="*/ 768351 h 868681"/>
                <a:gd name="connsiteX164" fmla="*/ 703579 w 1219200"/>
                <a:gd name="connsiteY164" fmla="*/ 775336 h 868681"/>
                <a:gd name="connsiteX165" fmla="*/ 722629 w 1219200"/>
                <a:gd name="connsiteY165" fmla="*/ 775336 h 868681"/>
                <a:gd name="connsiteX166" fmla="*/ 722629 w 1219200"/>
                <a:gd name="connsiteY166" fmla="*/ 796926 h 868681"/>
                <a:gd name="connsiteX167" fmla="*/ 703579 w 1219200"/>
                <a:gd name="connsiteY167" fmla="*/ 796926 h 868681"/>
                <a:gd name="connsiteX168" fmla="*/ 703579 w 1219200"/>
                <a:gd name="connsiteY168" fmla="*/ 865506 h 868681"/>
                <a:gd name="connsiteX169" fmla="*/ 680084 w 1219200"/>
                <a:gd name="connsiteY169" fmla="*/ 865506 h 868681"/>
                <a:gd name="connsiteX170" fmla="*/ 680084 w 1219200"/>
                <a:gd name="connsiteY170" fmla="*/ 796926 h 868681"/>
                <a:gd name="connsiteX171" fmla="*/ 667385 w 1219200"/>
                <a:gd name="connsiteY171" fmla="*/ 796926 h 868681"/>
                <a:gd name="connsiteX172" fmla="*/ 667385 w 1219200"/>
                <a:gd name="connsiteY172" fmla="*/ 775336 h 868681"/>
                <a:gd name="connsiteX173" fmla="*/ 680084 w 1219200"/>
                <a:gd name="connsiteY173" fmla="*/ 775336 h 868681"/>
                <a:gd name="connsiteX174" fmla="*/ 680084 w 1219200"/>
                <a:gd name="connsiteY174" fmla="*/ 764541 h 868681"/>
                <a:gd name="connsiteX175" fmla="*/ 707390 w 1219200"/>
                <a:gd name="connsiteY175" fmla="*/ 741046 h 868681"/>
                <a:gd name="connsiteX176" fmla="*/ 282575 w 1219200"/>
                <a:gd name="connsiteY176" fmla="*/ 741046 h 868681"/>
                <a:gd name="connsiteX177" fmla="*/ 282575 w 1219200"/>
                <a:gd name="connsiteY177" fmla="*/ 782321 h 868681"/>
                <a:gd name="connsiteX178" fmla="*/ 304799 w 1219200"/>
                <a:gd name="connsiteY178" fmla="*/ 774066 h 868681"/>
                <a:gd name="connsiteX179" fmla="*/ 336549 w 1219200"/>
                <a:gd name="connsiteY179" fmla="*/ 815341 h 868681"/>
                <a:gd name="connsiteX180" fmla="*/ 336549 w 1219200"/>
                <a:gd name="connsiteY180" fmla="*/ 866141 h 868681"/>
                <a:gd name="connsiteX181" fmla="*/ 313689 w 1219200"/>
                <a:gd name="connsiteY181" fmla="*/ 866141 h 868681"/>
                <a:gd name="connsiteX182" fmla="*/ 313689 w 1219200"/>
                <a:gd name="connsiteY182" fmla="*/ 817246 h 868681"/>
                <a:gd name="connsiteX183" fmla="*/ 298450 w 1219200"/>
                <a:gd name="connsiteY183" fmla="*/ 796291 h 868681"/>
                <a:gd name="connsiteX184" fmla="*/ 282575 w 1219200"/>
                <a:gd name="connsiteY184" fmla="*/ 816611 h 868681"/>
                <a:gd name="connsiteX185" fmla="*/ 282575 w 1219200"/>
                <a:gd name="connsiteY185" fmla="*/ 866141 h 868681"/>
                <a:gd name="connsiteX186" fmla="*/ 259079 w 1219200"/>
                <a:gd name="connsiteY186" fmla="*/ 866141 h 868681"/>
                <a:gd name="connsiteX187" fmla="*/ 259079 w 1219200"/>
                <a:gd name="connsiteY187" fmla="*/ 752476 h 868681"/>
                <a:gd name="connsiteX188" fmla="*/ 92709 w 1219200"/>
                <a:gd name="connsiteY188" fmla="*/ 648336 h 868681"/>
                <a:gd name="connsiteX189" fmla="*/ 92709 w 1219200"/>
                <a:gd name="connsiteY189" fmla="*/ 649606 h 868681"/>
                <a:gd name="connsiteX190" fmla="*/ 92427 w 1219200"/>
                <a:gd name="connsiteY190" fmla="*/ 648959 h 868681"/>
                <a:gd name="connsiteX191" fmla="*/ 230504 w 1219200"/>
                <a:gd name="connsiteY191" fmla="*/ 643256 h 868681"/>
                <a:gd name="connsiteX192" fmla="*/ 215900 w 1219200"/>
                <a:gd name="connsiteY192" fmla="*/ 654686 h 868681"/>
                <a:gd name="connsiteX193" fmla="*/ 228599 w 1219200"/>
                <a:gd name="connsiteY193" fmla="*/ 667386 h 868681"/>
                <a:gd name="connsiteX194" fmla="*/ 245745 w 1219200"/>
                <a:gd name="connsiteY194" fmla="*/ 658496 h 868681"/>
                <a:gd name="connsiteX195" fmla="*/ 245745 w 1219200"/>
                <a:gd name="connsiteY195" fmla="*/ 647066 h 868681"/>
                <a:gd name="connsiteX196" fmla="*/ 230504 w 1219200"/>
                <a:gd name="connsiteY196" fmla="*/ 643256 h 868681"/>
                <a:gd name="connsiteX197" fmla="*/ 321310 w 1219200"/>
                <a:gd name="connsiteY197" fmla="*/ 614046 h 868681"/>
                <a:gd name="connsiteX198" fmla="*/ 306704 w 1219200"/>
                <a:gd name="connsiteY198" fmla="*/ 622301 h 868681"/>
                <a:gd name="connsiteX199" fmla="*/ 306704 w 1219200"/>
                <a:gd name="connsiteY199" fmla="*/ 656591 h 868681"/>
                <a:gd name="connsiteX200" fmla="*/ 323215 w 1219200"/>
                <a:gd name="connsiteY200" fmla="*/ 664846 h 868681"/>
                <a:gd name="connsiteX201" fmla="*/ 339090 w 1219200"/>
                <a:gd name="connsiteY201" fmla="*/ 640716 h 868681"/>
                <a:gd name="connsiteX202" fmla="*/ 338454 w 1219200"/>
                <a:gd name="connsiteY202" fmla="*/ 640716 h 868681"/>
                <a:gd name="connsiteX203" fmla="*/ 321310 w 1219200"/>
                <a:gd name="connsiteY203" fmla="*/ 614046 h 868681"/>
                <a:gd name="connsiteX204" fmla="*/ 1179195 w 1219200"/>
                <a:gd name="connsiteY204" fmla="*/ 612776 h 868681"/>
                <a:gd name="connsiteX205" fmla="*/ 1163320 w 1219200"/>
                <a:gd name="connsiteY205" fmla="*/ 629921 h 868681"/>
                <a:gd name="connsiteX206" fmla="*/ 1163954 w 1219200"/>
                <a:gd name="connsiteY206" fmla="*/ 629921 h 868681"/>
                <a:gd name="connsiteX207" fmla="*/ 1195704 w 1219200"/>
                <a:gd name="connsiteY207" fmla="*/ 629921 h 868681"/>
                <a:gd name="connsiteX208" fmla="*/ 1179195 w 1219200"/>
                <a:gd name="connsiteY208" fmla="*/ 612776 h 868681"/>
                <a:gd name="connsiteX209" fmla="*/ 689610 w 1219200"/>
                <a:gd name="connsiteY209" fmla="*/ 612776 h 868681"/>
                <a:gd name="connsiteX210" fmla="*/ 673735 w 1219200"/>
                <a:gd name="connsiteY210" fmla="*/ 629921 h 868681"/>
                <a:gd name="connsiteX211" fmla="*/ 674370 w 1219200"/>
                <a:gd name="connsiteY211" fmla="*/ 629921 h 868681"/>
                <a:gd name="connsiteX212" fmla="*/ 706120 w 1219200"/>
                <a:gd name="connsiteY212" fmla="*/ 629921 h 868681"/>
                <a:gd name="connsiteX213" fmla="*/ 689610 w 1219200"/>
                <a:gd name="connsiteY213" fmla="*/ 612776 h 868681"/>
                <a:gd name="connsiteX214" fmla="*/ 410845 w 1219200"/>
                <a:gd name="connsiteY214" fmla="*/ 612776 h 868681"/>
                <a:gd name="connsiteX215" fmla="*/ 395605 w 1219200"/>
                <a:gd name="connsiteY215" fmla="*/ 629921 h 868681"/>
                <a:gd name="connsiteX216" fmla="*/ 427355 w 1219200"/>
                <a:gd name="connsiteY216" fmla="*/ 629921 h 868681"/>
                <a:gd name="connsiteX217" fmla="*/ 410845 w 1219200"/>
                <a:gd name="connsiteY217" fmla="*/ 612776 h 868681"/>
                <a:gd name="connsiteX218" fmla="*/ 991870 w 1219200"/>
                <a:gd name="connsiteY218" fmla="*/ 594361 h 868681"/>
                <a:gd name="connsiteX219" fmla="*/ 1014095 w 1219200"/>
                <a:gd name="connsiteY219" fmla="*/ 594361 h 868681"/>
                <a:gd name="connsiteX220" fmla="*/ 1014095 w 1219200"/>
                <a:gd name="connsiteY220" fmla="*/ 643256 h 868681"/>
                <a:gd name="connsiteX221" fmla="*/ 1029334 w 1219200"/>
                <a:gd name="connsiteY221" fmla="*/ 664846 h 868681"/>
                <a:gd name="connsiteX222" fmla="*/ 1044575 w 1219200"/>
                <a:gd name="connsiteY222" fmla="*/ 644526 h 868681"/>
                <a:gd name="connsiteX223" fmla="*/ 1044575 w 1219200"/>
                <a:gd name="connsiteY223" fmla="*/ 594996 h 868681"/>
                <a:gd name="connsiteX224" fmla="*/ 1066799 w 1219200"/>
                <a:gd name="connsiteY224" fmla="*/ 594996 h 868681"/>
                <a:gd name="connsiteX225" fmla="*/ 1066799 w 1219200"/>
                <a:gd name="connsiteY225" fmla="*/ 684531 h 868681"/>
                <a:gd name="connsiteX226" fmla="*/ 1044575 w 1219200"/>
                <a:gd name="connsiteY226" fmla="*/ 684531 h 868681"/>
                <a:gd name="connsiteX227" fmla="*/ 1044575 w 1219200"/>
                <a:gd name="connsiteY227" fmla="*/ 678181 h 868681"/>
                <a:gd name="connsiteX228" fmla="*/ 1023620 w 1219200"/>
                <a:gd name="connsiteY228" fmla="*/ 686436 h 868681"/>
                <a:gd name="connsiteX229" fmla="*/ 991870 w 1219200"/>
                <a:gd name="connsiteY229" fmla="*/ 645161 h 868681"/>
                <a:gd name="connsiteX230" fmla="*/ 836295 w 1219200"/>
                <a:gd name="connsiteY230" fmla="*/ 594361 h 868681"/>
                <a:gd name="connsiteX231" fmla="*/ 858519 w 1219200"/>
                <a:gd name="connsiteY231" fmla="*/ 594361 h 868681"/>
                <a:gd name="connsiteX232" fmla="*/ 858519 w 1219200"/>
                <a:gd name="connsiteY232" fmla="*/ 643256 h 868681"/>
                <a:gd name="connsiteX233" fmla="*/ 873760 w 1219200"/>
                <a:gd name="connsiteY233" fmla="*/ 664846 h 868681"/>
                <a:gd name="connsiteX234" fmla="*/ 889000 w 1219200"/>
                <a:gd name="connsiteY234" fmla="*/ 644526 h 868681"/>
                <a:gd name="connsiteX235" fmla="*/ 889000 w 1219200"/>
                <a:gd name="connsiteY235" fmla="*/ 594996 h 868681"/>
                <a:gd name="connsiteX236" fmla="*/ 911224 w 1219200"/>
                <a:gd name="connsiteY236" fmla="*/ 594996 h 868681"/>
                <a:gd name="connsiteX237" fmla="*/ 911224 w 1219200"/>
                <a:gd name="connsiteY237" fmla="*/ 684531 h 868681"/>
                <a:gd name="connsiteX238" fmla="*/ 889000 w 1219200"/>
                <a:gd name="connsiteY238" fmla="*/ 684531 h 868681"/>
                <a:gd name="connsiteX239" fmla="*/ 889000 w 1219200"/>
                <a:gd name="connsiteY239" fmla="*/ 678181 h 868681"/>
                <a:gd name="connsiteX240" fmla="*/ 868045 w 1219200"/>
                <a:gd name="connsiteY240" fmla="*/ 686436 h 868681"/>
                <a:gd name="connsiteX241" fmla="*/ 836295 w 1219200"/>
                <a:gd name="connsiteY241" fmla="*/ 645161 h 868681"/>
                <a:gd name="connsiteX242" fmla="*/ 1181099 w 1219200"/>
                <a:gd name="connsiteY242" fmla="*/ 592456 h 868681"/>
                <a:gd name="connsiteX243" fmla="*/ 1219200 w 1219200"/>
                <a:gd name="connsiteY243" fmla="*/ 639446 h 868681"/>
                <a:gd name="connsiteX244" fmla="*/ 1218564 w 1219200"/>
                <a:gd name="connsiteY244" fmla="*/ 639446 h 868681"/>
                <a:gd name="connsiteX245" fmla="*/ 1218564 w 1219200"/>
                <a:gd name="connsiteY245" fmla="*/ 647066 h 868681"/>
                <a:gd name="connsiteX246" fmla="*/ 1163954 w 1219200"/>
                <a:gd name="connsiteY246" fmla="*/ 647066 h 868681"/>
                <a:gd name="connsiteX247" fmla="*/ 1183004 w 1219200"/>
                <a:gd name="connsiteY247" fmla="*/ 664846 h 868681"/>
                <a:gd name="connsiteX248" fmla="*/ 1198879 w 1219200"/>
                <a:gd name="connsiteY248" fmla="*/ 658496 h 868681"/>
                <a:gd name="connsiteX249" fmla="*/ 1214754 w 1219200"/>
                <a:gd name="connsiteY249" fmla="*/ 671831 h 868681"/>
                <a:gd name="connsiteX250" fmla="*/ 1182370 w 1219200"/>
                <a:gd name="connsiteY250" fmla="*/ 686436 h 868681"/>
                <a:gd name="connsiteX251" fmla="*/ 1141095 w 1219200"/>
                <a:gd name="connsiteY251" fmla="*/ 639446 h 868681"/>
                <a:gd name="connsiteX252" fmla="*/ 1181099 w 1219200"/>
                <a:gd name="connsiteY252" fmla="*/ 592456 h 868681"/>
                <a:gd name="connsiteX253" fmla="*/ 691515 w 1219200"/>
                <a:gd name="connsiteY253" fmla="*/ 592456 h 868681"/>
                <a:gd name="connsiteX254" fmla="*/ 729614 w 1219200"/>
                <a:gd name="connsiteY254" fmla="*/ 639446 h 868681"/>
                <a:gd name="connsiteX255" fmla="*/ 728980 w 1219200"/>
                <a:gd name="connsiteY255" fmla="*/ 639446 h 868681"/>
                <a:gd name="connsiteX256" fmla="*/ 728980 w 1219200"/>
                <a:gd name="connsiteY256" fmla="*/ 647066 h 868681"/>
                <a:gd name="connsiteX257" fmla="*/ 674370 w 1219200"/>
                <a:gd name="connsiteY257" fmla="*/ 647066 h 868681"/>
                <a:gd name="connsiteX258" fmla="*/ 693420 w 1219200"/>
                <a:gd name="connsiteY258" fmla="*/ 664846 h 868681"/>
                <a:gd name="connsiteX259" fmla="*/ 709295 w 1219200"/>
                <a:gd name="connsiteY259" fmla="*/ 658496 h 868681"/>
                <a:gd name="connsiteX260" fmla="*/ 725170 w 1219200"/>
                <a:gd name="connsiteY260" fmla="*/ 671831 h 868681"/>
                <a:gd name="connsiteX261" fmla="*/ 692784 w 1219200"/>
                <a:gd name="connsiteY261" fmla="*/ 686436 h 868681"/>
                <a:gd name="connsiteX262" fmla="*/ 651510 w 1219200"/>
                <a:gd name="connsiteY262" fmla="*/ 639446 h 868681"/>
                <a:gd name="connsiteX263" fmla="*/ 691515 w 1219200"/>
                <a:gd name="connsiteY263" fmla="*/ 592456 h 868681"/>
                <a:gd name="connsiteX264" fmla="*/ 412114 w 1219200"/>
                <a:gd name="connsiteY264" fmla="*/ 592456 h 868681"/>
                <a:gd name="connsiteX265" fmla="*/ 448310 w 1219200"/>
                <a:gd name="connsiteY265" fmla="*/ 639446 h 868681"/>
                <a:gd name="connsiteX266" fmla="*/ 448310 w 1219200"/>
                <a:gd name="connsiteY266" fmla="*/ 647066 h 868681"/>
                <a:gd name="connsiteX267" fmla="*/ 395605 w 1219200"/>
                <a:gd name="connsiteY267" fmla="*/ 647066 h 868681"/>
                <a:gd name="connsiteX268" fmla="*/ 415290 w 1219200"/>
                <a:gd name="connsiteY268" fmla="*/ 664846 h 868681"/>
                <a:gd name="connsiteX269" fmla="*/ 430530 w 1219200"/>
                <a:gd name="connsiteY269" fmla="*/ 658496 h 868681"/>
                <a:gd name="connsiteX270" fmla="*/ 446405 w 1219200"/>
                <a:gd name="connsiteY270" fmla="*/ 671831 h 868681"/>
                <a:gd name="connsiteX271" fmla="*/ 413385 w 1219200"/>
                <a:gd name="connsiteY271" fmla="*/ 686436 h 868681"/>
                <a:gd name="connsiteX272" fmla="*/ 372110 w 1219200"/>
                <a:gd name="connsiteY272" fmla="*/ 640081 h 868681"/>
                <a:gd name="connsiteX273" fmla="*/ 412114 w 1219200"/>
                <a:gd name="connsiteY273" fmla="*/ 592456 h 868681"/>
                <a:gd name="connsiteX274" fmla="*/ 326390 w 1219200"/>
                <a:gd name="connsiteY274" fmla="*/ 592456 h 868681"/>
                <a:gd name="connsiteX275" fmla="*/ 361314 w 1219200"/>
                <a:gd name="connsiteY275" fmla="*/ 639446 h 868681"/>
                <a:gd name="connsiteX276" fmla="*/ 326390 w 1219200"/>
                <a:gd name="connsiteY276" fmla="*/ 686436 h 868681"/>
                <a:gd name="connsiteX277" fmla="*/ 306070 w 1219200"/>
                <a:gd name="connsiteY277" fmla="*/ 678816 h 868681"/>
                <a:gd name="connsiteX278" fmla="*/ 306070 w 1219200"/>
                <a:gd name="connsiteY278" fmla="*/ 706121 h 868681"/>
                <a:gd name="connsiteX279" fmla="*/ 283845 w 1219200"/>
                <a:gd name="connsiteY279" fmla="*/ 717551 h 868681"/>
                <a:gd name="connsiteX280" fmla="*/ 283845 w 1219200"/>
                <a:gd name="connsiteY280" fmla="*/ 594361 h 868681"/>
                <a:gd name="connsiteX281" fmla="*/ 306070 w 1219200"/>
                <a:gd name="connsiteY281" fmla="*/ 594361 h 868681"/>
                <a:gd name="connsiteX282" fmla="*/ 306070 w 1219200"/>
                <a:gd name="connsiteY282" fmla="*/ 600711 h 868681"/>
                <a:gd name="connsiteX283" fmla="*/ 326390 w 1219200"/>
                <a:gd name="connsiteY283" fmla="*/ 592456 h 868681"/>
                <a:gd name="connsiteX284" fmla="*/ 231775 w 1219200"/>
                <a:gd name="connsiteY284" fmla="*/ 592456 h 868681"/>
                <a:gd name="connsiteX285" fmla="*/ 268605 w 1219200"/>
                <a:gd name="connsiteY285" fmla="*/ 624206 h 868681"/>
                <a:gd name="connsiteX286" fmla="*/ 268605 w 1219200"/>
                <a:gd name="connsiteY286" fmla="*/ 684531 h 868681"/>
                <a:gd name="connsiteX287" fmla="*/ 267970 w 1219200"/>
                <a:gd name="connsiteY287" fmla="*/ 684531 h 868681"/>
                <a:gd name="connsiteX288" fmla="*/ 245745 w 1219200"/>
                <a:gd name="connsiteY288" fmla="*/ 684531 h 868681"/>
                <a:gd name="connsiteX289" fmla="*/ 245745 w 1219200"/>
                <a:gd name="connsiteY289" fmla="*/ 678181 h 868681"/>
                <a:gd name="connsiteX290" fmla="*/ 224790 w 1219200"/>
                <a:gd name="connsiteY290" fmla="*/ 686436 h 868681"/>
                <a:gd name="connsiteX291" fmla="*/ 193040 w 1219200"/>
                <a:gd name="connsiteY291" fmla="*/ 655321 h 868681"/>
                <a:gd name="connsiteX292" fmla="*/ 227965 w 1219200"/>
                <a:gd name="connsiteY292" fmla="*/ 624841 h 868681"/>
                <a:gd name="connsiteX293" fmla="*/ 245745 w 1219200"/>
                <a:gd name="connsiteY293" fmla="*/ 628651 h 868681"/>
                <a:gd name="connsiteX294" fmla="*/ 245745 w 1219200"/>
                <a:gd name="connsiteY294" fmla="*/ 623571 h 868681"/>
                <a:gd name="connsiteX295" fmla="*/ 230504 w 1219200"/>
                <a:gd name="connsiteY295" fmla="*/ 611506 h 868681"/>
                <a:gd name="connsiteX296" fmla="*/ 209549 w 1219200"/>
                <a:gd name="connsiteY296" fmla="*/ 617221 h 868681"/>
                <a:gd name="connsiteX297" fmla="*/ 200659 w 1219200"/>
                <a:gd name="connsiteY297" fmla="*/ 601346 h 868681"/>
                <a:gd name="connsiteX298" fmla="*/ 231775 w 1219200"/>
                <a:gd name="connsiteY298" fmla="*/ 592456 h 868681"/>
                <a:gd name="connsiteX299" fmla="*/ 1125855 w 1219200"/>
                <a:gd name="connsiteY299" fmla="*/ 591821 h 868681"/>
                <a:gd name="connsiteX300" fmla="*/ 1142364 w 1219200"/>
                <a:gd name="connsiteY300" fmla="*/ 598171 h 868681"/>
                <a:gd name="connsiteX301" fmla="*/ 1141730 w 1219200"/>
                <a:gd name="connsiteY301" fmla="*/ 598806 h 868681"/>
                <a:gd name="connsiteX302" fmla="*/ 1132840 w 1219200"/>
                <a:gd name="connsiteY302" fmla="*/ 621031 h 868681"/>
                <a:gd name="connsiteX303" fmla="*/ 1120140 w 1219200"/>
                <a:gd name="connsiteY303" fmla="*/ 615316 h 868681"/>
                <a:gd name="connsiteX304" fmla="*/ 1106805 w 1219200"/>
                <a:gd name="connsiteY304" fmla="*/ 635001 h 868681"/>
                <a:gd name="connsiteX305" fmla="*/ 1106805 w 1219200"/>
                <a:gd name="connsiteY305" fmla="*/ 683896 h 868681"/>
                <a:gd name="connsiteX306" fmla="*/ 1084579 w 1219200"/>
                <a:gd name="connsiteY306" fmla="*/ 683896 h 868681"/>
                <a:gd name="connsiteX307" fmla="*/ 1084579 w 1219200"/>
                <a:gd name="connsiteY307" fmla="*/ 593726 h 868681"/>
                <a:gd name="connsiteX308" fmla="*/ 1106805 w 1219200"/>
                <a:gd name="connsiteY308" fmla="*/ 593726 h 868681"/>
                <a:gd name="connsiteX309" fmla="*/ 1106805 w 1219200"/>
                <a:gd name="connsiteY309" fmla="*/ 600076 h 868681"/>
                <a:gd name="connsiteX310" fmla="*/ 1125855 w 1219200"/>
                <a:gd name="connsiteY310" fmla="*/ 591821 h 868681"/>
                <a:gd name="connsiteX311" fmla="*/ 47625 w 1219200"/>
                <a:gd name="connsiteY311" fmla="*/ 563881 h 868681"/>
                <a:gd name="connsiteX312" fmla="*/ 90170 w 1219200"/>
                <a:gd name="connsiteY312" fmla="*/ 582296 h 868681"/>
                <a:gd name="connsiteX313" fmla="*/ 73659 w 1219200"/>
                <a:gd name="connsiteY313" fmla="*/ 598806 h 868681"/>
                <a:gd name="connsiteX314" fmla="*/ 46355 w 1219200"/>
                <a:gd name="connsiteY314" fmla="*/ 586741 h 868681"/>
                <a:gd name="connsiteX315" fmla="*/ 28575 w 1219200"/>
                <a:gd name="connsiteY315" fmla="*/ 598171 h 868681"/>
                <a:gd name="connsiteX316" fmla="*/ 33655 w 1219200"/>
                <a:gd name="connsiteY316" fmla="*/ 606426 h 868681"/>
                <a:gd name="connsiteX317" fmla="*/ 52704 w 1219200"/>
                <a:gd name="connsiteY317" fmla="*/ 612776 h 868681"/>
                <a:gd name="connsiteX318" fmla="*/ 81915 w 1219200"/>
                <a:gd name="connsiteY318" fmla="*/ 624841 h 868681"/>
                <a:gd name="connsiteX319" fmla="*/ 92427 w 1219200"/>
                <a:gd name="connsiteY319" fmla="*/ 648959 h 868681"/>
                <a:gd name="connsiteX320" fmla="*/ 79454 w 1219200"/>
                <a:gd name="connsiteY320" fmla="*/ 677626 h 868681"/>
                <a:gd name="connsiteX321" fmla="*/ 47625 w 1219200"/>
                <a:gd name="connsiteY321" fmla="*/ 686436 h 868681"/>
                <a:gd name="connsiteX322" fmla="*/ 0 w 1219200"/>
                <a:gd name="connsiteY322" fmla="*/ 664846 h 868681"/>
                <a:gd name="connsiteX323" fmla="*/ 16510 w 1219200"/>
                <a:gd name="connsiteY323" fmla="*/ 650241 h 868681"/>
                <a:gd name="connsiteX324" fmla="*/ 46989 w 1219200"/>
                <a:gd name="connsiteY324" fmla="*/ 664211 h 868681"/>
                <a:gd name="connsiteX325" fmla="*/ 68579 w 1219200"/>
                <a:gd name="connsiteY325" fmla="*/ 649606 h 868681"/>
                <a:gd name="connsiteX326" fmla="*/ 61595 w 1219200"/>
                <a:gd name="connsiteY326" fmla="*/ 640081 h 868681"/>
                <a:gd name="connsiteX327" fmla="*/ 41909 w 1219200"/>
                <a:gd name="connsiteY327" fmla="*/ 634366 h 868681"/>
                <a:gd name="connsiteX328" fmla="*/ 14605 w 1219200"/>
                <a:gd name="connsiteY328" fmla="*/ 623571 h 868681"/>
                <a:gd name="connsiteX329" fmla="*/ 4444 w 1219200"/>
                <a:gd name="connsiteY329" fmla="*/ 599441 h 868681"/>
                <a:gd name="connsiteX330" fmla="*/ 47625 w 1219200"/>
                <a:gd name="connsiteY330" fmla="*/ 563881 h 868681"/>
                <a:gd name="connsiteX331" fmla="*/ 814070 w 1219200"/>
                <a:gd name="connsiteY331" fmla="*/ 560071 h 868681"/>
                <a:gd name="connsiteX332" fmla="*/ 830579 w 1219200"/>
                <a:gd name="connsiteY332" fmla="*/ 562611 h 868681"/>
                <a:gd name="connsiteX333" fmla="*/ 829945 w 1219200"/>
                <a:gd name="connsiteY333" fmla="*/ 562611 h 868681"/>
                <a:gd name="connsiteX334" fmla="*/ 829945 w 1219200"/>
                <a:gd name="connsiteY334" fmla="*/ 581026 h 868681"/>
                <a:gd name="connsiteX335" fmla="*/ 818515 w 1219200"/>
                <a:gd name="connsiteY335" fmla="*/ 579121 h 868681"/>
                <a:gd name="connsiteX336" fmla="*/ 808989 w 1219200"/>
                <a:gd name="connsiteY336" fmla="*/ 586741 h 868681"/>
                <a:gd name="connsiteX337" fmla="*/ 808989 w 1219200"/>
                <a:gd name="connsiteY337" fmla="*/ 594361 h 868681"/>
                <a:gd name="connsiteX338" fmla="*/ 824230 w 1219200"/>
                <a:gd name="connsiteY338" fmla="*/ 594361 h 868681"/>
                <a:gd name="connsiteX339" fmla="*/ 824230 w 1219200"/>
                <a:gd name="connsiteY339" fmla="*/ 615951 h 868681"/>
                <a:gd name="connsiteX340" fmla="*/ 808989 w 1219200"/>
                <a:gd name="connsiteY340" fmla="*/ 615951 h 868681"/>
                <a:gd name="connsiteX341" fmla="*/ 808989 w 1219200"/>
                <a:gd name="connsiteY341" fmla="*/ 684531 h 868681"/>
                <a:gd name="connsiteX342" fmla="*/ 786765 w 1219200"/>
                <a:gd name="connsiteY342" fmla="*/ 684531 h 868681"/>
                <a:gd name="connsiteX343" fmla="*/ 786765 w 1219200"/>
                <a:gd name="connsiteY343" fmla="*/ 615951 h 868681"/>
                <a:gd name="connsiteX344" fmla="*/ 775970 w 1219200"/>
                <a:gd name="connsiteY344" fmla="*/ 615951 h 868681"/>
                <a:gd name="connsiteX345" fmla="*/ 775970 w 1219200"/>
                <a:gd name="connsiteY345" fmla="*/ 594361 h 868681"/>
                <a:gd name="connsiteX346" fmla="*/ 786765 w 1219200"/>
                <a:gd name="connsiteY346" fmla="*/ 594361 h 868681"/>
                <a:gd name="connsiteX347" fmla="*/ 786765 w 1219200"/>
                <a:gd name="connsiteY347" fmla="*/ 583566 h 868681"/>
                <a:gd name="connsiteX348" fmla="*/ 814070 w 1219200"/>
                <a:gd name="connsiteY348" fmla="*/ 560071 h 868681"/>
                <a:gd name="connsiteX349" fmla="*/ 957579 w 1219200"/>
                <a:gd name="connsiteY349" fmla="*/ 559436 h 868681"/>
                <a:gd name="connsiteX350" fmla="*/ 957579 w 1219200"/>
                <a:gd name="connsiteY350" fmla="*/ 594361 h 868681"/>
                <a:gd name="connsiteX351" fmla="*/ 979170 w 1219200"/>
                <a:gd name="connsiteY351" fmla="*/ 594361 h 868681"/>
                <a:gd name="connsiteX352" fmla="*/ 979170 w 1219200"/>
                <a:gd name="connsiteY352" fmla="*/ 615951 h 868681"/>
                <a:gd name="connsiteX353" fmla="*/ 957579 w 1219200"/>
                <a:gd name="connsiteY353" fmla="*/ 615951 h 868681"/>
                <a:gd name="connsiteX354" fmla="*/ 957579 w 1219200"/>
                <a:gd name="connsiteY354" fmla="*/ 654051 h 868681"/>
                <a:gd name="connsiteX355" fmla="*/ 966470 w 1219200"/>
                <a:gd name="connsiteY355" fmla="*/ 664846 h 868681"/>
                <a:gd name="connsiteX356" fmla="*/ 981075 w 1219200"/>
                <a:gd name="connsiteY356" fmla="*/ 658496 h 868681"/>
                <a:gd name="connsiteX357" fmla="*/ 977900 w 1219200"/>
                <a:gd name="connsiteY357" fmla="*/ 681356 h 868681"/>
                <a:gd name="connsiteX358" fmla="*/ 959485 w 1219200"/>
                <a:gd name="connsiteY358" fmla="*/ 686436 h 868681"/>
                <a:gd name="connsiteX359" fmla="*/ 935355 w 1219200"/>
                <a:gd name="connsiteY359" fmla="*/ 659766 h 868681"/>
                <a:gd name="connsiteX360" fmla="*/ 935355 w 1219200"/>
                <a:gd name="connsiteY360" fmla="*/ 615951 h 868681"/>
                <a:gd name="connsiteX361" fmla="*/ 922655 w 1219200"/>
                <a:gd name="connsiteY361" fmla="*/ 615951 h 868681"/>
                <a:gd name="connsiteX362" fmla="*/ 922655 w 1219200"/>
                <a:gd name="connsiteY362" fmla="*/ 594361 h 868681"/>
                <a:gd name="connsiteX363" fmla="*/ 935355 w 1219200"/>
                <a:gd name="connsiteY363" fmla="*/ 594361 h 868681"/>
                <a:gd name="connsiteX364" fmla="*/ 935355 w 1219200"/>
                <a:gd name="connsiteY364" fmla="*/ 570866 h 868681"/>
                <a:gd name="connsiteX365" fmla="*/ 586739 w 1219200"/>
                <a:gd name="connsiteY365" fmla="*/ 559436 h 868681"/>
                <a:gd name="connsiteX366" fmla="*/ 586739 w 1219200"/>
                <a:gd name="connsiteY366" fmla="*/ 600711 h 868681"/>
                <a:gd name="connsiteX367" fmla="*/ 607695 w 1219200"/>
                <a:gd name="connsiteY367" fmla="*/ 592456 h 868681"/>
                <a:gd name="connsiteX368" fmla="*/ 639445 w 1219200"/>
                <a:gd name="connsiteY368" fmla="*/ 633731 h 868681"/>
                <a:gd name="connsiteX369" fmla="*/ 639445 w 1219200"/>
                <a:gd name="connsiteY369" fmla="*/ 684531 h 868681"/>
                <a:gd name="connsiteX370" fmla="*/ 617220 w 1219200"/>
                <a:gd name="connsiteY370" fmla="*/ 684531 h 868681"/>
                <a:gd name="connsiteX371" fmla="*/ 617220 w 1219200"/>
                <a:gd name="connsiteY371" fmla="*/ 635636 h 868681"/>
                <a:gd name="connsiteX372" fmla="*/ 601980 w 1219200"/>
                <a:gd name="connsiteY372" fmla="*/ 614681 h 868681"/>
                <a:gd name="connsiteX373" fmla="*/ 586739 w 1219200"/>
                <a:gd name="connsiteY373" fmla="*/ 635001 h 868681"/>
                <a:gd name="connsiteX374" fmla="*/ 586739 w 1219200"/>
                <a:gd name="connsiteY374" fmla="*/ 684531 h 868681"/>
                <a:gd name="connsiteX375" fmla="*/ 564515 w 1219200"/>
                <a:gd name="connsiteY375" fmla="*/ 684531 h 868681"/>
                <a:gd name="connsiteX376" fmla="*/ 564515 w 1219200"/>
                <a:gd name="connsiteY376" fmla="*/ 570866 h 868681"/>
                <a:gd name="connsiteX377" fmla="*/ 529590 w 1219200"/>
                <a:gd name="connsiteY377" fmla="*/ 559436 h 868681"/>
                <a:gd name="connsiteX378" fmla="*/ 529590 w 1219200"/>
                <a:gd name="connsiteY378" fmla="*/ 594361 h 868681"/>
                <a:gd name="connsiteX379" fmla="*/ 550545 w 1219200"/>
                <a:gd name="connsiteY379" fmla="*/ 594361 h 868681"/>
                <a:gd name="connsiteX380" fmla="*/ 550545 w 1219200"/>
                <a:gd name="connsiteY380" fmla="*/ 615951 h 868681"/>
                <a:gd name="connsiteX381" fmla="*/ 529590 w 1219200"/>
                <a:gd name="connsiteY381" fmla="*/ 615951 h 868681"/>
                <a:gd name="connsiteX382" fmla="*/ 529590 w 1219200"/>
                <a:gd name="connsiteY382" fmla="*/ 654051 h 868681"/>
                <a:gd name="connsiteX383" fmla="*/ 538480 w 1219200"/>
                <a:gd name="connsiteY383" fmla="*/ 664846 h 868681"/>
                <a:gd name="connsiteX384" fmla="*/ 553084 w 1219200"/>
                <a:gd name="connsiteY384" fmla="*/ 658496 h 868681"/>
                <a:gd name="connsiteX385" fmla="*/ 549909 w 1219200"/>
                <a:gd name="connsiteY385" fmla="*/ 681356 h 868681"/>
                <a:gd name="connsiteX386" fmla="*/ 531495 w 1219200"/>
                <a:gd name="connsiteY386" fmla="*/ 686436 h 868681"/>
                <a:gd name="connsiteX387" fmla="*/ 507364 w 1219200"/>
                <a:gd name="connsiteY387" fmla="*/ 659766 h 868681"/>
                <a:gd name="connsiteX388" fmla="*/ 507364 w 1219200"/>
                <a:gd name="connsiteY388" fmla="*/ 615951 h 868681"/>
                <a:gd name="connsiteX389" fmla="*/ 491489 w 1219200"/>
                <a:gd name="connsiteY389" fmla="*/ 615951 h 868681"/>
                <a:gd name="connsiteX390" fmla="*/ 491489 w 1219200"/>
                <a:gd name="connsiteY390" fmla="*/ 594361 h 868681"/>
                <a:gd name="connsiteX391" fmla="*/ 507364 w 1219200"/>
                <a:gd name="connsiteY391" fmla="*/ 594361 h 868681"/>
                <a:gd name="connsiteX392" fmla="*/ 507364 w 1219200"/>
                <a:gd name="connsiteY392" fmla="*/ 570866 h 868681"/>
                <a:gd name="connsiteX393" fmla="*/ 128269 w 1219200"/>
                <a:gd name="connsiteY393" fmla="*/ 559436 h 868681"/>
                <a:gd name="connsiteX394" fmla="*/ 128269 w 1219200"/>
                <a:gd name="connsiteY394" fmla="*/ 600711 h 868681"/>
                <a:gd name="connsiteX395" fmla="*/ 149224 w 1219200"/>
                <a:gd name="connsiteY395" fmla="*/ 592456 h 868681"/>
                <a:gd name="connsiteX396" fmla="*/ 180974 w 1219200"/>
                <a:gd name="connsiteY396" fmla="*/ 633731 h 868681"/>
                <a:gd name="connsiteX397" fmla="*/ 180974 w 1219200"/>
                <a:gd name="connsiteY397" fmla="*/ 684531 h 868681"/>
                <a:gd name="connsiteX398" fmla="*/ 158750 w 1219200"/>
                <a:gd name="connsiteY398" fmla="*/ 684531 h 868681"/>
                <a:gd name="connsiteX399" fmla="*/ 158750 w 1219200"/>
                <a:gd name="connsiteY399" fmla="*/ 635636 h 868681"/>
                <a:gd name="connsiteX400" fmla="*/ 143510 w 1219200"/>
                <a:gd name="connsiteY400" fmla="*/ 614681 h 868681"/>
                <a:gd name="connsiteX401" fmla="*/ 128269 w 1219200"/>
                <a:gd name="connsiteY401" fmla="*/ 635001 h 868681"/>
                <a:gd name="connsiteX402" fmla="*/ 128269 w 1219200"/>
                <a:gd name="connsiteY402" fmla="*/ 684531 h 868681"/>
                <a:gd name="connsiteX403" fmla="*/ 106045 w 1219200"/>
                <a:gd name="connsiteY403" fmla="*/ 684531 h 868681"/>
                <a:gd name="connsiteX404" fmla="*/ 106045 w 1219200"/>
                <a:gd name="connsiteY404" fmla="*/ 570866 h 868681"/>
                <a:gd name="connsiteX405" fmla="*/ 269875 w 1219200"/>
                <a:gd name="connsiteY405" fmla="*/ 635 h 868681"/>
                <a:gd name="connsiteX406" fmla="*/ 501015 w 1219200"/>
                <a:gd name="connsiteY406" fmla="*/ 635 h 868681"/>
                <a:gd name="connsiteX407" fmla="*/ 554989 w 1219200"/>
                <a:gd name="connsiteY407" fmla="*/ 94615 h 868681"/>
                <a:gd name="connsiteX408" fmla="*/ 391795 w 1219200"/>
                <a:gd name="connsiteY408" fmla="*/ 94615 h 868681"/>
                <a:gd name="connsiteX409" fmla="*/ 391795 w 1219200"/>
                <a:gd name="connsiteY409" fmla="*/ 161925 h 868681"/>
                <a:gd name="connsiteX410" fmla="*/ 539114 w 1219200"/>
                <a:gd name="connsiteY410" fmla="*/ 161925 h 868681"/>
                <a:gd name="connsiteX411" fmla="*/ 539114 w 1219200"/>
                <a:gd name="connsiteY411" fmla="*/ 247650 h 868681"/>
                <a:gd name="connsiteX412" fmla="*/ 391795 w 1219200"/>
                <a:gd name="connsiteY412" fmla="*/ 247650 h 868681"/>
                <a:gd name="connsiteX413" fmla="*/ 391795 w 1219200"/>
                <a:gd name="connsiteY413" fmla="*/ 314325 h 868681"/>
                <a:gd name="connsiteX414" fmla="*/ 595629 w 1219200"/>
                <a:gd name="connsiteY414" fmla="*/ 314325 h 868681"/>
                <a:gd name="connsiteX415" fmla="*/ 595629 w 1219200"/>
                <a:gd name="connsiteY415" fmla="*/ 408305 h 868681"/>
                <a:gd name="connsiteX416" fmla="*/ 269875 w 1219200"/>
                <a:gd name="connsiteY416" fmla="*/ 408305 h 868681"/>
                <a:gd name="connsiteX417" fmla="*/ 539114 w 1219200"/>
                <a:gd name="connsiteY417" fmla="*/ 0 h 868681"/>
                <a:gd name="connsiteX418" fmla="*/ 674370 w 1219200"/>
                <a:gd name="connsiteY418" fmla="*/ 0 h 868681"/>
                <a:gd name="connsiteX419" fmla="*/ 743584 w 1219200"/>
                <a:gd name="connsiteY419" fmla="*/ 132715 h 868681"/>
                <a:gd name="connsiteX420" fmla="*/ 812799 w 1219200"/>
                <a:gd name="connsiteY420" fmla="*/ 0 h 868681"/>
                <a:gd name="connsiteX421" fmla="*/ 946150 w 1219200"/>
                <a:gd name="connsiteY421" fmla="*/ 0 h 868681"/>
                <a:gd name="connsiteX422" fmla="*/ 803275 w 1219200"/>
                <a:gd name="connsiteY422" fmla="*/ 246380 h 868681"/>
                <a:gd name="connsiteX423" fmla="*/ 803275 w 1219200"/>
                <a:gd name="connsiteY423" fmla="*/ 407670 h 868681"/>
                <a:gd name="connsiteX424" fmla="*/ 681355 w 1219200"/>
                <a:gd name="connsiteY424" fmla="*/ 407670 h 868681"/>
                <a:gd name="connsiteX425" fmla="*/ 681355 w 1219200"/>
                <a:gd name="connsiteY425" fmla="*/ 246380 h 868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</a:cxnLst>
              <a:rect l="l" t="t" r="r" b="b"/>
              <a:pathLst>
                <a:path w="1219200" h="868681">
                  <a:moveTo>
                    <a:pt x="245110" y="839471"/>
                  </a:moveTo>
                  <a:lnTo>
                    <a:pt x="246379" y="839471"/>
                  </a:lnTo>
                  <a:lnTo>
                    <a:pt x="245041" y="839979"/>
                  </a:lnTo>
                  <a:close/>
                  <a:moveTo>
                    <a:pt x="522605" y="796926"/>
                  </a:moveTo>
                  <a:cubicBezTo>
                    <a:pt x="509905" y="796926"/>
                    <a:pt x="504189" y="807721"/>
                    <a:pt x="504189" y="821691"/>
                  </a:cubicBezTo>
                  <a:cubicBezTo>
                    <a:pt x="504189" y="831216"/>
                    <a:pt x="508000" y="845821"/>
                    <a:pt x="522605" y="845821"/>
                  </a:cubicBezTo>
                  <a:cubicBezTo>
                    <a:pt x="537845" y="845821"/>
                    <a:pt x="541019" y="831851"/>
                    <a:pt x="541019" y="821691"/>
                  </a:cubicBezTo>
                  <a:cubicBezTo>
                    <a:pt x="541019" y="807721"/>
                    <a:pt x="535305" y="796926"/>
                    <a:pt x="522605" y="796926"/>
                  </a:cubicBezTo>
                  <a:close/>
                  <a:moveTo>
                    <a:pt x="817245" y="796291"/>
                  </a:moveTo>
                  <a:cubicBezTo>
                    <a:pt x="803909" y="796291"/>
                    <a:pt x="800735" y="807086"/>
                    <a:pt x="800735" y="819786"/>
                  </a:cubicBezTo>
                  <a:cubicBezTo>
                    <a:pt x="800735" y="834391"/>
                    <a:pt x="805180" y="846456"/>
                    <a:pt x="817879" y="846456"/>
                  </a:cubicBezTo>
                  <a:cubicBezTo>
                    <a:pt x="824230" y="846456"/>
                    <a:pt x="828674" y="843281"/>
                    <a:pt x="833754" y="838836"/>
                  </a:cubicBezTo>
                  <a:lnTo>
                    <a:pt x="833754" y="838201"/>
                  </a:lnTo>
                  <a:lnTo>
                    <a:pt x="833754" y="803911"/>
                  </a:lnTo>
                  <a:cubicBezTo>
                    <a:pt x="828674" y="798831"/>
                    <a:pt x="824230" y="796291"/>
                    <a:pt x="817245" y="796291"/>
                  </a:cubicBezTo>
                  <a:close/>
                  <a:moveTo>
                    <a:pt x="1179195" y="794386"/>
                  </a:moveTo>
                  <a:cubicBezTo>
                    <a:pt x="1168400" y="794386"/>
                    <a:pt x="1163954" y="803911"/>
                    <a:pt x="1163320" y="811531"/>
                  </a:cubicBezTo>
                  <a:lnTo>
                    <a:pt x="1163954" y="811531"/>
                  </a:lnTo>
                  <a:lnTo>
                    <a:pt x="1195704" y="811531"/>
                  </a:lnTo>
                  <a:cubicBezTo>
                    <a:pt x="1195070" y="801371"/>
                    <a:pt x="1188720" y="794386"/>
                    <a:pt x="1179195" y="794386"/>
                  </a:cubicBezTo>
                  <a:close/>
                  <a:moveTo>
                    <a:pt x="909320" y="794386"/>
                  </a:moveTo>
                  <a:cubicBezTo>
                    <a:pt x="898525" y="794386"/>
                    <a:pt x="894079" y="803911"/>
                    <a:pt x="893445" y="811531"/>
                  </a:cubicBezTo>
                  <a:lnTo>
                    <a:pt x="894079" y="811531"/>
                  </a:lnTo>
                  <a:lnTo>
                    <a:pt x="925829" y="811531"/>
                  </a:lnTo>
                  <a:cubicBezTo>
                    <a:pt x="925195" y="801371"/>
                    <a:pt x="918845" y="794386"/>
                    <a:pt x="909320" y="794386"/>
                  </a:cubicBezTo>
                  <a:close/>
                  <a:moveTo>
                    <a:pt x="737870" y="775971"/>
                  </a:moveTo>
                  <a:lnTo>
                    <a:pt x="761364" y="775971"/>
                  </a:lnTo>
                  <a:lnTo>
                    <a:pt x="761364" y="866141"/>
                  </a:lnTo>
                  <a:lnTo>
                    <a:pt x="737870" y="866141"/>
                  </a:lnTo>
                  <a:close/>
                  <a:moveTo>
                    <a:pt x="143510" y="775971"/>
                  </a:moveTo>
                  <a:lnTo>
                    <a:pt x="167004" y="775971"/>
                  </a:lnTo>
                  <a:lnTo>
                    <a:pt x="167004" y="866141"/>
                  </a:lnTo>
                  <a:lnTo>
                    <a:pt x="143510" y="866141"/>
                  </a:lnTo>
                  <a:close/>
                  <a:moveTo>
                    <a:pt x="635" y="775971"/>
                  </a:moveTo>
                  <a:lnTo>
                    <a:pt x="26670" y="775971"/>
                  </a:lnTo>
                  <a:lnTo>
                    <a:pt x="40004" y="828041"/>
                  </a:lnTo>
                  <a:lnTo>
                    <a:pt x="55245" y="775971"/>
                  </a:lnTo>
                  <a:lnTo>
                    <a:pt x="76200" y="775971"/>
                  </a:lnTo>
                  <a:lnTo>
                    <a:pt x="91439" y="828041"/>
                  </a:lnTo>
                  <a:lnTo>
                    <a:pt x="105409" y="775971"/>
                  </a:lnTo>
                  <a:lnTo>
                    <a:pt x="130810" y="775971"/>
                  </a:lnTo>
                  <a:lnTo>
                    <a:pt x="102235" y="866141"/>
                  </a:lnTo>
                  <a:lnTo>
                    <a:pt x="80644" y="866141"/>
                  </a:lnTo>
                  <a:lnTo>
                    <a:pt x="65405" y="811531"/>
                  </a:lnTo>
                  <a:lnTo>
                    <a:pt x="50165" y="866141"/>
                  </a:lnTo>
                  <a:lnTo>
                    <a:pt x="28575" y="866141"/>
                  </a:lnTo>
                  <a:close/>
                  <a:moveTo>
                    <a:pt x="1181099" y="774066"/>
                  </a:moveTo>
                  <a:cubicBezTo>
                    <a:pt x="1204595" y="774066"/>
                    <a:pt x="1219200" y="795021"/>
                    <a:pt x="1219200" y="821056"/>
                  </a:cubicBezTo>
                  <a:lnTo>
                    <a:pt x="1218564" y="821056"/>
                  </a:lnTo>
                  <a:cubicBezTo>
                    <a:pt x="1218564" y="821056"/>
                    <a:pt x="1218564" y="827406"/>
                    <a:pt x="1218564" y="828676"/>
                  </a:cubicBezTo>
                  <a:lnTo>
                    <a:pt x="1163954" y="828676"/>
                  </a:lnTo>
                  <a:cubicBezTo>
                    <a:pt x="1165224" y="841376"/>
                    <a:pt x="1173480" y="846456"/>
                    <a:pt x="1183004" y="846456"/>
                  </a:cubicBezTo>
                  <a:cubicBezTo>
                    <a:pt x="1188720" y="846456"/>
                    <a:pt x="1193799" y="844551"/>
                    <a:pt x="1198879" y="840106"/>
                  </a:cubicBezTo>
                  <a:lnTo>
                    <a:pt x="1214754" y="853441"/>
                  </a:lnTo>
                  <a:cubicBezTo>
                    <a:pt x="1206500" y="864236"/>
                    <a:pt x="1193799" y="868046"/>
                    <a:pt x="1182370" y="868046"/>
                  </a:cubicBezTo>
                  <a:cubicBezTo>
                    <a:pt x="1156335" y="868046"/>
                    <a:pt x="1141095" y="847726"/>
                    <a:pt x="1141095" y="821056"/>
                  </a:cubicBezTo>
                  <a:cubicBezTo>
                    <a:pt x="1141095" y="792481"/>
                    <a:pt x="1158875" y="774066"/>
                    <a:pt x="1181099" y="774066"/>
                  </a:cubicBezTo>
                  <a:close/>
                  <a:moveTo>
                    <a:pt x="1097915" y="774066"/>
                  </a:moveTo>
                  <a:cubicBezTo>
                    <a:pt x="1113790" y="774066"/>
                    <a:pt x="1125220" y="781051"/>
                    <a:pt x="1133474" y="793751"/>
                  </a:cubicBezTo>
                  <a:lnTo>
                    <a:pt x="1118235" y="808991"/>
                  </a:lnTo>
                  <a:cubicBezTo>
                    <a:pt x="1113155" y="802006"/>
                    <a:pt x="1107439" y="796291"/>
                    <a:pt x="1097915" y="796291"/>
                  </a:cubicBezTo>
                  <a:cubicBezTo>
                    <a:pt x="1085215" y="796291"/>
                    <a:pt x="1078864" y="807086"/>
                    <a:pt x="1078864" y="820421"/>
                  </a:cubicBezTo>
                  <a:cubicBezTo>
                    <a:pt x="1078864" y="833121"/>
                    <a:pt x="1084579" y="845186"/>
                    <a:pt x="1097915" y="845186"/>
                  </a:cubicBezTo>
                  <a:cubicBezTo>
                    <a:pt x="1106170" y="845186"/>
                    <a:pt x="1113155" y="840741"/>
                    <a:pt x="1118235" y="833756"/>
                  </a:cubicBezTo>
                  <a:lnTo>
                    <a:pt x="1118870" y="834391"/>
                  </a:lnTo>
                  <a:lnTo>
                    <a:pt x="1133474" y="848361"/>
                  </a:lnTo>
                  <a:cubicBezTo>
                    <a:pt x="1125855" y="857886"/>
                    <a:pt x="1115060" y="868046"/>
                    <a:pt x="1097280" y="868046"/>
                  </a:cubicBezTo>
                  <a:cubicBezTo>
                    <a:pt x="1072515" y="868046"/>
                    <a:pt x="1054735" y="848361"/>
                    <a:pt x="1054735" y="821056"/>
                  </a:cubicBezTo>
                  <a:cubicBezTo>
                    <a:pt x="1054735" y="796291"/>
                    <a:pt x="1069974" y="774066"/>
                    <a:pt x="1097915" y="774066"/>
                  </a:cubicBezTo>
                  <a:close/>
                  <a:moveTo>
                    <a:pt x="1009015" y="774066"/>
                  </a:moveTo>
                  <a:cubicBezTo>
                    <a:pt x="1033144" y="774066"/>
                    <a:pt x="1041400" y="793116"/>
                    <a:pt x="1041400" y="815341"/>
                  </a:cubicBezTo>
                  <a:lnTo>
                    <a:pt x="1041400" y="866141"/>
                  </a:lnTo>
                  <a:lnTo>
                    <a:pt x="1017905" y="866141"/>
                  </a:lnTo>
                  <a:lnTo>
                    <a:pt x="1017905" y="817246"/>
                  </a:lnTo>
                  <a:cubicBezTo>
                    <a:pt x="1017905" y="804546"/>
                    <a:pt x="1014730" y="796291"/>
                    <a:pt x="1002665" y="796291"/>
                  </a:cubicBezTo>
                  <a:cubicBezTo>
                    <a:pt x="990599" y="796291"/>
                    <a:pt x="986790" y="803276"/>
                    <a:pt x="986790" y="816611"/>
                  </a:cubicBezTo>
                  <a:lnTo>
                    <a:pt x="986790" y="866141"/>
                  </a:lnTo>
                  <a:lnTo>
                    <a:pt x="963295" y="866141"/>
                  </a:lnTo>
                  <a:lnTo>
                    <a:pt x="963295" y="775971"/>
                  </a:lnTo>
                  <a:lnTo>
                    <a:pt x="986790" y="775971"/>
                  </a:lnTo>
                  <a:lnTo>
                    <a:pt x="986790" y="782321"/>
                  </a:lnTo>
                  <a:cubicBezTo>
                    <a:pt x="991870" y="777241"/>
                    <a:pt x="998855" y="774066"/>
                    <a:pt x="1009015" y="774066"/>
                  </a:cubicBezTo>
                  <a:close/>
                  <a:moveTo>
                    <a:pt x="911224" y="774066"/>
                  </a:moveTo>
                  <a:cubicBezTo>
                    <a:pt x="934720" y="774066"/>
                    <a:pt x="949325" y="795021"/>
                    <a:pt x="949325" y="821056"/>
                  </a:cubicBezTo>
                  <a:lnTo>
                    <a:pt x="948689" y="821056"/>
                  </a:lnTo>
                  <a:cubicBezTo>
                    <a:pt x="948689" y="821056"/>
                    <a:pt x="948689" y="827406"/>
                    <a:pt x="948689" y="828676"/>
                  </a:cubicBezTo>
                  <a:lnTo>
                    <a:pt x="894079" y="828676"/>
                  </a:lnTo>
                  <a:cubicBezTo>
                    <a:pt x="895349" y="841376"/>
                    <a:pt x="903605" y="846456"/>
                    <a:pt x="913129" y="846456"/>
                  </a:cubicBezTo>
                  <a:cubicBezTo>
                    <a:pt x="918845" y="846456"/>
                    <a:pt x="923924" y="844551"/>
                    <a:pt x="929004" y="840106"/>
                  </a:cubicBezTo>
                  <a:lnTo>
                    <a:pt x="944879" y="853441"/>
                  </a:lnTo>
                  <a:cubicBezTo>
                    <a:pt x="936625" y="864236"/>
                    <a:pt x="923924" y="868046"/>
                    <a:pt x="912495" y="868046"/>
                  </a:cubicBezTo>
                  <a:cubicBezTo>
                    <a:pt x="886459" y="868046"/>
                    <a:pt x="871220" y="847726"/>
                    <a:pt x="871220" y="821056"/>
                  </a:cubicBezTo>
                  <a:cubicBezTo>
                    <a:pt x="871220" y="792481"/>
                    <a:pt x="889000" y="774066"/>
                    <a:pt x="911224" y="774066"/>
                  </a:cubicBezTo>
                  <a:close/>
                  <a:moveTo>
                    <a:pt x="623570" y="774066"/>
                  </a:moveTo>
                  <a:cubicBezTo>
                    <a:pt x="647700" y="774066"/>
                    <a:pt x="655954" y="793116"/>
                    <a:pt x="655954" y="815341"/>
                  </a:cubicBezTo>
                  <a:lnTo>
                    <a:pt x="655954" y="866141"/>
                  </a:lnTo>
                  <a:lnTo>
                    <a:pt x="632459" y="866141"/>
                  </a:lnTo>
                  <a:lnTo>
                    <a:pt x="632459" y="817246"/>
                  </a:lnTo>
                  <a:cubicBezTo>
                    <a:pt x="632459" y="804546"/>
                    <a:pt x="629284" y="796291"/>
                    <a:pt x="617220" y="796291"/>
                  </a:cubicBezTo>
                  <a:cubicBezTo>
                    <a:pt x="605155" y="796291"/>
                    <a:pt x="601345" y="803276"/>
                    <a:pt x="601345" y="816611"/>
                  </a:cubicBezTo>
                  <a:lnTo>
                    <a:pt x="601345" y="866141"/>
                  </a:lnTo>
                  <a:lnTo>
                    <a:pt x="577849" y="866141"/>
                  </a:lnTo>
                  <a:lnTo>
                    <a:pt x="577849" y="775971"/>
                  </a:lnTo>
                  <a:lnTo>
                    <a:pt x="601345" y="775971"/>
                  </a:lnTo>
                  <a:lnTo>
                    <a:pt x="601345" y="782321"/>
                  </a:lnTo>
                  <a:cubicBezTo>
                    <a:pt x="606424" y="777241"/>
                    <a:pt x="613409" y="774066"/>
                    <a:pt x="623570" y="774066"/>
                  </a:cubicBezTo>
                  <a:close/>
                  <a:moveTo>
                    <a:pt x="522605" y="774066"/>
                  </a:moveTo>
                  <a:cubicBezTo>
                    <a:pt x="548004" y="774066"/>
                    <a:pt x="564515" y="793116"/>
                    <a:pt x="564515" y="821056"/>
                  </a:cubicBezTo>
                  <a:cubicBezTo>
                    <a:pt x="564515" y="848996"/>
                    <a:pt x="546735" y="868046"/>
                    <a:pt x="522605" y="868046"/>
                  </a:cubicBezTo>
                  <a:cubicBezTo>
                    <a:pt x="498474" y="868046"/>
                    <a:pt x="480695" y="848996"/>
                    <a:pt x="480695" y="821056"/>
                  </a:cubicBezTo>
                  <a:cubicBezTo>
                    <a:pt x="480695" y="794386"/>
                    <a:pt x="496570" y="774066"/>
                    <a:pt x="522605" y="774066"/>
                  </a:cubicBezTo>
                  <a:close/>
                  <a:moveTo>
                    <a:pt x="436879" y="774066"/>
                  </a:moveTo>
                  <a:cubicBezTo>
                    <a:pt x="452754" y="774066"/>
                    <a:pt x="464185" y="781051"/>
                    <a:pt x="472439" y="793751"/>
                  </a:cubicBezTo>
                  <a:lnTo>
                    <a:pt x="457200" y="808991"/>
                  </a:lnTo>
                  <a:cubicBezTo>
                    <a:pt x="452120" y="802006"/>
                    <a:pt x="446405" y="796291"/>
                    <a:pt x="436879" y="796291"/>
                  </a:cubicBezTo>
                  <a:cubicBezTo>
                    <a:pt x="424180" y="796291"/>
                    <a:pt x="417829" y="807086"/>
                    <a:pt x="417829" y="820421"/>
                  </a:cubicBezTo>
                  <a:cubicBezTo>
                    <a:pt x="417829" y="833121"/>
                    <a:pt x="423545" y="845186"/>
                    <a:pt x="436879" y="845186"/>
                  </a:cubicBezTo>
                  <a:cubicBezTo>
                    <a:pt x="445135" y="845186"/>
                    <a:pt x="452120" y="840741"/>
                    <a:pt x="457200" y="833756"/>
                  </a:cubicBezTo>
                  <a:lnTo>
                    <a:pt x="457834" y="834391"/>
                  </a:lnTo>
                  <a:lnTo>
                    <a:pt x="472439" y="848361"/>
                  </a:lnTo>
                  <a:cubicBezTo>
                    <a:pt x="464820" y="857886"/>
                    <a:pt x="454025" y="868046"/>
                    <a:pt x="436245" y="868046"/>
                  </a:cubicBezTo>
                  <a:cubicBezTo>
                    <a:pt x="411480" y="868046"/>
                    <a:pt x="393700" y="848361"/>
                    <a:pt x="393700" y="821056"/>
                  </a:cubicBezTo>
                  <a:cubicBezTo>
                    <a:pt x="393700" y="796291"/>
                    <a:pt x="408939" y="774066"/>
                    <a:pt x="436879" y="774066"/>
                  </a:cubicBezTo>
                  <a:close/>
                  <a:moveTo>
                    <a:pt x="219075" y="742316"/>
                  </a:moveTo>
                  <a:lnTo>
                    <a:pt x="219075" y="777241"/>
                  </a:lnTo>
                  <a:lnTo>
                    <a:pt x="245110" y="777241"/>
                  </a:lnTo>
                  <a:lnTo>
                    <a:pt x="245110" y="798831"/>
                  </a:lnTo>
                  <a:lnTo>
                    <a:pt x="219075" y="798831"/>
                  </a:lnTo>
                  <a:lnTo>
                    <a:pt x="219075" y="835661"/>
                  </a:lnTo>
                  <a:cubicBezTo>
                    <a:pt x="219075" y="843916"/>
                    <a:pt x="222250" y="846456"/>
                    <a:pt x="227965" y="846456"/>
                  </a:cubicBezTo>
                  <a:lnTo>
                    <a:pt x="245041" y="839979"/>
                  </a:lnTo>
                  <a:lnTo>
                    <a:pt x="241935" y="862966"/>
                  </a:lnTo>
                  <a:cubicBezTo>
                    <a:pt x="236855" y="866776"/>
                    <a:pt x="225424" y="868681"/>
                    <a:pt x="219709" y="868681"/>
                  </a:cubicBezTo>
                  <a:cubicBezTo>
                    <a:pt x="205739" y="868681"/>
                    <a:pt x="195579" y="857251"/>
                    <a:pt x="195579" y="842011"/>
                  </a:cubicBezTo>
                  <a:lnTo>
                    <a:pt x="195579" y="798831"/>
                  </a:lnTo>
                  <a:lnTo>
                    <a:pt x="179704" y="798831"/>
                  </a:lnTo>
                  <a:lnTo>
                    <a:pt x="179704" y="777241"/>
                  </a:lnTo>
                  <a:lnTo>
                    <a:pt x="195579" y="777241"/>
                  </a:lnTo>
                  <a:lnTo>
                    <a:pt x="195579" y="753746"/>
                  </a:lnTo>
                  <a:close/>
                  <a:moveTo>
                    <a:pt x="749935" y="741681"/>
                  </a:moveTo>
                  <a:cubicBezTo>
                    <a:pt x="757555" y="741681"/>
                    <a:pt x="763269" y="747396"/>
                    <a:pt x="763269" y="755016"/>
                  </a:cubicBezTo>
                  <a:cubicBezTo>
                    <a:pt x="763269" y="762636"/>
                    <a:pt x="757555" y="768351"/>
                    <a:pt x="749935" y="768351"/>
                  </a:cubicBezTo>
                  <a:cubicBezTo>
                    <a:pt x="742314" y="768351"/>
                    <a:pt x="736599" y="762636"/>
                    <a:pt x="736599" y="755016"/>
                  </a:cubicBezTo>
                  <a:cubicBezTo>
                    <a:pt x="736599" y="747396"/>
                    <a:pt x="742314" y="741681"/>
                    <a:pt x="749935" y="741681"/>
                  </a:cubicBezTo>
                  <a:close/>
                  <a:moveTo>
                    <a:pt x="154939" y="741681"/>
                  </a:moveTo>
                  <a:cubicBezTo>
                    <a:pt x="162560" y="741681"/>
                    <a:pt x="168275" y="747396"/>
                    <a:pt x="168275" y="755016"/>
                  </a:cubicBezTo>
                  <a:cubicBezTo>
                    <a:pt x="168275" y="762636"/>
                    <a:pt x="162560" y="768351"/>
                    <a:pt x="154939" y="768351"/>
                  </a:cubicBezTo>
                  <a:cubicBezTo>
                    <a:pt x="147320" y="768351"/>
                    <a:pt x="141605" y="762636"/>
                    <a:pt x="141605" y="755016"/>
                  </a:cubicBezTo>
                  <a:cubicBezTo>
                    <a:pt x="141605" y="747396"/>
                    <a:pt x="147320" y="741681"/>
                    <a:pt x="154939" y="741681"/>
                  </a:cubicBezTo>
                  <a:close/>
                  <a:moveTo>
                    <a:pt x="856614" y="741046"/>
                  </a:moveTo>
                  <a:lnTo>
                    <a:pt x="856614" y="866141"/>
                  </a:lnTo>
                  <a:lnTo>
                    <a:pt x="833120" y="866141"/>
                  </a:lnTo>
                  <a:lnTo>
                    <a:pt x="833120" y="860426"/>
                  </a:lnTo>
                  <a:cubicBezTo>
                    <a:pt x="825500" y="866141"/>
                    <a:pt x="821055" y="868046"/>
                    <a:pt x="812799" y="868046"/>
                  </a:cubicBezTo>
                  <a:cubicBezTo>
                    <a:pt x="786765" y="868046"/>
                    <a:pt x="775970" y="845821"/>
                    <a:pt x="775970" y="820421"/>
                  </a:cubicBezTo>
                  <a:cubicBezTo>
                    <a:pt x="775970" y="793116"/>
                    <a:pt x="788670" y="774066"/>
                    <a:pt x="812165" y="774066"/>
                  </a:cubicBezTo>
                  <a:cubicBezTo>
                    <a:pt x="819784" y="774066"/>
                    <a:pt x="827405" y="775971"/>
                    <a:pt x="833120" y="781051"/>
                  </a:cubicBezTo>
                  <a:lnTo>
                    <a:pt x="833120" y="752476"/>
                  </a:lnTo>
                  <a:close/>
                  <a:moveTo>
                    <a:pt x="707390" y="741046"/>
                  </a:moveTo>
                  <a:cubicBezTo>
                    <a:pt x="712470" y="741046"/>
                    <a:pt x="719454" y="741046"/>
                    <a:pt x="724534" y="743586"/>
                  </a:cubicBezTo>
                  <a:lnTo>
                    <a:pt x="724534" y="744221"/>
                  </a:lnTo>
                  <a:lnTo>
                    <a:pt x="724534" y="762636"/>
                  </a:lnTo>
                  <a:cubicBezTo>
                    <a:pt x="721360" y="761366"/>
                    <a:pt x="716280" y="760731"/>
                    <a:pt x="713105" y="760731"/>
                  </a:cubicBezTo>
                  <a:cubicBezTo>
                    <a:pt x="706120" y="760731"/>
                    <a:pt x="703579" y="762636"/>
                    <a:pt x="703579" y="768351"/>
                  </a:cubicBezTo>
                  <a:lnTo>
                    <a:pt x="703579" y="775336"/>
                  </a:lnTo>
                  <a:lnTo>
                    <a:pt x="722629" y="775336"/>
                  </a:lnTo>
                  <a:lnTo>
                    <a:pt x="722629" y="796926"/>
                  </a:lnTo>
                  <a:lnTo>
                    <a:pt x="703579" y="796926"/>
                  </a:lnTo>
                  <a:lnTo>
                    <a:pt x="703579" y="865506"/>
                  </a:lnTo>
                  <a:lnTo>
                    <a:pt x="680084" y="865506"/>
                  </a:lnTo>
                  <a:lnTo>
                    <a:pt x="680084" y="796926"/>
                  </a:lnTo>
                  <a:lnTo>
                    <a:pt x="667385" y="796926"/>
                  </a:lnTo>
                  <a:lnTo>
                    <a:pt x="667385" y="775336"/>
                  </a:lnTo>
                  <a:lnTo>
                    <a:pt x="680084" y="775336"/>
                  </a:lnTo>
                  <a:lnTo>
                    <a:pt x="680084" y="764541"/>
                  </a:lnTo>
                  <a:cubicBezTo>
                    <a:pt x="680084" y="748031"/>
                    <a:pt x="690879" y="741046"/>
                    <a:pt x="707390" y="741046"/>
                  </a:cubicBezTo>
                  <a:close/>
                  <a:moveTo>
                    <a:pt x="282575" y="741046"/>
                  </a:moveTo>
                  <a:lnTo>
                    <a:pt x="282575" y="782321"/>
                  </a:lnTo>
                  <a:cubicBezTo>
                    <a:pt x="287019" y="777241"/>
                    <a:pt x="295909" y="774066"/>
                    <a:pt x="304799" y="774066"/>
                  </a:cubicBezTo>
                  <a:cubicBezTo>
                    <a:pt x="328295" y="774066"/>
                    <a:pt x="336549" y="792481"/>
                    <a:pt x="336549" y="815341"/>
                  </a:cubicBezTo>
                  <a:lnTo>
                    <a:pt x="336549" y="866141"/>
                  </a:lnTo>
                  <a:lnTo>
                    <a:pt x="313689" y="866141"/>
                  </a:lnTo>
                  <a:lnTo>
                    <a:pt x="313689" y="817246"/>
                  </a:lnTo>
                  <a:cubicBezTo>
                    <a:pt x="313689" y="804546"/>
                    <a:pt x="310515" y="796291"/>
                    <a:pt x="298450" y="796291"/>
                  </a:cubicBezTo>
                  <a:cubicBezTo>
                    <a:pt x="286385" y="796291"/>
                    <a:pt x="282575" y="803276"/>
                    <a:pt x="282575" y="816611"/>
                  </a:cubicBezTo>
                  <a:lnTo>
                    <a:pt x="282575" y="866141"/>
                  </a:lnTo>
                  <a:lnTo>
                    <a:pt x="259079" y="866141"/>
                  </a:lnTo>
                  <a:lnTo>
                    <a:pt x="259079" y="752476"/>
                  </a:lnTo>
                  <a:close/>
                  <a:moveTo>
                    <a:pt x="92709" y="648336"/>
                  </a:moveTo>
                  <a:lnTo>
                    <a:pt x="92709" y="649606"/>
                  </a:lnTo>
                  <a:lnTo>
                    <a:pt x="92427" y="648959"/>
                  </a:lnTo>
                  <a:close/>
                  <a:moveTo>
                    <a:pt x="230504" y="643256"/>
                  </a:moveTo>
                  <a:cubicBezTo>
                    <a:pt x="220345" y="643256"/>
                    <a:pt x="215900" y="647701"/>
                    <a:pt x="215900" y="654686"/>
                  </a:cubicBezTo>
                  <a:cubicBezTo>
                    <a:pt x="215900" y="661671"/>
                    <a:pt x="220345" y="667386"/>
                    <a:pt x="228599" y="667386"/>
                  </a:cubicBezTo>
                  <a:cubicBezTo>
                    <a:pt x="233045" y="667386"/>
                    <a:pt x="240665" y="666116"/>
                    <a:pt x="245745" y="658496"/>
                  </a:cubicBezTo>
                  <a:lnTo>
                    <a:pt x="245745" y="647066"/>
                  </a:lnTo>
                  <a:cubicBezTo>
                    <a:pt x="241299" y="643891"/>
                    <a:pt x="234950" y="643256"/>
                    <a:pt x="230504" y="643256"/>
                  </a:cubicBezTo>
                  <a:close/>
                  <a:moveTo>
                    <a:pt x="321310" y="614046"/>
                  </a:moveTo>
                  <a:cubicBezTo>
                    <a:pt x="314959" y="614046"/>
                    <a:pt x="309879" y="617221"/>
                    <a:pt x="306704" y="622301"/>
                  </a:cubicBezTo>
                  <a:lnTo>
                    <a:pt x="306704" y="656591"/>
                  </a:lnTo>
                  <a:cubicBezTo>
                    <a:pt x="310515" y="661671"/>
                    <a:pt x="316230" y="664846"/>
                    <a:pt x="323215" y="664846"/>
                  </a:cubicBezTo>
                  <a:cubicBezTo>
                    <a:pt x="335915" y="664846"/>
                    <a:pt x="339090" y="653416"/>
                    <a:pt x="339090" y="640716"/>
                  </a:cubicBezTo>
                  <a:lnTo>
                    <a:pt x="338454" y="640716"/>
                  </a:lnTo>
                  <a:cubicBezTo>
                    <a:pt x="338454" y="627381"/>
                    <a:pt x="335280" y="614046"/>
                    <a:pt x="321310" y="614046"/>
                  </a:cubicBezTo>
                  <a:close/>
                  <a:moveTo>
                    <a:pt x="1179195" y="612776"/>
                  </a:moveTo>
                  <a:cubicBezTo>
                    <a:pt x="1168400" y="612776"/>
                    <a:pt x="1163954" y="622301"/>
                    <a:pt x="1163320" y="629921"/>
                  </a:cubicBezTo>
                  <a:lnTo>
                    <a:pt x="1163954" y="629921"/>
                  </a:lnTo>
                  <a:lnTo>
                    <a:pt x="1195704" y="629921"/>
                  </a:lnTo>
                  <a:cubicBezTo>
                    <a:pt x="1195070" y="619761"/>
                    <a:pt x="1188720" y="612776"/>
                    <a:pt x="1179195" y="612776"/>
                  </a:cubicBezTo>
                  <a:close/>
                  <a:moveTo>
                    <a:pt x="689610" y="612776"/>
                  </a:moveTo>
                  <a:cubicBezTo>
                    <a:pt x="678814" y="612776"/>
                    <a:pt x="674370" y="622301"/>
                    <a:pt x="673735" y="629921"/>
                  </a:cubicBezTo>
                  <a:lnTo>
                    <a:pt x="674370" y="629921"/>
                  </a:lnTo>
                  <a:lnTo>
                    <a:pt x="706120" y="629921"/>
                  </a:lnTo>
                  <a:cubicBezTo>
                    <a:pt x="705485" y="619761"/>
                    <a:pt x="699135" y="612776"/>
                    <a:pt x="689610" y="612776"/>
                  </a:cubicBezTo>
                  <a:close/>
                  <a:moveTo>
                    <a:pt x="410845" y="612776"/>
                  </a:moveTo>
                  <a:cubicBezTo>
                    <a:pt x="400685" y="612776"/>
                    <a:pt x="396239" y="622301"/>
                    <a:pt x="395605" y="629921"/>
                  </a:cubicBezTo>
                  <a:lnTo>
                    <a:pt x="427355" y="629921"/>
                  </a:lnTo>
                  <a:cubicBezTo>
                    <a:pt x="426084" y="619761"/>
                    <a:pt x="420370" y="612776"/>
                    <a:pt x="410845" y="612776"/>
                  </a:cubicBezTo>
                  <a:close/>
                  <a:moveTo>
                    <a:pt x="991870" y="594361"/>
                  </a:moveTo>
                  <a:lnTo>
                    <a:pt x="1014095" y="594361"/>
                  </a:lnTo>
                  <a:lnTo>
                    <a:pt x="1014095" y="643256"/>
                  </a:lnTo>
                  <a:cubicBezTo>
                    <a:pt x="1014095" y="655321"/>
                    <a:pt x="1016635" y="664846"/>
                    <a:pt x="1029334" y="664846"/>
                  </a:cubicBezTo>
                  <a:cubicBezTo>
                    <a:pt x="1042034" y="664846"/>
                    <a:pt x="1044575" y="655321"/>
                    <a:pt x="1044575" y="644526"/>
                  </a:cubicBezTo>
                  <a:lnTo>
                    <a:pt x="1044575" y="594996"/>
                  </a:lnTo>
                  <a:lnTo>
                    <a:pt x="1066799" y="594996"/>
                  </a:lnTo>
                  <a:lnTo>
                    <a:pt x="1066799" y="684531"/>
                  </a:lnTo>
                  <a:lnTo>
                    <a:pt x="1044575" y="684531"/>
                  </a:lnTo>
                  <a:lnTo>
                    <a:pt x="1044575" y="678181"/>
                  </a:lnTo>
                  <a:cubicBezTo>
                    <a:pt x="1039495" y="683896"/>
                    <a:pt x="1031875" y="686436"/>
                    <a:pt x="1023620" y="686436"/>
                  </a:cubicBezTo>
                  <a:cubicBezTo>
                    <a:pt x="1000125" y="686436"/>
                    <a:pt x="991870" y="669926"/>
                    <a:pt x="991870" y="645161"/>
                  </a:cubicBezTo>
                  <a:close/>
                  <a:moveTo>
                    <a:pt x="836295" y="594361"/>
                  </a:moveTo>
                  <a:lnTo>
                    <a:pt x="858519" y="594361"/>
                  </a:lnTo>
                  <a:lnTo>
                    <a:pt x="858519" y="643256"/>
                  </a:lnTo>
                  <a:cubicBezTo>
                    <a:pt x="858519" y="655321"/>
                    <a:pt x="861060" y="664846"/>
                    <a:pt x="873760" y="664846"/>
                  </a:cubicBezTo>
                  <a:cubicBezTo>
                    <a:pt x="886459" y="664846"/>
                    <a:pt x="889000" y="655321"/>
                    <a:pt x="889000" y="644526"/>
                  </a:cubicBezTo>
                  <a:lnTo>
                    <a:pt x="889000" y="594996"/>
                  </a:lnTo>
                  <a:lnTo>
                    <a:pt x="911224" y="594996"/>
                  </a:lnTo>
                  <a:lnTo>
                    <a:pt x="911224" y="684531"/>
                  </a:lnTo>
                  <a:lnTo>
                    <a:pt x="889000" y="684531"/>
                  </a:lnTo>
                  <a:lnTo>
                    <a:pt x="889000" y="678181"/>
                  </a:lnTo>
                  <a:cubicBezTo>
                    <a:pt x="883920" y="683896"/>
                    <a:pt x="876299" y="686436"/>
                    <a:pt x="868045" y="686436"/>
                  </a:cubicBezTo>
                  <a:cubicBezTo>
                    <a:pt x="844549" y="686436"/>
                    <a:pt x="836295" y="669926"/>
                    <a:pt x="836295" y="645161"/>
                  </a:cubicBezTo>
                  <a:close/>
                  <a:moveTo>
                    <a:pt x="1181099" y="592456"/>
                  </a:moveTo>
                  <a:cubicBezTo>
                    <a:pt x="1204595" y="592456"/>
                    <a:pt x="1219200" y="613411"/>
                    <a:pt x="1219200" y="639446"/>
                  </a:cubicBezTo>
                  <a:lnTo>
                    <a:pt x="1218564" y="639446"/>
                  </a:lnTo>
                  <a:cubicBezTo>
                    <a:pt x="1218564" y="639446"/>
                    <a:pt x="1218564" y="645796"/>
                    <a:pt x="1218564" y="647066"/>
                  </a:cubicBezTo>
                  <a:lnTo>
                    <a:pt x="1163954" y="647066"/>
                  </a:lnTo>
                  <a:cubicBezTo>
                    <a:pt x="1165224" y="659766"/>
                    <a:pt x="1173480" y="664846"/>
                    <a:pt x="1183004" y="664846"/>
                  </a:cubicBezTo>
                  <a:cubicBezTo>
                    <a:pt x="1188720" y="664846"/>
                    <a:pt x="1193799" y="662941"/>
                    <a:pt x="1198879" y="658496"/>
                  </a:cubicBezTo>
                  <a:lnTo>
                    <a:pt x="1214754" y="671831"/>
                  </a:lnTo>
                  <a:cubicBezTo>
                    <a:pt x="1206500" y="682626"/>
                    <a:pt x="1193799" y="686436"/>
                    <a:pt x="1182370" y="686436"/>
                  </a:cubicBezTo>
                  <a:cubicBezTo>
                    <a:pt x="1156335" y="686436"/>
                    <a:pt x="1141095" y="666116"/>
                    <a:pt x="1141095" y="639446"/>
                  </a:cubicBezTo>
                  <a:cubicBezTo>
                    <a:pt x="1141095" y="610871"/>
                    <a:pt x="1158875" y="592456"/>
                    <a:pt x="1181099" y="592456"/>
                  </a:cubicBezTo>
                  <a:close/>
                  <a:moveTo>
                    <a:pt x="691515" y="592456"/>
                  </a:moveTo>
                  <a:cubicBezTo>
                    <a:pt x="715010" y="592456"/>
                    <a:pt x="729614" y="613411"/>
                    <a:pt x="729614" y="639446"/>
                  </a:cubicBezTo>
                  <a:lnTo>
                    <a:pt x="728980" y="639446"/>
                  </a:lnTo>
                  <a:cubicBezTo>
                    <a:pt x="728980" y="639446"/>
                    <a:pt x="728980" y="645796"/>
                    <a:pt x="728980" y="647066"/>
                  </a:cubicBezTo>
                  <a:lnTo>
                    <a:pt x="674370" y="647066"/>
                  </a:lnTo>
                  <a:cubicBezTo>
                    <a:pt x="675640" y="659766"/>
                    <a:pt x="683894" y="664846"/>
                    <a:pt x="693420" y="664846"/>
                  </a:cubicBezTo>
                  <a:cubicBezTo>
                    <a:pt x="699135" y="664846"/>
                    <a:pt x="704215" y="662941"/>
                    <a:pt x="709295" y="658496"/>
                  </a:cubicBezTo>
                  <a:lnTo>
                    <a:pt x="725170" y="671831"/>
                  </a:lnTo>
                  <a:cubicBezTo>
                    <a:pt x="716915" y="682626"/>
                    <a:pt x="704215" y="686436"/>
                    <a:pt x="692784" y="686436"/>
                  </a:cubicBezTo>
                  <a:cubicBezTo>
                    <a:pt x="666750" y="686436"/>
                    <a:pt x="651510" y="666116"/>
                    <a:pt x="651510" y="639446"/>
                  </a:cubicBezTo>
                  <a:cubicBezTo>
                    <a:pt x="651510" y="610871"/>
                    <a:pt x="669290" y="592456"/>
                    <a:pt x="691515" y="592456"/>
                  </a:cubicBezTo>
                  <a:close/>
                  <a:moveTo>
                    <a:pt x="412114" y="592456"/>
                  </a:moveTo>
                  <a:cubicBezTo>
                    <a:pt x="437515" y="592456"/>
                    <a:pt x="448310" y="615316"/>
                    <a:pt x="448310" y="639446"/>
                  </a:cubicBezTo>
                  <a:cubicBezTo>
                    <a:pt x="448310" y="639446"/>
                    <a:pt x="448310" y="645796"/>
                    <a:pt x="448310" y="647066"/>
                  </a:cubicBezTo>
                  <a:lnTo>
                    <a:pt x="395605" y="647066"/>
                  </a:lnTo>
                  <a:cubicBezTo>
                    <a:pt x="396875" y="659766"/>
                    <a:pt x="405129" y="664846"/>
                    <a:pt x="415290" y="664846"/>
                  </a:cubicBezTo>
                  <a:cubicBezTo>
                    <a:pt x="421004" y="664846"/>
                    <a:pt x="426084" y="662941"/>
                    <a:pt x="430530" y="658496"/>
                  </a:cubicBezTo>
                  <a:lnTo>
                    <a:pt x="446405" y="671831"/>
                  </a:lnTo>
                  <a:cubicBezTo>
                    <a:pt x="438784" y="681991"/>
                    <a:pt x="425450" y="686436"/>
                    <a:pt x="413385" y="686436"/>
                  </a:cubicBezTo>
                  <a:cubicBezTo>
                    <a:pt x="387349" y="686436"/>
                    <a:pt x="372110" y="666116"/>
                    <a:pt x="372110" y="640081"/>
                  </a:cubicBezTo>
                  <a:cubicBezTo>
                    <a:pt x="372110" y="614046"/>
                    <a:pt x="388620" y="592456"/>
                    <a:pt x="412114" y="592456"/>
                  </a:cubicBezTo>
                  <a:close/>
                  <a:moveTo>
                    <a:pt x="326390" y="592456"/>
                  </a:moveTo>
                  <a:cubicBezTo>
                    <a:pt x="350519" y="592456"/>
                    <a:pt x="361314" y="615316"/>
                    <a:pt x="361314" y="639446"/>
                  </a:cubicBezTo>
                  <a:cubicBezTo>
                    <a:pt x="361314" y="662306"/>
                    <a:pt x="351790" y="686436"/>
                    <a:pt x="326390" y="686436"/>
                  </a:cubicBezTo>
                  <a:cubicBezTo>
                    <a:pt x="316230" y="686436"/>
                    <a:pt x="310515" y="682626"/>
                    <a:pt x="306070" y="678816"/>
                  </a:cubicBezTo>
                  <a:lnTo>
                    <a:pt x="306070" y="706121"/>
                  </a:lnTo>
                  <a:lnTo>
                    <a:pt x="283845" y="717551"/>
                  </a:lnTo>
                  <a:lnTo>
                    <a:pt x="283845" y="594361"/>
                  </a:lnTo>
                  <a:lnTo>
                    <a:pt x="306070" y="594361"/>
                  </a:lnTo>
                  <a:lnTo>
                    <a:pt x="306070" y="600711"/>
                  </a:lnTo>
                  <a:cubicBezTo>
                    <a:pt x="311784" y="595631"/>
                    <a:pt x="318135" y="592456"/>
                    <a:pt x="326390" y="592456"/>
                  </a:cubicBezTo>
                  <a:close/>
                  <a:moveTo>
                    <a:pt x="231775" y="592456"/>
                  </a:moveTo>
                  <a:cubicBezTo>
                    <a:pt x="254635" y="592456"/>
                    <a:pt x="268605" y="603251"/>
                    <a:pt x="268605" y="624206"/>
                  </a:cubicBezTo>
                  <a:lnTo>
                    <a:pt x="268605" y="684531"/>
                  </a:lnTo>
                  <a:lnTo>
                    <a:pt x="267970" y="684531"/>
                  </a:lnTo>
                  <a:lnTo>
                    <a:pt x="245745" y="684531"/>
                  </a:lnTo>
                  <a:lnTo>
                    <a:pt x="245745" y="678181"/>
                  </a:lnTo>
                  <a:cubicBezTo>
                    <a:pt x="240665" y="683261"/>
                    <a:pt x="233680" y="686436"/>
                    <a:pt x="224790" y="686436"/>
                  </a:cubicBezTo>
                  <a:cubicBezTo>
                    <a:pt x="207010" y="686436"/>
                    <a:pt x="193040" y="675006"/>
                    <a:pt x="193040" y="655321"/>
                  </a:cubicBezTo>
                  <a:cubicBezTo>
                    <a:pt x="193040" y="635636"/>
                    <a:pt x="206375" y="624841"/>
                    <a:pt x="227965" y="624841"/>
                  </a:cubicBezTo>
                  <a:cubicBezTo>
                    <a:pt x="233680" y="624841"/>
                    <a:pt x="239394" y="625476"/>
                    <a:pt x="245745" y="628651"/>
                  </a:cubicBezTo>
                  <a:lnTo>
                    <a:pt x="245745" y="623571"/>
                  </a:lnTo>
                  <a:cubicBezTo>
                    <a:pt x="245745" y="615316"/>
                    <a:pt x="240030" y="611506"/>
                    <a:pt x="230504" y="611506"/>
                  </a:cubicBezTo>
                  <a:cubicBezTo>
                    <a:pt x="223519" y="611506"/>
                    <a:pt x="216534" y="613411"/>
                    <a:pt x="209549" y="617221"/>
                  </a:cubicBezTo>
                  <a:lnTo>
                    <a:pt x="200659" y="601346"/>
                  </a:lnTo>
                  <a:cubicBezTo>
                    <a:pt x="210185" y="594996"/>
                    <a:pt x="219709" y="592456"/>
                    <a:pt x="231775" y="592456"/>
                  </a:cubicBezTo>
                  <a:close/>
                  <a:moveTo>
                    <a:pt x="1125855" y="591821"/>
                  </a:moveTo>
                  <a:cubicBezTo>
                    <a:pt x="1132204" y="591821"/>
                    <a:pt x="1137920" y="593726"/>
                    <a:pt x="1142364" y="598171"/>
                  </a:cubicBezTo>
                  <a:lnTo>
                    <a:pt x="1141730" y="598806"/>
                  </a:lnTo>
                  <a:lnTo>
                    <a:pt x="1132840" y="621031"/>
                  </a:lnTo>
                  <a:cubicBezTo>
                    <a:pt x="1129665" y="617856"/>
                    <a:pt x="1125220" y="615316"/>
                    <a:pt x="1120140" y="615316"/>
                  </a:cubicBezTo>
                  <a:cubicBezTo>
                    <a:pt x="1109345" y="615316"/>
                    <a:pt x="1106805" y="624206"/>
                    <a:pt x="1106805" y="635001"/>
                  </a:cubicBezTo>
                  <a:lnTo>
                    <a:pt x="1106805" y="683896"/>
                  </a:lnTo>
                  <a:lnTo>
                    <a:pt x="1084579" y="683896"/>
                  </a:lnTo>
                  <a:lnTo>
                    <a:pt x="1084579" y="593726"/>
                  </a:lnTo>
                  <a:lnTo>
                    <a:pt x="1106805" y="593726"/>
                  </a:lnTo>
                  <a:lnTo>
                    <a:pt x="1106805" y="600076"/>
                  </a:lnTo>
                  <a:cubicBezTo>
                    <a:pt x="1111885" y="594996"/>
                    <a:pt x="1118235" y="591821"/>
                    <a:pt x="1125855" y="591821"/>
                  </a:cubicBezTo>
                  <a:close/>
                  <a:moveTo>
                    <a:pt x="47625" y="563881"/>
                  </a:moveTo>
                  <a:cubicBezTo>
                    <a:pt x="66040" y="563881"/>
                    <a:pt x="79375" y="571501"/>
                    <a:pt x="90170" y="582296"/>
                  </a:cubicBezTo>
                  <a:lnTo>
                    <a:pt x="73659" y="598806"/>
                  </a:lnTo>
                  <a:cubicBezTo>
                    <a:pt x="66040" y="591186"/>
                    <a:pt x="58420" y="586741"/>
                    <a:pt x="46355" y="586741"/>
                  </a:cubicBezTo>
                  <a:cubicBezTo>
                    <a:pt x="36194" y="586741"/>
                    <a:pt x="28575" y="589916"/>
                    <a:pt x="28575" y="598171"/>
                  </a:cubicBezTo>
                  <a:cubicBezTo>
                    <a:pt x="28575" y="601981"/>
                    <a:pt x="29845" y="604521"/>
                    <a:pt x="33655" y="606426"/>
                  </a:cubicBezTo>
                  <a:cubicBezTo>
                    <a:pt x="38099" y="608966"/>
                    <a:pt x="43814" y="610236"/>
                    <a:pt x="52704" y="612776"/>
                  </a:cubicBezTo>
                  <a:cubicBezTo>
                    <a:pt x="63500" y="615951"/>
                    <a:pt x="73659" y="617856"/>
                    <a:pt x="81915" y="624841"/>
                  </a:cubicBezTo>
                  <a:lnTo>
                    <a:pt x="92427" y="648959"/>
                  </a:lnTo>
                  <a:lnTo>
                    <a:pt x="79454" y="677626"/>
                  </a:lnTo>
                  <a:cubicBezTo>
                    <a:pt x="71279" y="683738"/>
                    <a:pt x="60008" y="686436"/>
                    <a:pt x="47625" y="686436"/>
                  </a:cubicBezTo>
                  <a:cubicBezTo>
                    <a:pt x="29845" y="686436"/>
                    <a:pt x="10795" y="680721"/>
                    <a:pt x="0" y="664846"/>
                  </a:cubicBezTo>
                  <a:lnTo>
                    <a:pt x="16510" y="650241"/>
                  </a:lnTo>
                  <a:cubicBezTo>
                    <a:pt x="24129" y="659766"/>
                    <a:pt x="35560" y="664211"/>
                    <a:pt x="46989" y="664211"/>
                  </a:cubicBezTo>
                  <a:cubicBezTo>
                    <a:pt x="60325" y="664211"/>
                    <a:pt x="68579" y="657861"/>
                    <a:pt x="68579" y="649606"/>
                  </a:cubicBezTo>
                  <a:cubicBezTo>
                    <a:pt x="68579" y="646431"/>
                    <a:pt x="67310" y="642621"/>
                    <a:pt x="61595" y="640081"/>
                  </a:cubicBezTo>
                  <a:cubicBezTo>
                    <a:pt x="57150" y="638176"/>
                    <a:pt x="52069" y="636906"/>
                    <a:pt x="41909" y="634366"/>
                  </a:cubicBezTo>
                  <a:cubicBezTo>
                    <a:pt x="35560" y="633096"/>
                    <a:pt x="22860" y="629921"/>
                    <a:pt x="14605" y="623571"/>
                  </a:cubicBezTo>
                  <a:cubicBezTo>
                    <a:pt x="6349" y="617221"/>
                    <a:pt x="4444" y="607696"/>
                    <a:pt x="4444" y="599441"/>
                  </a:cubicBezTo>
                  <a:cubicBezTo>
                    <a:pt x="4444" y="574041"/>
                    <a:pt x="26034" y="563881"/>
                    <a:pt x="47625" y="563881"/>
                  </a:cubicBezTo>
                  <a:close/>
                  <a:moveTo>
                    <a:pt x="814070" y="560071"/>
                  </a:moveTo>
                  <a:cubicBezTo>
                    <a:pt x="820420" y="560071"/>
                    <a:pt x="824864" y="561341"/>
                    <a:pt x="830579" y="562611"/>
                  </a:cubicBezTo>
                  <a:lnTo>
                    <a:pt x="829945" y="562611"/>
                  </a:lnTo>
                  <a:lnTo>
                    <a:pt x="829945" y="581026"/>
                  </a:lnTo>
                  <a:cubicBezTo>
                    <a:pt x="824864" y="579756"/>
                    <a:pt x="821055" y="579121"/>
                    <a:pt x="818515" y="579121"/>
                  </a:cubicBezTo>
                  <a:cubicBezTo>
                    <a:pt x="810260" y="579121"/>
                    <a:pt x="808989" y="582296"/>
                    <a:pt x="808989" y="586741"/>
                  </a:cubicBezTo>
                  <a:lnTo>
                    <a:pt x="808989" y="594361"/>
                  </a:lnTo>
                  <a:lnTo>
                    <a:pt x="824230" y="594361"/>
                  </a:lnTo>
                  <a:lnTo>
                    <a:pt x="824230" y="615951"/>
                  </a:lnTo>
                  <a:lnTo>
                    <a:pt x="808989" y="615951"/>
                  </a:lnTo>
                  <a:lnTo>
                    <a:pt x="808989" y="684531"/>
                  </a:lnTo>
                  <a:lnTo>
                    <a:pt x="786765" y="684531"/>
                  </a:lnTo>
                  <a:lnTo>
                    <a:pt x="786765" y="615951"/>
                  </a:lnTo>
                  <a:lnTo>
                    <a:pt x="775970" y="615951"/>
                  </a:lnTo>
                  <a:lnTo>
                    <a:pt x="775970" y="594361"/>
                  </a:lnTo>
                  <a:lnTo>
                    <a:pt x="786765" y="594361"/>
                  </a:lnTo>
                  <a:lnTo>
                    <a:pt x="786765" y="583566"/>
                  </a:lnTo>
                  <a:cubicBezTo>
                    <a:pt x="786765" y="567691"/>
                    <a:pt x="795019" y="560071"/>
                    <a:pt x="814070" y="560071"/>
                  </a:cubicBezTo>
                  <a:close/>
                  <a:moveTo>
                    <a:pt x="957579" y="559436"/>
                  </a:moveTo>
                  <a:lnTo>
                    <a:pt x="957579" y="594361"/>
                  </a:lnTo>
                  <a:lnTo>
                    <a:pt x="979170" y="594361"/>
                  </a:lnTo>
                  <a:lnTo>
                    <a:pt x="979170" y="615951"/>
                  </a:lnTo>
                  <a:lnTo>
                    <a:pt x="957579" y="615951"/>
                  </a:lnTo>
                  <a:lnTo>
                    <a:pt x="957579" y="654051"/>
                  </a:lnTo>
                  <a:cubicBezTo>
                    <a:pt x="957579" y="661671"/>
                    <a:pt x="960754" y="664846"/>
                    <a:pt x="966470" y="664846"/>
                  </a:cubicBezTo>
                  <a:cubicBezTo>
                    <a:pt x="972185" y="664846"/>
                    <a:pt x="977900" y="661671"/>
                    <a:pt x="981075" y="658496"/>
                  </a:cubicBezTo>
                  <a:lnTo>
                    <a:pt x="977900" y="681356"/>
                  </a:lnTo>
                  <a:cubicBezTo>
                    <a:pt x="973454" y="685166"/>
                    <a:pt x="965200" y="686436"/>
                    <a:pt x="959485" y="686436"/>
                  </a:cubicBezTo>
                  <a:cubicBezTo>
                    <a:pt x="945515" y="686436"/>
                    <a:pt x="935355" y="676276"/>
                    <a:pt x="935355" y="659766"/>
                  </a:cubicBezTo>
                  <a:lnTo>
                    <a:pt x="935355" y="615951"/>
                  </a:lnTo>
                  <a:lnTo>
                    <a:pt x="922655" y="615951"/>
                  </a:lnTo>
                  <a:lnTo>
                    <a:pt x="922655" y="594361"/>
                  </a:lnTo>
                  <a:lnTo>
                    <a:pt x="935355" y="594361"/>
                  </a:lnTo>
                  <a:lnTo>
                    <a:pt x="935355" y="570866"/>
                  </a:lnTo>
                  <a:close/>
                  <a:moveTo>
                    <a:pt x="586739" y="559436"/>
                  </a:moveTo>
                  <a:lnTo>
                    <a:pt x="586739" y="600711"/>
                  </a:lnTo>
                  <a:cubicBezTo>
                    <a:pt x="591820" y="595631"/>
                    <a:pt x="597534" y="592456"/>
                    <a:pt x="607695" y="592456"/>
                  </a:cubicBezTo>
                  <a:cubicBezTo>
                    <a:pt x="631825" y="592456"/>
                    <a:pt x="639445" y="610871"/>
                    <a:pt x="639445" y="633731"/>
                  </a:cubicBezTo>
                  <a:lnTo>
                    <a:pt x="639445" y="684531"/>
                  </a:lnTo>
                  <a:lnTo>
                    <a:pt x="617220" y="684531"/>
                  </a:lnTo>
                  <a:lnTo>
                    <a:pt x="617220" y="635636"/>
                  </a:lnTo>
                  <a:cubicBezTo>
                    <a:pt x="617220" y="623571"/>
                    <a:pt x="614680" y="614681"/>
                    <a:pt x="601980" y="614681"/>
                  </a:cubicBezTo>
                  <a:cubicBezTo>
                    <a:pt x="589280" y="614681"/>
                    <a:pt x="586739" y="622936"/>
                    <a:pt x="586739" y="635001"/>
                  </a:cubicBezTo>
                  <a:lnTo>
                    <a:pt x="586739" y="684531"/>
                  </a:lnTo>
                  <a:lnTo>
                    <a:pt x="564515" y="684531"/>
                  </a:lnTo>
                  <a:lnTo>
                    <a:pt x="564515" y="570866"/>
                  </a:lnTo>
                  <a:close/>
                  <a:moveTo>
                    <a:pt x="529590" y="559436"/>
                  </a:moveTo>
                  <a:lnTo>
                    <a:pt x="529590" y="594361"/>
                  </a:lnTo>
                  <a:lnTo>
                    <a:pt x="550545" y="594361"/>
                  </a:lnTo>
                  <a:lnTo>
                    <a:pt x="550545" y="615951"/>
                  </a:lnTo>
                  <a:lnTo>
                    <a:pt x="529590" y="615951"/>
                  </a:lnTo>
                  <a:lnTo>
                    <a:pt x="529590" y="654051"/>
                  </a:lnTo>
                  <a:cubicBezTo>
                    <a:pt x="529590" y="661671"/>
                    <a:pt x="532765" y="664846"/>
                    <a:pt x="538480" y="664846"/>
                  </a:cubicBezTo>
                  <a:cubicBezTo>
                    <a:pt x="544195" y="664846"/>
                    <a:pt x="549275" y="661671"/>
                    <a:pt x="553084" y="658496"/>
                  </a:cubicBezTo>
                  <a:lnTo>
                    <a:pt x="549909" y="681356"/>
                  </a:lnTo>
                  <a:cubicBezTo>
                    <a:pt x="545465" y="685166"/>
                    <a:pt x="537209" y="686436"/>
                    <a:pt x="531495" y="686436"/>
                  </a:cubicBezTo>
                  <a:cubicBezTo>
                    <a:pt x="517525" y="686436"/>
                    <a:pt x="507364" y="676276"/>
                    <a:pt x="507364" y="659766"/>
                  </a:cubicBezTo>
                  <a:lnTo>
                    <a:pt x="507364" y="615951"/>
                  </a:lnTo>
                  <a:lnTo>
                    <a:pt x="491489" y="615951"/>
                  </a:lnTo>
                  <a:lnTo>
                    <a:pt x="491489" y="594361"/>
                  </a:lnTo>
                  <a:lnTo>
                    <a:pt x="507364" y="594361"/>
                  </a:lnTo>
                  <a:lnTo>
                    <a:pt x="507364" y="570866"/>
                  </a:lnTo>
                  <a:close/>
                  <a:moveTo>
                    <a:pt x="128269" y="559436"/>
                  </a:moveTo>
                  <a:lnTo>
                    <a:pt x="128269" y="600711"/>
                  </a:lnTo>
                  <a:cubicBezTo>
                    <a:pt x="133349" y="595631"/>
                    <a:pt x="139064" y="592456"/>
                    <a:pt x="149224" y="592456"/>
                  </a:cubicBezTo>
                  <a:cubicBezTo>
                    <a:pt x="173355" y="592456"/>
                    <a:pt x="180974" y="610871"/>
                    <a:pt x="180974" y="633731"/>
                  </a:cubicBezTo>
                  <a:lnTo>
                    <a:pt x="180974" y="684531"/>
                  </a:lnTo>
                  <a:lnTo>
                    <a:pt x="158750" y="684531"/>
                  </a:lnTo>
                  <a:lnTo>
                    <a:pt x="158750" y="635636"/>
                  </a:lnTo>
                  <a:cubicBezTo>
                    <a:pt x="158750" y="623571"/>
                    <a:pt x="156209" y="614681"/>
                    <a:pt x="143510" y="614681"/>
                  </a:cubicBezTo>
                  <a:cubicBezTo>
                    <a:pt x="130810" y="614681"/>
                    <a:pt x="128269" y="622936"/>
                    <a:pt x="128269" y="635001"/>
                  </a:cubicBezTo>
                  <a:lnTo>
                    <a:pt x="128269" y="684531"/>
                  </a:lnTo>
                  <a:lnTo>
                    <a:pt x="106045" y="684531"/>
                  </a:lnTo>
                  <a:lnTo>
                    <a:pt x="106045" y="570866"/>
                  </a:lnTo>
                  <a:close/>
                  <a:moveTo>
                    <a:pt x="269875" y="635"/>
                  </a:moveTo>
                  <a:lnTo>
                    <a:pt x="501015" y="635"/>
                  </a:lnTo>
                  <a:lnTo>
                    <a:pt x="554989" y="94615"/>
                  </a:lnTo>
                  <a:lnTo>
                    <a:pt x="391795" y="94615"/>
                  </a:lnTo>
                  <a:lnTo>
                    <a:pt x="391795" y="161925"/>
                  </a:lnTo>
                  <a:lnTo>
                    <a:pt x="539114" y="161925"/>
                  </a:lnTo>
                  <a:lnTo>
                    <a:pt x="539114" y="247650"/>
                  </a:lnTo>
                  <a:lnTo>
                    <a:pt x="391795" y="247650"/>
                  </a:lnTo>
                  <a:lnTo>
                    <a:pt x="391795" y="314325"/>
                  </a:lnTo>
                  <a:lnTo>
                    <a:pt x="595629" y="314325"/>
                  </a:lnTo>
                  <a:lnTo>
                    <a:pt x="595629" y="408305"/>
                  </a:lnTo>
                  <a:lnTo>
                    <a:pt x="269875" y="408305"/>
                  </a:lnTo>
                  <a:close/>
                  <a:moveTo>
                    <a:pt x="539114" y="0"/>
                  </a:moveTo>
                  <a:lnTo>
                    <a:pt x="674370" y="0"/>
                  </a:lnTo>
                  <a:lnTo>
                    <a:pt x="743584" y="132715"/>
                  </a:lnTo>
                  <a:lnTo>
                    <a:pt x="812799" y="0"/>
                  </a:lnTo>
                  <a:lnTo>
                    <a:pt x="946150" y="0"/>
                  </a:lnTo>
                  <a:lnTo>
                    <a:pt x="803275" y="246380"/>
                  </a:lnTo>
                  <a:lnTo>
                    <a:pt x="803275" y="407670"/>
                  </a:lnTo>
                  <a:lnTo>
                    <a:pt x="681355" y="407670"/>
                  </a:lnTo>
                  <a:lnTo>
                    <a:pt x="681355" y="246380"/>
                  </a:lnTo>
                  <a:close/>
                </a:path>
              </a:pathLst>
            </a:custGeom>
            <a:solidFill>
              <a:srgbClr val="FFFFFF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DFB16D98-C784-FAB9-BCBC-EA53480E5BA8}"/>
              </a:ext>
            </a:extLst>
          </p:cNvPr>
          <p:cNvGrpSpPr/>
          <p:nvPr userDrawn="1"/>
        </p:nvGrpSpPr>
        <p:grpSpPr>
          <a:xfrm>
            <a:off x="486029" y="6164633"/>
            <a:ext cx="4943508" cy="318770"/>
            <a:chOff x="485775" y="6164633"/>
            <a:chExt cx="4940935" cy="318770"/>
          </a:xfrm>
        </p:grpSpPr>
        <p:sp>
          <p:nvSpPr>
            <p:cNvPr id="24" name="Freeform 23">
              <a:extLst>
                <a:ext uri="{FF2B5EF4-FFF2-40B4-BE49-F238E27FC236}">
                  <a16:creationId xmlns:a16="http://schemas.microsoft.com/office/drawing/2014/main" id="{4788DF65-E85A-7EA9-F2BB-B439D5C7EB16}"/>
                </a:ext>
              </a:extLst>
            </p:cNvPr>
            <p:cNvSpPr/>
            <p:nvPr userDrawn="1"/>
          </p:nvSpPr>
          <p:spPr>
            <a:xfrm>
              <a:off x="485775" y="6164633"/>
              <a:ext cx="405765" cy="81280"/>
            </a:xfrm>
            <a:custGeom>
              <a:avLst/>
              <a:gdLst>
                <a:gd name="connsiteX0" fmla="*/ 324485 w 405765"/>
                <a:gd name="connsiteY0" fmla="*/ 0 h 81280"/>
                <a:gd name="connsiteX1" fmla="*/ 405765 w 405765"/>
                <a:gd name="connsiteY1" fmla="*/ 0 h 81280"/>
                <a:gd name="connsiteX2" fmla="*/ 405765 w 405765"/>
                <a:gd name="connsiteY2" fmla="*/ 81280 h 81280"/>
                <a:gd name="connsiteX3" fmla="*/ 324485 w 405765"/>
                <a:gd name="connsiteY3" fmla="*/ 81280 h 81280"/>
                <a:gd name="connsiteX4" fmla="*/ 161925 w 405765"/>
                <a:gd name="connsiteY4" fmla="*/ 0 h 81280"/>
                <a:gd name="connsiteX5" fmla="*/ 243205 w 405765"/>
                <a:gd name="connsiteY5" fmla="*/ 0 h 81280"/>
                <a:gd name="connsiteX6" fmla="*/ 243205 w 405765"/>
                <a:gd name="connsiteY6" fmla="*/ 81280 h 81280"/>
                <a:gd name="connsiteX7" fmla="*/ 161925 w 405765"/>
                <a:gd name="connsiteY7" fmla="*/ 81280 h 81280"/>
                <a:gd name="connsiteX8" fmla="*/ 0 w 405765"/>
                <a:gd name="connsiteY8" fmla="*/ 0 h 81280"/>
                <a:gd name="connsiteX9" fmla="*/ 81280 w 405765"/>
                <a:gd name="connsiteY9" fmla="*/ 0 h 81280"/>
                <a:gd name="connsiteX10" fmla="*/ 81280 w 405765"/>
                <a:gd name="connsiteY10" fmla="*/ 81280 h 81280"/>
                <a:gd name="connsiteX11" fmla="*/ 0 w 405765"/>
                <a:gd name="connsiteY11" fmla="*/ 81280 h 812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05765" h="81280">
                  <a:moveTo>
                    <a:pt x="324485" y="0"/>
                  </a:moveTo>
                  <a:lnTo>
                    <a:pt x="405765" y="0"/>
                  </a:lnTo>
                  <a:lnTo>
                    <a:pt x="405765" y="81280"/>
                  </a:lnTo>
                  <a:lnTo>
                    <a:pt x="324485" y="81280"/>
                  </a:lnTo>
                  <a:close/>
                  <a:moveTo>
                    <a:pt x="161925" y="0"/>
                  </a:moveTo>
                  <a:lnTo>
                    <a:pt x="243205" y="0"/>
                  </a:lnTo>
                  <a:lnTo>
                    <a:pt x="243205" y="81280"/>
                  </a:lnTo>
                  <a:lnTo>
                    <a:pt x="161925" y="81280"/>
                  </a:lnTo>
                  <a:close/>
                  <a:moveTo>
                    <a:pt x="0" y="0"/>
                  </a:moveTo>
                  <a:lnTo>
                    <a:pt x="81280" y="0"/>
                  </a:lnTo>
                  <a:lnTo>
                    <a:pt x="81280" y="81280"/>
                  </a:lnTo>
                  <a:lnTo>
                    <a:pt x="0" y="81280"/>
                  </a:lnTo>
                  <a:close/>
                </a:path>
              </a:pathLst>
            </a:custGeom>
            <a:solidFill>
              <a:srgbClr val="FFE600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25" name="Freeform 24">
              <a:extLst>
                <a:ext uri="{FF2B5EF4-FFF2-40B4-BE49-F238E27FC236}">
                  <a16:creationId xmlns:a16="http://schemas.microsoft.com/office/drawing/2014/main" id="{DB6421F7-1BA7-70C3-4C7B-0694CD3F9A63}"/>
                </a:ext>
              </a:extLst>
            </p:cNvPr>
            <p:cNvSpPr/>
            <p:nvPr userDrawn="1"/>
          </p:nvSpPr>
          <p:spPr bwMode="black">
            <a:xfrm>
              <a:off x="485779" y="6344974"/>
              <a:ext cx="4940931" cy="138429"/>
            </a:xfrm>
            <a:custGeom>
              <a:avLst/>
              <a:gdLst>
                <a:gd name="connsiteX0" fmla="*/ 1032512 w 4940931"/>
                <a:gd name="connsiteY0" fmla="*/ 137477 h 138429"/>
                <a:gd name="connsiteX1" fmla="*/ 1032512 w 4940931"/>
                <a:gd name="connsiteY1" fmla="*/ 137794 h 138429"/>
                <a:gd name="connsiteX2" fmla="*/ 1030607 w 4940931"/>
                <a:gd name="connsiteY2" fmla="*/ 138429 h 138429"/>
                <a:gd name="connsiteX3" fmla="*/ 4929501 w 4940931"/>
                <a:gd name="connsiteY3" fmla="*/ 87629 h 138429"/>
                <a:gd name="connsiteX4" fmla="*/ 4933946 w 4940931"/>
                <a:gd name="connsiteY4" fmla="*/ 88264 h 138429"/>
                <a:gd name="connsiteX5" fmla="*/ 4937756 w 4940931"/>
                <a:gd name="connsiteY5" fmla="*/ 90804 h 138429"/>
                <a:gd name="connsiteX6" fmla="*/ 4940296 w 4940931"/>
                <a:gd name="connsiteY6" fmla="*/ 94614 h 138429"/>
                <a:gd name="connsiteX7" fmla="*/ 4940931 w 4940931"/>
                <a:gd name="connsiteY7" fmla="*/ 99059 h 138429"/>
                <a:gd name="connsiteX8" fmla="*/ 4940296 w 4940931"/>
                <a:gd name="connsiteY8" fmla="*/ 103504 h 138429"/>
                <a:gd name="connsiteX9" fmla="*/ 4937756 w 4940931"/>
                <a:gd name="connsiteY9" fmla="*/ 107314 h 138429"/>
                <a:gd name="connsiteX10" fmla="*/ 4933946 w 4940931"/>
                <a:gd name="connsiteY10" fmla="*/ 109854 h 138429"/>
                <a:gd name="connsiteX11" fmla="*/ 4929501 w 4940931"/>
                <a:gd name="connsiteY11" fmla="*/ 110489 h 138429"/>
                <a:gd name="connsiteX12" fmla="*/ 4925056 w 4940931"/>
                <a:gd name="connsiteY12" fmla="*/ 109854 h 138429"/>
                <a:gd name="connsiteX13" fmla="*/ 4921246 w 4940931"/>
                <a:gd name="connsiteY13" fmla="*/ 107314 h 138429"/>
                <a:gd name="connsiteX14" fmla="*/ 4918706 w 4940931"/>
                <a:gd name="connsiteY14" fmla="*/ 103504 h 138429"/>
                <a:gd name="connsiteX15" fmla="*/ 4918071 w 4940931"/>
                <a:gd name="connsiteY15" fmla="*/ 99059 h 138429"/>
                <a:gd name="connsiteX16" fmla="*/ 4918706 w 4940931"/>
                <a:gd name="connsiteY16" fmla="*/ 94614 h 138429"/>
                <a:gd name="connsiteX17" fmla="*/ 4921246 w 4940931"/>
                <a:gd name="connsiteY17" fmla="*/ 90804 h 138429"/>
                <a:gd name="connsiteX18" fmla="*/ 4925056 w 4940931"/>
                <a:gd name="connsiteY18" fmla="*/ 88264 h 138429"/>
                <a:gd name="connsiteX19" fmla="*/ 4929501 w 4940931"/>
                <a:gd name="connsiteY19" fmla="*/ 87629 h 138429"/>
                <a:gd name="connsiteX20" fmla="*/ 3079110 w 4940931"/>
                <a:gd name="connsiteY20" fmla="*/ 87629 h 138429"/>
                <a:gd name="connsiteX21" fmla="*/ 3083555 w 4940931"/>
                <a:gd name="connsiteY21" fmla="*/ 88264 h 138429"/>
                <a:gd name="connsiteX22" fmla="*/ 3087365 w 4940931"/>
                <a:gd name="connsiteY22" fmla="*/ 90804 h 138429"/>
                <a:gd name="connsiteX23" fmla="*/ 3089905 w 4940931"/>
                <a:gd name="connsiteY23" fmla="*/ 94614 h 138429"/>
                <a:gd name="connsiteX24" fmla="*/ 3090540 w 4940931"/>
                <a:gd name="connsiteY24" fmla="*/ 99059 h 138429"/>
                <a:gd name="connsiteX25" fmla="*/ 3089905 w 4940931"/>
                <a:gd name="connsiteY25" fmla="*/ 103504 h 138429"/>
                <a:gd name="connsiteX26" fmla="*/ 3087365 w 4940931"/>
                <a:gd name="connsiteY26" fmla="*/ 107314 h 138429"/>
                <a:gd name="connsiteX27" fmla="*/ 3083555 w 4940931"/>
                <a:gd name="connsiteY27" fmla="*/ 109854 h 138429"/>
                <a:gd name="connsiteX28" fmla="*/ 3079110 w 4940931"/>
                <a:gd name="connsiteY28" fmla="*/ 110489 h 138429"/>
                <a:gd name="connsiteX29" fmla="*/ 3074665 w 4940931"/>
                <a:gd name="connsiteY29" fmla="*/ 109854 h 138429"/>
                <a:gd name="connsiteX30" fmla="*/ 3070855 w 4940931"/>
                <a:gd name="connsiteY30" fmla="*/ 107314 h 138429"/>
                <a:gd name="connsiteX31" fmla="*/ 3068315 w 4940931"/>
                <a:gd name="connsiteY31" fmla="*/ 103504 h 138429"/>
                <a:gd name="connsiteX32" fmla="*/ 3067680 w 4940931"/>
                <a:gd name="connsiteY32" fmla="*/ 99059 h 138429"/>
                <a:gd name="connsiteX33" fmla="*/ 3068315 w 4940931"/>
                <a:gd name="connsiteY33" fmla="*/ 94614 h 138429"/>
                <a:gd name="connsiteX34" fmla="*/ 3070855 w 4940931"/>
                <a:gd name="connsiteY34" fmla="*/ 90804 h 138429"/>
                <a:gd name="connsiteX35" fmla="*/ 3074665 w 4940931"/>
                <a:gd name="connsiteY35" fmla="*/ 88264 h 138429"/>
                <a:gd name="connsiteX36" fmla="*/ 3079110 w 4940931"/>
                <a:gd name="connsiteY36" fmla="*/ 87629 h 138429"/>
                <a:gd name="connsiteX37" fmla="*/ 1565275 w 4940931"/>
                <a:gd name="connsiteY37" fmla="*/ 87629 h 138429"/>
                <a:gd name="connsiteX38" fmla="*/ 1569720 w 4940931"/>
                <a:gd name="connsiteY38" fmla="*/ 88264 h 138429"/>
                <a:gd name="connsiteX39" fmla="*/ 1573529 w 4940931"/>
                <a:gd name="connsiteY39" fmla="*/ 90804 h 138429"/>
                <a:gd name="connsiteX40" fmla="*/ 1576069 w 4940931"/>
                <a:gd name="connsiteY40" fmla="*/ 94614 h 138429"/>
                <a:gd name="connsiteX41" fmla="*/ 1576705 w 4940931"/>
                <a:gd name="connsiteY41" fmla="*/ 99059 h 138429"/>
                <a:gd name="connsiteX42" fmla="*/ 1576069 w 4940931"/>
                <a:gd name="connsiteY42" fmla="*/ 103504 h 138429"/>
                <a:gd name="connsiteX43" fmla="*/ 1573529 w 4940931"/>
                <a:gd name="connsiteY43" fmla="*/ 107314 h 138429"/>
                <a:gd name="connsiteX44" fmla="*/ 1569720 w 4940931"/>
                <a:gd name="connsiteY44" fmla="*/ 109854 h 138429"/>
                <a:gd name="connsiteX45" fmla="*/ 1565275 w 4940931"/>
                <a:gd name="connsiteY45" fmla="*/ 110489 h 138429"/>
                <a:gd name="connsiteX46" fmla="*/ 1560830 w 4940931"/>
                <a:gd name="connsiteY46" fmla="*/ 109854 h 138429"/>
                <a:gd name="connsiteX47" fmla="*/ 1557020 w 4940931"/>
                <a:gd name="connsiteY47" fmla="*/ 107314 h 138429"/>
                <a:gd name="connsiteX48" fmla="*/ 1554479 w 4940931"/>
                <a:gd name="connsiteY48" fmla="*/ 103504 h 138429"/>
                <a:gd name="connsiteX49" fmla="*/ 1553844 w 4940931"/>
                <a:gd name="connsiteY49" fmla="*/ 99059 h 138429"/>
                <a:gd name="connsiteX50" fmla="*/ 1554479 w 4940931"/>
                <a:gd name="connsiteY50" fmla="*/ 94614 h 138429"/>
                <a:gd name="connsiteX51" fmla="*/ 1557020 w 4940931"/>
                <a:gd name="connsiteY51" fmla="*/ 90804 h 138429"/>
                <a:gd name="connsiteX52" fmla="*/ 1560830 w 4940931"/>
                <a:gd name="connsiteY52" fmla="*/ 88264 h 138429"/>
                <a:gd name="connsiteX53" fmla="*/ 1565275 w 4940931"/>
                <a:gd name="connsiteY53" fmla="*/ 87629 h 138429"/>
                <a:gd name="connsiteX54" fmla="*/ 2642230 w 4940931"/>
                <a:gd name="connsiteY54" fmla="*/ 73024 h 138429"/>
                <a:gd name="connsiteX55" fmla="*/ 2630800 w 4940931"/>
                <a:gd name="connsiteY55" fmla="*/ 76199 h 138429"/>
                <a:gd name="connsiteX56" fmla="*/ 2626355 w 4940931"/>
                <a:gd name="connsiteY56" fmla="*/ 84454 h 138429"/>
                <a:gd name="connsiteX57" fmla="*/ 2627625 w 4940931"/>
                <a:gd name="connsiteY57" fmla="*/ 90169 h 138429"/>
                <a:gd name="connsiteX58" fmla="*/ 2630800 w 4940931"/>
                <a:gd name="connsiteY58" fmla="*/ 93979 h 138429"/>
                <a:gd name="connsiteX59" fmla="*/ 2635245 w 4940931"/>
                <a:gd name="connsiteY59" fmla="*/ 96519 h 138429"/>
                <a:gd name="connsiteX60" fmla="*/ 2641595 w 4940931"/>
                <a:gd name="connsiteY60" fmla="*/ 97154 h 138429"/>
                <a:gd name="connsiteX61" fmla="*/ 2647310 w 4940931"/>
                <a:gd name="connsiteY61" fmla="*/ 96519 h 138429"/>
                <a:gd name="connsiteX62" fmla="*/ 2652390 w 4940931"/>
                <a:gd name="connsiteY62" fmla="*/ 93979 h 138429"/>
                <a:gd name="connsiteX63" fmla="*/ 2656835 w 4940931"/>
                <a:gd name="connsiteY63" fmla="*/ 90804 h 138429"/>
                <a:gd name="connsiteX64" fmla="*/ 2660010 w 4940931"/>
                <a:gd name="connsiteY64" fmla="*/ 86994 h 138429"/>
                <a:gd name="connsiteX65" fmla="*/ 2660010 w 4940931"/>
                <a:gd name="connsiteY65" fmla="*/ 75564 h 138429"/>
                <a:gd name="connsiteX66" fmla="*/ 2656200 w 4940931"/>
                <a:gd name="connsiteY66" fmla="*/ 74294 h 138429"/>
                <a:gd name="connsiteX67" fmla="*/ 2652390 w 4940931"/>
                <a:gd name="connsiteY67" fmla="*/ 73659 h 138429"/>
                <a:gd name="connsiteX68" fmla="*/ 2647945 w 4940931"/>
                <a:gd name="connsiteY68" fmla="*/ 73024 h 138429"/>
                <a:gd name="connsiteX69" fmla="*/ 2642230 w 4940931"/>
                <a:gd name="connsiteY69" fmla="*/ 73024 h 138429"/>
                <a:gd name="connsiteX70" fmla="*/ 4664706 w 4940931"/>
                <a:gd name="connsiteY70" fmla="*/ 43814 h 138429"/>
                <a:gd name="connsiteX71" fmla="*/ 4657086 w 4940931"/>
                <a:gd name="connsiteY71" fmla="*/ 45719 h 138429"/>
                <a:gd name="connsiteX72" fmla="*/ 4651371 w 4940931"/>
                <a:gd name="connsiteY72" fmla="*/ 50799 h 138429"/>
                <a:gd name="connsiteX73" fmla="*/ 4647561 w 4940931"/>
                <a:gd name="connsiteY73" fmla="*/ 59054 h 138429"/>
                <a:gd name="connsiteX74" fmla="*/ 4646291 w 4940931"/>
                <a:gd name="connsiteY74" fmla="*/ 69849 h 138429"/>
                <a:gd name="connsiteX75" fmla="*/ 4647561 w 4940931"/>
                <a:gd name="connsiteY75" fmla="*/ 81279 h 138429"/>
                <a:gd name="connsiteX76" fmla="*/ 4651371 w 4940931"/>
                <a:gd name="connsiteY76" fmla="*/ 89534 h 138429"/>
                <a:gd name="connsiteX77" fmla="*/ 4657721 w 4940931"/>
                <a:gd name="connsiteY77" fmla="*/ 94614 h 138429"/>
                <a:gd name="connsiteX78" fmla="*/ 4665341 w 4940931"/>
                <a:gd name="connsiteY78" fmla="*/ 96519 h 138429"/>
                <a:gd name="connsiteX79" fmla="*/ 4672961 w 4940931"/>
                <a:gd name="connsiteY79" fmla="*/ 94614 h 138429"/>
                <a:gd name="connsiteX80" fmla="*/ 4678676 w 4940931"/>
                <a:gd name="connsiteY80" fmla="*/ 88899 h 138429"/>
                <a:gd name="connsiteX81" fmla="*/ 4682486 w 4940931"/>
                <a:gd name="connsiteY81" fmla="*/ 80644 h 138429"/>
                <a:gd name="connsiteX82" fmla="*/ 4683756 w 4940931"/>
                <a:gd name="connsiteY82" fmla="*/ 70484 h 138429"/>
                <a:gd name="connsiteX83" fmla="*/ 4684391 w 4940931"/>
                <a:gd name="connsiteY83" fmla="*/ 69849 h 138429"/>
                <a:gd name="connsiteX84" fmla="*/ 4683121 w 4940931"/>
                <a:gd name="connsiteY84" fmla="*/ 59054 h 138429"/>
                <a:gd name="connsiteX85" fmla="*/ 4679311 w 4940931"/>
                <a:gd name="connsiteY85" fmla="*/ 50799 h 138429"/>
                <a:gd name="connsiteX86" fmla="*/ 4672961 w 4940931"/>
                <a:gd name="connsiteY86" fmla="*/ 45719 h 138429"/>
                <a:gd name="connsiteX87" fmla="*/ 4664706 w 4940931"/>
                <a:gd name="connsiteY87" fmla="*/ 43814 h 138429"/>
                <a:gd name="connsiteX88" fmla="*/ 4264020 w 4940931"/>
                <a:gd name="connsiteY88" fmla="*/ 43814 h 138429"/>
                <a:gd name="connsiteX89" fmla="*/ 4256400 w 4940931"/>
                <a:gd name="connsiteY89" fmla="*/ 45719 h 138429"/>
                <a:gd name="connsiteX90" fmla="*/ 4250685 w 4940931"/>
                <a:gd name="connsiteY90" fmla="*/ 50799 h 138429"/>
                <a:gd name="connsiteX91" fmla="*/ 4246875 w 4940931"/>
                <a:gd name="connsiteY91" fmla="*/ 59054 h 138429"/>
                <a:gd name="connsiteX92" fmla="*/ 4245605 w 4940931"/>
                <a:gd name="connsiteY92" fmla="*/ 69849 h 138429"/>
                <a:gd name="connsiteX93" fmla="*/ 4246875 w 4940931"/>
                <a:gd name="connsiteY93" fmla="*/ 81279 h 138429"/>
                <a:gd name="connsiteX94" fmla="*/ 4250685 w 4940931"/>
                <a:gd name="connsiteY94" fmla="*/ 89534 h 138429"/>
                <a:gd name="connsiteX95" fmla="*/ 4257035 w 4940931"/>
                <a:gd name="connsiteY95" fmla="*/ 94614 h 138429"/>
                <a:gd name="connsiteX96" fmla="*/ 4264655 w 4940931"/>
                <a:gd name="connsiteY96" fmla="*/ 96519 h 138429"/>
                <a:gd name="connsiteX97" fmla="*/ 4272275 w 4940931"/>
                <a:gd name="connsiteY97" fmla="*/ 94614 h 138429"/>
                <a:gd name="connsiteX98" fmla="*/ 4277990 w 4940931"/>
                <a:gd name="connsiteY98" fmla="*/ 88899 h 138429"/>
                <a:gd name="connsiteX99" fmla="*/ 4281800 w 4940931"/>
                <a:gd name="connsiteY99" fmla="*/ 80644 h 138429"/>
                <a:gd name="connsiteX100" fmla="*/ 4283070 w 4940931"/>
                <a:gd name="connsiteY100" fmla="*/ 70484 h 138429"/>
                <a:gd name="connsiteX101" fmla="*/ 4283705 w 4940931"/>
                <a:gd name="connsiteY101" fmla="*/ 69849 h 138429"/>
                <a:gd name="connsiteX102" fmla="*/ 4282435 w 4940931"/>
                <a:gd name="connsiteY102" fmla="*/ 59054 h 138429"/>
                <a:gd name="connsiteX103" fmla="*/ 4278625 w 4940931"/>
                <a:gd name="connsiteY103" fmla="*/ 50799 h 138429"/>
                <a:gd name="connsiteX104" fmla="*/ 4272275 w 4940931"/>
                <a:gd name="connsiteY104" fmla="*/ 45719 h 138429"/>
                <a:gd name="connsiteX105" fmla="*/ 4264020 w 4940931"/>
                <a:gd name="connsiteY105" fmla="*/ 43814 h 138429"/>
                <a:gd name="connsiteX106" fmla="*/ 1420495 w 4940931"/>
                <a:gd name="connsiteY106" fmla="*/ 43814 h 138429"/>
                <a:gd name="connsiteX107" fmla="*/ 1412875 w 4940931"/>
                <a:gd name="connsiteY107" fmla="*/ 45719 h 138429"/>
                <a:gd name="connsiteX108" fmla="*/ 1407160 w 4940931"/>
                <a:gd name="connsiteY108" fmla="*/ 50799 h 138429"/>
                <a:gd name="connsiteX109" fmla="*/ 1403350 w 4940931"/>
                <a:gd name="connsiteY109" fmla="*/ 59054 h 138429"/>
                <a:gd name="connsiteX110" fmla="*/ 1402080 w 4940931"/>
                <a:gd name="connsiteY110" fmla="*/ 69849 h 138429"/>
                <a:gd name="connsiteX111" fmla="*/ 1403350 w 4940931"/>
                <a:gd name="connsiteY111" fmla="*/ 81279 h 138429"/>
                <a:gd name="connsiteX112" fmla="*/ 1407160 w 4940931"/>
                <a:gd name="connsiteY112" fmla="*/ 89534 h 138429"/>
                <a:gd name="connsiteX113" fmla="*/ 1413510 w 4940931"/>
                <a:gd name="connsiteY113" fmla="*/ 94614 h 138429"/>
                <a:gd name="connsiteX114" fmla="*/ 1421130 w 4940931"/>
                <a:gd name="connsiteY114" fmla="*/ 96519 h 138429"/>
                <a:gd name="connsiteX115" fmla="*/ 1428750 w 4940931"/>
                <a:gd name="connsiteY115" fmla="*/ 94614 h 138429"/>
                <a:gd name="connsiteX116" fmla="*/ 1434465 w 4940931"/>
                <a:gd name="connsiteY116" fmla="*/ 88899 h 138429"/>
                <a:gd name="connsiteX117" fmla="*/ 1438275 w 4940931"/>
                <a:gd name="connsiteY117" fmla="*/ 80644 h 138429"/>
                <a:gd name="connsiteX118" fmla="*/ 1439545 w 4940931"/>
                <a:gd name="connsiteY118" fmla="*/ 70484 h 138429"/>
                <a:gd name="connsiteX119" fmla="*/ 1440180 w 4940931"/>
                <a:gd name="connsiteY119" fmla="*/ 69849 h 138429"/>
                <a:gd name="connsiteX120" fmla="*/ 1438910 w 4940931"/>
                <a:gd name="connsiteY120" fmla="*/ 59054 h 138429"/>
                <a:gd name="connsiteX121" fmla="*/ 1435100 w 4940931"/>
                <a:gd name="connsiteY121" fmla="*/ 50799 h 138429"/>
                <a:gd name="connsiteX122" fmla="*/ 1428750 w 4940931"/>
                <a:gd name="connsiteY122" fmla="*/ 45719 h 138429"/>
                <a:gd name="connsiteX123" fmla="*/ 1420495 w 4940931"/>
                <a:gd name="connsiteY123" fmla="*/ 43814 h 138429"/>
                <a:gd name="connsiteX124" fmla="*/ 4041770 w 4940931"/>
                <a:gd name="connsiteY124" fmla="*/ 43180 h 138429"/>
                <a:gd name="connsiteX125" fmla="*/ 4034785 w 4940931"/>
                <a:gd name="connsiteY125" fmla="*/ 44450 h 138429"/>
                <a:gd name="connsiteX126" fmla="*/ 4029705 w 4940931"/>
                <a:gd name="connsiteY126" fmla="*/ 48260 h 138429"/>
                <a:gd name="connsiteX127" fmla="*/ 4025895 w 4940931"/>
                <a:gd name="connsiteY127" fmla="*/ 54610 h 138429"/>
                <a:gd name="connsiteX128" fmla="*/ 4023990 w 4940931"/>
                <a:gd name="connsiteY128" fmla="*/ 62865 h 138429"/>
                <a:gd name="connsiteX129" fmla="*/ 4060185 w 4940931"/>
                <a:gd name="connsiteY129" fmla="*/ 62865 h 138429"/>
                <a:gd name="connsiteX130" fmla="*/ 4058915 w 4940931"/>
                <a:gd name="connsiteY130" fmla="*/ 55245 h 138429"/>
                <a:gd name="connsiteX131" fmla="*/ 4055740 w 4940931"/>
                <a:gd name="connsiteY131" fmla="*/ 48895 h 138429"/>
                <a:gd name="connsiteX132" fmla="*/ 4050025 w 4940931"/>
                <a:gd name="connsiteY132" fmla="*/ 44450 h 138429"/>
                <a:gd name="connsiteX133" fmla="*/ 4041770 w 4940931"/>
                <a:gd name="connsiteY133" fmla="*/ 43180 h 138429"/>
                <a:gd name="connsiteX134" fmla="*/ 3728081 w 4940931"/>
                <a:gd name="connsiteY134" fmla="*/ 43180 h 138429"/>
                <a:gd name="connsiteX135" fmla="*/ 3721096 w 4940931"/>
                <a:gd name="connsiteY135" fmla="*/ 44450 h 138429"/>
                <a:gd name="connsiteX136" fmla="*/ 3716016 w 4940931"/>
                <a:gd name="connsiteY136" fmla="*/ 48260 h 138429"/>
                <a:gd name="connsiteX137" fmla="*/ 3712206 w 4940931"/>
                <a:gd name="connsiteY137" fmla="*/ 54610 h 138429"/>
                <a:gd name="connsiteX138" fmla="*/ 3710301 w 4940931"/>
                <a:gd name="connsiteY138" fmla="*/ 62865 h 138429"/>
                <a:gd name="connsiteX139" fmla="*/ 3746496 w 4940931"/>
                <a:gd name="connsiteY139" fmla="*/ 62865 h 138429"/>
                <a:gd name="connsiteX140" fmla="*/ 3745226 w 4940931"/>
                <a:gd name="connsiteY140" fmla="*/ 55245 h 138429"/>
                <a:gd name="connsiteX141" fmla="*/ 3742051 w 4940931"/>
                <a:gd name="connsiteY141" fmla="*/ 48895 h 138429"/>
                <a:gd name="connsiteX142" fmla="*/ 3736336 w 4940931"/>
                <a:gd name="connsiteY142" fmla="*/ 44450 h 138429"/>
                <a:gd name="connsiteX143" fmla="*/ 3728081 w 4940931"/>
                <a:gd name="connsiteY143" fmla="*/ 43180 h 138429"/>
                <a:gd name="connsiteX144" fmla="*/ 3541391 w 4940931"/>
                <a:gd name="connsiteY144" fmla="*/ 43180 h 138429"/>
                <a:gd name="connsiteX145" fmla="*/ 3534406 w 4940931"/>
                <a:gd name="connsiteY145" fmla="*/ 44450 h 138429"/>
                <a:gd name="connsiteX146" fmla="*/ 3529326 w 4940931"/>
                <a:gd name="connsiteY146" fmla="*/ 48260 h 138429"/>
                <a:gd name="connsiteX147" fmla="*/ 3525516 w 4940931"/>
                <a:gd name="connsiteY147" fmla="*/ 54610 h 138429"/>
                <a:gd name="connsiteX148" fmla="*/ 3523611 w 4940931"/>
                <a:gd name="connsiteY148" fmla="*/ 62865 h 138429"/>
                <a:gd name="connsiteX149" fmla="*/ 3559806 w 4940931"/>
                <a:gd name="connsiteY149" fmla="*/ 62865 h 138429"/>
                <a:gd name="connsiteX150" fmla="*/ 3558536 w 4940931"/>
                <a:gd name="connsiteY150" fmla="*/ 55245 h 138429"/>
                <a:gd name="connsiteX151" fmla="*/ 3555361 w 4940931"/>
                <a:gd name="connsiteY151" fmla="*/ 48895 h 138429"/>
                <a:gd name="connsiteX152" fmla="*/ 3549646 w 4940931"/>
                <a:gd name="connsiteY152" fmla="*/ 44450 h 138429"/>
                <a:gd name="connsiteX153" fmla="*/ 3541391 w 4940931"/>
                <a:gd name="connsiteY153" fmla="*/ 43180 h 138429"/>
                <a:gd name="connsiteX154" fmla="*/ 3463285 w 4940931"/>
                <a:gd name="connsiteY154" fmla="*/ 43180 h 138429"/>
                <a:gd name="connsiteX155" fmla="*/ 3458205 w 4940931"/>
                <a:gd name="connsiteY155" fmla="*/ 43815 h 138429"/>
                <a:gd name="connsiteX156" fmla="*/ 3453125 w 4940931"/>
                <a:gd name="connsiteY156" fmla="*/ 45720 h 138429"/>
                <a:gd name="connsiteX157" fmla="*/ 3448680 w 4940931"/>
                <a:gd name="connsiteY157" fmla="*/ 48895 h 138429"/>
                <a:gd name="connsiteX158" fmla="*/ 3445505 w 4940931"/>
                <a:gd name="connsiteY158" fmla="*/ 52705 h 138429"/>
                <a:gd name="connsiteX159" fmla="*/ 3445505 w 4940931"/>
                <a:gd name="connsiteY159" fmla="*/ 85725 h 138429"/>
                <a:gd name="connsiteX160" fmla="*/ 3448680 w 4940931"/>
                <a:gd name="connsiteY160" fmla="*/ 89535 h 138429"/>
                <a:gd name="connsiteX161" fmla="*/ 3453125 w 4940931"/>
                <a:gd name="connsiteY161" fmla="*/ 92710 h 138429"/>
                <a:gd name="connsiteX162" fmla="*/ 3458205 w 4940931"/>
                <a:gd name="connsiteY162" fmla="*/ 95250 h 138429"/>
                <a:gd name="connsiteX163" fmla="*/ 3463920 w 4940931"/>
                <a:gd name="connsiteY163" fmla="*/ 95885 h 138429"/>
                <a:gd name="connsiteX164" fmla="*/ 3476620 w 4940931"/>
                <a:gd name="connsiteY164" fmla="*/ 89535 h 138429"/>
                <a:gd name="connsiteX165" fmla="*/ 3481065 w 4940931"/>
                <a:gd name="connsiteY165" fmla="*/ 71120 h 138429"/>
                <a:gd name="connsiteX166" fmla="*/ 3480430 w 4940931"/>
                <a:gd name="connsiteY166" fmla="*/ 71755 h 138429"/>
                <a:gd name="connsiteX167" fmla="*/ 3475985 w 4940931"/>
                <a:gd name="connsiteY167" fmla="*/ 50165 h 138429"/>
                <a:gd name="connsiteX168" fmla="*/ 3463285 w 4940931"/>
                <a:gd name="connsiteY168" fmla="*/ 43180 h 138429"/>
                <a:gd name="connsiteX169" fmla="*/ 3343271 w 4940931"/>
                <a:gd name="connsiteY169" fmla="*/ 43180 h 138429"/>
                <a:gd name="connsiteX170" fmla="*/ 3336286 w 4940931"/>
                <a:gd name="connsiteY170" fmla="*/ 44450 h 138429"/>
                <a:gd name="connsiteX171" fmla="*/ 3331206 w 4940931"/>
                <a:gd name="connsiteY171" fmla="*/ 48260 h 138429"/>
                <a:gd name="connsiteX172" fmla="*/ 3327396 w 4940931"/>
                <a:gd name="connsiteY172" fmla="*/ 54610 h 138429"/>
                <a:gd name="connsiteX173" fmla="*/ 3325491 w 4940931"/>
                <a:gd name="connsiteY173" fmla="*/ 62865 h 138429"/>
                <a:gd name="connsiteX174" fmla="*/ 3361686 w 4940931"/>
                <a:gd name="connsiteY174" fmla="*/ 62865 h 138429"/>
                <a:gd name="connsiteX175" fmla="*/ 3360416 w 4940931"/>
                <a:gd name="connsiteY175" fmla="*/ 55245 h 138429"/>
                <a:gd name="connsiteX176" fmla="*/ 3357241 w 4940931"/>
                <a:gd name="connsiteY176" fmla="*/ 48895 h 138429"/>
                <a:gd name="connsiteX177" fmla="*/ 3351526 w 4940931"/>
                <a:gd name="connsiteY177" fmla="*/ 44450 h 138429"/>
                <a:gd name="connsiteX178" fmla="*/ 3343271 w 4940931"/>
                <a:gd name="connsiteY178" fmla="*/ 43180 h 138429"/>
                <a:gd name="connsiteX179" fmla="*/ 2976876 w 4940931"/>
                <a:gd name="connsiteY179" fmla="*/ 43180 h 138429"/>
                <a:gd name="connsiteX180" fmla="*/ 2969891 w 4940931"/>
                <a:gd name="connsiteY180" fmla="*/ 44450 h 138429"/>
                <a:gd name="connsiteX181" fmla="*/ 2964811 w 4940931"/>
                <a:gd name="connsiteY181" fmla="*/ 48260 h 138429"/>
                <a:gd name="connsiteX182" fmla="*/ 2961001 w 4940931"/>
                <a:gd name="connsiteY182" fmla="*/ 54610 h 138429"/>
                <a:gd name="connsiteX183" fmla="*/ 2959096 w 4940931"/>
                <a:gd name="connsiteY183" fmla="*/ 62865 h 138429"/>
                <a:gd name="connsiteX184" fmla="*/ 2995291 w 4940931"/>
                <a:gd name="connsiteY184" fmla="*/ 62865 h 138429"/>
                <a:gd name="connsiteX185" fmla="*/ 2994021 w 4940931"/>
                <a:gd name="connsiteY185" fmla="*/ 55245 h 138429"/>
                <a:gd name="connsiteX186" fmla="*/ 2990846 w 4940931"/>
                <a:gd name="connsiteY186" fmla="*/ 48895 h 138429"/>
                <a:gd name="connsiteX187" fmla="*/ 2985131 w 4940931"/>
                <a:gd name="connsiteY187" fmla="*/ 44450 h 138429"/>
                <a:gd name="connsiteX188" fmla="*/ 2976876 w 4940931"/>
                <a:gd name="connsiteY188" fmla="*/ 43180 h 138429"/>
                <a:gd name="connsiteX189" fmla="*/ 2527930 w 4940931"/>
                <a:gd name="connsiteY189" fmla="*/ 43180 h 138429"/>
                <a:gd name="connsiteX190" fmla="*/ 2520945 w 4940931"/>
                <a:gd name="connsiteY190" fmla="*/ 44450 h 138429"/>
                <a:gd name="connsiteX191" fmla="*/ 2515865 w 4940931"/>
                <a:gd name="connsiteY191" fmla="*/ 48260 h 138429"/>
                <a:gd name="connsiteX192" fmla="*/ 2512055 w 4940931"/>
                <a:gd name="connsiteY192" fmla="*/ 54610 h 138429"/>
                <a:gd name="connsiteX193" fmla="*/ 2510150 w 4940931"/>
                <a:gd name="connsiteY193" fmla="*/ 62865 h 138429"/>
                <a:gd name="connsiteX194" fmla="*/ 2546345 w 4940931"/>
                <a:gd name="connsiteY194" fmla="*/ 62865 h 138429"/>
                <a:gd name="connsiteX195" fmla="*/ 2545075 w 4940931"/>
                <a:gd name="connsiteY195" fmla="*/ 55245 h 138429"/>
                <a:gd name="connsiteX196" fmla="*/ 2541900 w 4940931"/>
                <a:gd name="connsiteY196" fmla="*/ 48895 h 138429"/>
                <a:gd name="connsiteX197" fmla="*/ 2536185 w 4940931"/>
                <a:gd name="connsiteY197" fmla="*/ 44450 h 138429"/>
                <a:gd name="connsiteX198" fmla="*/ 2527930 w 4940931"/>
                <a:gd name="connsiteY198" fmla="*/ 43180 h 138429"/>
                <a:gd name="connsiteX199" fmla="*/ 2214240 w 4940931"/>
                <a:gd name="connsiteY199" fmla="*/ 43180 h 138429"/>
                <a:gd name="connsiteX200" fmla="*/ 2207255 w 4940931"/>
                <a:gd name="connsiteY200" fmla="*/ 44450 h 138429"/>
                <a:gd name="connsiteX201" fmla="*/ 2202175 w 4940931"/>
                <a:gd name="connsiteY201" fmla="*/ 48260 h 138429"/>
                <a:gd name="connsiteX202" fmla="*/ 2198365 w 4940931"/>
                <a:gd name="connsiteY202" fmla="*/ 54610 h 138429"/>
                <a:gd name="connsiteX203" fmla="*/ 2196460 w 4940931"/>
                <a:gd name="connsiteY203" fmla="*/ 62865 h 138429"/>
                <a:gd name="connsiteX204" fmla="*/ 2232655 w 4940931"/>
                <a:gd name="connsiteY204" fmla="*/ 62865 h 138429"/>
                <a:gd name="connsiteX205" fmla="*/ 2231385 w 4940931"/>
                <a:gd name="connsiteY205" fmla="*/ 55245 h 138429"/>
                <a:gd name="connsiteX206" fmla="*/ 2228210 w 4940931"/>
                <a:gd name="connsiteY206" fmla="*/ 48895 h 138429"/>
                <a:gd name="connsiteX207" fmla="*/ 2222495 w 4940931"/>
                <a:gd name="connsiteY207" fmla="*/ 44450 h 138429"/>
                <a:gd name="connsiteX208" fmla="*/ 2214240 w 4940931"/>
                <a:gd name="connsiteY208" fmla="*/ 43180 h 138429"/>
                <a:gd name="connsiteX209" fmla="*/ 2027551 w 4940931"/>
                <a:gd name="connsiteY209" fmla="*/ 43180 h 138429"/>
                <a:gd name="connsiteX210" fmla="*/ 2020566 w 4940931"/>
                <a:gd name="connsiteY210" fmla="*/ 44450 h 138429"/>
                <a:gd name="connsiteX211" fmla="*/ 2015486 w 4940931"/>
                <a:gd name="connsiteY211" fmla="*/ 48260 h 138429"/>
                <a:gd name="connsiteX212" fmla="*/ 2011676 w 4940931"/>
                <a:gd name="connsiteY212" fmla="*/ 54610 h 138429"/>
                <a:gd name="connsiteX213" fmla="*/ 2009771 w 4940931"/>
                <a:gd name="connsiteY213" fmla="*/ 62865 h 138429"/>
                <a:gd name="connsiteX214" fmla="*/ 2045966 w 4940931"/>
                <a:gd name="connsiteY214" fmla="*/ 62865 h 138429"/>
                <a:gd name="connsiteX215" fmla="*/ 2044696 w 4940931"/>
                <a:gd name="connsiteY215" fmla="*/ 55245 h 138429"/>
                <a:gd name="connsiteX216" fmla="*/ 2041521 w 4940931"/>
                <a:gd name="connsiteY216" fmla="*/ 48895 h 138429"/>
                <a:gd name="connsiteX217" fmla="*/ 2035806 w 4940931"/>
                <a:gd name="connsiteY217" fmla="*/ 44450 h 138429"/>
                <a:gd name="connsiteX218" fmla="*/ 2027551 w 4940931"/>
                <a:gd name="connsiteY218" fmla="*/ 43180 h 138429"/>
                <a:gd name="connsiteX219" fmla="*/ 1949445 w 4940931"/>
                <a:gd name="connsiteY219" fmla="*/ 43180 h 138429"/>
                <a:gd name="connsiteX220" fmla="*/ 1944365 w 4940931"/>
                <a:gd name="connsiteY220" fmla="*/ 43815 h 138429"/>
                <a:gd name="connsiteX221" fmla="*/ 1939285 w 4940931"/>
                <a:gd name="connsiteY221" fmla="*/ 45720 h 138429"/>
                <a:gd name="connsiteX222" fmla="*/ 1934840 w 4940931"/>
                <a:gd name="connsiteY222" fmla="*/ 48895 h 138429"/>
                <a:gd name="connsiteX223" fmla="*/ 1931665 w 4940931"/>
                <a:gd name="connsiteY223" fmla="*/ 52705 h 138429"/>
                <a:gd name="connsiteX224" fmla="*/ 1931665 w 4940931"/>
                <a:gd name="connsiteY224" fmla="*/ 85725 h 138429"/>
                <a:gd name="connsiteX225" fmla="*/ 1934840 w 4940931"/>
                <a:gd name="connsiteY225" fmla="*/ 89535 h 138429"/>
                <a:gd name="connsiteX226" fmla="*/ 1939285 w 4940931"/>
                <a:gd name="connsiteY226" fmla="*/ 92710 h 138429"/>
                <a:gd name="connsiteX227" fmla="*/ 1944365 w 4940931"/>
                <a:gd name="connsiteY227" fmla="*/ 95250 h 138429"/>
                <a:gd name="connsiteX228" fmla="*/ 1950080 w 4940931"/>
                <a:gd name="connsiteY228" fmla="*/ 95885 h 138429"/>
                <a:gd name="connsiteX229" fmla="*/ 1962780 w 4940931"/>
                <a:gd name="connsiteY229" fmla="*/ 89535 h 138429"/>
                <a:gd name="connsiteX230" fmla="*/ 1967225 w 4940931"/>
                <a:gd name="connsiteY230" fmla="*/ 71120 h 138429"/>
                <a:gd name="connsiteX231" fmla="*/ 1966590 w 4940931"/>
                <a:gd name="connsiteY231" fmla="*/ 71755 h 138429"/>
                <a:gd name="connsiteX232" fmla="*/ 1962145 w 4940931"/>
                <a:gd name="connsiteY232" fmla="*/ 50165 h 138429"/>
                <a:gd name="connsiteX233" fmla="*/ 1949445 w 4940931"/>
                <a:gd name="connsiteY233" fmla="*/ 43180 h 138429"/>
                <a:gd name="connsiteX234" fmla="*/ 1829431 w 4940931"/>
                <a:gd name="connsiteY234" fmla="*/ 43180 h 138429"/>
                <a:gd name="connsiteX235" fmla="*/ 1822446 w 4940931"/>
                <a:gd name="connsiteY235" fmla="*/ 44450 h 138429"/>
                <a:gd name="connsiteX236" fmla="*/ 1817366 w 4940931"/>
                <a:gd name="connsiteY236" fmla="*/ 48260 h 138429"/>
                <a:gd name="connsiteX237" fmla="*/ 1813556 w 4940931"/>
                <a:gd name="connsiteY237" fmla="*/ 54610 h 138429"/>
                <a:gd name="connsiteX238" fmla="*/ 1811651 w 4940931"/>
                <a:gd name="connsiteY238" fmla="*/ 62865 h 138429"/>
                <a:gd name="connsiteX239" fmla="*/ 1847846 w 4940931"/>
                <a:gd name="connsiteY239" fmla="*/ 62865 h 138429"/>
                <a:gd name="connsiteX240" fmla="*/ 1846576 w 4940931"/>
                <a:gd name="connsiteY240" fmla="*/ 55245 h 138429"/>
                <a:gd name="connsiteX241" fmla="*/ 1843401 w 4940931"/>
                <a:gd name="connsiteY241" fmla="*/ 48895 h 138429"/>
                <a:gd name="connsiteX242" fmla="*/ 1837686 w 4940931"/>
                <a:gd name="connsiteY242" fmla="*/ 44450 h 138429"/>
                <a:gd name="connsiteX243" fmla="*/ 1829431 w 4940931"/>
                <a:gd name="connsiteY243" fmla="*/ 43180 h 138429"/>
                <a:gd name="connsiteX244" fmla="*/ 1178561 w 4940931"/>
                <a:gd name="connsiteY244" fmla="*/ 43180 h 138429"/>
                <a:gd name="connsiteX245" fmla="*/ 1171576 w 4940931"/>
                <a:gd name="connsiteY245" fmla="*/ 44450 h 138429"/>
                <a:gd name="connsiteX246" fmla="*/ 1166496 w 4940931"/>
                <a:gd name="connsiteY246" fmla="*/ 48260 h 138429"/>
                <a:gd name="connsiteX247" fmla="*/ 1162686 w 4940931"/>
                <a:gd name="connsiteY247" fmla="*/ 54610 h 138429"/>
                <a:gd name="connsiteX248" fmla="*/ 1160781 w 4940931"/>
                <a:gd name="connsiteY248" fmla="*/ 62865 h 138429"/>
                <a:gd name="connsiteX249" fmla="*/ 1196976 w 4940931"/>
                <a:gd name="connsiteY249" fmla="*/ 62865 h 138429"/>
                <a:gd name="connsiteX250" fmla="*/ 1195706 w 4940931"/>
                <a:gd name="connsiteY250" fmla="*/ 55245 h 138429"/>
                <a:gd name="connsiteX251" fmla="*/ 1192531 w 4940931"/>
                <a:gd name="connsiteY251" fmla="*/ 48895 h 138429"/>
                <a:gd name="connsiteX252" fmla="*/ 1186816 w 4940931"/>
                <a:gd name="connsiteY252" fmla="*/ 44450 h 138429"/>
                <a:gd name="connsiteX253" fmla="*/ 1178561 w 4940931"/>
                <a:gd name="connsiteY253" fmla="*/ 43180 h 138429"/>
                <a:gd name="connsiteX254" fmla="*/ 898525 w 4940931"/>
                <a:gd name="connsiteY254" fmla="*/ 43180 h 138429"/>
                <a:gd name="connsiteX255" fmla="*/ 891540 w 4940931"/>
                <a:gd name="connsiteY255" fmla="*/ 44450 h 138429"/>
                <a:gd name="connsiteX256" fmla="*/ 886460 w 4940931"/>
                <a:gd name="connsiteY256" fmla="*/ 48260 h 138429"/>
                <a:gd name="connsiteX257" fmla="*/ 882650 w 4940931"/>
                <a:gd name="connsiteY257" fmla="*/ 54610 h 138429"/>
                <a:gd name="connsiteX258" fmla="*/ 880745 w 4940931"/>
                <a:gd name="connsiteY258" fmla="*/ 62865 h 138429"/>
                <a:gd name="connsiteX259" fmla="*/ 916940 w 4940931"/>
                <a:gd name="connsiteY259" fmla="*/ 62865 h 138429"/>
                <a:gd name="connsiteX260" fmla="*/ 915670 w 4940931"/>
                <a:gd name="connsiteY260" fmla="*/ 55245 h 138429"/>
                <a:gd name="connsiteX261" fmla="*/ 912495 w 4940931"/>
                <a:gd name="connsiteY261" fmla="*/ 48895 h 138429"/>
                <a:gd name="connsiteX262" fmla="*/ 906780 w 4940931"/>
                <a:gd name="connsiteY262" fmla="*/ 44450 h 138429"/>
                <a:gd name="connsiteX263" fmla="*/ 898525 w 4940931"/>
                <a:gd name="connsiteY263" fmla="*/ 43180 h 138429"/>
                <a:gd name="connsiteX264" fmla="*/ 584834 w 4940931"/>
                <a:gd name="connsiteY264" fmla="*/ 43180 h 138429"/>
                <a:gd name="connsiteX265" fmla="*/ 577849 w 4940931"/>
                <a:gd name="connsiteY265" fmla="*/ 44450 h 138429"/>
                <a:gd name="connsiteX266" fmla="*/ 572769 w 4940931"/>
                <a:gd name="connsiteY266" fmla="*/ 48260 h 138429"/>
                <a:gd name="connsiteX267" fmla="*/ 568959 w 4940931"/>
                <a:gd name="connsiteY267" fmla="*/ 54610 h 138429"/>
                <a:gd name="connsiteX268" fmla="*/ 567054 w 4940931"/>
                <a:gd name="connsiteY268" fmla="*/ 62865 h 138429"/>
                <a:gd name="connsiteX269" fmla="*/ 603249 w 4940931"/>
                <a:gd name="connsiteY269" fmla="*/ 62865 h 138429"/>
                <a:gd name="connsiteX270" fmla="*/ 601979 w 4940931"/>
                <a:gd name="connsiteY270" fmla="*/ 55245 h 138429"/>
                <a:gd name="connsiteX271" fmla="*/ 598804 w 4940931"/>
                <a:gd name="connsiteY271" fmla="*/ 48895 h 138429"/>
                <a:gd name="connsiteX272" fmla="*/ 593089 w 4940931"/>
                <a:gd name="connsiteY272" fmla="*/ 44450 h 138429"/>
                <a:gd name="connsiteX273" fmla="*/ 584834 w 4940931"/>
                <a:gd name="connsiteY273" fmla="*/ 43180 h 138429"/>
                <a:gd name="connsiteX274" fmla="*/ 398145 w 4940931"/>
                <a:gd name="connsiteY274" fmla="*/ 43180 h 138429"/>
                <a:gd name="connsiteX275" fmla="*/ 391160 w 4940931"/>
                <a:gd name="connsiteY275" fmla="*/ 44450 h 138429"/>
                <a:gd name="connsiteX276" fmla="*/ 386080 w 4940931"/>
                <a:gd name="connsiteY276" fmla="*/ 48260 h 138429"/>
                <a:gd name="connsiteX277" fmla="*/ 382270 w 4940931"/>
                <a:gd name="connsiteY277" fmla="*/ 54610 h 138429"/>
                <a:gd name="connsiteX278" fmla="*/ 380365 w 4940931"/>
                <a:gd name="connsiteY278" fmla="*/ 62865 h 138429"/>
                <a:gd name="connsiteX279" fmla="*/ 416560 w 4940931"/>
                <a:gd name="connsiteY279" fmla="*/ 62865 h 138429"/>
                <a:gd name="connsiteX280" fmla="*/ 415290 w 4940931"/>
                <a:gd name="connsiteY280" fmla="*/ 55245 h 138429"/>
                <a:gd name="connsiteX281" fmla="*/ 412115 w 4940931"/>
                <a:gd name="connsiteY281" fmla="*/ 48895 h 138429"/>
                <a:gd name="connsiteX282" fmla="*/ 406400 w 4940931"/>
                <a:gd name="connsiteY282" fmla="*/ 44450 h 138429"/>
                <a:gd name="connsiteX283" fmla="*/ 398145 w 4940931"/>
                <a:gd name="connsiteY283" fmla="*/ 43180 h 138429"/>
                <a:gd name="connsiteX284" fmla="*/ 320039 w 4940931"/>
                <a:gd name="connsiteY284" fmla="*/ 43180 h 138429"/>
                <a:gd name="connsiteX285" fmla="*/ 314959 w 4940931"/>
                <a:gd name="connsiteY285" fmla="*/ 43815 h 138429"/>
                <a:gd name="connsiteX286" fmla="*/ 309879 w 4940931"/>
                <a:gd name="connsiteY286" fmla="*/ 45720 h 138429"/>
                <a:gd name="connsiteX287" fmla="*/ 305434 w 4940931"/>
                <a:gd name="connsiteY287" fmla="*/ 48895 h 138429"/>
                <a:gd name="connsiteX288" fmla="*/ 302259 w 4940931"/>
                <a:gd name="connsiteY288" fmla="*/ 52705 h 138429"/>
                <a:gd name="connsiteX289" fmla="*/ 302259 w 4940931"/>
                <a:gd name="connsiteY289" fmla="*/ 85725 h 138429"/>
                <a:gd name="connsiteX290" fmla="*/ 305434 w 4940931"/>
                <a:gd name="connsiteY290" fmla="*/ 89535 h 138429"/>
                <a:gd name="connsiteX291" fmla="*/ 309879 w 4940931"/>
                <a:gd name="connsiteY291" fmla="*/ 92710 h 138429"/>
                <a:gd name="connsiteX292" fmla="*/ 314959 w 4940931"/>
                <a:gd name="connsiteY292" fmla="*/ 95250 h 138429"/>
                <a:gd name="connsiteX293" fmla="*/ 320674 w 4940931"/>
                <a:gd name="connsiteY293" fmla="*/ 95885 h 138429"/>
                <a:gd name="connsiteX294" fmla="*/ 333374 w 4940931"/>
                <a:gd name="connsiteY294" fmla="*/ 89535 h 138429"/>
                <a:gd name="connsiteX295" fmla="*/ 337819 w 4940931"/>
                <a:gd name="connsiteY295" fmla="*/ 71120 h 138429"/>
                <a:gd name="connsiteX296" fmla="*/ 337184 w 4940931"/>
                <a:gd name="connsiteY296" fmla="*/ 71755 h 138429"/>
                <a:gd name="connsiteX297" fmla="*/ 332739 w 4940931"/>
                <a:gd name="connsiteY297" fmla="*/ 50165 h 138429"/>
                <a:gd name="connsiteX298" fmla="*/ 320039 w 4940931"/>
                <a:gd name="connsiteY298" fmla="*/ 43180 h 138429"/>
                <a:gd name="connsiteX299" fmla="*/ 200025 w 4940931"/>
                <a:gd name="connsiteY299" fmla="*/ 43180 h 138429"/>
                <a:gd name="connsiteX300" fmla="*/ 193040 w 4940931"/>
                <a:gd name="connsiteY300" fmla="*/ 44450 h 138429"/>
                <a:gd name="connsiteX301" fmla="*/ 187960 w 4940931"/>
                <a:gd name="connsiteY301" fmla="*/ 48260 h 138429"/>
                <a:gd name="connsiteX302" fmla="*/ 184150 w 4940931"/>
                <a:gd name="connsiteY302" fmla="*/ 54610 h 138429"/>
                <a:gd name="connsiteX303" fmla="*/ 182245 w 4940931"/>
                <a:gd name="connsiteY303" fmla="*/ 62865 h 138429"/>
                <a:gd name="connsiteX304" fmla="*/ 218440 w 4940931"/>
                <a:gd name="connsiteY304" fmla="*/ 62865 h 138429"/>
                <a:gd name="connsiteX305" fmla="*/ 217170 w 4940931"/>
                <a:gd name="connsiteY305" fmla="*/ 55245 h 138429"/>
                <a:gd name="connsiteX306" fmla="*/ 213995 w 4940931"/>
                <a:gd name="connsiteY306" fmla="*/ 48895 h 138429"/>
                <a:gd name="connsiteX307" fmla="*/ 208280 w 4940931"/>
                <a:gd name="connsiteY307" fmla="*/ 44450 h 138429"/>
                <a:gd name="connsiteX308" fmla="*/ 200025 w 4940931"/>
                <a:gd name="connsiteY308" fmla="*/ 43180 h 138429"/>
                <a:gd name="connsiteX309" fmla="*/ 4439281 w 4940931"/>
                <a:gd name="connsiteY309" fmla="*/ 43179 h 138429"/>
                <a:gd name="connsiteX310" fmla="*/ 4426581 w 4940931"/>
                <a:gd name="connsiteY310" fmla="*/ 49529 h 138429"/>
                <a:gd name="connsiteX311" fmla="*/ 4422136 w 4940931"/>
                <a:gd name="connsiteY311" fmla="*/ 67944 h 138429"/>
                <a:gd name="connsiteX312" fmla="*/ 4423406 w 4940931"/>
                <a:gd name="connsiteY312" fmla="*/ 80644 h 138429"/>
                <a:gd name="connsiteX313" fmla="*/ 4426581 w 4940931"/>
                <a:gd name="connsiteY313" fmla="*/ 89534 h 138429"/>
                <a:gd name="connsiteX314" fmla="*/ 4432296 w 4940931"/>
                <a:gd name="connsiteY314" fmla="*/ 94614 h 138429"/>
                <a:gd name="connsiteX315" fmla="*/ 4439916 w 4940931"/>
                <a:gd name="connsiteY315" fmla="*/ 96519 h 138429"/>
                <a:gd name="connsiteX316" fmla="*/ 4444996 w 4940931"/>
                <a:gd name="connsiteY316" fmla="*/ 95884 h 138429"/>
                <a:gd name="connsiteX317" fmla="*/ 4450076 w 4940931"/>
                <a:gd name="connsiteY317" fmla="*/ 93344 h 138429"/>
                <a:gd name="connsiteX318" fmla="*/ 4454521 w 4940931"/>
                <a:gd name="connsiteY318" fmla="*/ 90169 h 138429"/>
                <a:gd name="connsiteX319" fmla="*/ 4457696 w 4940931"/>
                <a:gd name="connsiteY319" fmla="*/ 86359 h 138429"/>
                <a:gd name="connsiteX320" fmla="*/ 4457696 w 4940931"/>
                <a:gd name="connsiteY320" fmla="*/ 53339 h 138429"/>
                <a:gd name="connsiteX321" fmla="*/ 4454521 w 4940931"/>
                <a:gd name="connsiteY321" fmla="*/ 49529 h 138429"/>
                <a:gd name="connsiteX322" fmla="*/ 4450076 w 4940931"/>
                <a:gd name="connsiteY322" fmla="*/ 46354 h 138429"/>
                <a:gd name="connsiteX323" fmla="*/ 4444996 w 4940931"/>
                <a:gd name="connsiteY323" fmla="*/ 43814 h 138429"/>
                <a:gd name="connsiteX324" fmla="*/ 4439281 w 4940931"/>
                <a:gd name="connsiteY324" fmla="*/ 43179 h 138429"/>
                <a:gd name="connsiteX325" fmla="*/ 1014731 w 4940931"/>
                <a:gd name="connsiteY325" fmla="*/ 43179 h 138429"/>
                <a:gd name="connsiteX326" fmla="*/ 1002032 w 4940931"/>
                <a:gd name="connsiteY326" fmla="*/ 49529 h 138429"/>
                <a:gd name="connsiteX327" fmla="*/ 997587 w 4940931"/>
                <a:gd name="connsiteY327" fmla="*/ 67944 h 138429"/>
                <a:gd name="connsiteX328" fmla="*/ 1002032 w 4940931"/>
                <a:gd name="connsiteY328" fmla="*/ 88899 h 138429"/>
                <a:gd name="connsiteX329" fmla="*/ 1015367 w 4940931"/>
                <a:gd name="connsiteY329" fmla="*/ 95884 h 138429"/>
                <a:gd name="connsiteX330" fmla="*/ 1024891 w 4940931"/>
                <a:gd name="connsiteY330" fmla="*/ 93344 h 138429"/>
                <a:gd name="connsiteX331" fmla="*/ 1033147 w 4940931"/>
                <a:gd name="connsiteY331" fmla="*/ 86359 h 138429"/>
                <a:gd name="connsiteX332" fmla="*/ 1033147 w 4940931"/>
                <a:gd name="connsiteY332" fmla="*/ 53339 h 138429"/>
                <a:gd name="connsiteX333" fmla="*/ 1029971 w 4940931"/>
                <a:gd name="connsiteY333" fmla="*/ 49529 h 138429"/>
                <a:gd name="connsiteX334" fmla="*/ 1025526 w 4940931"/>
                <a:gd name="connsiteY334" fmla="*/ 46354 h 138429"/>
                <a:gd name="connsiteX335" fmla="*/ 1020446 w 4940931"/>
                <a:gd name="connsiteY335" fmla="*/ 43814 h 138429"/>
                <a:gd name="connsiteX336" fmla="*/ 1014731 w 4940931"/>
                <a:gd name="connsiteY336" fmla="*/ 43179 h 138429"/>
                <a:gd name="connsiteX337" fmla="*/ 4524370 w 4940931"/>
                <a:gd name="connsiteY337" fmla="*/ 31114 h 138429"/>
                <a:gd name="connsiteX338" fmla="*/ 4538975 w 4940931"/>
                <a:gd name="connsiteY338" fmla="*/ 31114 h 138429"/>
                <a:gd name="connsiteX339" fmla="*/ 4552310 w 4940931"/>
                <a:gd name="connsiteY339" fmla="*/ 84454 h 138429"/>
                <a:gd name="connsiteX340" fmla="*/ 4566915 w 4940931"/>
                <a:gd name="connsiteY340" fmla="*/ 31114 h 138429"/>
                <a:gd name="connsiteX341" fmla="*/ 4579615 w 4940931"/>
                <a:gd name="connsiteY341" fmla="*/ 31114 h 138429"/>
                <a:gd name="connsiteX342" fmla="*/ 4594220 w 4940931"/>
                <a:gd name="connsiteY342" fmla="*/ 84454 h 138429"/>
                <a:gd name="connsiteX343" fmla="*/ 4606920 w 4940931"/>
                <a:gd name="connsiteY343" fmla="*/ 31114 h 138429"/>
                <a:gd name="connsiteX344" fmla="*/ 4622160 w 4940931"/>
                <a:gd name="connsiteY344" fmla="*/ 31114 h 138429"/>
                <a:gd name="connsiteX345" fmla="*/ 4600570 w 4940931"/>
                <a:gd name="connsiteY345" fmla="*/ 108584 h 138429"/>
                <a:gd name="connsiteX346" fmla="*/ 4587235 w 4940931"/>
                <a:gd name="connsiteY346" fmla="*/ 108584 h 138429"/>
                <a:gd name="connsiteX347" fmla="*/ 4572630 w 4940931"/>
                <a:gd name="connsiteY347" fmla="*/ 54609 h 138429"/>
                <a:gd name="connsiteX348" fmla="*/ 4558660 w 4940931"/>
                <a:gd name="connsiteY348" fmla="*/ 108584 h 138429"/>
                <a:gd name="connsiteX349" fmla="*/ 4545325 w 4940931"/>
                <a:gd name="connsiteY349" fmla="*/ 108584 h 138429"/>
                <a:gd name="connsiteX350" fmla="*/ 4123686 w 4940931"/>
                <a:gd name="connsiteY350" fmla="*/ 31114 h 138429"/>
                <a:gd name="connsiteX351" fmla="*/ 4138926 w 4940931"/>
                <a:gd name="connsiteY351" fmla="*/ 31114 h 138429"/>
                <a:gd name="connsiteX352" fmla="*/ 4152261 w 4940931"/>
                <a:gd name="connsiteY352" fmla="*/ 84454 h 138429"/>
                <a:gd name="connsiteX353" fmla="*/ 4166866 w 4940931"/>
                <a:gd name="connsiteY353" fmla="*/ 31114 h 138429"/>
                <a:gd name="connsiteX354" fmla="*/ 4178931 w 4940931"/>
                <a:gd name="connsiteY354" fmla="*/ 31114 h 138429"/>
                <a:gd name="connsiteX355" fmla="*/ 4193536 w 4940931"/>
                <a:gd name="connsiteY355" fmla="*/ 84454 h 138429"/>
                <a:gd name="connsiteX356" fmla="*/ 4206871 w 4940931"/>
                <a:gd name="connsiteY356" fmla="*/ 31114 h 138429"/>
                <a:gd name="connsiteX357" fmla="*/ 4222111 w 4940931"/>
                <a:gd name="connsiteY357" fmla="*/ 31114 h 138429"/>
                <a:gd name="connsiteX358" fmla="*/ 4200521 w 4940931"/>
                <a:gd name="connsiteY358" fmla="*/ 108584 h 138429"/>
                <a:gd name="connsiteX359" fmla="*/ 4187186 w 4940931"/>
                <a:gd name="connsiteY359" fmla="*/ 108584 h 138429"/>
                <a:gd name="connsiteX360" fmla="*/ 4172581 w 4940931"/>
                <a:gd name="connsiteY360" fmla="*/ 54609 h 138429"/>
                <a:gd name="connsiteX361" fmla="*/ 4157976 w 4940931"/>
                <a:gd name="connsiteY361" fmla="*/ 108584 h 138429"/>
                <a:gd name="connsiteX362" fmla="*/ 4145276 w 4940931"/>
                <a:gd name="connsiteY362" fmla="*/ 108584 h 138429"/>
                <a:gd name="connsiteX363" fmla="*/ 2837811 w 4940931"/>
                <a:gd name="connsiteY363" fmla="*/ 31114 h 138429"/>
                <a:gd name="connsiteX364" fmla="*/ 2852416 w 4940931"/>
                <a:gd name="connsiteY364" fmla="*/ 31114 h 138429"/>
                <a:gd name="connsiteX365" fmla="*/ 2865751 w 4940931"/>
                <a:gd name="connsiteY365" fmla="*/ 84454 h 138429"/>
                <a:gd name="connsiteX366" fmla="*/ 2880356 w 4940931"/>
                <a:gd name="connsiteY366" fmla="*/ 31114 h 138429"/>
                <a:gd name="connsiteX367" fmla="*/ 2893056 w 4940931"/>
                <a:gd name="connsiteY367" fmla="*/ 31114 h 138429"/>
                <a:gd name="connsiteX368" fmla="*/ 2907661 w 4940931"/>
                <a:gd name="connsiteY368" fmla="*/ 84454 h 138429"/>
                <a:gd name="connsiteX369" fmla="*/ 2920361 w 4940931"/>
                <a:gd name="connsiteY369" fmla="*/ 31114 h 138429"/>
                <a:gd name="connsiteX370" fmla="*/ 2935601 w 4940931"/>
                <a:gd name="connsiteY370" fmla="*/ 31114 h 138429"/>
                <a:gd name="connsiteX371" fmla="*/ 2914011 w 4940931"/>
                <a:gd name="connsiteY371" fmla="*/ 108584 h 138429"/>
                <a:gd name="connsiteX372" fmla="*/ 2900676 w 4940931"/>
                <a:gd name="connsiteY372" fmla="*/ 108584 h 138429"/>
                <a:gd name="connsiteX373" fmla="*/ 2886706 w 4940931"/>
                <a:gd name="connsiteY373" fmla="*/ 54609 h 138429"/>
                <a:gd name="connsiteX374" fmla="*/ 2872101 w 4940931"/>
                <a:gd name="connsiteY374" fmla="*/ 108584 h 138429"/>
                <a:gd name="connsiteX375" fmla="*/ 2858766 w 4940931"/>
                <a:gd name="connsiteY375" fmla="*/ 108584 h 138429"/>
                <a:gd name="connsiteX376" fmla="*/ 1354455 w 4940931"/>
                <a:gd name="connsiteY376" fmla="*/ 31114 h 138429"/>
                <a:gd name="connsiteX377" fmla="*/ 1369695 w 4940931"/>
                <a:gd name="connsiteY377" fmla="*/ 31114 h 138429"/>
                <a:gd name="connsiteX378" fmla="*/ 1369695 w 4940931"/>
                <a:gd name="connsiteY378" fmla="*/ 109219 h 138429"/>
                <a:gd name="connsiteX379" fmla="*/ 1354455 w 4940931"/>
                <a:gd name="connsiteY379" fmla="*/ 109219 h 138429"/>
                <a:gd name="connsiteX380" fmla="*/ 2646040 w 4940931"/>
                <a:gd name="connsiteY380" fmla="*/ 29844 h 138429"/>
                <a:gd name="connsiteX381" fmla="*/ 2658105 w 4940931"/>
                <a:gd name="connsiteY381" fmla="*/ 31749 h 138429"/>
                <a:gd name="connsiteX382" fmla="*/ 2667630 w 4940931"/>
                <a:gd name="connsiteY382" fmla="*/ 36829 h 138429"/>
                <a:gd name="connsiteX383" fmla="*/ 2673345 w 4940931"/>
                <a:gd name="connsiteY383" fmla="*/ 45084 h 138429"/>
                <a:gd name="connsiteX384" fmla="*/ 2675250 w 4940931"/>
                <a:gd name="connsiteY384" fmla="*/ 56514 h 138429"/>
                <a:gd name="connsiteX385" fmla="*/ 2675250 w 4940931"/>
                <a:gd name="connsiteY385" fmla="*/ 109854 h 138429"/>
                <a:gd name="connsiteX386" fmla="*/ 2660010 w 4940931"/>
                <a:gd name="connsiteY386" fmla="*/ 109854 h 138429"/>
                <a:gd name="connsiteX387" fmla="*/ 2660010 w 4940931"/>
                <a:gd name="connsiteY387" fmla="*/ 108584 h 138429"/>
                <a:gd name="connsiteX388" fmla="*/ 2660010 w 4940931"/>
                <a:gd name="connsiteY388" fmla="*/ 100964 h 138429"/>
                <a:gd name="connsiteX389" fmla="*/ 2654930 w 4940931"/>
                <a:gd name="connsiteY389" fmla="*/ 104774 h 138429"/>
                <a:gd name="connsiteX390" fmla="*/ 2651120 w 4940931"/>
                <a:gd name="connsiteY390" fmla="*/ 107314 h 138429"/>
                <a:gd name="connsiteX391" fmla="*/ 2646040 w 4940931"/>
                <a:gd name="connsiteY391" fmla="*/ 109219 h 138429"/>
                <a:gd name="connsiteX392" fmla="*/ 2639055 w 4940931"/>
                <a:gd name="connsiteY392" fmla="*/ 109854 h 138429"/>
                <a:gd name="connsiteX393" fmla="*/ 2629530 w 4940931"/>
                <a:gd name="connsiteY393" fmla="*/ 108584 h 138429"/>
                <a:gd name="connsiteX394" fmla="*/ 2620640 w 4940931"/>
                <a:gd name="connsiteY394" fmla="*/ 104139 h 138429"/>
                <a:gd name="connsiteX395" fmla="*/ 2614290 w 4940931"/>
                <a:gd name="connsiteY395" fmla="*/ 95884 h 138429"/>
                <a:gd name="connsiteX396" fmla="*/ 2611750 w 4940931"/>
                <a:gd name="connsiteY396" fmla="*/ 83819 h 138429"/>
                <a:gd name="connsiteX397" fmla="*/ 2614290 w 4940931"/>
                <a:gd name="connsiteY397" fmla="*/ 72389 h 138429"/>
                <a:gd name="connsiteX398" fmla="*/ 2620640 w 4940931"/>
                <a:gd name="connsiteY398" fmla="*/ 64769 h 138429"/>
                <a:gd name="connsiteX399" fmla="*/ 2630800 w 4940931"/>
                <a:gd name="connsiteY399" fmla="*/ 60324 h 138429"/>
                <a:gd name="connsiteX400" fmla="*/ 2642865 w 4940931"/>
                <a:gd name="connsiteY400" fmla="*/ 59054 h 138429"/>
                <a:gd name="connsiteX401" fmla="*/ 2653025 w 4940931"/>
                <a:gd name="connsiteY401" fmla="*/ 59689 h 138429"/>
                <a:gd name="connsiteX402" fmla="*/ 2660010 w 4940931"/>
                <a:gd name="connsiteY402" fmla="*/ 61594 h 138429"/>
                <a:gd name="connsiteX403" fmla="*/ 2660010 w 4940931"/>
                <a:gd name="connsiteY403" fmla="*/ 55879 h 138429"/>
                <a:gd name="connsiteX404" fmla="*/ 2656200 w 4940931"/>
                <a:gd name="connsiteY404" fmla="*/ 46354 h 138429"/>
                <a:gd name="connsiteX405" fmla="*/ 2645405 w 4940931"/>
                <a:gd name="connsiteY405" fmla="*/ 43179 h 138429"/>
                <a:gd name="connsiteX406" fmla="*/ 2634610 w 4940931"/>
                <a:gd name="connsiteY406" fmla="*/ 44449 h 138429"/>
                <a:gd name="connsiteX407" fmla="*/ 2625085 w 4940931"/>
                <a:gd name="connsiteY407" fmla="*/ 48259 h 138429"/>
                <a:gd name="connsiteX408" fmla="*/ 2619370 w 4940931"/>
                <a:gd name="connsiteY408" fmla="*/ 36829 h 138429"/>
                <a:gd name="connsiteX409" fmla="*/ 2631435 w 4940931"/>
                <a:gd name="connsiteY409" fmla="*/ 31749 h 138429"/>
                <a:gd name="connsiteX410" fmla="*/ 2646040 w 4940931"/>
                <a:gd name="connsiteY410" fmla="*/ 29844 h 138429"/>
                <a:gd name="connsiteX411" fmla="*/ 1114426 w 4940931"/>
                <a:gd name="connsiteY411" fmla="*/ 29844 h 138429"/>
                <a:gd name="connsiteX412" fmla="*/ 1129666 w 4940931"/>
                <a:gd name="connsiteY412" fmla="*/ 29844 h 138429"/>
                <a:gd name="connsiteX413" fmla="*/ 1129666 w 4940931"/>
                <a:gd name="connsiteY413" fmla="*/ 107949 h 138429"/>
                <a:gd name="connsiteX414" fmla="*/ 1114426 w 4940931"/>
                <a:gd name="connsiteY414" fmla="*/ 107949 h 138429"/>
                <a:gd name="connsiteX415" fmla="*/ 1114426 w 4940931"/>
                <a:gd name="connsiteY415" fmla="*/ 100964 h 138429"/>
                <a:gd name="connsiteX416" fmla="*/ 1106171 w 4940931"/>
                <a:gd name="connsiteY416" fmla="*/ 107314 h 138429"/>
                <a:gd name="connsiteX417" fmla="*/ 1094741 w 4940931"/>
                <a:gd name="connsiteY417" fmla="*/ 109854 h 138429"/>
                <a:gd name="connsiteX418" fmla="*/ 1073786 w 4940931"/>
                <a:gd name="connsiteY418" fmla="*/ 100964 h 138429"/>
                <a:gd name="connsiteX419" fmla="*/ 1066800 w 4940931"/>
                <a:gd name="connsiteY419" fmla="*/ 74929 h 138429"/>
                <a:gd name="connsiteX420" fmla="*/ 1066800 w 4940931"/>
                <a:gd name="connsiteY420" fmla="*/ 30479 h 138429"/>
                <a:gd name="connsiteX421" fmla="*/ 1082040 w 4940931"/>
                <a:gd name="connsiteY421" fmla="*/ 30479 h 138429"/>
                <a:gd name="connsiteX422" fmla="*/ 1082040 w 4940931"/>
                <a:gd name="connsiteY422" fmla="*/ 74294 h 138429"/>
                <a:gd name="connsiteX423" fmla="*/ 1085851 w 4940931"/>
                <a:gd name="connsiteY423" fmla="*/ 90169 h 138429"/>
                <a:gd name="connsiteX424" fmla="*/ 1097916 w 4940931"/>
                <a:gd name="connsiteY424" fmla="*/ 95249 h 138429"/>
                <a:gd name="connsiteX425" fmla="*/ 1109981 w 4940931"/>
                <a:gd name="connsiteY425" fmla="*/ 90169 h 138429"/>
                <a:gd name="connsiteX426" fmla="*/ 1114426 w 4940931"/>
                <a:gd name="connsiteY426" fmla="*/ 75564 h 138429"/>
                <a:gd name="connsiteX427" fmla="*/ 1011556 w 4940931"/>
                <a:gd name="connsiteY427" fmla="*/ 29844 h 138429"/>
                <a:gd name="connsiteX428" fmla="*/ 1017272 w 4940931"/>
                <a:gd name="connsiteY428" fmla="*/ 30479 h 138429"/>
                <a:gd name="connsiteX429" fmla="*/ 1022352 w 4940931"/>
                <a:gd name="connsiteY429" fmla="*/ 32384 h 138429"/>
                <a:gd name="connsiteX430" fmla="*/ 1026797 w 4940931"/>
                <a:gd name="connsiteY430" fmla="*/ 35559 h 138429"/>
                <a:gd name="connsiteX431" fmla="*/ 1030607 w 4940931"/>
                <a:gd name="connsiteY431" fmla="*/ 38734 h 138429"/>
                <a:gd name="connsiteX432" fmla="*/ 1030607 w 4940931"/>
                <a:gd name="connsiteY432" fmla="*/ 31749 h 138429"/>
                <a:gd name="connsiteX433" fmla="*/ 1045847 w 4940931"/>
                <a:gd name="connsiteY433" fmla="*/ 31749 h 138429"/>
                <a:gd name="connsiteX434" fmla="*/ 1045847 w 4940931"/>
                <a:gd name="connsiteY434" fmla="*/ 130809 h 138429"/>
                <a:gd name="connsiteX435" fmla="*/ 1032512 w 4940931"/>
                <a:gd name="connsiteY435" fmla="*/ 137477 h 138429"/>
                <a:gd name="connsiteX436" fmla="*/ 1032512 w 4940931"/>
                <a:gd name="connsiteY436" fmla="*/ 101599 h 138429"/>
                <a:gd name="connsiteX437" fmla="*/ 1022986 w 4940931"/>
                <a:gd name="connsiteY437" fmla="*/ 107949 h 138429"/>
                <a:gd name="connsiteX438" fmla="*/ 1011556 w 4940931"/>
                <a:gd name="connsiteY438" fmla="*/ 110489 h 138429"/>
                <a:gd name="connsiteX439" fmla="*/ 999491 w 4940931"/>
                <a:gd name="connsiteY439" fmla="*/ 107949 h 138429"/>
                <a:gd name="connsiteX440" fmla="*/ 989966 w 4940931"/>
                <a:gd name="connsiteY440" fmla="*/ 100329 h 138429"/>
                <a:gd name="connsiteX441" fmla="*/ 983616 w 4940931"/>
                <a:gd name="connsiteY441" fmla="*/ 87629 h 138429"/>
                <a:gd name="connsiteX442" fmla="*/ 981076 w 4940931"/>
                <a:gd name="connsiteY442" fmla="*/ 68579 h 138429"/>
                <a:gd name="connsiteX443" fmla="*/ 983616 w 4940931"/>
                <a:gd name="connsiteY443" fmla="*/ 51434 h 138429"/>
                <a:gd name="connsiteX444" fmla="*/ 990601 w 4940931"/>
                <a:gd name="connsiteY444" fmla="*/ 39369 h 138429"/>
                <a:gd name="connsiteX445" fmla="*/ 1000126 w 4940931"/>
                <a:gd name="connsiteY445" fmla="*/ 32384 h 138429"/>
                <a:gd name="connsiteX446" fmla="*/ 1011556 w 4940931"/>
                <a:gd name="connsiteY446" fmla="*/ 29844 h 138429"/>
                <a:gd name="connsiteX447" fmla="*/ 4871716 w 4940931"/>
                <a:gd name="connsiteY447" fmla="*/ 29210 h 138429"/>
                <a:gd name="connsiteX448" fmla="*/ 4885686 w 4940931"/>
                <a:gd name="connsiteY448" fmla="*/ 31750 h 138429"/>
                <a:gd name="connsiteX449" fmla="*/ 4897751 w 4940931"/>
                <a:gd name="connsiteY449" fmla="*/ 38100 h 138429"/>
                <a:gd name="connsiteX450" fmla="*/ 4899021 w 4940931"/>
                <a:gd name="connsiteY450" fmla="*/ 38100 h 138429"/>
                <a:gd name="connsiteX451" fmla="*/ 4892036 w 4940931"/>
                <a:gd name="connsiteY451" fmla="*/ 50165 h 138429"/>
                <a:gd name="connsiteX452" fmla="*/ 4882511 w 4940931"/>
                <a:gd name="connsiteY452" fmla="*/ 45085 h 138429"/>
                <a:gd name="connsiteX453" fmla="*/ 4872351 w 4940931"/>
                <a:gd name="connsiteY453" fmla="*/ 43180 h 138429"/>
                <a:gd name="connsiteX454" fmla="*/ 4864096 w 4940931"/>
                <a:gd name="connsiteY454" fmla="*/ 45085 h 138429"/>
                <a:gd name="connsiteX455" fmla="*/ 4861556 w 4940931"/>
                <a:gd name="connsiteY455" fmla="*/ 50165 h 138429"/>
                <a:gd name="connsiteX456" fmla="*/ 4861556 w 4940931"/>
                <a:gd name="connsiteY456" fmla="*/ 52705 h 138429"/>
                <a:gd name="connsiteX457" fmla="*/ 4863461 w 4940931"/>
                <a:gd name="connsiteY457" fmla="*/ 55245 h 138429"/>
                <a:gd name="connsiteX458" fmla="*/ 4867906 w 4940931"/>
                <a:gd name="connsiteY458" fmla="*/ 57785 h 138429"/>
                <a:gd name="connsiteX459" fmla="*/ 4874891 w 4940931"/>
                <a:gd name="connsiteY459" fmla="*/ 60960 h 138429"/>
                <a:gd name="connsiteX460" fmla="*/ 4886321 w 4940931"/>
                <a:gd name="connsiteY460" fmla="*/ 66040 h 138429"/>
                <a:gd name="connsiteX461" fmla="*/ 4894576 w 4940931"/>
                <a:gd name="connsiteY461" fmla="*/ 71120 h 138429"/>
                <a:gd name="connsiteX462" fmla="*/ 4899656 w 4940931"/>
                <a:gd name="connsiteY462" fmla="*/ 78105 h 138429"/>
                <a:gd name="connsiteX463" fmla="*/ 4901561 w 4940931"/>
                <a:gd name="connsiteY463" fmla="*/ 87630 h 138429"/>
                <a:gd name="connsiteX464" fmla="*/ 4899021 w 4940931"/>
                <a:gd name="connsiteY464" fmla="*/ 98425 h 138429"/>
                <a:gd name="connsiteX465" fmla="*/ 4892671 w 4940931"/>
                <a:gd name="connsiteY465" fmla="*/ 105410 h 138429"/>
                <a:gd name="connsiteX466" fmla="*/ 4883146 w 4940931"/>
                <a:gd name="connsiteY466" fmla="*/ 109220 h 138429"/>
                <a:gd name="connsiteX467" fmla="*/ 4872351 w 4940931"/>
                <a:gd name="connsiteY467" fmla="*/ 110490 h 138429"/>
                <a:gd name="connsiteX468" fmla="*/ 4857111 w 4940931"/>
                <a:gd name="connsiteY468" fmla="*/ 107950 h 138429"/>
                <a:gd name="connsiteX469" fmla="*/ 4842506 w 4940931"/>
                <a:gd name="connsiteY469" fmla="*/ 100965 h 138429"/>
                <a:gd name="connsiteX470" fmla="*/ 4849491 w 4940931"/>
                <a:gd name="connsiteY470" fmla="*/ 89535 h 138429"/>
                <a:gd name="connsiteX471" fmla="*/ 4860921 w 4940931"/>
                <a:gd name="connsiteY471" fmla="*/ 95250 h 138429"/>
                <a:gd name="connsiteX472" fmla="*/ 4872351 w 4940931"/>
                <a:gd name="connsiteY472" fmla="*/ 97155 h 138429"/>
                <a:gd name="connsiteX473" fmla="*/ 4883146 w 4940931"/>
                <a:gd name="connsiteY473" fmla="*/ 94615 h 138429"/>
                <a:gd name="connsiteX474" fmla="*/ 4886321 w 4940931"/>
                <a:gd name="connsiteY474" fmla="*/ 88265 h 138429"/>
                <a:gd name="connsiteX475" fmla="*/ 4885051 w 4940931"/>
                <a:gd name="connsiteY475" fmla="*/ 84455 h 138429"/>
                <a:gd name="connsiteX476" fmla="*/ 4881241 w 4940931"/>
                <a:gd name="connsiteY476" fmla="*/ 81280 h 138429"/>
                <a:gd name="connsiteX477" fmla="*/ 4875526 w 4940931"/>
                <a:gd name="connsiteY477" fmla="*/ 78105 h 138429"/>
                <a:gd name="connsiteX478" fmla="*/ 4867906 w 4940931"/>
                <a:gd name="connsiteY478" fmla="*/ 74930 h 138429"/>
                <a:gd name="connsiteX479" fmla="*/ 4857111 w 4940931"/>
                <a:gd name="connsiteY479" fmla="*/ 69850 h 138429"/>
                <a:gd name="connsiteX480" fmla="*/ 4850126 w 4940931"/>
                <a:gd name="connsiteY480" fmla="*/ 64770 h 138429"/>
                <a:gd name="connsiteX481" fmla="*/ 4846316 w 4940931"/>
                <a:gd name="connsiteY481" fmla="*/ 58420 h 138429"/>
                <a:gd name="connsiteX482" fmla="*/ 4845046 w 4940931"/>
                <a:gd name="connsiteY482" fmla="*/ 50165 h 138429"/>
                <a:gd name="connsiteX483" fmla="*/ 4846951 w 4940931"/>
                <a:gd name="connsiteY483" fmla="*/ 40640 h 138429"/>
                <a:gd name="connsiteX484" fmla="*/ 4852666 w 4940931"/>
                <a:gd name="connsiteY484" fmla="*/ 34290 h 138429"/>
                <a:gd name="connsiteX485" fmla="*/ 4860921 w 4940931"/>
                <a:gd name="connsiteY485" fmla="*/ 30480 h 138429"/>
                <a:gd name="connsiteX486" fmla="*/ 4871716 w 4940931"/>
                <a:gd name="connsiteY486" fmla="*/ 29210 h 138429"/>
                <a:gd name="connsiteX487" fmla="*/ 4749796 w 4940931"/>
                <a:gd name="connsiteY487" fmla="*/ 29210 h 138429"/>
                <a:gd name="connsiteX488" fmla="*/ 4757416 w 4940931"/>
                <a:gd name="connsiteY488" fmla="*/ 29845 h 138429"/>
                <a:gd name="connsiteX489" fmla="*/ 4763131 w 4940931"/>
                <a:gd name="connsiteY489" fmla="*/ 32385 h 138429"/>
                <a:gd name="connsiteX490" fmla="*/ 4759321 w 4940931"/>
                <a:gd name="connsiteY490" fmla="*/ 46990 h 138429"/>
                <a:gd name="connsiteX491" fmla="*/ 4758051 w 4940931"/>
                <a:gd name="connsiteY491" fmla="*/ 46990 h 138429"/>
                <a:gd name="connsiteX492" fmla="*/ 4752971 w 4940931"/>
                <a:gd name="connsiteY492" fmla="*/ 45085 h 138429"/>
                <a:gd name="connsiteX493" fmla="*/ 4746621 w 4940931"/>
                <a:gd name="connsiteY493" fmla="*/ 44450 h 138429"/>
                <a:gd name="connsiteX494" fmla="*/ 4735191 w 4940931"/>
                <a:gd name="connsiteY494" fmla="*/ 49530 h 138429"/>
                <a:gd name="connsiteX495" fmla="*/ 4731381 w 4940931"/>
                <a:gd name="connsiteY495" fmla="*/ 64770 h 138429"/>
                <a:gd name="connsiteX496" fmla="*/ 4731381 w 4940931"/>
                <a:gd name="connsiteY496" fmla="*/ 109220 h 138429"/>
                <a:gd name="connsiteX497" fmla="*/ 4716141 w 4940931"/>
                <a:gd name="connsiteY497" fmla="*/ 109220 h 138429"/>
                <a:gd name="connsiteX498" fmla="*/ 4716141 w 4940931"/>
                <a:gd name="connsiteY498" fmla="*/ 31115 h 138429"/>
                <a:gd name="connsiteX499" fmla="*/ 4731381 w 4940931"/>
                <a:gd name="connsiteY499" fmla="*/ 31115 h 138429"/>
                <a:gd name="connsiteX500" fmla="*/ 4731381 w 4940931"/>
                <a:gd name="connsiteY500" fmla="*/ 38735 h 138429"/>
                <a:gd name="connsiteX501" fmla="*/ 4734556 w 4940931"/>
                <a:gd name="connsiteY501" fmla="*/ 34925 h 138429"/>
                <a:gd name="connsiteX502" fmla="*/ 4739001 w 4940931"/>
                <a:gd name="connsiteY502" fmla="*/ 31750 h 138429"/>
                <a:gd name="connsiteX503" fmla="*/ 4744081 w 4940931"/>
                <a:gd name="connsiteY503" fmla="*/ 29845 h 138429"/>
                <a:gd name="connsiteX504" fmla="*/ 4749796 w 4940931"/>
                <a:gd name="connsiteY504" fmla="*/ 29210 h 138429"/>
                <a:gd name="connsiteX505" fmla="*/ 4349110 w 4940931"/>
                <a:gd name="connsiteY505" fmla="*/ 29210 h 138429"/>
                <a:gd name="connsiteX506" fmla="*/ 4356730 w 4940931"/>
                <a:gd name="connsiteY506" fmla="*/ 29845 h 138429"/>
                <a:gd name="connsiteX507" fmla="*/ 4362445 w 4940931"/>
                <a:gd name="connsiteY507" fmla="*/ 32385 h 138429"/>
                <a:gd name="connsiteX508" fmla="*/ 4358635 w 4940931"/>
                <a:gd name="connsiteY508" fmla="*/ 46990 h 138429"/>
                <a:gd name="connsiteX509" fmla="*/ 4357365 w 4940931"/>
                <a:gd name="connsiteY509" fmla="*/ 46990 h 138429"/>
                <a:gd name="connsiteX510" fmla="*/ 4352285 w 4940931"/>
                <a:gd name="connsiteY510" fmla="*/ 45085 h 138429"/>
                <a:gd name="connsiteX511" fmla="*/ 4345935 w 4940931"/>
                <a:gd name="connsiteY511" fmla="*/ 44450 h 138429"/>
                <a:gd name="connsiteX512" fmla="*/ 4334505 w 4940931"/>
                <a:gd name="connsiteY512" fmla="*/ 49530 h 138429"/>
                <a:gd name="connsiteX513" fmla="*/ 4330695 w 4940931"/>
                <a:gd name="connsiteY513" fmla="*/ 64770 h 138429"/>
                <a:gd name="connsiteX514" fmla="*/ 4330695 w 4940931"/>
                <a:gd name="connsiteY514" fmla="*/ 109220 h 138429"/>
                <a:gd name="connsiteX515" fmla="*/ 4315455 w 4940931"/>
                <a:gd name="connsiteY515" fmla="*/ 109220 h 138429"/>
                <a:gd name="connsiteX516" fmla="*/ 4315455 w 4940931"/>
                <a:gd name="connsiteY516" fmla="*/ 31115 h 138429"/>
                <a:gd name="connsiteX517" fmla="*/ 4330695 w 4940931"/>
                <a:gd name="connsiteY517" fmla="*/ 31115 h 138429"/>
                <a:gd name="connsiteX518" fmla="*/ 4330695 w 4940931"/>
                <a:gd name="connsiteY518" fmla="*/ 38735 h 138429"/>
                <a:gd name="connsiteX519" fmla="*/ 4333870 w 4940931"/>
                <a:gd name="connsiteY519" fmla="*/ 34925 h 138429"/>
                <a:gd name="connsiteX520" fmla="*/ 4338315 w 4940931"/>
                <a:gd name="connsiteY520" fmla="*/ 31750 h 138429"/>
                <a:gd name="connsiteX521" fmla="*/ 4343395 w 4940931"/>
                <a:gd name="connsiteY521" fmla="*/ 29845 h 138429"/>
                <a:gd name="connsiteX522" fmla="*/ 4349110 w 4940931"/>
                <a:gd name="connsiteY522" fmla="*/ 29210 h 138429"/>
                <a:gd name="connsiteX523" fmla="*/ 4044310 w 4940931"/>
                <a:gd name="connsiteY523" fmla="*/ 29210 h 138429"/>
                <a:gd name="connsiteX524" fmla="*/ 4058915 w 4940931"/>
                <a:gd name="connsiteY524" fmla="*/ 32385 h 138429"/>
                <a:gd name="connsiteX525" fmla="*/ 4069075 w 4940931"/>
                <a:gd name="connsiteY525" fmla="*/ 40640 h 138429"/>
                <a:gd name="connsiteX526" fmla="*/ 4075425 w 4940931"/>
                <a:gd name="connsiteY526" fmla="*/ 53340 h 138429"/>
                <a:gd name="connsiteX527" fmla="*/ 4077330 w 4940931"/>
                <a:gd name="connsiteY527" fmla="*/ 68580 h 138429"/>
                <a:gd name="connsiteX528" fmla="*/ 4076060 w 4940931"/>
                <a:gd name="connsiteY528" fmla="*/ 68580 h 138429"/>
                <a:gd name="connsiteX529" fmla="*/ 4076060 w 4940931"/>
                <a:gd name="connsiteY529" fmla="*/ 72390 h 138429"/>
                <a:gd name="connsiteX530" fmla="*/ 4076060 w 4940931"/>
                <a:gd name="connsiteY530" fmla="*/ 75565 h 138429"/>
                <a:gd name="connsiteX531" fmla="*/ 4024625 w 4940931"/>
                <a:gd name="connsiteY531" fmla="*/ 75565 h 138429"/>
                <a:gd name="connsiteX532" fmla="*/ 4027165 w 4940931"/>
                <a:gd name="connsiteY532" fmla="*/ 85090 h 138429"/>
                <a:gd name="connsiteX533" fmla="*/ 4031610 w 4940931"/>
                <a:gd name="connsiteY533" fmla="*/ 91440 h 138429"/>
                <a:gd name="connsiteX534" fmla="*/ 4037325 w 4940931"/>
                <a:gd name="connsiteY534" fmla="*/ 95250 h 138429"/>
                <a:gd name="connsiteX535" fmla="*/ 4044310 w 4940931"/>
                <a:gd name="connsiteY535" fmla="*/ 96520 h 138429"/>
                <a:gd name="connsiteX536" fmla="*/ 4049390 w 4940931"/>
                <a:gd name="connsiteY536" fmla="*/ 96520 h 138429"/>
                <a:gd name="connsiteX537" fmla="*/ 4053835 w 4940931"/>
                <a:gd name="connsiteY537" fmla="*/ 95250 h 138429"/>
                <a:gd name="connsiteX538" fmla="*/ 4057645 w 4940931"/>
                <a:gd name="connsiteY538" fmla="*/ 93345 h 138429"/>
                <a:gd name="connsiteX539" fmla="*/ 4062090 w 4940931"/>
                <a:gd name="connsiteY539" fmla="*/ 90805 h 138429"/>
                <a:gd name="connsiteX540" fmla="*/ 4070980 w 4940931"/>
                <a:gd name="connsiteY540" fmla="*/ 100330 h 138429"/>
                <a:gd name="connsiteX541" fmla="*/ 4065265 w 4940931"/>
                <a:gd name="connsiteY541" fmla="*/ 104775 h 138429"/>
                <a:gd name="connsiteX542" fmla="*/ 4059550 w 4940931"/>
                <a:gd name="connsiteY542" fmla="*/ 107950 h 138429"/>
                <a:gd name="connsiteX543" fmla="*/ 4052565 w 4940931"/>
                <a:gd name="connsiteY543" fmla="*/ 109855 h 138429"/>
                <a:gd name="connsiteX544" fmla="*/ 4043675 w 4940931"/>
                <a:gd name="connsiteY544" fmla="*/ 110490 h 138429"/>
                <a:gd name="connsiteX545" fmla="*/ 4034150 w 4940931"/>
                <a:gd name="connsiteY545" fmla="*/ 109220 h 138429"/>
                <a:gd name="connsiteX546" fmla="*/ 4026530 w 4940931"/>
                <a:gd name="connsiteY546" fmla="*/ 105410 h 138429"/>
                <a:gd name="connsiteX547" fmla="*/ 4020180 w 4940931"/>
                <a:gd name="connsiteY547" fmla="*/ 100330 h 138429"/>
                <a:gd name="connsiteX548" fmla="*/ 4015100 w 4940931"/>
                <a:gd name="connsiteY548" fmla="*/ 92710 h 138429"/>
                <a:gd name="connsiteX549" fmla="*/ 4011290 w 4940931"/>
                <a:gd name="connsiteY549" fmla="*/ 82550 h 138429"/>
                <a:gd name="connsiteX550" fmla="*/ 4010020 w 4940931"/>
                <a:gd name="connsiteY550" fmla="*/ 69850 h 138429"/>
                <a:gd name="connsiteX551" fmla="*/ 4012560 w 4940931"/>
                <a:gd name="connsiteY551" fmla="*/ 52070 h 138429"/>
                <a:gd name="connsiteX552" fmla="*/ 4019545 w 4940931"/>
                <a:gd name="connsiteY552" fmla="*/ 39370 h 138429"/>
                <a:gd name="connsiteX553" fmla="*/ 4030340 w 4940931"/>
                <a:gd name="connsiteY553" fmla="*/ 31750 h 138429"/>
                <a:gd name="connsiteX554" fmla="*/ 4044310 w 4940931"/>
                <a:gd name="connsiteY554" fmla="*/ 29210 h 138429"/>
                <a:gd name="connsiteX555" fmla="*/ 3811900 w 4940931"/>
                <a:gd name="connsiteY555" fmla="*/ 29210 h 138429"/>
                <a:gd name="connsiteX556" fmla="*/ 3819520 w 4940931"/>
                <a:gd name="connsiteY556" fmla="*/ 29845 h 138429"/>
                <a:gd name="connsiteX557" fmla="*/ 3825235 w 4940931"/>
                <a:gd name="connsiteY557" fmla="*/ 32385 h 138429"/>
                <a:gd name="connsiteX558" fmla="*/ 3821425 w 4940931"/>
                <a:gd name="connsiteY558" fmla="*/ 46990 h 138429"/>
                <a:gd name="connsiteX559" fmla="*/ 3820155 w 4940931"/>
                <a:gd name="connsiteY559" fmla="*/ 46990 h 138429"/>
                <a:gd name="connsiteX560" fmla="*/ 3815075 w 4940931"/>
                <a:gd name="connsiteY560" fmla="*/ 45085 h 138429"/>
                <a:gd name="connsiteX561" fmla="*/ 3808725 w 4940931"/>
                <a:gd name="connsiteY561" fmla="*/ 44450 h 138429"/>
                <a:gd name="connsiteX562" fmla="*/ 3797295 w 4940931"/>
                <a:gd name="connsiteY562" fmla="*/ 49530 h 138429"/>
                <a:gd name="connsiteX563" fmla="*/ 3793485 w 4940931"/>
                <a:gd name="connsiteY563" fmla="*/ 64770 h 138429"/>
                <a:gd name="connsiteX564" fmla="*/ 3793485 w 4940931"/>
                <a:gd name="connsiteY564" fmla="*/ 109220 h 138429"/>
                <a:gd name="connsiteX565" fmla="*/ 3778245 w 4940931"/>
                <a:gd name="connsiteY565" fmla="*/ 109220 h 138429"/>
                <a:gd name="connsiteX566" fmla="*/ 3778245 w 4940931"/>
                <a:gd name="connsiteY566" fmla="*/ 31115 h 138429"/>
                <a:gd name="connsiteX567" fmla="*/ 3793485 w 4940931"/>
                <a:gd name="connsiteY567" fmla="*/ 31115 h 138429"/>
                <a:gd name="connsiteX568" fmla="*/ 3793485 w 4940931"/>
                <a:gd name="connsiteY568" fmla="*/ 38735 h 138429"/>
                <a:gd name="connsiteX569" fmla="*/ 3796660 w 4940931"/>
                <a:gd name="connsiteY569" fmla="*/ 34925 h 138429"/>
                <a:gd name="connsiteX570" fmla="*/ 3801105 w 4940931"/>
                <a:gd name="connsiteY570" fmla="*/ 31750 h 138429"/>
                <a:gd name="connsiteX571" fmla="*/ 3806185 w 4940931"/>
                <a:gd name="connsiteY571" fmla="*/ 29845 h 138429"/>
                <a:gd name="connsiteX572" fmla="*/ 3811900 w 4940931"/>
                <a:gd name="connsiteY572" fmla="*/ 29210 h 138429"/>
                <a:gd name="connsiteX573" fmla="*/ 3729986 w 4940931"/>
                <a:gd name="connsiteY573" fmla="*/ 29210 h 138429"/>
                <a:gd name="connsiteX574" fmla="*/ 3744591 w 4940931"/>
                <a:gd name="connsiteY574" fmla="*/ 32385 h 138429"/>
                <a:gd name="connsiteX575" fmla="*/ 3754751 w 4940931"/>
                <a:gd name="connsiteY575" fmla="*/ 40640 h 138429"/>
                <a:gd name="connsiteX576" fmla="*/ 3761101 w 4940931"/>
                <a:gd name="connsiteY576" fmla="*/ 53340 h 138429"/>
                <a:gd name="connsiteX577" fmla="*/ 3763006 w 4940931"/>
                <a:gd name="connsiteY577" fmla="*/ 68580 h 138429"/>
                <a:gd name="connsiteX578" fmla="*/ 3761736 w 4940931"/>
                <a:gd name="connsiteY578" fmla="*/ 68580 h 138429"/>
                <a:gd name="connsiteX579" fmla="*/ 3761736 w 4940931"/>
                <a:gd name="connsiteY579" fmla="*/ 72390 h 138429"/>
                <a:gd name="connsiteX580" fmla="*/ 3761736 w 4940931"/>
                <a:gd name="connsiteY580" fmla="*/ 75565 h 138429"/>
                <a:gd name="connsiteX581" fmla="*/ 3710301 w 4940931"/>
                <a:gd name="connsiteY581" fmla="*/ 75565 h 138429"/>
                <a:gd name="connsiteX582" fmla="*/ 3712841 w 4940931"/>
                <a:gd name="connsiteY582" fmla="*/ 85090 h 138429"/>
                <a:gd name="connsiteX583" fmla="*/ 3717286 w 4940931"/>
                <a:gd name="connsiteY583" fmla="*/ 91440 h 138429"/>
                <a:gd name="connsiteX584" fmla="*/ 3723001 w 4940931"/>
                <a:gd name="connsiteY584" fmla="*/ 95250 h 138429"/>
                <a:gd name="connsiteX585" fmla="*/ 3729986 w 4940931"/>
                <a:gd name="connsiteY585" fmla="*/ 96520 h 138429"/>
                <a:gd name="connsiteX586" fmla="*/ 3735066 w 4940931"/>
                <a:gd name="connsiteY586" fmla="*/ 96520 h 138429"/>
                <a:gd name="connsiteX587" fmla="*/ 3739511 w 4940931"/>
                <a:gd name="connsiteY587" fmla="*/ 95250 h 138429"/>
                <a:gd name="connsiteX588" fmla="*/ 3743321 w 4940931"/>
                <a:gd name="connsiteY588" fmla="*/ 93345 h 138429"/>
                <a:gd name="connsiteX589" fmla="*/ 3747766 w 4940931"/>
                <a:gd name="connsiteY589" fmla="*/ 90805 h 138429"/>
                <a:gd name="connsiteX590" fmla="*/ 3756656 w 4940931"/>
                <a:gd name="connsiteY590" fmla="*/ 100330 h 138429"/>
                <a:gd name="connsiteX591" fmla="*/ 3750941 w 4940931"/>
                <a:gd name="connsiteY591" fmla="*/ 104775 h 138429"/>
                <a:gd name="connsiteX592" fmla="*/ 3745226 w 4940931"/>
                <a:gd name="connsiteY592" fmla="*/ 107950 h 138429"/>
                <a:gd name="connsiteX593" fmla="*/ 3738241 w 4940931"/>
                <a:gd name="connsiteY593" fmla="*/ 109855 h 138429"/>
                <a:gd name="connsiteX594" fmla="*/ 3729351 w 4940931"/>
                <a:gd name="connsiteY594" fmla="*/ 110490 h 138429"/>
                <a:gd name="connsiteX595" fmla="*/ 3719826 w 4940931"/>
                <a:gd name="connsiteY595" fmla="*/ 109220 h 138429"/>
                <a:gd name="connsiteX596" fmla="*/ 3712206 w 4940931"/>
                <a:gd name="connsiteY596" fmla="*/ 105410 h 138429"/>
                <a:gd name="connsiteX597" fmla="*/ 3705856 w 4940931"/>
                <a:gd name="connsiteY597" fmla="*/ 100330 h 138429"/>
                <a:gd name="connsiteX598" fmla="*/ 3700776 w 4940931"/>
                <a:gd name="connsiteY598" fmla="*/ 92710 h 138429"/>
                <a:gd name="connsiteX599" fmla="*/ 3696966 w 4940931"/>
                <a:gd name="connsiteY599" fmla="*/ 82550 h 138429"/>
                <a:gd name="connsiteX600" fmla="*/ 3695696 w 4940931"/>
                <a:gd name="connsiteY600" fmla="*/ 69850 h 138429"/>
                <a:gd name="connsiteX601" fmla="*/ 3698236 w 4940931"/>
                <a:gd name="connsiteY601" fmla="*/ 52070 h 138429"/>
                <a:gd name="connsiteX602" fmla="*/ 3705221 w 4940931"/>
                <a:gd name="connsiteY602" fmla="*/ 39370 h 138429"/>
                <a:gd name="connsiteX603" fmla="*/ 3716016 w 4940931"/>
                <a:gd name="connsiteY603" fmla="*/ 31750 h 138429"/>
                <a:gd name="connsiteX604" fmla="*/ 3729986 w 4940931"/>
                <a:gd name="connsiteY604" fmla="*/ 29210 h 138429"/>
                <a:gd name="connsiteX605" fmla="*/ 3543296 w 4940931"/>
                <a:gd name="connsiteY605" fmla="*/ 29210 h 138429"/>
                <a:gd name="connsiteX606" fmla="*/ 3557901 w 4940931"/>
                <a:gd name="connsiteY606" fmla="*/ 32385 h 138429"/>
                <a:gd name="connsiteX607" fmla="*/ 3568061 w 4940931"/>
                <a:gd name="connsiteY607" fmla="*/ 40640 h 138429"/>
                <a:gd name="connsiteX608" fmla="*/ 3574411 w 4940931"/>
                <a:gd name="connsiteY608" fmla="*/ 53340 h 138429"/>
                <a:gd name="connsiteX609" fmla="*/ 3576316 w 4940931"/>
                <a:gd name="connsiteY609" fmla="*/ 68580 h 138429"/>
                <a:gd name="connsiteX610" fmla="*/ 3575046 w 4940931"/>
                <a:gd name="connsiteY610" fmla="*/ 68580 h 138429"/>
                <a:gd name="connsiteX611" fmla="*/ 3575046 w 4940931"/>
                <a:gd name="connsiteY611" fmla="*/ 72390 h 138429"/>
                <a:gd name="connsiteX612" fmla="*/ 3575046 w 4940931"/>
                <a:gd name="connsiteY612" fmla="*/ 75565 h 138429"/>
                <a:gd name="connsiteX613" fmla="*/ 3523611 w 4940931"/>
                <a:gd name="connsiteY613" fmla="*/ 75565 h 138429"/>
                <a:gd name="connsiteX614" fmla="*/ 3526151 w 4940931"/>
                <a:gd name="connsiteY614" fmla="*/ 85090 h 138429"/>
                <a:gd name="connsiteX615" fmla="*/ 3530596 w 4940931"/>
                <a:gd name="connsiteY615" fmla="*/ 91440 h 138429"/>
                <a:gd name="connsiteX616" fmla="*/ 3536311 w 4940931"/>
                <a:gd name="connsiteY616" fmla="*/ 95250 h 138429"/>
                <a:gd name="connsiteX617" fmla="*/ 3543296 w 4940931"/>
                <a:gd name="connsiteY617" fmla="*/ 96520 h 138429"/>
                <a:gd name="connsiteX618" fmla="*/ 3548376 w 4940931"/>
                <a:gd name="connsiteY618" fmla="*/ 96520 h 138429"/>
                <a:gd name="connsiteX619" fmla="*/ 3552821 w 4940931"/>
                <a:gd name="connsiteY619" fmla="*/ 95250 h 138429"/>
                <a:gd name="connsiteX620" fmla="*/ 3556631 w 4940931"/>
                <a:gd name="connsiteY620" fmla="*/ 93345 h 138429"/>
                <a:gd name="connsiteX621" fmla="*/ 3561076 w 4940931"/>
                <a:gd name="connsiteY621" fmla="*/ 90805 h 138429"/>
                <a:gd name="connsiteX622" fmla="*/ 3569966 w 4940931"/>
                <a:gd name="connsiteY622" fmla="*/ 100330 h 138429"/>
                <a:gd name="connsiteX623" fmla="*/ 3564251 w 4940931"/>
                <a:gd name="connsiteY623" fmla="*/ 104775 h 138429"/>
                <a:gd name="connsiteX624" fmla="*/ 3558536 w 4940931"/>
                <a:gd name="connsiteY624" fmla="*/ 107950 h 138429"/>
                <a:gd name="connsiteX625" fmla="*/ 3551551 w 4940931"/>
                <a:gd name="connsiteY625" fmla="*/ 109855 h 138429"/>
                <a:gd name="connsiteX626" fmla="*/ 3542661 w 4940931"/>
                <a:gd name="connsiteY626" fmla="*/ 110490 h 138429"/>
                <a:gd name="connsiteX627" fmla="*/ 3533136 w 4940931"/>
                <a:gd name="connsiteY627" fmla="*/ 109220 h 138429"/>
                <a:gd name="connsiteX628" fmla="*/ 3525516 w 4940931"/>
                <a:gd name="connsiteY628" fmla="*/ 105410 h 138429"/>
                <a:gd name="connsiteX629" fmla="*/ 3519166 w 4940931"/>
                <a:gd name="connsiteY629" fmla="*/ 100330 h 138429"/>
                <a:gd name="connsiteX630" fmla="*/ 3514086 w 4940931"/>
                <a:gd name="connsiteY630" fmla="*/ 92710 h 138429"/>
                <a:gd name="connsiteX631" fmla="*/ 3510276 w 4940931"/>
                <a:gd name="connsiteY631" fmla="*/ 82550 h 138429"/>
                <a:gd name="connsiteX632" fmla="*/ 3509006 w 4940931"/>
                <a:gd name="connsiteY632" fmla="*/ 69850 h 138429"/>
                <a:gd name="connsiteX633" fmla="*/ 3511546 w 4940931"/>
                <a:gd name="connsiteY633" fmla="*/ 52070 h 138429"/>
                <a:gd name="connsiteX634" fmla="*/ 3518531 w 4940931"/>
                <a:gd name="connsiteY634" fmla="*/ 39370 h 138429"/>
                <a:gd name="connsiteX635" fmla="*/ 3529326 w 4940931"/>
                <a:gd name="connsiteY635" fmla="*/ 31750 h 138429"/>
                <a:gd name="connsiteX636" fmla="*/ 3543296 w 4940931"/>
                <a:gd name="connsiteY636" fmla="*/ 29210 h 138429"/>
                <a:gd name="connsiteX637" fmla="*/ 3345176 w 4940931"/>
                <a:gd name="connsiteY637" fmla="*/ 29210 h 138429"/>
                <a:gd name="connsiteX638" fmla="*/ 3359781 w 4940931"/>
                <a:gd name="connsiteY638" fmla="*/ 32385 h 138429"/>
                <a:gd name="connsiteX639" fmla="*/ 3369941 w 4940931"/>
                <a:gd name="connsiteY639" fmla="*/ 40640 h 138429"/>
                <a:gd name="connsiteX640" fmla="*/ 3376291 w 4940931"/>
                <a:gd name="connsiteY640" fmla="*/ 53340 h 138429"/>
                <a:gd name="connsiteX641" fmla="*/ 3378196 w 4940931"/>
                <a:gd name="connsiteY641" fmla="*/ 68580 h 138429"/>
                <a:gd name="connsiteX642" fmla="*/ 3376926 w 4940931"/>
                <a:gd name="connsiteY642" fmla="*/ 68580 h 138429"/>
                <a:gd name="connsiteX643" fmla="*/ 3376926 w 4940931"/>
                <a:gd name="connsiteY643" fmla="*/ 72390 h 138429"/>
                <a:gd name="connsiteX644" fmla="*/ 3376926 w 4940931"/>
                <a:gd name="connsiteY644" fmla="*/ 75565 h 138429"/>
                <a:gd name="connsiteX645" fmla="*/ 3325491 w 4940931"/>
                <a:gd name="connsiteY645" fmla="*/ 75565 h 138429"/>
                <a:gd name="connsiteX646" fmla="*/ 3328031 w 4940931"/>
                <a:gd name="connsiteY646" fmla="*/ 85090 h 138429"/>
                <a:gd name="connsiteX647" fmla="*/ 3332476 w 4940931"/>
                <a:gd name="connsiteY647" fmla="*/ 91440 h 138429"/>
                <a:gd name="connsiteX648" fmla="*/ 3338191 w 4940931"/>
                <a:gd name="connsiteY648" fmla="*/ 95250 h 138429"/>
                <a:gd name="connsiteX649" fmla="*/ 3345176 w 4940931"/>
                <a:gd name="connsiteY649" fmla="*/ 96520 h 138429"/>
                <a:gd name="connsiteX650" fmla="*/ 3350256 w 4940931"/>
                <a:gd name="connsiteY650" fmla="*/ 96520 h 138429"/>
                <a:gd name="connsiteX651" fmla="*/ 3354701 w 4940931"/>
                <a:gd name="connsiteY651" fmla="*/ 95250 h 138429"/>
                <a:gd name="connsiteX652" fmla="*/ 3358511 w 4940931"/>
                <a:gd name="connsiteY652" fmla="*/ 93345 h 138429"/>
                <a:gd name="connsiteX653" fmla="*/ 3362956 w 4940931"/>
                <a:gd name="connsiteY653" fmla="*/ 90805 h 138429"/>
                <a:gd name="connsiteX654" fmla="*/ 3371846 w 4940931"/>
                <a:gd name="connsiteY654" fmla="*/ 100330 h 138429"/>
                <a:gd name="connsiteX655" fmla="*/ 3366131 w 4940931"/>
                <a:gd name="connsiteY655" fmla="*/ 104775 h 138429"/>
                <a:gd name="connsiteX656" fmla="*/ 3360416 w 4940931"/>
                <a:gd name="connsiteY656" fmla="*/ 107950 h 138429"/>
                <a:gd name="connsiteX657" fmla="*/ 3353431 w 4940931"/>
                <a:gd name="connsiteY657" fmla="*/ 109855 h 138429"/>
                <a:gd name="connsiteX658" fmla="*/ 3344541 w 4940931"/>
                <a:gd name="connsiteY658" fmla="*/ 110490 h 138429"/>
                <a:gd name="connsiteX659" fmla="*/ 3335016 w 4940931"/>
                <a:gd name="connsiteY659" fmla="*/ 109220 h 138429"/>
                <a:gd name="connsiteX660" fmla="*/ 3327396 w 4940931"/>
                <a:gd name="connsiteY660" fmla="*/ 105410 h 138429"/>
                <a:gd name="connsiteX661" fmla="*/ 3321046 w 4940931"/>
                <a:gd name="connsiteY661" fmla="*/ 100330 h 138429"/>
                <a:gd name="connsiteX662" fmla="*/ 3315966 w 4940931"/>
                <a:gd name="connsiteY662" fmla="*/ 92710 h 138429"/>
                <a:gd name="connsiteX663" fmla="*/ 3312156 w 4940931"/>
                <a:gd name="connsiteY663" fmla="*/ 82550 h 138429"/>
                <a:gd name="connsiteX664" fmla="*/ 3310886 w 4940931"/>
                <a:gd name="connsiteY664" fmla="*/ 69850 h 138429"/>
                <a:gd name="connsiteX665" fmla="*/ 3313426 w 4940931"/>
                <a:gd name="connsiteY665" fmla="*/ 52070 h 138429"/>
                <a:gd name="connsiteX666" fmla="*/ 3320411 w 4940931"/>
                <a:gd name="connsiteY666" fmla="*/ 39370 h 138429"/>
                <a:gd name="connsiteX667" fmla="*/ 3331206 w 4940931"/>
                <a:gd name="connsiteY667" fmla="*/ 31750 h 138429"/>
                <a:gd name="connsiteX668" fmla="*/ 3345176 w 4940931"/>
                <a:gd name="connsiteY668" fmla="*/ 29210 h 138429"/>
                <a:gd name="connsiteX669" fmla="*/ 3060696 w 4940931"/>
                <a:gd name="connsiteY669" fmla="*/ 29210 h 138429"/>
                <a:gd name="connsiteX670" fmla="*/ 3068316 w 4940931"/>
                <a:gd name="connsiteY670" fmla="*/ 29845 h 138429"/>
                <a:gd name="connsiteX671" fmla="*/ 3074031 w 4940931"/>
                <a:gd name="connsiteY671" fmla="*/ 32385 h 138429"/>
                <a:gd name="connsiteX672" fmla="*/ 3070221 w 4940931"/>
                <a:gd name="connsiteY672" fmla="*/ 46990 h 138429"/>
                <a:gd name="connsiteX673" fmla="*/ 3068951 w 4940931"/>
                <a:gd name="connsiteY673" fmla="*/ 46990 h 138429"/>
                <a:gd name="connsiteX674" fmla="*/ 3063871 w 4940931"/>
                <a:gd name="connsiteY674" fmla="*/ 45085 h 138429"/>
                <a:gd name="connsiteX675" fmla="*/ 3057521 w 4940931"/>
                <a:gd name="connsiteY675" fmla="*/ 44450 h 138429"/>
                <a:gd name="connsiteX676" fmla="*/ 3046091 w 4940931"/>
                <a:gd name="connsiteY676" fmla="*/ 49530 h 138429"/>
                <a:gd name="connsiteX677" fmla="*/ 3042281 w 4940931"/>
                <a:gd name="connsiteY677" fmla="*/ 64770 h 138429"/>
                <a:gd name="connsiteX678" fmla="*/ 3042281 w 4940931"/>
                <a:gd name="connsiteY678" fmla="*/ 109220 h 138429"/>
                <a:gd name="connsiteX679" fmla="*/ 3027041 w 4940931"/>
                <a:gd name="connsiteY679" fmla="*/ 109220 h 138429"/>
                <a:gd name="connsiteX680" fmla="*/ 3027041 w 4940931"/>
                <a:gd name="connsiteY680" fmla="*/ 31115 h 138429"/>
                <a:gd name="connsiteX681" fmla="*/ 3042281 w 4940931"/>
                <a:gd name="connsiteY681" fmla="*/ 31115 h 138429"/>
                <a:gd name="connsiteX682" fmla="*/ 3042281 w 4940931"/>
                <a:gd name="connsiteY682" fmla="*/ 38735 h 138429"/>
                <a:gd name="connsiteX683" fmla="*/ 3045456 w 4940931"/>
                <a:gd name="connsiteY683" fmla="*/ 34925 h 138429"/>
                <a:gd name="connsiteX684" fmla="*/ 3049901 w 4940931"/>
                <a:gd name="connsiteY684" fmla="*/ 31750 h 138429"/>
                <a:gd name="connsiteX685" fmla="*/ 3054981 w 4940931"/>
                <a:gd name="connsiteY685" fmla="*/ 29845 h 138429"/>
                <a:gd name="connsiteX686" fmla="*/ 3060696 w 4940931"/>
                <a:gd name="connsiteY686" fmla="*/ 29210 h 138429"/>
                <a:gd name="connsiteX687" fmla="*/ 2978781 w 4940931"/>
                <a:gd name="connsiteY687" fmla="*/ 29210 h 138429"/>
                <a:gd name="connsiteX688" fmla="*/ 2993386 w 4940931"/>
                <a:gd name="connsiteY688" fmla="*/ 32385 h 138429"/>
                <a:gd name="connsiteX689" fmla="*/ 3003546 w 4940931"/>
                <a:gd name="connsiteY689" fmla="*/ 40640 h 138429"/>
                <a:gd name="connsiteX690" fmla="*/ 3009896 w 4940931"/>
                <a:gd name="connsiteY690" fmla="*/ 53340 h 138429"/>
                <a:gd name="connsiteX691" fmla="*/ 3011801 w 4940931"/>
                <a:gd name="connsiteY691" fmla="*/ 68580 h 138429"/>
                <a:gd name="connsiteX692" fmla="*/ 3010531 w 4940931"/>
                <a:gd name="connsiteY692" fmla="*/ 68580 h 138429"/>
                <a:gd name="connsiteX693" fmla="*/ 3010531 w 4940931"/>
                <a:gd name="connsiteY693" fmla="*/ 72390 h 138429"/>
                <a:gd name="connsiteX694" fmla="*/ 3010531 w 4940931"/>
                <a:gd name="connsiteY694" fmla="*/ 75565 h 138429"/>
                <a:gd name="connsiteX695" fmla="*/ 2959096 w 4940931"/>
                <a:gd name="connsiteY695" fmla="*/ 75565 h 138429"/>
                <a:gd name="connsiteX696" fmla="*/ 2961636 w 4940931"/>
                <a:gd name="connsiteY696" fmla="*/ 85090 h 138429"/>
                <a:gd name="connsiteX697" fmla="*/ 2966081 w 4940931"/>
                <a:gd name="connsiteY697" fmla="*/ 91440 h 138429"/>
                <a:gd name="connsiteX698" fmla="*/ 2971796 w 4940931"/>
                <a:gd name="connsiteY698" fmla="*/ 95250 h 138429"/>
                <a:gd name="connsiteX699" fmla="*/ 2978781 w 4940931"/>
                <a:gd name="connsiteY699" fmla="*/ 96520 h 138429"/>
                <a:gd name="connsiteX700" fmla="*/ 2983861 w 4940931"/>
                <a:gd name="connsiteY700" fmla="*/ 96520 h 138429"/>
                <a:gd name="connsiteX701" fmla="*/ 2988306 w 4940931"/>
                <a:gd name="connsiteY701" fmla="*/ 95250 h 138429"/>
                <a:gd name="connsiteX702" fmla="*/ 2992116 w 4940931"/>
                <a:gd name="connsiteY702" fmla="*/ 93345 h 138429"/>
                <a:gd name="connsiteX703" fmla="*/ 2996561 w 4940931"/>
                <a:gd name="connsiteY703" fmla="*/ 90805 h 138429"/>
                <a:gd name="connsiteX704" fmla="*/ 3005451 w 4940931"/>
                <a:gd name="connsiteY704" fmla="*/ 100330 h 138429"/>
                <a:gd name="connsiteX705" fmla="*/ 2999736 w 4940931"/>
                <a:gd name="connsiteY705" fmla="*/ 104775 h 138429"/>
                <a:gd name="connsiteX706" fmla="*/ 2994021 w 4940931"/>
                <a:gd name="connsiteY706" fmla="*/ 107950 h 138429"/>
                <a:gd name="connsiteX707" fmla="*/ 2987036 w 4940931"/>
                <a:gd name="connsiteY707" fmla="*/ 109855 h 138429"/>
                <a:gd name="connsiteX708" fmla="*/ 2978146 w 4940931"/>
                <a:gd name="connsiteY708" fmla="*/ 110490 h 138429"/>
                <a:gd name="connsiteX709" fmla="*/ 2968621 w 4940931"/>
                <a:gd name="connsiteY709" fmla="*/ 109220 h 138429"/>
                <a:gd name="connsiteX710" fmla="*/ 2961001 w 4940931"/>
                <a:gd name="connsiteY710" fmla="*/ 105410 h 138429"/>
                <a:gd name="connsiteX711" fmla="*/ 2954651 w 4940931"/>
                <a:gd name="connsiteY711" fmla="*/ 100330 h 138429"/>
                <a:gd name="connsiteX712" fmla="*/ 2949571 w 4940931"/>
                <a:gd name="connsiteY712" fmla="*/ 92710 h 138429"/>
                <a:gd name="connsiteX713" fmla="*/ 2945761 w 4940931"/>
                <a:gd name="connsiteY713" fmla="*/ 82550 h 138429"/>
                <a:gd name="connsiteX714" fmla="*/ 2944491 w 4940931"/>
                <a:gd name="connsiteY714" fmla="*/ 69850 h 138429"/>
                <a:gd name="connsiteX715" fmla="*/ 2947031 w 4940931"/>
                <a:gd name="connsiteY715" fmla="*/ 52070 h 138429"/>
                <a:gd name="connsiteX716" fmla="*/ 2954016 w 4940931"/>
                <a:gd name="connsiteY716" fmla="*/ 39370 h 138429"/>
                <a:gd name="connsiteX717" fmla="*/ 2964811 w 4940931"/>
                <a:gd name="connsiteY717" fmla="*/ 31750 h 138429"/>
                <a:gd name="connsiteX718" fmla="*/ 2978781 w 4940931"/>
                <a:gd name="connsiteY718" fmla="*/ 29210 h 138429"/>
                <a:gd name="connsiteX719" fmla="*/ 2798440 w 4940931"/>
                <a:gd name="connsiteY719" fmla="*/ 29210 h 138429"/>
                <a:gd name="connsiteX720" fmla="*/ 2813045 w 4940931"/>
                <a:gd name="connsiteY720" fmla="*/ 31750 h 138429"/>
                <a:gd name="connsiteX721" fmla="*/ 2825110 w 4940931"/>
                <a:gd name="connsiteY721" fmla="*/ 38100 h 138429"/>
                <a:gd name="connsiteX722" fmla="*/ 2827015 w 4940931"/>
                <a:gd name="connsiteY722" fmla="*/ 38100 h 138429"/>
                <a:gd name="connsiteX723" fmla="*/ 2820030 w 4940931"/>
                <a:gd name="connsiteY723" fmla="*/ 50165 h 138429"/>
                <a:gd name="connsiteX724" fmla="*/ 2810505 w 4940931"/>
                <a:gd name="connsiteY724" fmla="*/ 45085 h 138429"/>
                <a:gd name="connsiteX725" fmla="*/ 2799710 w 4940931"/>
                <a:gd name="connsiteY725" fmla="*/ 43180 h 138429"/>
                <a:gd name="connsiteX726" fmla="*/ 2791455 w 4940931"/>
                <a:gd name="connsiteY726" fmla="*/ 45085 h 138429"/>
                <a:gd name="connsiteX727" fmla="*/ 2788915 w 4940931"/>
                <a:gd name="connsiteY727" fmla="*/ 50165 h 138429"/>
                <a:gd name="connsiteX728" fmla="*/ 2788915 w 4940931"/>
                <a:gd name="connsiteY728" fmla="*/ 52705 h 138429"/>
                <a:gd name="connsiteX729" fmla="*/ 2790820 w 4940931"/>
                <a:gd name="connsiteY729" fmla="*/ 55245 h 138429"/>
                <a:gd name="connsiteX730" fmla="*/ 2795265 w 4940931"/>
                <a:gd name="connsiteY730" fmla="*/ 57785 h 138429"/>
                <a:gd name="connsiteX731" fmla="*/ 2802250 w 4940931"/>
                <a:gd name="connsiteY731" fmla="*/ 60960 h 138429"/>
                <a:gd name="connsiteX732" fmla="*/ 2813680 w 4940931"/>
                <a:gd name="connsiteY732" fmla="*/ 66040 h 138429"/>
                <a:gd name="connsiteX733" fmla="*/ 2821935 w 4940931"/>
                <a:gd name="connsiteY733" fmla="*/ 71120 h 138429"/>
                <a:gd name="connsiteX734" fmla="*/ 2827015 w 4940931"/>
                <a:gd name="connsiteY734" fmla="*/ 78105 h 138429"/>
                <a:gd name="connsiteX735" fmla="*/ 2828920 w 4940931"/>
                <a:gd name="connsiteY735" fmla="*/ 87630 h 138429"/>
                <a:gd name="connsiteX736" fmla="*/ 2826380 w 4940931"/>
                <a:gd name="connsiteY736" fmla="*/ 98425 h 138429"/>
                <a:gd name="connsiteX737" fmla="*/ 2820030 w 4940931"/>
                <a:gd name="connsiteY737" fmla="*/ 105410 h 138429"/>
                <a:gd name="connsiteX738" fmla="*/ 2810505 w 4940931"/>
                <a:gd name="connsiteY738" fmla="*/ 109220 h 138429"/>
                <a:gd name="connsiteX739" fmla="*/ 2799710 w 4940931"/>
                <a:gd name="connsiteY739" fmla="*/ 110490 h 138429"/>
                <a:gd name="connsiteX740" fmla="*/ 2783835 w 4940931"/>
                <a:gd name="connsiteY740" fmla="*/ 107950 h 138429"/>
                <a:gd name="connsiteX741" fmla="*/ 2769230 w 4940931"/>
                <a:gd name="connsiteY741" fmla="*/ 100965 h 138429"/>
                <a:gd name="connsiteX742" fmla="*/ 2776215 w 4940931"/>
                <a:gd name="connsiteY742" fmla="*/ 89535 h 138429"/>
                <a:gd name="connsiteX743" fmla="*/ 2787645 w 4940931"/>
                <a:gd name="connsiteY743" fmla="*/ 95250 h 138429"/>
                <a:gd name="connsiteX744" fmla="*/ 2799075 w 4940931"/>
                <a:gd name="connsiteY744" fmla="*/ 97155 h 138429"/>
                <a:gd name="connsiteX745" fmla="*/ 2809870 w 4940931"/>
                <a:gd name="connsiteY745" fmla="*/ 94615 h 138429"/>
                <a:gd name="connsiteX746" fmla="*/ 2813045 w 4940931"/>
                <a:gd name="connsiteY746" fmla="*/ 88265 h 138429"/>
                <a:gd name="connsiteX747" fmla="*/ 2811775 w 4940931"/>
                <a:gd name="connsiteY747" fmla="*/ 84455 h 138429"/>
                <a:gd name="connsiteX748" fmla="*/ 2807965 w 4940931"/>
                <a:gd name="connsiteY748" fmla="*/ 81280 h 138429"/>
                <a:gd name="connsiteX749" fmla="*/ 2802250 w 4940931"/>
                <a:gd name="connsiteY749" fmla="*/ 78105 h 138429"/>
                <a:gd name="connsiteX750" fmla="*/ 2794630 w 4940931"/>
                <a:gd name="connsiteY750" fmla="*/ 74930 h 138429"/>
                <a:gd name="connsiteX751" fmla="*/ 2783835 w 4940931"/>
                <a:gd name="connsiteY751" fmla="*/ 69850 h 138429"/>
                <a:gd name="connsiteX752" fmla="*/ 2776850 w 4940931"/>
                <a:gd name="connsiteY752" fmla="*/ 64770 h 138429"/>
                <a:gd name="connsiteX753" fmla="*/ 2773040 w 4940931"/>
                <a:gd name="connsiteY753" fmla="*/ 58420 h 138429"/>
                <a:gd name="connsiteX754" fmla="*/ 2771770 w 4940931"/>
                <a:gd name="connsiteY754" fmla="*/ 50165 h 138429"/>
                <a:gd name="connsiteX755" fmla="*/ 2773675 w 4940931"/>
                <a:gd name="connsiteY755" fmla="*/ 40640 h 138429"/>
                <a:gd name="connsiteX756" fmla="*/ 2779390 w 4940931"/>
                <a:gd name="connsiteY756" fmla="*/ 34290 h 138429"/>
                <a:gd name="connsiteX757" fmla="*/ 2787645 w 4940931"/>
                <a:gd name="connsiteY757" fmla="*/ 30480 h 138429"/>
                <a:gd name="connsiteX758" fmla="*/ 2798440 w 4940931"/>
                <a:gd name="connsiteY758" fmla="*/ 29210 h 138429"/>
                <a:gd name="connsiteX759" fmla="*/ 2723510 w 4940931"/>
                <a:gd name="connsiteY759" fmla="*/ 29210 h 138429"/>
                <a:gd name="connsiteX760" fmla="*/ 2729225 w 4940931"/>
                <a:gd name="connsiteY760" fmla="*/ 29210 h 138429"/>
                <a:gd name="connsiteX761" fmla="*/ 2741290 w 4940931"/>
                <a:gd name="connsiteY761" fmla="*/ 31750 h 138429"/>
                <a:gd name="connsiteX762" fmla="*/ 2750180 w 4940931"/>
                <a:gd name="connsiteY762" fmla="*/ 38100 h 138429"/>
                <a:gd name="connsiteX763" fmla="*/ 2755260 w 4940931"/>
                <a:gd name="connsiteY763" fmla="*/ 48895 h 138429"/>
                <a:gd name="connsiteX764" fmla="*/ 2757165 w 4940931"/>
                <a:gd name="connsiteY764" fmla="*/ 64135 h 138429"/>
                <a:gd name="connsiteX765" fmla="*/ 2757165 w 4940931"/>
                <a:gd name="connsiteY765" fmla="*/ 108585 h 138429"/>
                <a:gd name="connsiteX766" fmla="*/ 2741925 w 4940931"/>
                <a:gd name="connsiteY766" fmla="*/ 108585 h 138429"/>
                <a:gd name="connsiteX767" fmla="*/ 2741290 w 4940931"/>
                <a:gd name="connsiteY767" fmla="*/ 108585 h 138429"/>
                <a:gd name="connsiteX768" fmla="*/ 2741290 w 4940931"/>
                <a:gd name="connsiteY768" fmla="*/ 64770 h 138429"/>
                <a:gd name="connsiteX769" fmla="*/ 2737480 w 4940931"/>
                <a:gd name="connsiteY769" fmla="*/ 48895 h 138429"/>
                <a:gd name="connsiteX770" fmla="*/ 2725415 w 4940931"/>
                <a:gd name="connsiteY770" fmla="*/ 43180 h 138429"/>
                <a:gd name="connsiteX771" fmla="*/ 2718430 w 4940931"/>
                <a:gd name="connsiteY771" fmla="*/ 44450 h 138429"/>
                <a:gd name="connsiteX772" fmla="*/ 2713350 w 4940931"/>
                <a:gd name="connsiteY772" fmla="*/ 48260 h 138429"/>
                <a:gd name="connsiteX773" fmla="*/ 2710175 w 4940931"/>
                <a:gd name="connsiteY773" fmla="*/ 54610 h 138429"/>
                <a:gd name="connsiteX774" fmla="*/ 2709540 w 4940931"/>
                <a:gd name="connsiteY774" fmla="*/ 62865 h 138429"/>
                <a:gd name="connsiteX775" fmla="*/ 2709540 w 4940931"/>
                <a:gd name="connsiteY775" fmla="*/ 108585 h 138429"/>
                <a:gd name="connsiteX776" fmla="*/ 2694300 w 4940931"/>
                <a:gd name="connsiteY776" fmla="*/ 108585 h 138429"/>
                <a:gd name="connsiteX777" fmla="*/ 2694300 w 4940931"/>
                <a:gd name="connsiteY777" fmla="*/ 30480 h 138429"/>
                <a:gd name="connsiteX778" fmla="*/ 2709540 w 4940931"/>
                <a:gd name="connsiteY778" fmla="*/ 30480 h 138429"/>
                <a:gd name="connsiteX779" fmla="*/ 2709540 w 4940931"/>
                <a:gd name="connsiteY779" fmla="*/ 38100 h 138429"/>
                <a:gd name="connsiteX780" fmla="*/ 2713350 w 4940931"/>
                <a:gd name="connsiteY780" fmla="*/ 34290 h 138429"/>
                <a:gd name="connsiteX781" fmla="*/ 2717795 w 4940931"/>
                <a:gd name="connsiteY781" fmla="*/ 31115 h 138429"/>
                <a:gd name="connsiteX782" fmla="*/ 2723510 w 4940931"/>
                <a:gd name="connsiteY782" fmla="*/ 29210 h 138429"/>
                <a:gd name="connsiteX783" fmla="*/ 2530470 w 4940931"/>
                <a:gd name="connsiteY783" fmla="*/ 29210 h 138429"/>
                <a:gd name="connsiteX784" fmla="*/ 2545075 w 4940931"/>
                <a:gd name="connsiteY784" fmla="*/ 32385 h 138429"/>
                <a:gd name="connsiteX785" fmla="*/ 2555235 w 4940931"/>
                <a:gd name="connsiteY785" fmla="*/ 40640 h 138429"/>
                <a:gd name="connsiteX786" fmla="*/ 2561585 w 4940931"/>
                <a:gd name="connsiteY786" fmla="*/ 53340 h 138429"/>
                <a:gd name="connsiteX787" fmla="*/ 2563490 w 4940931"/>
                <a:gd name="connsiteY787" fmla="*/ 68580 h 138429"/>
                <a:gd name="connsiteX788" fmla="*/ 2562220 w 4940931"/>
                <a:gd name="connsiteY788" fmla="*/ 68580 h 138429"/>
                <a:gd name="connsiteX789" fmla="*/ 2562220 w 4940931"/>
                <a:gd name="connsiteY789" fmla="*/ 72390 h 138429"/>
                <a:gd name="connsiteX790" fmla="*/ 2562220 w 4940931"/>
                <a:gd name="connsiteY790" fmla="*/ 75565 h 138429"/>
                <a:gd name="connsiteX791" fmla="*/ 2510785 w 4940931"/>
                <a:gd name="connsiteY791" fmla="*/ 75565 h 138429"/>
                <a:gd name="connsiteX792" fmla="*/ 2513325 w 4940931"/>
                <a:gd name="connsiteY792" fmla="*/ 85090 h 138429"/>
                <a:gd name="connsiteX793" fmla="*/ 2517770 w 4940931"/>
                <a:gd name="connsiteY793" fmla="*/ 91440 h 138429"/>
                <a:gd name="connsiteX794" fmla="*/ 2523485 w 4940931"/>
                <a:gd name="connsiteY794" fmla="*/ 95250 h 138429"/>
                <a:gd name="connsiteX795" fmla="*/ 2530470 w 4940931"/>
                <a:gd name="connsiteY795" fmla="*/ 96520 h 138429"/>
                <a:gd name="connsiteX796" fmla="*/ 2535550 w 4940931"/>
                <a:gd name="connsiteY796" fmla="*/ 96520 h 138429"/>
                <a:gd name="connsiteX797" fmla="*/ 2539995 w 4940931"/>
                <a:gd name="connsiteY797" fmla="*/ 95250 h 138429"/>
                <a:gd name="connsiteX798" fmla="*/ 2543805 w 4940931"/>
                <a:gd name="connsiteY798" fmla="*/ 93345 h 138429"/>
                <a:gd name="connsiteX799" fmla="*/ 2548250 w 4940931"/>
                <a:gd name="connsiteY799" fmla="*/ 90805 h 138429"/>
                <a:gd name="connsiteX800" fmla="*/ 2557140 w 4940931"/>
                <a:gd name="connsiteY800" fmla="*/ 100330 h 138429"/>
                <a:gd name="connsiteX801" fmla="*/ 2551425 w 4940931"/>
                <a:gd name="connsiteY801" fmla="*/ 104775 h 138429"/>
                <a:gd name="connsiteX802" fmla="*/ 2545710 w 4940931"/>
                <a:gd name="connsiteY802" fmla="*/ 107950 h 138429"/>
                <a:gd name="connsiteX803" fmla="*/ 2538725 w 4940931"/>
                <a:gd name="connsiteY803" fmla="*/ 109855 h 138429"/>
                <a:gd name="connsiteX804" fmla="*/ 2529835 w 4940931"/>
                <a:gd name="connsiteY804" fmla="*/ 110490 h 138429"/>
                <a:gd name="connsiteX805" fmla="*/ 2520310 w 4940931"/>
                <a:gd name="connsiteY805" fmla="*/ 109220 h 138429"/>
                <a:gd name="connsiteX806" fmla="*/ 2512690 w 4940931"/>
                <a:gd name="connsiteY806" fmla="*/ 105410 h 138429"/>
                <a:gd name="connsiteX807" fmla="*/ 2506340 w 4940931"/>
                <a:gd name="connsiteY807" fmla="*/ 100330 h 138429"/>
                <a:gd name="connsiteX808" fmla="*/ 2501260 w 4940931"/>
                <a:gd name="connsiteY808" fmla="*/ 92710 h 138429"/>
                <a:gd name="connsiteX809" fmla="*/ 2497450 w 4940931"/>
                <a:gd name="connsiteY809" fmla="*/ 82550 h 138429"/>
                <a:gd name="connsiteX810" fmla="*/ 2496180 w 4940931"/>
                <a:gd name="connsiteY810" fmla="*/ 69850 h 138429"/>
                <a:gd name="connsiteX811" fmla="*/ 2498720 w 4940931"/>
                <a:gd name="connsiteY811" fmla="*/ 52070 h 138429"/>
                <a:gd name="connsiteX812" fmla="*/ 2505705 w 4940931"/>
                <a:gd name="connsiteY812" fmla="*/ 39370 h 138429"/>
                <a:gd name="connsiteX813" fmla="*/ 2516500 w 4940931"/>
                <a:gd name="connsiteY813" fmla="*/ 31750 h 138429"/>
                <a:gd name="connsiteX814" fmla="*/ 2530470 w 4940931"/>
                <a:gd name="connsiteY814" fmla="*/ 29210 h 138429"/>
                <a:gd name="connsiteX815" fmla="*/ 2298061 w 4940931"/>
                <a:gd name="connsiteY815" fmla="*/ 29210 h 138429"/>
                <a:gd name="connsiteX816" fmla="*/ 2305681 w 4940931"/>
                <a:gd name="connsiteY816" fmla="*/ 29845 h 138429"/>
                <a:gd name="connsiteX817" fmla="*/ 2311396 w 4940931"/>
                <a:gd name="connsiteY817" fmla="*/ 32385 h 138429"/>
                <a:gd name="connsiteX818" fmla="*/ 2307586 w 4940931"/>
                <a:gd name="connsiteY818" fmla="*/ 46990 h 138429"/>
                <a:gd name="connsiteX819" fmla="*/ 2306316 w 4940931"/>
                <a:gd name="connsiteY819" fmla="*/ 46990 h 138429"/>
                <a:gd name="connsiteX820" fmla="*/ 2301236 w 4940931"/>
                <a:gd name="connsiteY820" fmla="*/ 45085 h 138429"/>
                <a:gd name="connsiteX821" fmla="*/ 2294886 w 4940931"/>
                <a:gd name="connsiteY821" fmla="*/ 44450 h 138429"/>
                <a:gd name="connsiteX822" fmla="*/ 2283456 w 4940931"/>
                <a:gd name="connsiteY822" fmla="*/ 49530 h 138429"/>
                <a:gd name="connsiteX823" fmla="*/ 2279646 w 4940931"/>
                <a:gd name="connsiteY823" fmla="*/ 64770 h 138429"/>
                <a:gd name="connsiteX824" fmla="*/ 2279646 w 4940931"/>
                <a:gd name="connsiteY824" fmla="*/ 109220 h 138429"/>
                <a:gd name="connsiteX825" fmla="*/ 2264406 w 4940931"/>
                <a:gd name="connsiteY825" fmla="*/ 109220 h 138429"/>
                <a:gd name="connsiteX826" fmla="*/ 2264406 w 4940931"/>
                <a:gd name="connsiteY826" fmla="*/ 31115 h 138429"/>
                <a:gd name="connsiteX827" fmla="*/ 2279646 w 4940931"/>
                <a:gd name="connsiteY827" fmla="*/ 31115 h 138429"/>
                <a:gd name="connsiteX828" fmla="*/ 2279646 w 4940931"/>
                <a:gd name="connsiteY828" fmla="*/ 38735 h 138429"/>
                <a:gd name="connsiteX829" fmla="*/ 2282821 w 4940931"/>
                <a:gd name="connsiteY829" fmla="*/ 34925 h 138429"/>
                <a:gd name="connsiteX830" fmla="*/ 2287266 w 4940931"/>
                <a:gd name="connsiteY830" fmla="*/ 31750 h 138429"/>
                <a:gd name="connsiteX831" fmla="*/ 2292346 w 4940931"/>
                <a:gd name="connsiteY831" fmla="*/ 29845 h 138429"/>
                <a:gd name="connsiteX832" fmla="*/ 2298061 w 4940931"/>
                <a:gd name="connsiteY832" fmla="*/ 29210 h 138429"/>
                <a:gd name="connsiteX833" fmla="*/ 2216145 w 4940931"/>
                <a:gd name="connsiteY833" fmla="*/ 29210 h 138429"/>
                <a:gd name="connsiteX834" fmla="*/ 2230750 w 4940931"/>
                <a:gd name="connsiteY834" fmla="*/ 32385 h 138429"/>
                <a:gd name="connsiteX835" fmla="*/ 2240910 w 4940931"/>
                <a:gd name="connsiteY835" fmla="*/ 40640 h 138429"/>
                <a:gd name="connsiteX836" fmla="*/ 2247260 w 4940931"/>
                <a:gd name="connsiteY836" fmla="*/ 53340 h 138429"/>
                <a:gd name="connsiteX837" fmla="*/ 2249165 w 4940931"/>
                <a:gd name="connsiteY837" fmla="*/ 68580 h 138429"/>
                <a:gd name="connsiteX838" fmla="*/ 2247895 w 4940931"/>
                <a:gd name="connsiteY838" fmla="*/ 68580 h 138429"/>
                <a:gd name="connsiteX839" fmla="*/ 2247895 w 4940931"/>
                <a:gd name="connsiteY839" fmla="*/ 72390 h 138429"/>
                <a:gd name="connsiteX840" fmla="*/ 2247895 w 4940931"/>
                <a:gd name="connsiteY840" fmla="*/ 75565 h 138429"/>
                <a:gd name="connsiteX841" fmla="*/ 2196460 w 4940931"/>
                <a:gd name="connsiteY841" fmla="*/ 75565 h 138429"/>
                <a:gd name="connsiteX842" fmla="*/ 2199000 w 4940931"/>
                <a:gd name="connsiteY842" fmla="*/ 85090 h 138429"/>
                <a:gd name="connsiteX843" fmla="*/ 2203445 w 4940931"/>
                <a:gd name="connsiteY843" fmla="*/ 91440 h 138429"/>
                <a:gd name="connsiteX844" fmla="*/ 2209160 w 4940931"/>
                <a:gd name="connsiteY844" fmla="*/ 95250 h 138429"/>
                <a:gd name="connsiteX845" fmla="*/ 2216145 w 4940931"/>
                <a:gd name="connsiteY845" fmla="*/ 96520 h 138429"/>
                <a:gd name="connsiteX846" fmla="*/ 2221225 w 4940931"/>
                <a:gd name="connsiteY846" fmla="*/ 96520 h 138429"/>
                <a:gd name="connsiteX847" fmla="*/ 2225670 w 4940931"/>
                <a:gd name="connsiteY847" fmla="*/ 95250 h 138429"/>
                <a:gd name="connsiteX848" fmla="*/ 2229480 w 4940931"/>
                <a:gd name="connsiteY848" fmla="*/ 93345 h 138429"/>
                <a:gd name="connsiteX849" fmla="*/ 2233925 w 4940931"/>
                <a:gd name="connsiteY849" fmla="*/ 90805 h 138429"/>
                <a:gd name="connsiteX850" fmla="*/ 2242815 w 4940931"/>
                <a:gd name="connsiteY850" fmla="*/ 100330 h 138429"/>
                <a:gd name="connsiteX851" fmla="*/ 2237100 w 4940931"/>
                <a:gd name="connsiteY851" fmla="*/ 104775 h 138429"/>
                <a:gd name="connsiteX852" fmla="*/ 2231385 w 4940931"/>
                <a:gd name="connsiteY852" fmla="*/ 107950 h 138429"/>
                <a:gd name="connsiteX853" fmla="*/ 2224400 w 4940931"/>
                <a:gd name="connsiteY853" fmla="*/ 109855 h 138429"/>
                <a:gd name="connsiteX854" fmla="*/ 2215510 w 4940931"/>
                <a:gd name="connsiteY854" fmla="*/ 110490 h 138429"/>
                <a:gd name="connsiteX855" fmla="*/ 2205985 w 4940931"/>
                <a:gd name="connsiteY855" fmla="*/ 109220 h 138429"/>
                <a:gd name="connsiteX856" fmla="*/ 2198365 w 4940931"/>
                <a:gd name="connsiteY856" fmla="*/ 105410 h 138429"/>
                <a:gd name="connsiteX857" fmla="*/ 2192015 w 4940931"/>
                <a:gd name="connsiteY857" fmla="*/ 100330 h 138429"/>
                <a:gd name="connsiteX858" fmla="*/ 2186935 w 4940931"/>
                <a:gd name="connsiteY858" fmla="*/ 92710 h 138429"/>
                <a:gd name="connsiteX859" fmla="*/ 2183125 w 4940931"/>
                <a:gd name="connsiteY859" fmla="*/ 82550 h 138429"/>
                <a:gd name="connsiteX860" fmla="*/ 2181855 w 4940931"/>
                <a:gd name="connsiteY860" fmla="*/ 69850 h 138429"/>
                <a:gd name="connsiteX861" fmla="*/ 2184395 w 4940931"/>
                <a:gd name="connsiteY861" fmla="*/ 52070 h 138429"/>
                <a:gd name="connsiteX862" fmla="*/ 2191380 w 4940931"/>
                <a:gd name="connsiteY862" fmla="*/ 39370 h 138429"/>
                <a:gd name="connsiteX863" fmla="*/ 2202175 w 4940931"/>
                <a:gd name="connsiteY863" fmla="*/ 31750 h 138429"/>
                <a:gd name="connsiteX864" fmla="*/ 2216145 w 4940931"/>
                <a:gd name="connsiteY864" fmla="*/ 29210 h 138429"/>
                <a:gd name="connsiteX865" fmla="*/ 2029456 w 4940931"/>
                <a:gd name="connsiteY865" fmla="*/ 29210 h 138429"/>
                <a:gd name="connsiteX866" fmla="*/ 2044061 w 4940931"/>
                <a:gd name="connsiteY866" fmla="*/ 32385 h 138429"/>
                <a:gd name="connsiteX867" fmla="*/ 2054221 w 4940931"/>
                <a:gd name="connsiteY867" fmla="*/ 40640 h 138429"/>
                <a:gd name="connsiteX868" fmla="*/ 2060571 w 4940931"/>
                <a:gd name="connsiteY868" fmla="*/ 53340 h 138429"/>
                <a:gd name="connsiteX869" fmla="*/ 2062476 w 4940931"/>
                <a:gd name="connsiteY869" fmla="*/ 68580 h 138429"/>
                <a:gd name="connsiteX870" fmla="*/ 2061206 w 4940931"/>
                <a:gd name="connsiteY870" fmla="*/ 68580 h 138429"/>
                <a:gd name="connsiteX871" fmla="*/ 2061206 w 4940931"/>
                <a:gd name="connsiteY871" fmla="*/ 72390 h 138429"/>
                <a:gd name="connsiteX872" fmla="*/ 2061206 w 4940931"/>
                <a:gd name="connsiteY872" fmla="*/ 75565 h 138429"/>
                <a:gd name="connsiteX873" fmla="*/ 2009771 w 4940931"/>
                <a:gd name="connsiteY873" fmla="*/ 75565 h 138429"/>
                <a:gd name="connsiteX874" fmla="*/ 2012311 w 4940931"/>
                <a:gd name="connsiteY874" fmla="*/ 85090 h 138429"/>
                <a:gd name="connsiteX875" fmla="*/ 2016756 w 4940931"/>
                <a:gd name="connsiteY875" fmla="*/ 91440 h 138429"/>
                <a:gd name="connsiteX876" fmla="*/ 2022471 w 4940931"/>
                <a:gd name="connsiteY876" fmla="*/ 95250 h 138429"/>
                <a:gd name="connsiteX877" fmla="*/ 2029456 w 4940931"/>
                <a:gd name="connsiteY877" fmla="*/ 96520 h 138429"/>
                <a:gd name="connsiteX878" fmla="*/ 2034536 w 4940931"/>
                <a:gd name="connsiteY878" fmla="*/ 96520 h 138429"/>
                <a:gd name="connsiteX879" fmla="*/ 2038981 w 4940931"/>
                <a:gd name="connsiteY879" fmla="*/ 95250 h 138429"/>
                <a:gd name="connsiteX880" fmla="*/ 2042791 w 4940931"/>
                <a:gd name="connsiteY880" fmla="*/ 93345 h 138429"/>
                <a:gd name="connsiteX881" fmla="*/ 2047236 w 4940931"/>
                <a:gd name="connsiteY881" fmla="*/ 90805 h 138429"/>
                <a:gd name="connsiteX882" fmla="*/ 2056126 w 4940931"/>
                <a:gd name="connsiteY882" fmla="*/ 100330 h 138429"/>
                <a:gd name="connsiteX883" fmla="*/ 2050411 w 4940931"/>
                <a:gd name="connsiteY883" fmla="*/ 104775 h 138429"/>
                <a:gd name="connsiteX884" fmla="*/ 2044696 w 4940931"/>
                <a:gd name="connsiteY884" fmla="*/ 107950 h 138429"/>
                <a:gd name="connsiteX885" fmla="*/ 2037711 w 4940931"/>
                <a:gd name="connsiteY885" fmla="*/ 109855 h 138429"/>
                <a:gd name="connsiteX886" fmla="*/ 2028821 w 4940931"/>
                <a:gd name="connsiteY886" fmla="*/ 110490 h 138429"/>
                <a:gd name="connsiteX887" fmla="*/ 2019296 w 4940931"/>
                <a:gd name="connsiteY887" fmla="*/ 109220 h 138429"/>
                <a:gd name="connsiteX888" fmla="*/ 2011676 w 4940931"/>
                <a:gd name="connsiteY888" fmla="*/ 105410 h 138429"/>
                <a:gd name="connsiteX889" fmla="*/ 2005326 w 4940931"/>
                <a:gd name="connsiteY889" fmla="*/ 100330 h 138429"/>
                <a:gd name="connsiteX890" fmla="*/ 2000246 w 4940931"/>
                <a:gd name="connsiteY890" fmla="*/ 92710 h 138429"/>
                <a:gd name="connsiteX891" fmla="*/ 1996436 w 4940931"/>
                <a:gd name="connsiteY891" fmla="*/ 82550 h 138429"/>
                <a:gd name="connsiteX892" fmla="*/ 1995166 w 4940931"/>
                <a:gd name="connsiteY892" fmla="*/ 69850 h 138429"/>
                <a:gd name="connsiteX893" fmla="*/ 1997706 w 4940931"/>
                <a:gd name="connsiteY893" fmla="*/ 52070 h 138429"/>
                <a:gd name="connsiteX894" fmla="*/ 2004691 w 4940931"/>
                <a:gd name="connsiteY894" fmla="*/ 39370 h 138429"/>
                <a:gd name="connsiteX895" fmla="*/ 2015486 w 4940931"/>
                <a:gd name="connsiteY895" fmla="*/ 31750 h 138429"/>
                <a:gd name="connsiteX896" fmla="*/ 2029456 w 4940931"/>
                <a:gd name="connsiteY896" fmla="*/ 29210 h 138429"/>
                <a:gd name="connsiteX897" fmla="*/ 1831336 w 4940931"/>
                <a:gd name="connsiteY897" fmla="*/ 29210 h 138429"/>
                <a:gd name="connsiteX898" fmla="*/ 1845941 w 4940931"/>
                <a:gd name="connsiteY898" fmla="*/ 32385 h 138429"/>
                <a:gd name="connsiteX899" fmla="*/ 1856101 w 4940931"/>
                <a:gd name="connsiteY899" fmla="*/ 40640 h 138429"/>
                <a:gd name="connsiteX900" fmla="*/ 1862451 w 4940931"/>
                <a:gd name="connsiteY900" fmla="*/ 53340 h 138429"/>
                <a:gd name="connsiteX901" fmla="*/ 1864356 w 4940931"/>
                <a:gd name="connsiteY901" fmla="*/ 68580 h 138429"/>
                <a:gd name="connsiteX902" fmla="*/ 1863086 w 4940931"/>
                <a:gd name="connsiteY902" fmla="*/ 68580 h 138429"/>
                <a:gd name="connsiteX903" fmla="*/ 1863086 w 4940931"/>
                <a:gd name="connsiteY903" fmla="*/ 72390 h 138429"/>
                <a:gd name="connsiteX904" fmla="*/ 1863086 w 4940931"/>
                <a:gd name="connsiteY904" fmla="*/ 75565 h 138429"/>
                <a:gd name="connsiteX905" fmla="*/ 1811651 w 4940931"/>
                <a:gd name="connsiteY905" fmla="*/ 75565 h 138429"/>
                <a:gd name="connsiteX906" fmla="*/ 1814191 w 4940931"/>
                <a:gd name="connsiteY906" fmla="*/ 85090 h 138429"/>
                <a:gd name="connsiteX907" fmla="*/ 1818636 w 4940931"/>
                <a:gd name="connsiteY907" fmla="*/ 91440 h 138429"/>
                <a:gd name="connsiteX908" fmla="*/ 1824351 w 4940931"/>
                <a:gd name="connsiteY908" fmla="*/ 95250 h 138429"/>
                <a:gd name="connsiteX909" fmla="*/ 1831336 w 4940931"/>
                <a:gd name="connsiteY909" fmla="*/ 96520 h 138429"/>
                <a:gd name="connsiteX910" fmla="*/ 1836416 w 4940931"/>
                <a:gd name="connsiteY910" fmla="*/ 96520 h 138429"/>
                <a:gd name="connsiteX911" fmla="*/ 1840861 w 4940931"/>
                <a:gd name="connsiteY911" fmla="*/ 95250 h 138429"/>
                <a:gd name="connsiteX912" fmla="*/ 1844671 w 4940931"/>
                <a:gd name="connsiteY912" fmla="*/ 93345 h 138429"/>
                <a:gd name="connsiteX913" fmla="*/ 1849116 w 4940931"/>
                <a:gd name="connsiteY913" fmla="*/ 90805 h 138429"/>
                <a:gd name="connsiteX914" fmla="*/ 1858006 w 4940931"/>
                <a:gd name="connsiteY914" fmla="*/ 100330 h 138429"/>
                <a:gd name="connsiteX915" fmla="*/ 1852291 w 4940931"/>
                <a:gd name="connsiteY915" fmla="*/ 104775 h 138429"/>
                <a:gd name="connsiteX916" fmla="*/ 1846576 w 4940931"/>
                <a:gd name="connsiteY916" fmla="*/ 107950 h 138429"/>
                <a:gd name="connsiteX917" fmla="*/ 1839591 w 4940931"/>
                <a:gd name="connsiteY917" fmla="*/ 109855 h 138429"/>
                <a:gd name="connsiteX918" fmla="*/ 1830701 w 4940931"/>
                <a:gd name="connsiteY918" fmla="*/ 110490 h 138429"/>
                <a:gd name="connsiteX919" fmla="*/ 1821176 w 4940931"/>
                <a:gd name="connsiteY919" fmla="*/ 109220 h 138429"/>
                <a:gd name="connsiteX920" fmla="*/ 1813556 w 4940931"/>
                <a:gd name="connsiteY920" fmla="*/ 105410 h 138429"/>
                <a:gd name="connsiteX921" fmla="*/ 1807206 w 4940931"/>
                <a:gd name="connsiteY921" fmla="*/ 100330 h 138429"/>
                <a:gd name="connsiteX922" fmla="*/ 1802126 w 4940931"/>
                <a:gd name="connsiteY922" fmla="*/ 92710 h 138429"/>
                <a:gd name="connsiteX923" fmla="*/ 1798316 w 4940931"/>
                <a:gd name="connsiteY923" fmla="*/ 82550 h 138429"/>
                <a:gd name="connsiteX924" fmla="*/ 1797046 w 4940931"/>
                <a:gd name="connsiteY924" fmla="*/ 69850 h 138429"/>
                <a:gd name="connsiteX925" fmla="*/ 1799586 w 4940931"/>
                <a:gd name="connsiteY925" fmla="*/ 52070 h 138429"/>
                <a:gd name="connsiteX926" fmla="*/ 1806571 w 4940931"/>
                <a:gd name="connsiteY926" fmla="*/ 39370 h 138429"/>
                <a:gd name="connsiteX927" fmla="*/ 1817366 w 4940931"/>
                <a:gd name="connsiteY927" fmla="*/ 31750 h 138429"/>
                <a:gd name="connsiteX928" fmla="*/ 1831336 w 4940931"/>
                <a:gd name="connsiteY928" fmla="*/ 29210 h 138429"/>
                <a:gd name="connsiteX929" fmla="*/ 1501140 w 4940931"/>
                <a:gd name="connsiteY929" fmla="*/ 29210 h 138429"/>
                <a:gd name="connsiteX930" fmla="*/ 1506856 w 4940931"/>
                <a:gd name="connsiteY930" fmla="*/ 29210 h 138429"/>
                <a:gd name="connsiteX931" fmla="*/ 1518920 w 4940931"/>
                <a:gd name="connsiteY931" fmla="*/ 31750 h 138429"/>
                <a:gd name="connsiteX932" fmla="*/ 1527811 w 4940931"/>
                <a:gd name="connsiteY932" fmla="*/ 38100 h 138429"/>
                <a:gd name="connsiteX933" fmla="*/ 1532891 w 4940931"/>
                <a:gd name="connsiteY933" fmla="*/ 48895 h 138429"/>
                <a:gd name="connsiteX934" fmla="*/ 1534796 w 4940931"/>
                <a:gd name="connsiteY934" fmla="*/ 64135 h 138429"/>
                <a:gd name="connsiteX935" fmla="*/ 1534796 w 4940931"/>
                <a:gd name="connsiteY935" fmla="*/ 108585 h 138429"/>
                <a:gd name="connsiteX936" fmla="*/ 1519556 w 4940931"/>
                <a:gd name="connsiteY936" fmla="*/ 108585 h 138429"/>
                <a:gd name="connsiteX937" fmla="*/ 1518920 w 4940931"/>
                <a:gd name="connsiteY937" fmla="*/ 108585 h 138429"/>
                <a:gd name="connsiteX938" fmla="*/ 1518920 w 4940931"/>
                <a:gd name="connsiteY938" fmla="*/ 64770 h 138429"/>
                <a:gd name="connsiteX939" fmla="*/ 1515111 w 4940931"/>
                <a:gd name="connsiteY939" fmla="*/ 48895 h 138429"/>
                <a:gd name="connsiteX940" fmla="*/ 1503046 w 4940931"/>
                <a:gd name="connsiteY940" fmla="*/ 43180 h 138429"/>
                <a:gd name="connsiteX941" fmla="*/ 1496061 w 4940931"/>
                <a:gd name="connsiteY941" fmla="*/ 44450 h 138429"/>
                <a:gd name="connsiteX942" fmla="*/ 1490981 w 4940931"/>
                <a:gd name="connsiteY942" fmla="*/ 48260 h 138429"/>
                <a:gd name="connsiteX943" fmla="*/ 1487806 w 4940931"/>
                <a:gd name="connsiteY943" fmla="*/ 54610 h 138429"/>
                <a:gd name="connsiteX944" fmla="*/ 1487170 w 4940931"/>
                <a:gd name="connsiteY944" fmla="*/ 62865 h 138429"/>
                <a:gd name="connsiteX945" fmla="*/ 1487170 w 4940931"/>
                <a:gd name="connsiteY945" fmla="*/ 108585 h 138429"/>
                <a:gd name="connsiteX946" fmla="*/ 1471931 w 4940931"/>
                <a:gd name="connsiteY946" fmla="*/ 108585 h 138429"/>
                <a:gd name="connsiteX947" fmla="*/ 1471931 w 4940931"/>
                <a:gd name="connsiteY947" fmla="*/ 30480 h 138429"/>
                <a:gd name="connsiteX948" fmla="*/ 1487170 w 4940931"/>
                <a:gd name="connsiteY948" fmla="*/ 30480 h 138429"/>
                <a:gd name="connsiteX949" fmla="*/ 1487170 w 4940931"/>
                <a:gd name="connsiteY949" fmla="*/ 38100 h 138429"/>
                <a:gd name="connsiteX950" fmla="*/ 1490981 w 4940931"/>
                <a:gd name="connsiteY950" fmla="*/ 34290 h 138429"/>
                <a:gd name="connsiteX951" fmla="*/ 1495426 w 4940931"/>
                <a:gd name="connsiteY951" fmla="*/ 31115 h 138429"/>
                <a:gd name="connsiteX952" fmla="*/ 1501140 w 4940931"/>
                <a:gd name="connsiteY952" fmla="*/ 29210 h 138429"/>
                <a:gd name="connsiteX953" fmla="*/ 1250316 w 4940931"/>
                <a:gd name="connsiteY953" fmla="*/ 29210 h 138429"/>
                <a:gd name="connsiteX954" fmla="*/ 1264286 w 4940931"/>
                <a:gd name="connsiteY954" fmla="*/ 31750 h 138429"/>
                <a:gd name="connsiteX955" fmla="*/ 1276350 w 4940931"/>
                <a:gd name="connsiteY955" fmla="*/ 38100 h 138429"/>
                <a:gd name="connsiteX956" fmla="*/ 1278256 w 4940931"/>
                <a:gd name="connsiteY956" fmla="*/ 38100 h 138429"/>
                <a:gd name="connsiteX957" fmla="*/ 1271271 w 4940931"/>
                <a:gd name="connsiteY957" fmla="*/ 50165 h 138429"/>
                <a:gd name="connsiteX958" fmla="*/ 1261746 w 4940931"/>
                <a:gd name="connsiteY958" fmla="*/ 45085 h 138429"/>
                <a:gd name="connsiteX959" fmla="*/ 1250951 w 4940931"/>
                <a:gd name="connsiteY959" fmla="*/ 43180 h 138429"/>
                <a:gd name="connsiteX960" fmla="*/ 1242696 w 4940931"/>
                <a:gd name="connsiteY960" fmla="*/ 45085 h 138429"/>
                <a:gd name="connsiteX961" fmla="*/ 1240156 w 4940931"/>
                <a:gd name="connsiteY961" fmla="*/ 50165 h 138429"/>
                <a:gd name="connsiteX962" fmla="*/ 1240156 w 4940931"/>
                <a:gd name="connsiteY962" fmla="*/ 52705 h 138429"/>
                <a:gd name="connsiteX963" fmla="*/ 1242061 w 4940931"/>
                <a:gd name="connsiteY963" fmla="*/ 55245 h 138429"/>
                <a:gd name="connsiteX964" fmla="*/ 1246506 w 4940931"/>
                <a:gd name="connsiteY964" fmla="*/ 57785 h 138429"/>
                <a:gd name="connsiteX965" fmla="*/ 1253491 w 4940931"/>
                <a:gd name="connsiteY965" fmla="*/ 60960 h 138429"/>
                <a:gd name="connsiteX966" fmla="*/ 1264921 w 4940931"/>
                <a:gd name="connsiteY966" fmla="*/ 66040 h 138429"/>
                <a:gd name="connsiteX967" fmla="*/ 1273176 w 4940931"/>
                <a:gd name="connsiteY967" fmla="*/ 71120 h 138429"/>
                <a:gd name="connsiteX968" fmla="*/ 1278256 w 4940931"/>
                <a:gd name="connsiteY968" fmla="*/ 78105 h 138429"/>
                <a:gd name="connsiteX969" fmla="*/ 1280161 w 4940931"/>
                <a:gd name="connsiteY969" fmla="*/ 87630 h 138429"/>
                <a:gd name="connsiteX970" fmla="*/ 1277621 w 4940931"/>
                <a:gd name="connsiteY970" fmla="*/ 98425 h 138429"/>
                <a:gd name="connsiteX971" fmla="*/ 1271271 w 4940931"/>
                <a:gd name="connsiteY971" fmla="*/ 105410 h 138429"/>
                <a:gd name="connsiteX972" fmla="*/ 1261746 w 4940931"/>
                <a:gd name="connsiteY972" fmla="*/ 109220 h 138429"/>
                <a:gd name="connsiteX973" fmla="*/ 1250951 w 4940931"/>
                <a:gd name="connsiteY973" fmla="*/ 110490 h 138429"/>
                <a:gd name="connsiteX974" fmla="*/ 1235711 w 4940931"/>
                <a:gd name="connsiteY974" fmla="*/ 107950 h 138429"/>
                <a:gd name="connsiteX975" fmla="*/ 1221106 w 4940931"/>
                <a:gd name="connsiteY975" fmla="*/ 100965 h 138429"/>
                <a:gd name="connsiteX976" fmla="*/ 1228091 w 4940931"/>
                <a:gd name="connsiteY976" fmla="*/ 89535 h 138429"/>
                <a:gd name="connsiteX977" fmla="*/ 1239521 w 4940931"/>
                <a:gd name="connsiteY977" fmla="*/ 95250 h 138429"/>
                <a:gd name="connsiteX978" fmla="*/ 1250951 w 4940931"/>
                <a:gd name="connsiteY978" fmla="*/ 97155 h 138429"/>
                <a:gd name="connsiteX979" fmla="*/ 1261746 w 4940931"/>
                <a:gd name="connsiteY979" fmla="*/ 94615 h 138429"/>
                <a:gd name="connsiteX980" fmla="*/ 1264921 w 4940931"/>
                <a:gd name="connsiteY980" fmla="*/ 88265 h 138429"/>
                <a:gd name="connsiteX981" fmla="*/ 1263650 w 4940931"/>
                <a:gd name="connsiteY981" fmla="*/ 84455 h 138429"/>
                <a:gd name="connsiteX982" fmla="*/ 1259841 w 4940931"/>
                <a:gd name="connsiteY982" fmla="*/ 81280 h 138429"/>
                <a:gd name="connsiteX983" fmla="*/ 1254125 w 4940931"/>
                <a:gd name="connsiteY983" fmla="*/ 78105 h 138429"/>
                <a:gd name="connsiteX984" fmla="*/ 1246506 w 4940931"/>
                <a:gd name="connsiteY984" fmla="*/ 74930 h 138429"/>
                <a:gd name="connsiteX985" fmla="*/ 1235711 w 4940931"/>
                <a:gd name="connsiteY985" fmla="*/ 69850 h 138429"/>
                <a:gd name="connsiteX986" fmla="*/ 1228726 w 4940931"/>
                <a:gd name="connsiteY986" fmla="*/ 64770 h 138429"/>
                <a:gd name="connsiteX987" fmla="*/ 1224916 w 4940931"/>
                <a:gd name="connsiteY987" fmla="*/ 58420 h 138429"/>
                <a:gd name="connsiteX988" fmla="*/ 1223646 w 4940931"/>
                <a:gd name="connsiteY988" fmla="*/ 50165 h 138429"/>
                <a:gd name="connsiteX989" fmla="*/ 1225551 w 4940931"/>
                <a:gd name="connsiteY989" fmla="*/ 40640 h 138429"/>
                <a:gd name="connsiteX990" fmla="*/ 1231266 w 4940931"/>
                <a:gd name="connsiteY990" fmla="*/ 34290 h 138429"/>
                <a:gd name="connsiteX991" fmla="*/ 1239521 w 4940931"/>
                <a:gd name="connsiteY991" fmla="*/ 30480 h 138429"/>
                <a:gd name="connsiteX992" fmla="*/ 1250316 w 4940931"/>
                <a:gd name="connsiteY992" fmla="*/ 29210 h 138429"/>
                <a:gd name="connsiteX993" fmla="*/ 1180466 w 4940931"/>
                <a:gd name="connsiteY993" fmla="*/ 29210 h 138429"/>
                <a:gd name="connsiteX994" fmla="*/ 1195071 w 4940931"/>
                <a:gd name="connsiteY994" fmla="*/ 32385 h 138429"/>
                <a:gd name="connsiteX995" fmla="*/ 1205231 w 4940931"/>
                <a:gd name="connsiteY995" fmla="*/ 40640 h 138429"/>
                <a:gd name="connsiteX996" fmla="*/ 1211581 w 4940931"/>
                <a:gd name="connsiteY996" fmla="*/ 53340 h 138429"/>
                <a:gd name="connsiteX997" fmla="*/ 1213486 w 4940931"/>
                <a:gd name="connsiteY997" fmla="*/ 68580 h 138429"/>
                <a:gd name="connsiteX998" fmla="*/ 1212216 w 4940931"/>
                <a:gd name="connsiteY998" fmla="*/ 68580 h 138429"/>
                <a:gd name="connsiteX999" fmla="*/ 1212216 w 4940931"/>
                <a:gd name="connsiteY999" fmla="*/ 72390 h 138429"/>
                <a:gd name="connsiteX1000" fmla="*/ 1212216 w 4940931"/>
                <a:gd name="connsiteY1000" fmla="*/ 75565 h 138429"/>
                <a:gd name="connsiteX1001" fmla="*/ 1160781 w 4940931"/>
                <a:gd name="connsiteY1001" fmla="*/ 75565 h 138429"/>
                <a:gd name="connsiteX1002" fmla="*/ 1163321 w 4940931"/>
                <a:gd name="connsiteY1002" fmla="*/ 85090 h 138429"/>
                <a:gd name="connsiteX1003" fmla="*/ 1167766 w 4940931"/>
                <a:gd name="connsiteY1003" fmla="*/ 91440 h 138429"/>
                <a:gd name="connsiteX1004" fmla="*/ 1173481 w 4940931"/>
                <a:gd name="connsiteY1004" fmla="*/ 95250 h 138429"/>
                <a:gd name="connsiteX1005" fmla="*/ 1180466 w 4940931"/>
                <a:gd name="connsiteY1005" fmla="*/ 96520 h 138429"/>
                <a:gd name="connsiteX1006" fmla="*/ 1185546 w 4940931"/>
                <a:gd name="connsiteY1006" fmla="*/ 96520 h 138429"/>
                <a:gd name="connsiteX1007" fmla="*/ 1189991 w 4940931"/>
                <a:gd name="connsiteY1007" fmla="*/ 95250 h 138429"/>
                <a:gd name="connsiteX1008" fmla="*/ 1193801 w 4940931"/>
                <a:gd name="connsiteY1008" fmla="*/ 93345 h 138429"/>
                <a:gd name="connsiteX1009" fmla="*/ 1198246 w 4940931"/>
                <a:gd name="connsiteY1009" fmla="*/ 90805 h 138429"/>
                <a:gd name="connsiteX1010" fmla="*/ 1207136 w 4940931"/>
                <a:gd name="connsiteY1010" fmla="*/ 100330 h 138429"/>
                <a:gd name="connsiteX1011" fmla="*/ 1201421 w 4940931"/>
                <a:gd name="connsiteY1011" fmla="*/ 104775 h 138429"/>
                <a:gd name="connsiteX1012" fmla="*/ 1195706 w 4940931"/>
                <a:gd name="connsiteY1012" fmla="*/ 107950 h 138429"/>
                <a:gd name="connsiteX1013" fmla="*/ 1188721 w 4940931"/>
                <a:gd name="connsiteY1013" fmla="*/ 109855 h 138429"/>
                <a:gd name="connsiteX1014" fmla="*/ 1179831 w 4940931"/>
                <a:gd name="connsiteY1014" fmla="*/ 110490 h 138429"/>
                <a:gd name="connsiteX1015" fmla="*/ 1170306 w 4940931"/>
                <a:gd name="connsiteY1015" fmla="*/ 109220 h 138429"/>
                <a:gd name="connsiteX1016" fmla="*/ 1162686 w 4940931"/>
                <a:gd name="connsiteY1016" fmla="*/ 105410 h 138429"/>
                <a:gd name="connsiteX1017" fmla="*/ 1156336 w 4940931"/>
                <a:gd name="connsiteY1017" fmla="*/ 100330 h 138429"/>
                <a:gd name="connsiteX1018" fmla="*/ 1151256 w 4940931"/>
                <a:gd name="connsiteY1018" fmla="*/ 92710 h 138429"/>
                <a:gd name="connsiteX1019" fmla="*/ 1147446 w 4940931"/>
                <a:gd name="connsiteY1019" fmla="*/ 82550 h 138429"/>
                <a:gd name="connsiteX1020" fmla="*/ 1146176 w 4940931"/>
                <a:gd name="connsiteY1020" fmla="*/ 69850 h 138429"/>
                <a:gd name="connsiteX1021" fmla="*/ 1148716 w 4940931"/>
                <a:gd name="connsiteY1021" fmla="*/ 52070 h 138429"/>
                <a:gd name="connsiteX1022" fmla="*/ 1155701 w 4940931"/>
                <a:gd name="connsiteY1022" fmla="*/ 39370 h 138429"/>
                <a:gd name="connsiteX1023" fmla="*/ 1166496 w 4940931"/>
                <a:gd name="connsiteY1023" fmla="*/ 31750 h 138429"/>
                <a:gd name="connsiteX1024" fmla="*/ 1180466 w 4940931"/>
                <a:gd name="connsiteY1024" fmla="*/ 29210 h 138429"/>
                <a:gd name="connsiteX1025" fmla="*/ 901065 w 4940931"/>
                <a:gd name="connsiteY1025" fmla="*/ 29210 h 138429"/>
                <a:gd name="connsiteX1026" fmla="*/ 915670 w 4940931"/>
                <a:gd name="connsiteY1026" fmla="*/ 32385 h 138429"/>
                <a:gd name="connsiteX1027" fmla="*/ 925830 w 4940931"/>
                <a:gd name="connsiteY1027" fmla="*/ 40640 h 138429"/>
                <a:gd name="connsiteX1028" fmla="*/ 932180 w 4940931"/>
                <a:gd name="connsiteY1028" fmla="*/ 53340 h 138429"/>
                <a:gd name="connsiteX1029" fmla="*/ 934085 w 4940931"/>
                <a:gd name="connsiteY1029" fmla="*/ 68580 h 138429"/>
                <a:gd name="connsiteX1030" fmla="*/ 932815 w 4940931"/>
                <a:gd name="connsiteY1030" fmla="*/ 68580 h 138429"/>
                <a:gd name="connsiteX1031" fmla="*/ 932815 w 4940931"/>
                <a:gd name="connsiteY1031" fmla="*/ 72390 h 138429"/>
                <a:gd name="connsiteX1032" fmla="*/ 932815 w 4940931"/>
                <a:gd name="connsiteY1032" fmla="*/ 75565 h 138429"/>
                <a:gd name="connsiteX1033" fmla="*/ 881380 w 4940931"/>
                <a:gd name="connsiteY1033" fmla="*/ 75565 h 138429"/>
                <a:gd name="connsiteX1034" fmla="*/ 883920 w 4940931"/>
                <a:gd name="connsiteY1034" fmla="*/ 85090 h 138429"/>
                <a:gd name="connsiteX1035" fmla="*/ 888365 w 4940931"/>
                <a:gd name="connsiteY1035" fmla="*/ 91440 h 138429"/>
                <a:gd name="connsiteX1036" fmla="*/ 894080 w 4940931"/>
                <a:gd name="connsiteY1036" fmla="*/ 95250 h 138429"/>
                <a:gd name="connsiteX1037" fmla="*/ 901065 w 4940931"/>
                <a:gd name="connsiteY1037" fmla="*/ 96520 h 138429"/>
                <a:gd name="connsiteX1038" fmla="*/ 906145 w 4940931"/>
                <a:gd name="connsiteY1038" fmla="*/ 96520 h 138429"/>
                <a:gd name="connsiteX1039" fmla="*/ 910590 w 4940931"/>
                <a:gd name="connsiteY1039" fmla="*/ 95250 h 138429"/>
                <a:gd name="connsiteX1040" fmla="*/ 914400 w 4940931"/>
                <a:gd name="connsiteY1040" fmla="*/ 93345 h 138429"/>
                <a:gd name="connsiteX1041" fmla="*/ 918845 w 4940931"/>
                <a:gd name="connsiteY1041" fmla="*/ 90805 h 138429"/>
                <a:gd name="connsiteX1042" fmla="*/ 927735 w 4940931"/>
                <a:gd name="connsiteY1042" fmla="*/ 100330 h 138429"/>
                <a:gd name="connsiteX1043" fmla="*/ 922020 w 4940931"/>
                <a:gd name="connsiteY1043" fmla="*/ 104775 h 138429"/>
                <a:gd name="connsiteX1044" fmla="*/ 916305 w 4940931"/>
                <a:gd name="connsiteY1044" fmla="*/ 107950 h 138429"/>
                <a:gd name="connsiteX1045" fmla="*/ 909320 w 4940931"/>
                <a:gd name="connsiteY1045" fmla="*/ 109855 h 138429"/>
                <a:gd name="connsiteX1046" fmla="*/ 900430 w 4940931"/>
                <a:gd name="connsiteY1046" fmla="*/ 110490 h 138429"/>
                <a:gd name="connsiteX1047" fmla="*/ 890905 w 4940931"/>
                <a:gd name="connsiteY1047" fmla="*/ 109220 h 138429"/>
                <a:gd name="connsiteX1048" fmla="*/ 883285 w 4940931"/>
                <a:gd name="connsiteY1048" fmla="*/ 105410 h 138429"/>
                <a:gd name="connsiteX1049" fmla="*/ 876935 w 4940931"/>
                <a:gd name="connsiteY1049" fmla="*/ 100330 h 138429"/>
                <a:gd name="connsiteX1050" fmla="*/ 871855 w 4940931"/>
                <a:gd name="connsiteY1050" fmla="*/ 92710 h 138429"/>
                <a:gd name="connsiteX1051" fmla="*/ 868045 w 4940931"/>
                <a:gd name="connsiteY1051" fmla="*/ 82550 h 138429"/>
                <a:gd name="connsiteX1052" fmla="*/ 866775 w 4940931"/>
                <a:gd name="connsiteY1052" fmla="*/ 69850 h 138429"/>
                <a:gd name="connsiteX1053" fmla="*/ 869315 w 4940931"/>
                <a:gd name="connsiteY1053" fmla="*/ 52070 h 138429"/>
                <a:gd name="connsiteX1054" fmla="*/ 876300 w 4940931"/>
                <a:gd name="connsiteY1054" fmla="*/ 39370 h 138429"/>
                <a:gd name="connsiteX1055" fmla="*/ 887095 w 4940931"/>
                <a:gd name="connsiteY1055" fmla="*/ 31750 h 138429"/>
                <a:gd name="connsiteX1056" fmla="*/ 901065 w 4940931"/>
                <a:gd name="connsiteY1056" fmla="*/ 29210 h 138429"/>
                <a:gd name="connsiteX1057" fmla="*/ 668656 w 4940931"/>
                <a:gd name="connsiteY1057" fmla="*/ 29210 h 138429"/>
                <a:gd name="connsiteX1058" fmla="*/ 676275 w 4940931"/>
                <a:gd name="connsiteY1058" fmla="*/ 29845 h 138429"/>
                <a:gd name="connsiteX1059" fmla="*/ 681991 w 4940931"/>
                <a:gd name="connsiteY1059" fmla="*/ 32385 h 138429"/>
                <a:gd name="connsiteX1060" fmla="*/ 678181 w 4940931"/>
                <a:gd name="connsiteY1060" fmla="*/ 46990 h 138429"/>
                <a:gd name="connsiteX1061" fmla="*/ 676910 w 4940931"/>
                <a:gd name="connsiteY1061" fmla="*/ 46990 h 138429"/>
                <a:gd name="connsiteX1062" fmla="*/ 671830 w 4940931"/>
                <a:gd name="connsiteY1062" fmla="*/ 45085 h 138429"/>
                <a:gd name="connsiteX1063" fmla="*/ 665480 w 4940931"/>
                <a:gd name="connsiteY1063" fmla="*/ 44450 h 138429"/>
                <a:gd name="connsiteX1064" fmla="*/ 654050 w 4940931"/>
                <a:gd name="connsiteY1064" fmla="*/ 49530 h 138429"/>
                <a:gd name="connsiteX1065" fmla="*/ 650240 w 4940931"/>
                <a:gd name="connsiteY1065" fmla="*/ 64770 h 138429"/>
                <a:gd name="connsiteX1066" fmla="*/ 650240 w 4940931"/>
                <a:gd name="connsiteY1066" fmla="*/ 109220 h 138429"/>
                <a:gd name="connsiteX1067" fmla="*/ 635000 w 4940931"/>
                <a:gd name="connsiteY1067" fmla="*/ 109220 h 138429"/>
                <a:gd name="connsiteX1068" fmla="*/ 635000 w 4940931"/>
                <a:gd name="connsiteY1068" fmla="*/ 31115 h 138429"/>
                <a:gd name="connsiteX1069" fmla="*/ 650240 w 4940931"/>
                <a:gd name="connsiteY1069" fmla="*/ 31115 h 138429"/>
                <a:gd name="connsiteX1070" fmla="*/ 650240 w 4940931"/>
                <a:gd name="connsiteY1070" fmla="*/ 38735 h 138429"/>
                <a:gd name="connsiteX1071" fmla="*/ 653416 w 4940931"/>
                <a:gd name="connsiteY1071" fmla="*/ 34925 h 138429"/>
                <a:gd name="connsiteX1072" fmla="*/ 657861 w 4940931"/>
                <a:gd name="connsiteY1072" fmla="*/ 31750 h 138429"/>
                <a:gd name="connsiteX1073" fmla="*/ 662940 w 4940931"/>
                <a:gd name="connsiteY1073" fmla="*/ 29845 h 138429"/>
                <a:gd name="connsiteX1074" fmla="*/ 668656 w 4940931"/>
                <a:gd name="connsiteY1074" fmla="*/ 29210 h 138429"/>
                <a:gd name="connsiteX1075" fmla="*/ 586739 w 4940931"/>
                <a:gd name="connsiteY1075" fmla="*/ 29210 h 138429"/>
                <a:gd name="connsiteX1076" fmla="*/ 601344 w 4940931"/>
                <a:gd name="connsiteY1076" fmla="*/ 32385 h 138429"/>
                <a:gd name="connsiteX1077" fmla="*/ 611504 w 4940931"/>
                <a:gd name="connsiteY1077" fmla="*/ 40640 h 138429"/>
                <a:gd name="connsiteX1078" fmla="*/ 617854 w 4940931"/>
                <a:gd name="connsiteY1078" fmla="*/ 53340 h 138429"/>
                <a:gd name="connsiteX1079" fmla="*/ 619759 w 4940931"/>
                <a:gd name="connsiteY1079" fmla="*/ 68580 h 138429"/>
                <a:gd name="connsiteX1080" fmla="*/ 618489 w 4940931"/>
                <a:gd name="connsiteY1080" fmla="*/ 68580 h 138429"/>
                <a:gd name="connsiteX1081" fmla="*/ 618489 w 4940931"/>
                <a:gd name="connsiteY1081" fmla="*/ 72390 h 138429"/>
                <a:gd name="connsiteX1082" fmla="*/ 618489 w 4940931"/>
                <a:gd name="connsiteY1082" fmla="*/ 75565 h 138429"/>
                <a:gd name="connsiteX1083" fmla="*/ 567054 w 4940931"/>
                <a:gd name="connsiteY1083" fmla="*/ 75565 h 138429"/>
                <a:gd name="connsiteX1084" fmla="*/ 569594 w 4940931"/>
                <a:gd name="connsiteY1084" fmla="*/ 85090 h 138429"/>
                <a:gd name="connsiteX1085" fmla="*/ 574039 w 4940931"/>
                <a:gd name="connsiteY1085" fmla="*/ 91440 h 138429"/>
                <a:gd name="connsiteX1086" fmla="*/ 579754 w 4940931"/>
                <a:gd name="connsiteY1086" fmla="*/ 95250 h 138429"/>
                <a:gd name="connsiteX1087" fmla="*/ 586739 w 4940931"/>
                <a:gd name="connsiteY1087" fmla="*/ 96520 h 138429"/>
                <a:gd name="connsiteX1088" fmla="*/ 591819 w 4940931"/>
                <a:gd name="connsiteY1088" fmla="*/ 96520 h 138429"/>
                <a:gd name="connsiteX1089" fmla="*/ 596264 w 4940931"/>
                <a:gd name="connsiteY1089" fmla="*/ 95250 h 138429"/>
                <a:gd name="connsiteX1090" fmla="*/ 600074 w 4940931"/>
                <a:gd name="connsiteY1090" fmla="*/ 93345 h 138429"/>
                <a:gd name="connsiteX1091" fmla="*/ 604519 w 4940931"/>
                <a:gd name="connsiteY1091" fmla="*/ 90805 h 138429"/>
                <a:gd name="connsiteX1092" fmla="*/ 613409 w 4940931"/>
                <a:gd name="connsiteY1092" fmla="*/ 100330 h 138429"/>
                <a:gd name="connsiteX1093" fmla="*/ 607694 w 4940931"/>
                <a:gd name="connsiteY1093" fmla="*/ 104775 h 138429"/>
                <a:gd name="connsiteX1094" fmla="*/ 601979 w 4940931"/>
                <a:gd name="connsiteY1094" fmla="*/ 107950 h 138429"/>
                <a:gd name="connsiteX1095" fmla="*/ 594994 w 4940931"/>
                <a:gd name="connsiteY1095" fmla="*/ 109855 h 138429"/>
                <a:gd name="connsiteX1096" fmla="*/ 586104 w 4940931"/>
                <a:gd name="connsiteY1096" fmla="*/ 110490 h 138429"/>
                <a:gd name="connsiteX1097" fmla="*/ 576579 w 4940931"/>
                <a:gd name="connsiteY1097" fmla="*/ 109220 h 138429"/>
                <a:gd name="connsiteX1098" fmla="*/ 568959 w 4940931"/>
                <a:gd name="connsiteY1098" fmla="*/ 105410 h 138429"/>
                <a:gd name="connsiteX1099" fmla="*/ 562609 w 4940931"/>
                <a:gd name="connsiteY1099" fmla="*/ 100330 h 138429"/>
                <a:gd name="connsiteX1100" fmla="*/ 557529 w 4940931"/>
                <a:gd name="connsiteY1100" fmla="*/ 92710 h 138429"/>
                <a:gd name="connsiteX1101" fmla="*/ 553719 w 4940931"/>
                <a:gd name="connsiteY1101" fmla="*/ 82550 h 138429"/>
                <a:gd name="connsiteX1102" fmla="*/ 552449 w 4940931"/>
                <a:gd name="connsiteY1102" fmla="*/ 69850 h 138429"/>
                <a:gd name="connsiteX1103" fmla="*/ 554989 w 4940931"/>
                <a:gd name="connsiteY1103" fmla="*/ 52070 h 138429"/>
                <a:gd name="connsiteX1104" fmla="*/ 561974 w 4940931"/>
                <a:gd name="connsiteY1104" fmla="*/ 39370 h 138429"/>
                <a:gd name="connsiteX1105" fmla="*/ 572769 w 4940931"/>
                <a:gd name="connsiteY1105" fmla="*/ 31750 h 138429"/>
                <a:gd name="connsiteX1106" fmla="*/ 586739 w 4940931"/>
                <a:gd name="connsiteY1106" fmla="*/ 29210 h 138429"/>
                <a:gd name="connsiteX1107" fmla="*/ 400050 w 4940931"/>
                <a:gd name="connsiteY1107" fmla="*/ 29210 h 138429"/>
                <a:gd name="connsiteX1108" fmla="*/ 414655 w 4940931"/>
                <a:gd name="connsiteY1108" fmla="*/ 32385 h 138429"/>
                <a:gd name="connsiteX1109" fmla="*/ 424815 w 4940931"/>
                <a:gd name="connsiteY1109" fmla="*/ 40640 h 138429"/>
                <a:gd name="connsiteX1110" fmla="*/ 431165 w 4940931"/>
                <a:gd name="connsiteY1110" fmla="*/ 53340 h 138429"/>
                <a:gd name="connsiteX1111" fmla="*/ 433070 w 4940931"/>
                <a:gd name="connsiteY1111" fmla="*/ 68580 h 138429"/>
                <a:gd name="connsiteX1112" fmla="*/ 431800 w 4940931"/>
                <a:gd name="connsiteY1112" fmla="*/ 68580 h 138429"/>
                <a:gd name="connsiteX1113" fmla="*/ 431800 w 4940931"/>
                <a:gd name="connsiteY1113" fmla="*/ 72390 h 138429"/>
                <a:gd name="connsiteX1114" fmla="*/ 431800 w 4940931"/>
                <a:gd name="connsiteY1114" fmla="*/ 75565 h 138429"/>
                <a:gd name="connsiteX1115" fmla="*/ 380365 w 4940931"/>
                <a:gd name="connsiteY1115" fmla="*/ 75565 h 138429"/>
                <a:gd name="connsiteX1116" fmla="*/ 382905 w 4940931"/>
                <a:gd name="connsiteY1116" fmla="*/ 85090 h 138429"/>
                <a:gd name="connsiteX1117" fmla="*/ 387350 w 4940931"/>
                <a:gd name="connsiteY1117" fmla="*/ 91440 h 138429"/>
                <a:gd name="connsiteX1118" fmla="*/ 393065 w 4940931"/>
                <a:gd name="connsiteY1118" fmla="*/ 95250 h 138429"/>
                <a:gd name="connsiteX1119" fmla="*/ 400050 w 4940931"/>
                <a:gd name="connsiteY1119" fmla="*/ 96520 h 138429"/>
                <a:gd name="connsiteX1120" fmla="*/ 405130 w 4940931"/>
                <a:gd name="connsiteY1120" fmla="*/ 96520 h 138429"/>
                <a:gd name="connsiteX1121" fmla="*/ 409575 w 4940931"/>
                <a:gd name="connsiteY1121" fmla="*/ 95250 h 138429"/>
                <a:gd name="connsiteX1122" fmla="*/ 413385 w 4940931"/>
                <a:gd name="connsiteY1122" fmla="*/ 93345 h 138429"/>
                <a:gd name="connsiteX1123" fmla="*/ 417830 w 4940931"/>
                <a:gd name="connsiteY1123" fmla="*/ 90805 h 138429"/>
                <a:gd name="connsiteX1124" fmla="*/ 426720 w 4940931"/>
                <a:gd name="connsiteY1124" fmla="*/ 100330 h 138429"/>
                <a:gd name="connsiteX1125" fmla="*/ 421005 w 4940931"/>
                <a:gd name="connsiteY1125" fmla="*/ 104775 h 138429"/>
                <a:gd name="connsiteX1126" fmla="*/ 415290 w 4940931"/>
                <a:gd name="connsiteY1126" fmla="*/ 107950 h 138429"/>
                <a:gd name="connsiteX1127" fmla="*/ 408305 w 4940931"/>
                <a:gd name="connsiteY1127" fmla="*/ 109855 h 138429"/>
                <a:gd name="connsiteX1128" fmla="*/ 399415 w 4940931"/>
                <a:gd name="connsiteY1128" fmla="*/ 110490 h 138429"/>
                <a:gd name="connsiteX1129" fmla="*/ 389890 w 4940931"/>
                <a:gd name="connsiteY1129" fmla="*/ 109220 h 138429"/>
                <a:gd name="connsiteX1130" fmla="*/ 382270 w 4940931"/>
                <a:gd name="connsiteY1130" fmla="*/ 105410 h 138429"/>
                <a:gd name="connsiteX1131" fmla="*/ 375920 w 4940931"/>
                <a:gd name="connsiteY1131" fmla="*/ 100330 h 138429"/>
                <a:gd name="connsiteX1132" fmla="*/ 370840 w 4940931"/>
                <a:gd name="connsiteY1132" fmla="*/ 92710 h 138429"/>
                <a:gd name="connsiteX1133" fmla="*/ 367030 w 4940931"/>
                <a:gd name="connsiteY1133" fmla="*/ 82550 h 138429"/>
                <a:gd name="connsiteX1134" fmla="*/ 365760 w 4940931"/>
                <a:gd name="connsiteY1134" fmla="*/ 69850 h 138429"/>
                <a:gd name="connsiteX1135" fmla="*/ 368300 w 4940931"/>
                <a:gd name="connsiteY1135" fmla="*/ 52070 h 138429"/>
                <a:gd name="connsiteX1136" fmla="*/ 375285 w 4940931"/>
                <a:gd name="connsiteY1136" fmla="*/ 39370 h 138429"/>
                <a:gd name="connsiteX1137" fmla="*/ 386080 w 4940931"/>
                <a:gd name="connsiteY1137" fmla="*/ 31750 h 138429"/>
                <a:gd name="connsiteX1138" fmla="*/ 400050 w 4940931"/>
                <a:gd name="connsiteY1138" fmla="*/ 29210 h 138429"/>
                <a:gd name="connsiteX1139" fmla="*/ 201930 w 4940931"/>
                <a:gd name="connsiteY1139" fmla="*/ 29210 h 138429"/>
                <a:gd name="connsiteX1140" fmla="*/ 216535 w 4940931"/>
                <a:gd name="connsiteY1140" fmla="*/ 32385 h 138429"/>
                <a:gd name="connsiteX1141" fmla="*/ 226695 w 4940931"/>
                <a:gd name="connsiteY1141" fmla="*/ 40640 h 138429"/>
                <a:gd name="connsiteX1142" fmla="*/ 233045 w 4940931"/>
                <a:gd name="connsiteY1142" fmla="*/ 53340 h 138429"/>
                <a:gd name="connsiteX1143" fmla="*/ 234950 w 4940931"/>
                <a:gd name="connsiteY1143" fmla="*/ 68580 h 138429"/>
                <a:gd name="connsiteX1144" fmla="*/ 233680 w 4940931"/>
                <a:gd name="connsiteY1144" fmla="*/ 68580 h 138429"/>
                <a:gd name="connsiteX1145" fmla="*/ 233680 w 4940931"/>
                <a:gd name="connsiteY1145" fmla="*/ 72390 h 138429"/>
                <a:gd name="connsiteX1146" fmla="*/ 233680 w 4940931"/>
                <a:gd name="connsiteY1146" fmla="*/ 75565 h 138429"/>
                <a:gd name="connsiteX1147" fmla="*/ 182245 w 4940931"/>
                <a:gd name="connsiteY1147" fmla="*/ 75565 h 138429"/>
                <a:gd name="connsiteX1148" fmla="*/ 184785 w 4940931"/>
                <a:gd name="connsiteY1148" fmla="*/ 85090 h 138429"/>
                <a:gd name="connsiteX1149" fmla="*/ 189230 w 4940931"/>
                <a:gd name="connsiteY1149" fmla="*/ 91440 h 138429"/>
                <a:gd name="connsiteX1150" fmla="*/ 194945 w 4940931"/>
                <a:gd name="connsiteY1150" fmla="*/ 95250 h 138429"/>
                <a:gd name="connsiteX1151" fmla="*/ 201930 w 4940931"/>
                <a:gd name="connsiteY1151" fmla="*/ 96520 h 138429"/>
                <a:gd name="connsiteX1152" fmla="*/ 207010 w 4940931"/>
                <a:gd name="connsiteY1152" fmla="*/ 96520 h 138429"/>
                <a:gd name="connsiteX1153" fmla="*/ 211455 w 4940931"/>
                <a:gd name="connsiteY1153" fmla="*/ 95250 h 138429"/>
                <a:gd name="connsiteX1154" fmla="*/ 215265 w 4940931"/>
                <a:gd name="connsiteY1154" fmla="*/ 93345 h 138429"/>
                <a:gd name="connsiteX1155" fmla="*/ 219710 w 4940931"/>
                <a:gd name="connsiteY1155" fmla="*/ 90805 h 138429"/>
                <a:gd name="connsiteX1156" fmla="*/ 228600 w 4940931"/>
                <a:gd name="connsiteY1156" fmla="*/ 100330 h 138429"/>
                <a:gd name="connsiteX1157" fmla="*/ 222885 w 4940931"/>
                <a:gd name="connsiteY1157" fmla="*/ 104775 h 138429"/>
                <a:gd name="connsiteX1158" fmla="*/ 217170 w 4940931"/>
                <a:gd name="connsiteY1158" fmla="*/ 107950 h 138429"/>
                <a:gd name="connsiteX1159" fmla="*/ 210185 w 4940931"/>
                <a:gd name="connsiteY1159" fmla="*/ 109855 h 138429"/>
                <a:gd name="connsiteX1160" fmla="*/ 201295 w 4940931"/>
                <a:gd name="connsiteY1160" fmla="*/ 110490 h 138429"/>
                <a:gd name="connsiteX1161" fmla="*/ 191770 w 4940931"/>
                <a:gd name="connsiteY1161" fmla="*/ 109220 h 138429"/>
                <a:gd name="connsiteX1162" fmla="*/ 184150 w 4940931"/>
                <a:gd name="connsiteY1162" fmla="*/ 105410 h 138429"/>
                <a:gd name="connsiteX1163" fmla="*/ 177800 w 4940931"/>
                <a:gd name="connsiteY1163" fmla="*/ 100330 h 138429"/>
                <a:gd name="connsiteX1164" fmla="*/ 172720 w 4940931"/>
                <a:gd name="connsiteY1164" fmla="*/ 92710 h 138429"/>
                <a:gd name="connsiteX1165" fmla="*/ 168910 w 4940931"/>
                <a:gd name="connsiteY1165" fmla="*/ 82550 h 138429"/>
                <a:gd name="connsiteX1166" fmla="*/ 167640 w 4940931"/>
                <a:gd name="connsiteY1166" fmla="*/ 69850 h 138429"/>
                <a:gd name="connsiteX1167" fmla="*/ 170180 w 4940931"/>
                <a:gd name="connsiteY1167" fmla="*/ 52070 h 138429"/>
                <a:gd name="connsiteX1168" fmla="*/ 177165 w 4940931"/>
                <a:gd name="connsiteY1168" fmla="*/ 39370 h 138429"/>
                <a:gd name="connsiteX1169" fmla="*/ 187960 w 4940931"/>
                <a:gd name="connsiteY1169" fmla="*/ 31750 h 138429"/>
                <a:gd name="connsiteX1170" fmla="*/ 201930 w 4940931"/>
                <a:gd name="connsiteY1170" fmla="*/ 29210 h 138429"/>
                <a:gd name="connsiteX1171" fmla="*/ 4664706 w 4940931"/>
                <a:gd name="connsiteY1171" fmla="*/ 28574 h 138429"/>
                <a:gd name="connsiteX1172" fmla="*/ 4678676 w 4940931"/>
                <a:gd name="connsiteY1172" fmla="*/ 31749 h 138429"/>
                <a:gd name="connsiteX1173" fmla="*/ 4689471 w 4940931"/>
                <a:gd name="connsiteY1173" fmla="*/ 40004 h 138429"/>
                <a:gd name="connsiteX1174" fmla="*/ 4696456 w 4940931"/>
                <a:gd name="connsiteY1174" fmla="*/ 52704 h 138429"/>
                <a:gd name="connsiteX1175" fmla="*/ 4698996 w 4940931"/>
                <a:gd name="connsiteY1175" fmla="*/ 69214 h 138429"/>
                <a:gd name="connsiteX1176" fmla="*/ 4699631 w 4940931"/>
                <a:gd name="connsiteY1176" fmla="*/ 69214 h 138429"/>
                <a:gd name="connsiteX1177" fmla="*/ 4697091 w 4940931"/>
                <a:gd name="connsiteY1177" fmla="*/ 86359 h 138429"/>
                <a:gd name="connsiteX1178" fmla="*/ 4689471 w 4940931"/>
                <a:gd name="connsiteY1178" fmla="*/ 99059 h 138429"/>
                <a:gd name="connsiteX1179" fmla="*/ 4678041 w 4940931"/>
                <a:gd name="connsiteY1179" fmla="*/ 107314 h 138429"/>
                <a:gd name="connsiteX1180" fmla="*/ 4664071 w 4940931"/>
                <a:gd name="connsiteY1180" fmla="*/ 109854 h 138429"/>
                <a:gd name="connsiteX1181" fmla="*/ 4650101 w 4940931"/>
                <a:gd name="connsiteY1181" fmla="*/ 106679 h 138429"/>
                <a:gd name="connsiteX1182" fmla="*/ 4639306 w 4940931"/>
                <a:gd name="connsiteY1182" fmla="*/ 98424 h 138429"/>
                <a:gd name="connsiteX1183" fmla="*/ 4632321 w 4940931"/>
                <a:gd name="connsiteY1183" fmla="*/ 85724 h 138429"/>
                <a:gd name="connsiteX1184" fmla="*/ 4629781 w 4940931"/>
                <a:gd name="connsiteY1184" fmla="*/ 69214 h 138429"/>
                <a:gd name="connsiteX1185" fmla="*/ 4632321 w 4940931"/>
                <a:gd name="connsiteY1185" fmla="*/ 52069 h 138429"/>
                <a:gd name="connsiteX1186" fmla="*/ 4639941 w 4940931"/>
                <a:gd name="connsiteY1186" fmla="*/ 39369 h 138429"/>
                <a:gd name="connsiteX1187" fmla="*/ 4650736 w 4940931"/>
                <a:gd name="connsiteY1187" fmla="*/ 31114 h 138429"/>
                <a:gd name="connsiteX1188" fmla="*/ 4664706 w 4940931"/>
                <a:gd name="connsiteY1188" fmla="*/ 28574 h 138429"/>
                <a:gd name="connsiteX1189" fmla="*/ 4264655 w 4940931"/>
                <a:gd name="connsiteY1189" fmla="*/ 28574 h 138429"/>
                <a:gd name="connsiteX1190" fmla="*/ 4278625 w 4940931"/>
                <a:gd name="connsiteY1190" fmla="*/ 31749 h 138429"/>
                <a:gd name="connsiteX1191" fmla="*/ 4289420 w 4940931"/>
                <a:gd name="connsiteY1191" fmla="*/ 40004 h 138429"/>
                <a:gd name="connsiteX1192" fmla="*/ 4296405 w 4940931"/>
                <a:gd name="connsiteY1192" fmla="*/ 52704 h 138429"/>
                <a:gd name="connsiteX1193" fmla="*/ 4298945 w 4940931"/>
                <a:gd name="connsiteY1193" fmla="*/ 69214 h 138429"/>
                <a:gd name="connsiteX1194" fmla="*/ 4299580 w 4940931"/>
                <a:gd name="connsiteY1194" fmla="*/ 69214 h 138429"/>
                <a:gd name="connsiteX1195" fmla="*/ 4297040 w 4940931"/>
                <a:gd name="connsiteY1195" fmla="*/ 86359 h 138429"/>
                <a:gd name="connsiteX1196" fmla="*/ 4289420 w 4940931"/>
                <a:gd name="connsiteY1196" fmla="*/ 99059 h 138429"/>
                <a:gd name="connsiteX1197" fmla="*/ 4277990 w 4940931"/>
                <a:gd name="connsiteY1197" fmla="*/ 107314 h 138429"/>
                <a:gd name="connsiteX1198" fmla="*/ 4264020 w 4940931"/>
                <a:gd name="connsiteY1198" fmla="*/ 109854 h 138429"/>
                <a:gd name="connsiteX1199" fmla="*/ 4250050 w 4940931"/>
                <a:gd name="connsiteY1199" fmla="*/ 106679 h 138429"/>
                <a:gd name="connsiteX1200" fmla="*/ 4239255 w 4940931"/>
                <a:gd name="connsiteY1200" fmla="*/ 98424 h 138429"/>
                <a:gd name="connsiteX1201" fmla="*/ 4232270 w 4940931"/>
                <a:gd name="connsiteY1201" fmla="*/ 85724 h 138429"/>
                <a:gd name="connsiteX1202" fmla="*/ 4229730 w 4940931"/>
                <a:gd name="connsiteY1202" fmla="*/ 69214 h 138429"/>
                <a:gd name="connsiteX1203" fmla="*/ 4232270 w 4940931"/>
                <a:gd name="connsiteY1203" fmla="*/ 52069 h 138429"/>
                <a:gd name="connsiteX1204" fmla="*/ 4239890 w 4940931"/>
                <a:gd name="connsiteY1204" fmla="*/ 39369 h 138429"/>
                <a:gd name="connsiteX1205" fmla="*/ 4250685 w 4940931"/>
                <a:gd name="connsiteY1205" fmla="*/ 31114 h 138429"/>
                <a:gd name="connsiteX1206" fmla="*/ 4264655 w 4940931"/>
                <a:gd name="connsiteY1206" fmla="*/ 28574 h 138429"/>
                <a:gd name="connsiteX1207" fmla="*/ 1420495 w 4940931"/>
                <a:gd name="connsiteY1207" fmla="*/ 28574 h 138429"/>
                <a:gd name="connsiteX1208" fmla="*/ 1434465 w 4940931"/>
                <a:gd name="connsiteY1208" fmla="*/ 31749 h 138429"/>
                <a:gd name="connsiteX1209" fmla="*/ 1445260 w 4940931"/>
                <a:gd name="connsiteY1209" fmla="*/ 40004 h 138429"/>
                <a:gd name="connsiteX1210" fmla="*/ 1452245 w 4940931"/>
                <a:gd name="connsiteY1210" fmla="*/ 52704 h 138429"/>
                <a:gd name="connsiteX1211" fmla="*/ 1454785 w 4940931"/>
                <a:gd name="connsiteY1211" fmla="*/ 69214 h 138429"/>
                <a:gd name="connsiteX1212" fmla="*/ 1455420 w 4940931"/>
                <a:gd name="connsiteY1212" fmla="*/ 69214 h 138429"/>
                <a:gd name="connsiteX1213" fmla="*/ 1452880 w 4940931"/>
                <a:gd name="connsiteY1213" fmla="*/ 86359 h 138429"/>
                <a:gd name="connsiteX1214" fmla="*/ 1445260 w 4940931"/>
                <a:gd name="connsiteY1214" fmla="*/ 99059 h 138429"/>
                <a:gd name="connsiteX1215" fmla="*/ 1433830 w 4940931"/>
                <a:gd name="connsiteY1215" fmla="*/ 107314 h 138429"/>
                <a:gd name="connsiteX1216" fmla="*/ 1419860 w 4940931"/>
                <a:gd name="connsiteY1216" fmla="*/ 109854 h 138429"/>
                <a:gd name="connsiteX1217" fmla="*/ 1405890 w 4940931"/>
                <a:gd name="connsiteY1217" fmla="*/ 106679 h 138429"/>
                <a:gd name="connsiteX1218" fmla="*/ 1395095 w 4940931"/>
                <a:gd name="connsiteY1218" fmla="*/ 98424 h 138429"/>
                <a:gd name="connsiteX1219" fmla="*/ 1388110 w 4940931"/>
                <a:gd name="connsiteY1219" fmla="*/ 85724 h 138429"/>
                <a:gd name="connsiteX1220" fmla="*/ 1385570 w 4940931"/>
                <a:gd name="connsiteY1220" fmla="*/ 69214 h 138429"/>
                <a:gd name="connsiteX1221" fmla="*/ 1388110 w 4940931"/>
                <a:gd name="connsiteY1221" fmla="*/ 52069 h 138429"/>
                <a:gd name="connsiteX1222" fmla="*/ 1395730 w 4940931"/>
                <a:gd name="connsiteY1222" fmla="*/ 39369 h 138429"/>
                <a:gd name="connsiteX1223" fmla="*/ 1406525 w 4940931"/>
                <a:gd name="connsiteY1223" fmla="*/ 31114 h 138429"/>
                <a:gd name="connsiteX1224" fmla="*/ 1420495 w 4940931"/>
                <a:gd name="connsiteY1224" fmla="*/ 28574 h 138429"/>
                <a:gd name="connsiteX1225" fmla="*/ 3143245 w 4940931"/>
                <a:gd name="connsiteY1225" fmla="*/ 5079 h 138429"/>
                <a:gd name="connsiteX1226" fmla="*/ 3219445 w 4940931"/>
                <a:gd name="connsiteY1226" fmla="*/ 5079 h 138429"/>
                <a:gd name="connsiteX1227" fmla="*/ 3219445 w 4940931"/>
                <a:gd name="connsiteY1227" fmla="*/ 20319 h 138429"/>
                <a:gd name="connsiteX1228" fmla="*/ 3188965 w 4940931"/>
                <a:gd name="connsiteY1228" fmla="*/ 20319 h 138429"/>
                <a:gd name="connsiteX1229" fmla="*/ 3188965 w 4940931"/>
                <a:gd name="connsiteY1229" fmla="*/ 108584 h 138429"/>
                <a:gd name="connsiteX1230" fmla="*/ 3173090 w 4940931"/>
                <a:gd name="connsiteY1230" fmla="*/ 108584 h 138429"/>
                <a:gd name="connsiteX1231" fmla="*/ 3173090 w 4940931"/>
                <a:gd name="connsiteY1231" fmla="*/ 20319 h 138429"/>
                <a:gd name="connsiteX1232" fmla="*/ 3143245 w 4940931"/>
                <a:gd name="connsiteY1232" fmla="*/ 20319 h 138429"/>
                <a:gd name="connsiteX1233" fmla="*/ 1628774 w 4940931"/>
                <a:gd name="connsiteY1233" fmla="*/ 5079 h 138429"/>
                <a:gd name="connsiteX1234" fmla="*/ 1704970 w 4940931"/>
                <a:gd name="connsiteY1234" fmla="*/ 5079 h 138429"/>
                <a:gd name="connsiteX1235" fmla="*/ 1704970 w 4940931"/>
                <a:gd name="connsiteY1235" fmla="*/ 20319 h 138429"/>
                <a:gd name="connsiteX1236" fmla="*/ 1675129 w 4940931"/>
                <a:gd name="connsiteY1236" fmla="*/ 20319 h 138429"/>
                <a:gd name="connsiteX1237" fmla="*/ 1675129 w 4940931"/>
                <a:gd name="connsiteY1237" fmla="*/ 108584 h 138429"/>
                <a:gd name="connsiteX1238" fmla="*/ 1659255 w 4940931"/>
                <a:gd name="connsiteY1238" fmla="*/ 108584 h 138429"/>
                <a:gd name="connsiteX1239" fmla="*/ 1659255 w 4940931"/>
                <a:gd name="connsiteY1239" fmla="*/ 20319 h 138429"/>
                <a:gd name="connsiteX1240" fmla="*/ 1628774 w 4940931"/>
                <a:gd name="connsiteY1240" fmla="*/ 20319 h 138429"/>
                <a:gd name="connsiteX1241" fmla="*/ 0 w 4940931"/>
                <a:gd name="connsiteY1241" fmla="*/ 5079 h 138429"/>
                <a:gd name="connsiteX1242" fmla="*/ 76200 w 4940931"/>
                <a:gd name="connsiteY1242" fmla="*/ 5079 h 138429"/>
                <a:gd name="connsiteX1243" fmla="*/ 76200 w 4940931"/>
                <a:gd name="connsiteY1243" fmla="*/ 20319 h 138429"/>
                <a:gd name="connsiteX1244" fmla="*/ 45720 w 4940931"/>
                <a:gd name="connsiteY1244" fmla="*/ 20319 h 138429"/>
                <a:gd name="connsiteX1245" fmla="*/ 45720 w 4940931"/>
                <a:gd name="connsiteY1245" fmla="*/ 108584 h 138429"/>
                <a:gd name="connsiteX1246" fmla="*/ 29845 w 4940931"/>
                <a:gd name="connsiteY1246" fmla="*/ 108584 h 138429"/>
                <a:gd name="connsiteX1247" fmla="*/ 29845 w 4940931"/>
                <a:gd name="connsiteY1247" fmla="*/ 20319 h 138429"/>
                <a:gd name="connsiteX1248" fmla="*/ 0 w 4940931"/>
                <a:gd name="connsiteY1248" fmla="*/ 20319 h 138429"/>
                <a:gd name="connsiteX1249" fmla="*/ 1362075 w 4940931"/>
                <a:gd name="connsiteY1249" fmla="*/ 1269 h 138429"/>
                <a:gd name="connsiteX1250" fmla="*/ 1365885 w 4940931"/>
                <a:gd name="connsiteY1250" fmla="*/ 1904 h 138429"/>
                <a:gd name="connsiteX1251" fmla="*/ 1369060 w 4940931"/>
                <a:gd name="connsiteY1251" fmla="*/ 3809 h 138429"/>
                <a:gd name="connsiteX1252" fmla="*/ 1370965 w 4940931"/>
                <a:gd name="connsiteY1252" fmla="*/ 6984 h 138429"/>
                <a:gd name="connsiteX1253" fmla="*/ 1371600 w 4940931"/>
                <a:gd name="connsiteY1253" fmla="*/ 10794 h 138429"/>
                <a:gd name="connsiteX1254" fmla="*/ 1370965 w 4940931"/>
                <a:gd name="connsiteY1254" fmla="*/ 14604 h 138429"/>
                <a:gd name="connsiteX1255" fmla="*/ 1369060 w 4940931"/>
                <a:gd name="connsiteY1255" fmla="*/ 17779 h 138429"/>
                <a:gd name="connsiteX1256" fmla="*/ 1365885 w 4940931"/>
                <a:gd name="connsiteY1256" fmla="*/ 19684 h 138429"/>
                <a:gd name="connsiteX1257" fmla="*/ 1362075 w 4940931"/>
                <a:gd name="connsiteY1257" fmla="*/ 20319 h 138429"/>
                <a:gd name="connsiteX1258" fmla="*/ 1358265 w 4940931"/>
                <a:gd name="connsiteY1258" fmla="*/ 19684 h 138429"/>
                <a:gd name="connsiteX1259" fmla="*/ 1355090 w 4940931"/>
                <a:gd name="connsiteY1259" fmla="*/ 17779 h 138429"/>
                <a:gd name="connsiteX1260" fmla="*/ 1353185 w 4940931"/>
                <a:gd name="connsiteY1260" fmla="*/ 14604 h 138429"/>
                <a:gd name="connsiteX1261" fmla="*/ 1352550 w 4940931"/>
                <a:gd name="connsiteY1261" fmla="*/ 10794 h 138429"/>
                <a:gd name="connsiteX1262" fmla="*/ 1353185 w 4940931"/>
                <a:gd name="connsiteY1262" fmla="*/ 6984 h 138429"/>
                <a:gd name="connsiteX1263" fmla="*/ 1355090 w 4940931"/>
                <a:gd name="connsiteY1263" fmla="*/ 3809 h 138429"/>
                <a:gd name="connsiteX1264" fmla="*/ 1358265 w 4940931"/>
                <a:gd name="connsiteY1264" fmla="*/ 1904 h 138429"/>
                <a:gd name="connsiteX1265" fmla="*/ 1362075 w 4940931"/>
                <a:gd name="connsiteY1265" fmla="*/ 1269 h 138429"/>
                <a:gd name="connsiteX1266" fmla="*/ 4789801 w 4940931"/>
                <a:gd name="connsiteY1266" fmla="*/ 634 h 138429"/>
                <a:gd name="connsiteX1267" fmla="*/ 4789801 w 4940931"/>
                <a:gd name="connsiteY1267" fmla="*/ 65404 h 138429"/>
                <a:gd name="connsiteX1268" fmla="*/ 4814566 w 4940931"/>
                <a:gd name="connsiteY1268" fmla="*/ 31114 h 138429"/>
                <a:gd name="connsiteX1269" fmla="*/ 4831711 w 4940931"/>
                <a:gd name="connsiteY1269" fmla="*/ 31114 h 138429"/>
                <a:gd name="connsiteX1270" fmla="*/ 4812026 w 4940931"/>
                <a:gd name="connsiteY1270" fmla="*/ 57149 h 138429"/>
                <a:gd name="connsiteX1271" fmla="*/ 4835521 w 4940931"/>
                <a:gd name="connsiteY1271" fmla="*/ 108584 h 138429"/>
                <a:gd name="connsiteX1272" fmla="*/ 4819011 w 4940931"/>
                <a:gd name="connsiteY1272" fmla="*/ 108584 h 138429"/>
                <a:gd name="connsiteX1273" fmla="*/ 4801866 w 4940931"/>
                <a:gd name="connsiteY1273" fmla="*/ 69849 h 138429"/>
                <a:gd name="connsiteX1274" fmla="*/ 4789801 w 4940931"/>
                <a:gd name="connsiteY1274" fmla="*/ 85724 h 138429"/>
                <a:gd name="connsiteX1275" fmla="*/ 4789801 w 4940931"/>
                <a:gd name="connsiteY1275" fmla="*/ 108584 h 138429"/>
                <a:gd name="connsiteX1276" fmla="*/ 4774561 w 4940931"/>
                <a:gd name="connsiteY1276" fmla="*/ 108584 h 138429"/>
                <a:gd name="connsiteX1277" fmla="*/ 4774561 w 4940931"/>
                <a:gd name="connsiteY1277" fmla="*/ 8889 h 138429"/>
                <a:gd name="connsiteX1278" fmla="*/ 4472301 w 4940931"/>
                <a:gd name="connsiteY1278" fmla="*/ 634 h 138429"/>
                <a:gd name="connsiteX1279" fmla="*/ 4472301 w 4940931"/>
                <a:gd name="connsiteY1279" fmla="*/ 109219 h 138429"/>
                <a:gd name="connsiteX1280" fmla="*/ 4457061 w 4940931"/>
                <a:gd name="connsiteY1280" fmla="*/ 109219 h 138429"/>
                <a:gd name="connsiteX1281" fmla="*/ 4457696 w 4940931"/>
                <a:gd name="connsiteY1281" fmla="*/ 108584 h 138429"/>
                <a:gd name="connsiteX1282" fmla="*/ 4457696 w 4940931"/>
                <a:gd name="connsiteY1282" fmla="*/ 100964 h 138429"/>
                <a:gd name="connsiteX1283" fmla="*/ 4453251 w 4940931"/>
                <a:gd name="connsiteY1283" fmla="*/ 104774 h 138429"/>
                <a:gd name="connsiteX1284" fmla="*/ 4448171 w 4940931"/>
                <a:gd name="connsiteY1284" fmla="*/ 107949 h 138429"/>
                <a:gd name="connsiteX1285" fmla="*/ 4443091 w 4940931"/>
                <a:gd name="connsiteY1285" fmla="*/ 109854 h 138429"/>
                <a:gd name="connsiteX1286" fmla="*/ 4437376 w 4940931"/>
                <a:gd name="connsiteY1286" fmla="*/ 109854 h 138429"/>
                <a:gd name="connsiteX1287" fmla="*/ 4425946 w 4940931"/>
                <a:gd name="connsiteY1287" fmla="*/ 107314 h 138429"/>
                <a:gd name="connsiteX1288" fmla="*/ 4416421 w 4940931"/>
                <a:gd name="connsiteY1288" fmla="*/ 99694 h 138429"/>
                <a:gd name="connsiteX1289" fmla="*/ 4410071 w 4940931"/>
                <a:gd name="connsiteY1289" fmla="*/ 86994 h 138429"/>
                <a:gd name="connsiteX1290" fmla="*/ 4407531 w 4940931"/>
                <a:gd name="connsiteY1290" fmla="*/ 67944 h 138429"/>
                <a:gd name="connsiteX1291" fmla="*/ 4410071 w 4940931"/>
                <a:gd name="connsiteY1291" fmla="*/ 50799 h 138429"/>
                <a:gd name="connsiteX1292" fmla="*/ 4417056 w 4940931"/>
                <a:gd name="connsiteY1292" fmla="*/ 38734 h 138429"/>
                <a:gd name="connsiteX1293" fmla="*/ 4426581 w 4940931"/>
                <a:gd name="connsiteY1293" fmla="*/ 31749 h 138429"/>
                <a:gd name="connsiteX1294" fmla="*/ 4438011 w 4940931"/>
                <a:gd name="connsiteY1294" fmla="*/ 29209 h 138429"/>
                <a:gd name="connsiteX1295" fmla="*/ 4443726 w 4940931"/>
                <a:gd name="connsiteY1295" fmla="*/ 29844 h 138429"/>
                <a:gd name="connsiteX1296" fmla="*/ 4448806 w 4940931"/>
                <a:gd name="connsiteY1296" fmla="*/ 31749 h 138429"/>
                <a:gd name="connsiteX1297" fmla="*/ 4453251 w 4940931"/>
                <a:gd name="connsiteY1297" fmla="*/ 34924 h 138429"/>
                <a:gd name="connsiteX1298" fmla="*/ 4457061 w 4940931"/>
                <a:gd name="connsiteY1298" fmla="*/ 38099 h 138429"/>
                <a:gd name="connsiteX1299" fmla="*/ 4457061 w 4940931"/>
                <a:gd name="connsiteY1299" fmla="*/ 8254 h 138429"/>
                <a:gd name="connsiteX1300" fmla="*/ 4390385 w 4940931"/>
                <a:gd name="connsiteY1300" fmla="*/ 634 h 138429"/>
                <a:gd name="connsiteX1301" fmla="*/ 4390385 w 4940931"/>
                <a:gd name="connsiteY1301" fmla="*/ 108584 h 138429"/>
                <a:gd name="connsiteX1302" fmla="*/ 4375145 w 4940931"/>
                <a:gd name="connsiteY1302" fmla="*/ 108584 h 138429"/>
                <a:gd name="connsiteX1303" fmla="*/ 4375145 w 4940931"/>
                <a:gd name="connsiteY1303" fmla="*/ 8889 h 138429"/>
                <a:gd name="connsiteX1304" fmla="*/ 3946521 w 4940931"/>
                <a:gd name="connsiteY1304" fmla="*/ 634 h 138429"/>
                <a:gd name="connsiteX1305" fmla="*/ 3946521 w 4940931"/>
                <a:gd name="connsiteY1305" fmla="*/ 38099 h 138429"/>
                <a:gd name="connsiteX1306" fmla="*/ 3950331 w 4940931"/>
                <a:gd name="connsiteY1306" fmla="*/ 34289 h 138429"/>
                <a:gd name="connsiteX1307" fmla="*/ 3954776 w 4940931"/>
                <a:gd name="connsiteY1307" fmla="*/ 31114 h 138429"/>
                <a:gd name="connsiteX1308" fmla="*/ 3960491 w 4940931"/>
                <a:gd name="connsiteY1308" fmla="*/ 29209 h 138429"/>
                <a:gd name="connsiteX1309" fmla="*/ 3966206 w 4940931"/>
                <a:gd name="connsiteY1309" fmla="*/ 29209 h 138429"/>
                <a:gd name="connsiteX1310" fmla="*/ 3978271 w 4940931"/>
                <a:gd name="connsiteY1310" fmla="*/ 31749 h 138429"/>
                <a:gd name="connsiteX1311" fmla="*/ 3987161 w 4940931"/>
                <a:gd name="connsiteY1311" fmla="*/ 38099 h 138429"/>
                <a:gd name="connsiteX1312" fmla="*/ 3992241 w 4940931"/>
                <a:gd name="connsiteY1312" fmla="*/ 49529 h 138429"/>
                <a:gd name="connsiteX1313" fmla="*/ 3994146 w 4940931"/>
                <a:gd name="connsiteY1313" fmla="*/ 64134 h 138429"/>
                <a:gd name="connsiteX1314" fmla="*/ 3994146 w 4940931"/>
                <a:gd name="connsiteY1314" fmla="*/ 108584 h 138429"/>
                <a:gd name="connsiteX1315" fmla="*/ 3978906 w 4940931"/>
                <a:gd name="connsiteY1315" fmla="*/ 108584 h 138429"/>
                <a:gd name="connsiteX1316" fmla="*/ 3978271 w 4940931"/>
                <a:gd name="connsiteY1316" fmla="*/ 108584 h 138429"/>
                <a:gd name="connsiteX1317" fmla="*/ 3978271 w 4940931"/>
                <a:gd name="connsiteY1317" fmla="*/ 64769 h 138429"/>
                <a:gd name="connsiteX1318" fmla="*/ 3974461 w 4940931"/>
                <a:gd name="connsiteY1318" fmla="*/ 48894 h 138429"/>
                <a:gd name="connsiteX1319" fmla="*/ 3962396 w 4940931"/>
                <a:gd name="connsiteY1319" fmla="*/ 43814 h 138429"/>
                <a:gd name="connsiteX1320" fmla="*/ 3956046 w 4940931"/>
                <a:gd name="connsiteY1320" fmla="*/ 45084 h 138429"/>
                <a:gd name="connsiteX1321" fmla="*/ 3950966 w 4940931"/>
                <a:gd name="connsiteY1321" fmla="*/ 48894 h 138429"/>
                <a:gd name="connsiteX1322" fmla="*/ 3947791 w 4940931"/>
                <a:gd name="connsiteY1322" fmla="*/ 55244 h 138429"/>
                <a:gd name="connsiteX1323" fmla="*/ 3946521 w 4940931"/>
                <a:gd name="connsiteY1323" fmla="*/ 63499 h 138429"/>
                <a:gd name="connsiteX1324" fmla="*/ 3946521 w 4940931"/>
                <a:gd name="connsiteY1324" fmla="*/ 109219 h 138429"/>
                <a:gd name="connsiteX1325" fmla="*/ 3931281 w 4940931"/>
                <a:gd name="connsiteY1325" fmla="*/ 109219 h 138429"/>
                <a:gd name="connsiteX1326" fmla="*/ 3931281 w 4940931"/>
                <a:gd name="connsiteY1326" fmla="*/ 8889 h 138429"/>
                <a:gd name="connsiteX1327" fmla="*/ 3248021 w 4940931"/>
                <a:gd name="connsiteY1327" fmla="*/ 634 h 138429"/>
                <a:gd name="connsiteX1328" fmla="*/ 3248021 w 4940931"/>
                <a:gd name="connsiteY1328" fmla="*/ 38099 h 138429"/>
                <a:gd name="connsiteX1329" fmla="*/ 3251831 w 4940931"/>
                <a:gd name="connsiteY1329" fmla="*/ 34289 h 138429"/>
                <a:gd name="connsiteX1330" fmla="*/ 3256276 w 4940931"/>
                <a:gd name="connsiteY1330" fmla="*/ 31114 h 138429"/>
                <a:gd name="connsiteX1331" fmla="*/ 3261991 w 4940931"/>
                <a:gd name="connsiteY1331" fmla="*/ 29209 h 138429"/>
                <a:gd name="connsiteX1332" fmla="*/ 3267706 w 4940931"/>
                <a:gd name="connsiteY1332" fmla="*/ 29209 h 138429"/>
                <a:gd name="connsiteX1333" fmla="*/ 3279771 w 4940931"/>
                <a:gd name="connsiteY1333" fmla="*/ 31749 h 138429"/>
                <a:gd name="connsiteX1334" fmla="*/ 3288661 w 4940931"/>
                <a:gd name="connsiteY1334" fmla="*/ 38099 h 138429"/>
                <a:gd name="connsiteX1335" fmla="*/ 3293741 w 4940931"/>
                <a:gd name="connsiteY1335" fmla="*/ 49529 h 138429"/>
                <a:gd name="connsiteX1336" fmla="*/ 3295646 w 4940931"/>
                <a:gd name="connsiteY1336" fmla="*/ 64134 h 138429"/>
                <a:gd name="connsiteX1337" fmla="*/ 3295646 w 4940931"/>
                <a:gd name="connsiteY1337" fmla="*/ 108584 h 138429"/>
                <a:gd name="connsiteX1338" fmla="*/ 3280406 w 4940931"/>
                <a:gd name="connsiteY1338" fmla="*/ 108584 h 138429"/>
                <a:gd name="connsiteX1339" fmla="*/ 3279771 w 4940931"/>
                <a:gd name="connsiteY1339" fmla="*/ 108584 h 138429"/>
                <a:gd name="connsiteX1340" fmla="*/ 3279771 w 4940931"/>
                <a:gd name="connsiteY1340" fmla="*/ 64769 h 138429"/>
                <a:gd name="connsiteX1341" fmla="*/ 3275961 w 4940931"/>
                <a:gd name="connsiteY1341" fmla="*/ 48894 h 138429"/>
                <a:gd name="connsiteX1342" fmla="*/ 3263896 w 4940931"/>
                <a:gd name="connsiteY1342" fmla="*/ 43814 h 138429"/>
                <a:gd name="connsiteX1343" fmla="*/ 3257546 w 4940931"/>
                <a:gd name="connsiteY1343" fmla="*/ 45084 h 138429"/>
                <a:gd name="connsiteX1344" fmla="*/ 3252466 w 4940931"/>
                <a:gd name="connsiteY1344" fmla="*/ 48894 h 138429"/>
                <a:gd name="connsiteX1345" fmla="*/ 3249291 w 4940931"/>
                <a:gd name="connsiteY1345" fmla="*/ 55244 h 138429"/>
                <a:gd name="connsiteX1346" fmla="*/ 3248021 w 4940931"/>
                <a:gd name="connsiteY1346" fmla="*/ 63499 h 138429"/>
                <a:gd name="connsiteX1347" fmla="*/ 3248021 w 4940931"/>
                <a:gd name="connsiteY1347" fmla="*/ 109219 h 138429"/>
                <a:gd name="connsiteX1348" fmla="*/ 3232781 w 4940931"/>
                <a:gd name="connsiteY1348" fmla="*/ 109219 h 138429"/>
                <a:gd name="connsiteX1349" fmla="*/ 3232781 w 4940931"/>
                <a:gd name="connsiteY1349" fmla="*/ 8889 h 138429"/>
                <a:gd name="connsiteX1350" fmla="*/ 2432681 w 4940931"/>
                <a:gd name="connsiteY1350" fmla="*/ 634 h 138429"/>
                <a:gd name="connsiteX1351" fmla="*/ 2432681 w 4940931"/>
                <a:gd name="connsiteY1351" fmla="*/ 38099 h 138429"/>
                <a:gd name="connsiteX1352" fmla="*/ 2436491 w 4940931"/>
                <a:gd name="connsiteY1352" fmla="*/ 34289 h 138429"/>
                <a:gd name="connsiteX1353" fmla="*/ 2440936 w 4940931"/>
                <a:gd name="connsiteY1353" fmla="*/ 31114 h 138429"/>
                <a:gd name="connsiteX1354" fmla="*/ 2446651 w 4940931"/>
                <a:gd name="connsiteY1354" fmla="*/ 29209 h 138429"/>
                <a:gd name="connsiteX1355" fmla="*/ 2452366 w 4940931"/>
                <a:gd name="connsiteY1355" fmla="*/ 29209 h 138429"/>
                <a:gd name="connsiteX1356" fmla="*/ 2464431 w 4940931"/>
                <a:gd name="connsiteY1356" fmla="*/ 31749 h 138429"/>
                <a:gd name="connsiteX1357" fmla="*/ 2473321 w 4940931"/>
                <a:gd name="connsiteY1357" fmla="*/ 38099 h 138429"/>
                <a:gd name="connsiteX1358" fmla="*/ 2478401 w 4940931"/>
                <a:gd name="connsiteY1358" fmla="*/ 49529 h 138429"/>
                <a:gd name="connsiteX1359" fmla="*/ 2480306 w 4940931"/>
                <a:gd name="connsiteY1359" fmla="*/ 64134 h 138429"/>
                <a:gd name="connsiteX1360" fmla="*/ 2480306 w 4940931"/>
                <a:gd name="connsiteY1360" fmla="*/ 108584 h 138429"/>
                <a:gd name="connsiteX1361" fmla="*/ 2465066 w 4940931"/>
                <a:gd name="connsiteY1361" fmla="*/ 108584 h 138429"/>
                <a:gd name="connsiteX1362" fmla="*/ 2464431 w 4940931"/>
                <a:gd name="connsiteY1362" fmla="*/ 108584 h 138429"/>
                <a:gd name="connsiteX1363" fmla="*/ 2464431 w 4940931"/>
                <a:gd name="connsiteY1363" fmla="*/ 64769 h 138429"/>
                <a:gd name="connsiteX1364" fmla="*/ 2460621 w 4940931"/>
                <a:gd name="connsiteY1364" fmla="*/ 48894 h 138429"/>
                <a:gd name="connsiteX1365" fmla="*/ 2448556 w 4940931"/>
                <a:gd name="connsiteY1365" fmla="*/ 43814 h 138429"/>
                <a:gd name="connsiteX1366" fmla="*/ 2442206 w 4940931"/>
                <a:gd name="connsiteY1366" fmla="*/ 45084 h 138429"/>
                <a:gd name="connsiteX1367" fmla="*/ 2437126 w 4940931"/>
                <a:gd name="connsiteY1367" fmla="*/ 48894 h 138429"/>
                <a:gd name="connsiteX1368" fmla="*/ 2433951 w 4940931"/>
                <a:gd name="connsiteY1368" fmla="*/ 55244 h 138429"/>
                <a:gd name="connsiteX1369" fmla="*/ 2432681 w 4940931"/>
                <a:gd name="connsiteY1369" fmla="*/ 63499 h 138429"/>
                <a:gd name="connsiteX1370" fmla="*/ 2432681 w 4940931"/>
                <a:gd name="connsiteY1370" fmla="*/ 109219 h 138429"/>
                <a:gd name="connsiteX1371" fmla="*/ 2417441 w 4940931"/>
                <a:gd name="connsiteY1371" fmla="*/ 109219 h 138429"/>
                <a:gd name="connsiteX1372" fmla="*/ 2417441 w 4940931"/>
                <a:gd name="connsiteY1372" fmla="*/ 8889 h 138429"/>
                <a:gd name="connsiteX1373" fmla="*/ 1734181 w 4940931"/>
                <a:gd name="connsiteY1373" fmla="*/ 634 h 138429"/>
                <a:gd name="connsiteX1374" fmla="*/ 1734181 w 4940931"/>
                <a:gd name="connsiteY1374" fmla="*/ 38099 h 138429"/>
                <a:gd name="connsiteX1375" fmla="*/ 1737991 w 4940931"/>
                <a:gd name="connsiteY1375" fmla="*/ 34289 h 138429"/>
                <a:gd name="connsiteX1376" fmla="*/ 1742436 w 4940931"/>
                <a:gd name="connsiteY1376" fmla="*/ 31114 h 138429"/>
                <a:gd name="connsiteX1377" fmla="*/ 1748151 w 4940931"/>
                <a:gd name="connsiteY1377" fmla="*/ 29209 h 138429"/>
                <a:gd name="connsiteX1378" fmla="*/ 1753866 w 4940931"/>
                <a:gd name="connsiteY1378" fmla="*/ 29209 h 138429"/>
                <a:gd name="connsiteX1379" fmla="*/ 1765931 w 4940931"/>
                <a:gd name="connsiteY1379" fmla="*/ 31749 h 138429"/>
                <a:gd name="connsiteX1380" fmla="*/ 1774821 w 4940931"/>
                <a:gd name="connsiteY1380" fmla="*/ 38099 h 138429"/>
                <a:gd name="connsiteX1381" fmla="*/ 1779901 w 4940931"/>
                <a:gd name="connsiteY1381" fmla="*/ 49529 h 138429"/>
                <a:gd name="connsiteX1382" fmla="*/ 1781806 w 4940931"/>
                <a:gd name="connsiteY1382" fmla="*/ 64134 h 138429"/>
                <a:gd name="connsiteX1383" fmla="*/ 1781806 w 4940931"/>
                <a:gd name="connsiteY1383" fmla="*/ 108584 h 138429"/>
                <a:gd name="connsiteX1384" fmla="*/ 1766566 w 4940931"/>
                <a:gd name="connsiteY1384" fmla="*/ 108584 h 138429"/>
                <a:gd name="connsiteX1385" fmla="*/ 1765931 w 4940931"/>
                <a:gd name="connsiteY1385" fmla="*/ 108584 h 138429"/>
                <a:gd name="connsiteX1386" fmla="*/ 1765931 w 4940931"/>
                <a:gd name="connsiteY1386" fmla="*/ 64769 h 138429"/>
                <a:gd name="connsiteX1387" fmla="*/ 1762121 w 4940931"/>
                <a:gd name="connsiteY1387" fmla="*/ 48894 h 138429"/>
                <a:gd name="connsiteX1388" fmla="*/ 1750056 w 4940931"/>
                <a:gd name="connsiteY1388" fmla="*/ 43814 h 138429"/>
                <a:gd name="connsiteX1389" fmla="*/ 1743706 w 4940931"/>
                <a:gd name="connsiteY1389" fmla="*/ 45084 h 138429"/>
                <a:gd name="connsiteX1390" fmla="*/ 1738626 w 4940931"/>
                <a:gd name="connsiteY1390" fmla="*/ 48894 h 138429"/>
                <a:gd name="connsiteX1391" fmla="*/ 1735451 w 4940931"/>
                <a:gd name="connsiteY1391" fmla="*/ 55244 h 138429"/>
                <a:gd name="connsiteX1392" fmla="*/ 1734181 w 4940931"/>
                <a:gd name="connsiteY1392" fmla="*/ 63499 h 138429"/>
                <a:gd name="connsiteX1393" fmla="*/ 1734181 w 4940931"/>
                <a:gd name="connsiteY1393" fmla="*/ 109219 h 138429"/>
                <a:gd name="connsiteX1394" fmla="*/ 1718941 w 4940931"/>
                <a:gd name="connsiteY1394" fmla="*/ 109219 h 138429"/>
                <a:gd name="connsiteX1395" fmla="*/ 1718941 w 4940931"/>
                <a:gd name="connsiteY1395" fmla="*/ 8889 h 138429"/>
                <a:gd name="connsiteX1396" fmla="*/ 803275 w 4940931"/>
                <a:gd name="connsiteY1396" fmla="*/ 634 h 138429"/>
                <a:gd name="connsiteX1397" fmla="*/ 803275 w 4940931"/>
                <a:gd name="connsiteY1397" fmla="*/ 38099 h 138429"/>
                <a:gd name="connsiteX1398" fmla="*/ 807085 w 4940931"/>
                <a:gd name="connsiteY1398" fmla="*/ 34289 h 138429"/>
                <a:gd name="connsiteX1399" fmla="*/ 811530 w 4940931"/>
                <a:gd name="connsiteY1399" fmla="*/ 31114 h 138429"/>
                <a:gd name="connsiteX1400" fmla="*/ 817245 w 4940931"/>
                <a:gd name="connsiteY1400" fmla="*/ 29209 h 138429"/>
                <a:gd name="connsiteX1401" fmla="*/ 822960 w 4940931"/>
                <a:gd name="connsiteY1401" fmla="*/ 29209 h 138429"/>
                <a:gd name="connsiteX1402" fmla="*/ 835025 w 4940931"/>
                <a:gd name="connsiteY1402" fmla="*/ 31749 h 138429"/>
                <a:gd name="connsiteX1403" fmla="*/ 843915 w 4940931"/>
                <a:gd name="connsiteY1403" fmla="*/ 38099 h 138429"/>
                <a:gd name="connsiteX1404" fmla="*/ 848995 w 4940931"/>
                <a:gd name="connsiteY1404" fmla="*/ 49529 h 138429"/>
                <a:gd name="connsiteX1405" fmla="*/ 850900 w 4940931"/>
                <a:gd name="connsiteY1405" fmla="*/ 64134 h 138429"/>
                <a:gd name="connsiteX1406" fmla="*/ 850900 w 4940931"/>
                <a:gd name="connsiteY1406" fmla="*/ 108584 h 138429"/>
                <a:gd name="connsiteX1407" fmla="*/ 835660 w 4940931"/>
                <a:gd name="connsiteY1407" fmla="*/ 108584 h 138429"/>
                <a:gd name="connsiteX1408" fmla="*/ 835025 w 4940931"/>
                <a:gd name="connsiteY1408" fmla="*/ 108584 h 138429"/>
                <a:gd name="connsiteX1409" fmla="*/ 835025 w 4940931"/>
                <a:gd name="connsiteY1409" fmla="*/ 64769 h 138429"/>
                <a:gd name="connsiteX1410" fmla="*/ 831215 w 4940931"/>
                <a:gd name="connsiteY1410" fmla="*/ 48894 h 138429"/>
                <a:gd name="connsiteX1411" fmla="*/ 819150 w 4940931"/>
                <a:gd name="connsiteY1411" fmla="*/ 43814 h 138429"/>
                <a:gd name="connsiteX1412" fmla="*/ 812800 w 4940931"/>
                <a:gd name="connsiteY1412" fmla="*/ 45084 h 138429"/>
                <a:gd name="connsiteX1413" fmla="*/ 807720 w 4940931"/>
                <a:gd name="connsiteY1413" fmla="*/ 48894 h 138429"/>
                <a:gd name="connsiteX1414" fmla="*/ 804545 w 4940931"/>
                <a:gd name="connsiteY1414" fmla="*/ 55244 h 138429"/>
                <a:gd name="connsiteX1415" fmla="*/ 803275 w 4940931"/>
                <a:gd name="connsiteY1415" fmla="*/ 63499 h 138429"/>
                <a:gd name="connsiteX1416" fmla="*/ 803275 w 4940931"/>
                <a:gd name="connsiteY1416" fmla="*/ 109219 h 138429"/>
                <a:gd name="connsiteX1417" fmla="*/ 788035 w 4940931"/>
                <a:gd name="connsiteY1417" fmla="*/ 109219 h 138429"/>
                <a:gd name="connsiteX1418" fmla="*/ 788035 w 4940931"/>
                <a:gd name="connsiteY1418" fmla="*/ 8889 h 138429"/>
                <a:gd name="connsiteX1419" fmla="*/ 104774 w 4940931"/>
                <a:gd name="connsiteY1419" fmla="*/ 634 h 138429"/>
                <a:gd name="connsiteX1420" fmla="*/ 104774 w 4940931"/>
                <a:gd name="connsiteY1420" fmla="*/ 38099 h 138429"/>
                <a:gd name="connsiteX1421" fmla="*/ 108584 w 4940931"/>
                <a:gd name="connsiteY1421" fmla="*/ 34289 h 138429"/>
                <a:gd name="connsiteX1422" fmla="*/ 113029 w 4940931"/>
                <a:gd name="connsiteY1422" fmla="*/ 31114 h 138429"/>
                <a:gd name="connsiteX1423" fmla="*/ 118744 w 4940931"/>
                <a:gd name="connsiteY1423" fmla="*/ 29209 h 138429"/>
                <a:gd name="connsiteX1424" fmla="*/ 124459 w 4940931"/>
                <a:gd name="connsiteY1424" fmla="*/ 29209 h 138429"/>
                <a:gd name="connsiteX1425" fmla="*/ 136524 w 4940931"/>
                <a:gd name="connsiteY1425" fmla="*/ 31749 h 138429"/>
                <a:gd name="connsiteX1426" fmla="*/ 145414 w 4940931"/>
                <a:gd name="connsiteY1426" fmla="*/ 38099 h 138429"/>
                <a:gd name="connsiteX1427" fmla="*/ 150494 w 4940931"/>
                <a:gd name="connsiteY1427" fmla="*/ 49529 h 138429"/>
                <a:gd name="connsiteX1428" fmla="*/ 152399 w 4940931"/>
                <a:gd name="connsiteY1428" fmla="*/ 64134 h 138429"/>
                <a:gd name="connsiteX1429" fmla="*/ 152399 w 4940931"/>
                <a:gd name="connsiteY1429" fmla="*/ 108584 h 138429"/>
                <a:gd name="connsiteX1430" fmla="*/ 137159 w 4940931"/>
                <a:gd name="connsiteY1430" fmla="*/ 108584 h 138429"/>
                <a:gd name="connsiteX1431" fmla="*/ 136524 w 4940931"/>
                <a:gd name="connsiteY1431" fmla="*/ 108584 h 138429"/>
                <a:gd name="connsiteX1432" fmla="*/ 136524 w 4940931"/>
                <a:gd name="connsiteY1432" fmla="*/ 64769 h 138429"/>
                <a:gd name="connsiteX1433" fmla="*/ 132714 w 4940931"/>
                <a:gd name="connsiteY1433" fmla="*/ 48894 h 138429"/>
                <a:gd name="connsiteX1434" fmla="*/ 120649 w 4940931"/>
                <a:gd name="connsiteY1434" fmla="*/ 43814 h 138429"/>
                <a:gd name="connsiteX1435" fmla="*/ 114299 w 4940931"/>
                <a:gd name="connsiteY1435" fmla="*/ 45084 h 138429"/>
                <a:gd name="connsiteX1436" fmla="*/ 109219 w 4940931"/>
                <a:gd name="connsiteY1436" fmla="*/ 48894 h 138429"/>
                <a:gd name="connsiteX1437" fmla="*/ 106044 w 4940931"/>
                <a:gd name="connsiteY1437" fmla="*/ 55244 h 138429"/>
                <a:gd name="connsiteX1438" fmla="*/ 104774 w 4940931"/>
                <a:gd name="connsiteY1438" fmla="*/ 63499 h 138429"/>
                <a:gd name="connsiteX1439" fmla="*/ 104774 w 4940931"/>
                <a:gd name="connsiteY1439" fmla="*/ 109219 h 138429"/>
                <a:gd name="connsiteX1440" fmla="*/ 89534 w 4940931"/>
                <a:gd name="connsiteY1440" fmla="*/ 109219 h 138429"/>
                <a:gd name="connsiteX1441" fmla="*/ 89534 w 4940931"/>
                <a:gd name="connsiteY1441" fmla="*/ 8889 h 138429"/>
                <a:gd name="connsiteX1442" fmla="*/ 3894450 w 4940931"/>
                <a:gd name="connsiteY1442" fmla="*/ 0 h 138429"/>
                <a:gd name="connsiteX1443" fmla="*/ 3894450 w 4940931"/>
                <a:gd name="connsiteY1443" fmla="*/ 30480 h 138429"/>
                <a:gd name="connsiteX1444" fmla="*/ 3913500 w 4940931"/>
                <a:gd name="connsiteY1444" fmla="*/ 30480 h 138429"/>
                <a:gd name="connsiteX1445" fmla="*/ 3913500 w 4940931"/>
                <a:gd name="connsiteY1445" fmla="*/ 44450 h 138429"/>
                <a:gd name="connsiteX1446" fmla="*/ 3894450 w 4940931"/>
                <a:gd name="connsiteY1446" fmla="*/ 44450 h 138429"/>
                <a:gd name="connsiteX1447" fmla="*/ 3894450 w 4940931"/>
                <a:gd name="connsiteY1447" fmla="*/ 86995 h 138429"/>
                <a:gd name="connsiteX1448" fmla="*/ 3894450 w 4940931"/>
                <a:gd name="connsiteY1448" fmla="*/ 91440 h 138429"/>
                <a:gd name="connsiteX1449" fmla="*/ 3895720 w 4940931"/>
                <a:gd name="connsiteY1449" fmla="*/ 94615 h 138429"/>
                <a:gd name="connsiteX1450" fmla="*/ 3898260 w 4940931"/>
                <a:gd name="connsiteY1450" fmla="*/ 95885 h 138429"/>
                <a:gd name="connsiteX1451" fmla="*/ 3902070 w 4940931"/>
                <a:gd name="connsiteY1451" fmla="*/ 95885 h 138429"/>
                <a:gd name="connsiteX1452" fmla="*/ 3908420 w 4940931"/>
                <a:gd name="connsiteY1452" fmla="*/ 95250 h 138429"/>
                <a:gd name="connsiteX1453" fmla="*/ 3913500 w 4940931"/>
                <a:gd name="connsiteY1453" fmla="*/ 93345 h 138429"/>
                <a:gd name="connsiteX1454" fmla="*/ 3911595 w 4940931"/>
                <a:gd name="connsiteY1454" fmla="*/ 106680 h 138429"/>
                <a:gd name="connsiteX1455" fmla="*/ 3905245 w 4940931"/>
                <a:gd name="connsiteY1455" fmla="*/ 109220 h 138429"/>
                <a:gd name="connsiteX1456" fmla="*/ 3896990 w 4940931"/>
                <a:gd name="connsiteY1456" fmla="*/ 110490 h 138429"/>
                <a:gd name="connsiteX1457" fmla="*/ 3890005 w 4940931"/>
                <a:gd name="connsiteY1457" fmla="*/ 109220 h 138429"/>
                <a:gd name="connsiteX1458" fmla="*/ 3884290 w 4940931"/>
                <a:gd name="connsiteY1458" fmla="*/ 105410 h 138429"/>
                <a:gd name="connsiteX1459" fmla="*/ 3880480 w 4940931"/>
                <a:gd name="connsiteY1459" fmla="*/ 99060 h 138429"/>
                <a:gd name="connsiteX1460" fmla="*/ 3879210 w 4940931"/>
                <a:gd name="connsiteY1460" fmla="*/ 89535 h 138429"/>
                <a:gd name="connsiteX1461" fmla="*/ 3879210 w 4940931"/>
                <a:gd name="connsiteY1461" fmla="*/ 44450 h 138429"/>
                <a:gd name="connsiteX1462" fmla="*/ 3868415 w 4940931"/>
                <a:gd name="connsiteY1462" fmla="*/ 44450 h 138429"/>
                <a:gd name="connsiteX1463" fmla="*/ 3868415 w 4940931"/>
                <a:gd name="connsiteY1463" fmla="*/ 30480 h 138429"/>
                <a:gd name="connsiteX1464" fmla="*/ 3879210 w 4940931"/>
                <a:gd name="connsiteY1464" fmla="*/ 30480 h 138429"/>
                <a:gd name="connsiteX1465" fmla="*/ 3879210 w 4940931"/>
                <a:gd name="connsiteY1465" fmla="*/ 8255 h 138429"/>
                <a:gd name="connsiteX1466" fmla="*/ 3664581 w 4940931"/>
                <a:gd name="connsiteY1466" fmla="*/ 0 h 138429"/>
                <a:gd name="connsiteX1467" fmla="*/ 3664581 w 4940931"/>
                <a:gd name="connsiteY1467" fmla="*/ 30480 h 138429"/>
                <a:gd name="connsiteX1468" fmla="*/ 3683631 w 4940931"/>
                <a:gd name="connsiteY1468" fmla="*/ 30480 h 138429"/>
                <a:gd name="connsiteX1469" fmla="*/ 3683631 w 4940931"/>
                <a:gd name="connsiteY1469" fmla="*/ 44450 h 138429"/>
                <a:gd name="connsiteX1470" fmla="*/ 3664581 w 4940931"/>
                <a:gd name="connsiteY1470" fmla="*/ 44450 h 138429"/>
                <a:gd name="connsiteX1471" fmla="*/ 3664581 w 4940931"/>
                <a:gd name="connsiteY1471" fmla="*/ 86995 h 138429"/>
                <a:gd name="connsiteX1472" fmla="*/ 3664581 w 4940931"/>
                <a:gd name="connsiteY1472" fmla="*/ 91440 h 138429"/>
                <a:gd name="connsiteX1473" fmla="*/ 3665851 w 4940931"/>
                <a:gd name="connsiteY1473" fmla="*/ 94615 h 138429"/>
                <a:gd name="connsiteX1474" fmla="*/ 3668391 w 4940931"/>
                <a:gd name="connsiteY1474" fmla="*/ 95885 h 138429"/>
                <a:gd name="connsiteX1475" fmla="*/ 3672201 w 4940931"/>
                <a:gd name="connsiteY1475" fmla="*/ 95885 h 138429"/>
                <a:gd name="connsiteX1476" fmla="*/ 3678551 w 4940931"/>
                <a:gd name="connsiteY1476" fmla="*/ 95250 h 138429"/>
                <a:gd name="connsiteX1477" fmla="*/ 3683631 w 4940931"/>
                <a:gd name="connsiteY1477" fmla="*/ 93345 h 138429"/>
                <a:gd name="connsiteX1478" fmla="*/ 3681726 w 4940931"/>
                <a:gd name="connsiteY1478" fmla="*/ 106680 h 138429"/>
                <a:gd name="connsiteX1479" fmla="*/ 3675376 w 4940931"/>
                <a:gd name="connsiteY1479" fmla="*/ 109220 h 138429"/>
                <a:gd name="connsiteX1480" fmla="*/ 3667121 w 4940931"/>
                <a:gd name="connsiteY1480" fmla="*/ 110490 h 138429"/>
                <a:gd name="connsiteX1481" fmla="*/ 3660136 w 4940931"/>
                <a:gd name="connsiteY1481" fmla="*/ 109220 h 138429"/>
                <a:gd name="connsiteX1482" fmla="*/ 3654421 w 4940931"/>
                <a:gd name="connsiteY1482" fmla="*/ 105410 h 138429"/>
                <a:gd name="connsiteX1483" fmla="*/ 3650611 w 4940931"/>
                <a:gd name="connsiteY1483" fmla="*/ 99060 h 138429"/>
                <a:gd name="connsiteX1484" fmla="*/ 3649341 w 4940931"/>
                <a:gd name="connsiteY1484" fmla="*/ 89535 h 138429"/>
                <a:gd name="connsiteX1485" fmla="*/ 3649341 w 4940931"/>
                <a:gd name="connsiteY1485" fmla="*/ 44450 h 138429"/>
                <a:gd name="connsiteX1486" fmla="*/ 3638546 w 4940931"/>
                <a:gd name="connsiteY1486" fmla="*/ 44450 h 138429"/>
                <a:gd name="connsiteX1487" fmla="*/ 3638546 w 4940931"/>
                <a:gd name="connsiteY1487" fmla="*/ 30480 h 138429"/>
                <a:gd name="connsiteX1488" fmla="*/ 3649341 w 4940931"/>
                <a:gd name="connsiteY1488" fmla="*/ 30480 h 138429"/>
                <a:gd name="connsiteX1489" fmla="*/ 3649341 w 4940931"/>
                <a:gd name="connsiteY1489" fmla="*/ 8255 h 138429"/>
                <a:gd name="connsiteX1490" fmla="*/ 3610605 w 4940931"/>
                <a:gd name="connsiteY1490" fmla="*/ 0 h 138429"/>
                <a:gd name="connsiteX1491" fmla="*/ 3610605 w 4940931"/>
                <a:gd name="connsiteY1491" fmla="*/ 30480 h 138429"/>
                <a:gd name="connsiteX1492" fmla="*/ 3629655 w 4940931"/>
                <a:gd name="connsiteY1492" fmla="*/ 30480 h 138429"/>
                <a:gd name="connsiteX1493" fmla="*/ 3629655 w 4940931"/>
                <a:gd name="connsiteY1493" fmla="*/ 44450 h 138429"/>
                <a:gd name="connsiteX1494" fmla="*/ 3610605 w 4940931"/>
                <a:gd name="connsiteY1494" fmla="*/ 44450 h 138429"/>
                <a:gd name="connsiteX1495" fmla="*/ 3610605 w 4940931"/>
                <a:gd name="connsiteY1495" fmla="*/ 86995 h 138429"/>
                <a:gd name="connsiteX1496" fmla="*/ 3610605 w 4940931"/>
                <a:gd name="connsiteY1496" fmla="*/ 91440 h 138429"/>
                <a:gd name="connsiteX1497" fmla="*/ 3611875 w 4940931"/>
                <a:gd name="connsiteY1497" fmla="*/ 94615 h 138429"/>
                <a:gd name="connsiteX1498" fmla="*/ 3614415 w 4940931"/>
                <a:gd name="connsiteY1498" fmla="*/ 95885 h 138429"/>
                <a:gd name="connsiteX1499" fmla="*/ 3618225 w 4940931"/>
                <a:gd name="connsiteY1499" fmla="*/ 95885 h 138429"/>
                <a:gd name="connsiteX1500" fmla="*/ 3624575 w 4940931"/>
                <a:gd name="connsiteY1500" fmla="*/ 95250 h 138429"/>
                <a:gd name="connsiteX1501" fmla="*/ 3629655 w 4940931"/>
                <a:gd name="connsiteY1501" fmla="*/ 93345 h 138429"/>
                <a:gd name="connsiteX1502" fmla="*/ 3627750 w 4940931"/>
                <a:gd name="connsiteY1502" fmla="*/ 106680 h 138429"/>
                <a:gd name="connsiteX1503" fmla="*/ 3621400 w 4940931"/>
                <a:gd name="connsiteY1503" fmla="*/ 109220 h 138429"/>
                <a:gd name="connsiteX1504" fmla="*/ 3613145 w 4940931"/>
                <a:gd name="connsiteY1504" fmla="*/ 110490 h 138429"/>
                <a:gd name="connsiteX1505" fmla="*/ 3606160 w 4940931"/>
                <a:gd name="connsiteY1505" fmla="*/ 109220 h 138429"/>
                <a:gd name="connsiteX1506" fmla="*/ 3600445 w 4940931"/>
                <a:gd name="connsiteY1506" fmla="*/ 105410 h 138429"/>
                <a:gd name="connsiteX1507" fmla="*/ 3596635 w 4940931"/>
                <a:gd name="connsiteY1507" fmla="*/ 99060 h 138429"/>
                <a:gd name="connsiteX1508" fmla="*/ 3595365 w 4940931"/>
                <a:gd name="connsiteY1508" fmla="*/ 89535 h 138429"/>
                <a:gd name="connsiteX1509" fmla="*/ 3595365 w 4940931"/>
                <a:gd name="connsiteY1509" fmla="*/ 44450 h 138429"/>
                <a:gd name="connsiteX1510" fmla="*/ 3584570 w 4940931"/>
                <a:gd name="connsiteY1510" fmla="*/ 44450 h 138429"/>
                <a:gd name="connsiteX1511" fmla="*/ 3584570 w 4940931"/>
                <a:gd name="connsiteY1511" fmla="*/ 30480 h 138429"/>
                <a:gd name="connsiteX1512" fmla="*/ 3595365 w 4940931"/>
                <a:gd name="connsiteY1512" fmla="*/ 30480 h 138429"/>
                <a:gd name="connsiteX1513" fmla="*/ 3595365 w 4940931"/>
                <a:gd name="connsiteY1513" fmla="*/ 8255 h 138429"/>
                <a:gd name="connsiteX1514" fmla="*/ 3445505 w 4940931"/>
                <a:gd name="connsiteY1514" fmla="*/ 0 h 138429"/>
                <a:gd name="connsiteX1515" fmla="*/ 3445505 w 4940931"/>
                <a:gd name="connsiteY1515" fmla="*/ 37465 h 138429"/>
                <a:gd name="connsiteX1516" fmla="*/ 3449950 w 4940931"/>
                <a:gd name="connsiteY1516" fmla="*/ 33655 h 138429"/>
                <a:gd name="connsiteX1517" fmla="*/ 3453760 w 4940931"/>
                <a:gd name="connsiteY1517" fmla="*/ 31115 h 138429"/>
                <a:gd name="connsiteX1518" fmla="*/ 3458840 w 4940931"/>
                <a:gd name="connsiteY1518" fmla="*/ 29210 h 138429"/>
                <a:gd name="connsiteX1519" fmla="*/ 3465825 w 4940931"/>
                <a:gd name="connsiteY1519" fmla="*/ 28575 h 138429"/>
                <a:gd name="connsiteX1520" fmla="*/ 3477890 w 4940931"/>
                <a:gd name="connsiteY1520" fmla="*/ 31115 h 138429"/>
                <a:gd name="connsiteX1521" fmla="*/ 3487415 w 4940931"/>
                <a:gd name="connsiteY1521" fmla="*/ 38735 h 138429"/>
                <a:gd name="connsiteX1522" fmla="*/ 3493765 w 4940931"/>
                <a:gd name="connsiteY1522" fmla="*/ 51435 h 138429"/>
                <a:gd name="connsiteX1523" fmla="*/ 3496305 w 4940931"/>
                <a:gd name="connsiteY1523" fmla="*/ 70485 h 138429"/>
                <a:gd name="connsiteX1524" fmla="*/ 3495670 w 4940931"/>
                <a:gd name="connsiteY1524" fmla="*/ 71120 h 138429"/>
                <a:gd name="connsiteX1525" fmla="*/ 3493130 w 4940931"/>
                <a:gd name="connsiteY1525" fmla="*/ 88265 h 138429"/>
                <a:gd name="connsiteX1526" fmla="*/ 3486145 w 4940931"/>
                <a:gd name="connsiteY1526" fmla="*/ 100330 h 138429"/>
                <a:gd name="connsiteX1527" fmla="*/ 3476620 w 4940931"/>
                <a:gd name="connsiteY1527" fmla="*/ 107315 h 138429"/>
                <a:gd name="connsiteX1528" fmla="*/ 3465190 w 4940931"/>
                <a:gd name="connsiteY1528" fmla="*/ 109855 h 138429"/>
                <a:gd name="connsiteX1529" fmla="*/ 3454395 w 4940931"/>
                <a:gd name="connsiteY1529" fmla="*/ 107315 h 138429"/>
                <a:gd name="connsiteX1530" fmla="*/ 3445505 w 4940931"/>
                <a:gd name="connsiteY1530" fmla="*/ 100965 h 138429"/>
                <a:gd name="connsiteX1531" fmla="*/ 3445505 w 4940931"/>
                <a:gd name="connsiteY1531" fmla="*/ 107950 h 138429"/>
                <a:gd name="connsiteX1532" fmla="*/ 3430265 w 4940931"/>
                <a:gd name="connsiteY1532" fmla="*/ 107950 h 138429"/>
                <a:gd name="connsiteX1533" fmla="*/ 3430265 w 4940931"/>
                <a:gd name="connsiteY1533" fmla="*/ 7620 h 138429"/>
                <a:gd name="connsiteX1534" fmla="*/ 2380611 w 4940931"/>
                <a:gd name="connsiteY1534" fmla="*/ 0 h 138429"/>
                <a:gd name="connsiteX1535" fmla="*/ 2380611 w 4940931"/>
                <a:gd name="connsiteY1535" fmla="*/ 30480 h 138429"/>
                <a:gd name="connsiteX1536" fmla="*/ 2399661 w 4940931"/>
                <a:gd name="connsiteY1536" fmla="*/ 30480 h 138429"/>
                <a:gd name="connsiteX1537" fmla="*/ 2399661 w 4940931"/>
                <a:gd name="connsiteY1537" fmla="*/ 44450 h 138429"/>
                <a:gd name="connsiteX1538" fmla="*/ 2380611 w 4940931"/>
                <a:gd name="connsiteY1538" fmla="*/ 44450 h 138429"/>
                <a:gd name="connsiteX1539" fmla="*/ 2380611 w 4940931"/>
                <a:gd name="connsiteY1539" fmla="*/ 86995 h 138429"/>
                <a:gd name="connsiteX1540" fmla="*/ 2380611 w 4940931"/>
                <a:gd name="connsiteY1540" fmla="*/ 91440 h 138429"/>
                <a:gd name="connsiteX1541" fmla="*/ 2381881 w 4940931"/>
                <a:gd name="connsiteY1541" fmla="*/ 94615 h 138429"/>
                <a:gd name="connsiteX1542" fmla="*/ 2384421 w 4940931"/>
                <a:gd name="connsiteY1542" fmla="*/ 95885 h 138429"/>
                <a:gd name="connsiteX1543" fmla="*/ 2388231 w 4940931"/>
                <a:gd name="connsiteY1543" fmla="*/ 95885 h 138429"/>
                <a:gd name="connsiteX1544" fmla="*/ 2394581 w 4940931"/>
                <a:gd name="connsiteY1544" fmla="*/ 95250 h 138429"/>
                <a:gd name="connsiteX1545" fmla="*/ 2399661 w 4940931"/>
                <a:gd name="connsiteY1545" fmla="*/ 93345 h 138429"/>
                <a:gd name="connsiteX1546" fmla="*/ 2397756 w 4940931"/>
                <a:gd name="connsiteY1546" fmla="*/ 106680 h 138429"/>
                <a:gd name="connsiteX1547" fmla="*/ 2391406 w 4940931"/>
                <a:gd name="connsiteY1547" fmla="*/ 109220 h 138429"/>
                <a:gd name="connsiteX1548" fmla="*/ 2383151 w 4940931"/>
                <a:gd name="connsiteY1548" fmla="*/ 110490 h 138429"/>
                <a:gd name="connsiteX1549" fmla="*/ 2376166 w 4940931"/>
                <a:gd name="connsiteY1549" fmla="*/ 109220 h 138429"/>
                <a:gd name="connsiteX1550" fmla="*/ 2370451 w 4940931"/>
                <a:gd name="connsiteY1550" fmla="*/ 105410 h 138429"/>
                <a:gd name="connsiteX1551" fmla="*/ 2366641 w 4940931"/>
                <a:gd name="connsiteY1551" fmla="*/ 99060 h 138429"/>
                <a:gd name="connsiteX1552" fmla="*/ 2365371 w 4940931"/>
                <a:gd name="connsiteY1552" fmla="*/ 89535 h 138429"/>
                <a:gd name="connsiteX1553" fmla="*/ 2365371 w 4940931"/>
                <a:gd name="connsiteY1553" fmla="*/ 44450 h 138429"/>
                <a:gd name="connsiteX1554" fmla="*/ 2354576 w 4940931"/>
                <a:gd name="connsiteY1554" fmla="*/ 44450 h 138429"/>
                <a:gd name="connsiteX1555" fmla="*/ 2354576 w 4940931"/>
                <a:gd name="connsiteY1555" fmla="*/ 30480 h 138429"/>
                <a:gd name="connsiteX1556" fmla="*/ 2365371 w 4940931"/>
                <a:gd name="connsiteY1556" fmla="*/ 30480 h 138429"/>
                <a:gd name="connsiteX1557" fmla="*/ 2365371 w 4940931"/>
                <a:gd name="connsiteY1557" fmla="*/ 8255 h 138429"/>
                <a:gd name="connsiteX1558" fmla="*/ 2150741 w 4940931"/>
                <a:gd name="connsiteY1558" fmla="*/ 0 h 138429"/>
                <a:gd name="connsiteX1559" fmla="*/ 2150741 w 4940931"/>
                <a:gd name="connsiteY1559" fmla="*/ 30480 h 138429"/>
                <a:gd name="connsiteX1560" fmla="*/ 2169791 w 4940931"/>
                <a:gd name="connsiteY1560" fmla="*/ 30480 h 138429"/>
                <a:gd name="connsiteX1561" fmla="*/ 2169791 w 4940931"/>
                <a:gd name="connsiteY1561" fmla="*/ 44450 h 138429"/>
                <a:gd name="connsiteX1562" fmla="*/ 2150741 w 4940931"/>
                <a:gd name="connsiteY1562" fmla="*/ 44450 h 138429"/>
                <a:gd name="connsiteX1563" fmla="*/ 2150741 w 4940931"/>
                <a:gd name="connsiteY1563" fmla="*/ 86995 h 138429"/>
                <a:gd name="connsiteX1564" fmla="*/ 2150741 w 4940931"/>
                <a:gd name="connsiteY1564" fmla="*/ 91440 h 138429"/>
                <a:gd name="connsiteX1565" fmla="*/ 2152011 w 4940931"/>
                <a:gd name="connsiteY1565" fmla="*/ 94615 h 138429"/>
                <a:gd name="connsiteX1566" fmla="*/ 2154551 w 4940931"/>
                <a:gd name="connsiteY1566" fmla="*/ 95885 h 138429"/>
                <a:gd name="connsiteX1567" fmla="*/ 2158361 w 4940931"/>
                <a:gd name="connsiteY1567" fmla="*/ 95885 h 138429"/>
                <a:gd name="connsiteX1568" fmla="*/ 2164711 w 4940931"/>
                <a:gd name="connsiteY1568" fmla="*/ 95250 h 138429"/>
                <a:gd name="connsiteX1569" fmla="*/ 2169791 w 4940931"/>
                <a:gd name="connsiteY1569" fmla="*/ 93345 h 138429"/>
                <a:gd name="connsiteX1570" fmla="*/ 2167886 w 4940931"/>
                <a:gd name="connsiteY1570" fmla="*/ 106680 h 138429"/>
                <a:gd name="connsiteX1571" fmla="*/ 2161536 w 4940931"/>
                <a:gd name="connsiteY1571" fmla="*/ 109220 h 138429"/>
                <a:gd name="connsiteX1572" fmla="*/ 2153281 w 4940931"/>
                <a:gd name="connsiteY1572" fmla="*/ 110490 h 138429"/>
                <a:gd name="connsiteX1573" fmla="*/ 2146296 w 4940931"/>
                <a:gd name="connsiteY1573" fmla="*/ 109220 h 138429"/>
                <a:gd name="connsiteX1574" fmla="*/ 2140581 w 4940931"/>
                <a:gd name="connsiteY1574" fmla="*/ 105410 h 138429"/>
                <a:gd name="connsiteX1575" fmla="*/ 2136771 w 4940931"/>
                <a:gd name="connsiteY1575" fmla="*/ 99060 h 138429"/>
                <a:gd name="connsiteX1576" fmla="*/ 2135501 w 4940931"/>
                <a:gd name="connsiteY1576" fmla="*/ 89535 h 138429"/>
                <a:gd name="connsiteX1577" fmla="*/ 2135501 w 4940931"/>
                <a:gd name="connsiteY1577" fmla="*/ 44450 h 138429"/>
                <a:gd name="connsiteX1578" fmla="*/ 2124706 w 4940931"/>
                <a:gd name="connsiteY1578" fmla="*/ 44450 h 138429"/>
                <a:gd name="connsiteX1579" fmla="*/ 2124706 w 4940931"/>
                <a:gd name="connsiteY1579" fmla="*/ 30480 h 138429"/>
                <a:gd name="connsiteX1580" fmla="*/ 2135501 w 4940931"/>
                <a:gd name="connsiteY1580" fmla="*/ 30480 h 138429"/>
                <a:gd name="connsiteX1581" fmla="*/ 2135501 w 4940931"/>
                <a:gd name="connsiteY1581" fmla="*/ 8255 h 138429"/>
                <a:gd name="connsiteX1582" fmla="*/ 2096131 w 4940931"/>
                <a:gd name="connsiteY1582" fmla="*/ 0 h 138429"/>
                <a:gd name="connsiteX1583" fmla="*/ 2096131 w 4940931"/>
                <a:gd name="connsiteY1583" fmla="*/ 30480 h 138429"/>
                <a:gd name="connsiteX1584" fmla="*/ 2115181 w 4940931"/>
                <a:gd name="connsiteY1584" fmla="*/ 30480 h 138429"/>
                <a:gd name="connsiteX1585" fmla="*/ 2115181 w 4940931"/>
                <a:gd name="connsiteY1585" fmla="*/ 44450 h 138429"/>
                <a:gd name="connsiteX1586" fmla="*/ 2096131 w 4940931"/>
                <a:gd name="connsiteY1586" fmla="*/ 44450 h 138429"/>
                <a:gd name="connsiteX1587" fmla="*/ 2096131 w 4940931"/>
                <a:gd name="connsiteY1587" fmla="*/ 86995 h 138429"/>
                <a:gd name="connsiteX1588" fmla="*/ 2096131 w 4940931"/>
                <a:gd name="connsiteY1588" fmla="*/ 91440 h 138429"/>
                <a:gd name="connsiteX1589" fmla="*/ 2097401 w 4940931"/>
                <a:gd name="connsiteY1589" fmla="*/ 94615 h 138429"/>
                <a:gd name="connsiteX1590" fmla="*/ 2099941 w 4940931"/>
                <a:gd name="connsiteY1590" fmla="*/ 95885 h 138429"/>
                <a:gd name="connsiteX1591" fmla="*/ 2103751 w 4940931"/>
                <a:gd name="connsiteY1591" fmla="*/ 95885 h 138429"/>
                <a:gd name="connsiteX1592" fmla="*/ 2110101 w 4940931"/>
                <a:gd name="connsiteY1592" fmla="*/ 95250 h 138429"/>
                <a:gd name="connsiteX1593" fmla="*/ 2115181 w 4940931"/>
                <a:gd name="connsiteY1593" fmla="*/ 93345 h 138429"/>
                <a:gd name="connsiteX1594" fmla="*/ 2113276 w 4940931"/>
                <a:gd name="connsiteY1594" fmla="*/ 106680 h 138429"/>
                <a:gd name="connsiteX1595" fmla="*/ 2106926 w 4940931"/>
                <a:gd name="connsiteY1595" fmla="*/ 109220 h 138429"/>
                <a:gd name="connsiteX1596" fmla="*/ 2098671 w 4940931"/>
                <a:gd name="connsiteY1596" fmla="*/ 110490 h 138429"/>
                <a:gd name="connsiteX1597" fmla="*/ 2091686 w 4940931"/>
                <a:gd name="connsiteY1597" fmla="*/ 109220 h 138429"/>
                <a:gd name="connsiteX1598" fmla="*/ 2085971 w 4940931"/>
                <a:gd name="connsiteY1598" fmla="*/ 105410 h 138429"/>
                <a:gd name="connsiteX1599" fmla="*/ 2082161 w 4940931"/>
                <a:gd name="connsiteY1599" fmla="*/ 99060 h 138429"/>
                <a:gd name="connsiteX1600" fmla="*/ 2080891 w 4940931"/>
                <a:gd name="connsiteY1600" fmla="*/ 89535 h 138429"/>
                <a:gd name="connsiteX1601" fmla="*/ 2080891 w 4940931"/>
                <a:gd name="connsiteY1601" fmla="*/ 44450 h 138429"/>
                <a:gd name="connsiteX1602" fmla="*/ 2070096 w 4940931"/>
                <a:gd name="connsiteY1602" fmla="*/ 44450 h 138429"/>
                <a:gd name="connsiteX1603" fmla="*/ 2070096 w 4940931"/>
                <a:gd name="connsiteY1603" fmla="*/ 30480 h 138429"/>
                <a:gd name="connsiteX1604" fmla="*/ 2080891 w 4940931"/>
                <a:gd name="connsiteY1604" fmla="*/ 30480 h 138429"/>
                <a:gd name="connsiteX1605" fmla="*/ 2080891 w 4940931"/>
                <a:gd name="connsiteY1605" fmla="*/ 8255 h 138429"/>
                <a:gd name="connsiteX1606" fmla="*/ 1931665 w 4940931"/>
                <a:gd name="connsiteY1606" fmla="*/ 0 h 138429"/>
                <a:gd name="connsiteX1607" fmla="*/ 1931665 w 4940931"/>
                <a:gd name="connsiteY1607" fmla="*/ 37465 h 138429"/>
                <a:gd name="connsiteX1608" fmla="*/ 1936110 w 4940931"/>
                <a:gd name="connsiteY1608" fmla="*/ 33655 h 138429"/>
                <a:gd name="connsiteX1609" fmla="*/ 1939920 w 4940931"/>
                <a:gd name="connsiteY1609" fmla="*/ 31115 h 138429"/>
                <a:gd name="connsiteX1610" fmla="*/ 1945000 w 4940931"/>
                <a:gd name="connsiteY1610" fmla="*/ 29210 h 138429"/>
                <a:gd name="connsiteX1611" fmla="*/ 1951985 w 4940931"/>
                <a:gd name="connsiteY1611" fmla="*/ 28575 h 138429"/>
                <a:gd name="connsiteX1612" fmla="*/ 1964050 w 4940931"/>
                <a:gd name="connsiteY1612" fmla="*/ 31115 h 138429"/>
                <a:gd name="connsiteX1613" fmla="*/ 1973575 w 4940931"/>
                <a:gd name="connsiteY1613" fmla="*/ 38735 h 138429"/>
                <a:gd name="connsiteX1614" fmla="*/ 1979925 w 4940931"/>
                <a:gd name="connsiteY1614" fmla="*/ 51435 h 138429"/>
                <a:gd name="connsiteX1615" fmla="*/ 1982465 w 4940931"/>
                <a:gd name="connsiteY1615" fmla="*/ 70485 h 138429"/>
                <a:gd name="connsiteX1616" fmla="*/ 1981830 w 4940931"/>
                <a:gd name="connsiteY1616" fmla="*/ 71120 h 138429"/>
                <a:gd name="connsiteX1617" fmla="*/ 1979290 w 4940931"/>
                <a:gd name="connsiteY1617" fmla="*/ 88265 h 138429"/>
                <a:gd name="connsiteX1618" fmla="*/ 1972305 w 4940931"/>
                <a:gd name="connsiteY1618" fmla="*/ 100330 h 138429"/>
                <a:gd name="connsiteX1619" fmla="*/ 1962780 w 4940931"/>
                <a:gd name="connsiteY1619" fmla="*/ 107315 h 138429"/>
                <a:gd name="connsiteX1620" fmla="*/ 1951350 w 4940931"/>
                <a:gd name="connsiteY1620" fmla="*/ 109855 h 138429"/>
                <a:gd name="connsiteX1621" fmla="*/ 1940555 w 4940931"/>
                <a:gd name="connsiteY1621" fmla="*/ 107315 h 138429"/>
                <a:gd name="connsiteX1622" fmla="*/ 1931665 w 4940931"/>
                <a:gd name="connsiteY1622" fmla="*/ 100965 h 138429"/>
                <a:gd name="connsiteX1623" fmla="*/ 1931665 w 4940931"/>
                <a:gd name="connsiteY1623" fmla="*/ 107950 h 138429"/>
                <a:gd name="connsiteX1624" fmla="*/ 1916425 w 4940931"/>
                <a:gd name="connsiteY1624" fmla="*/ 107950 h 138429"/>
                <a:gd name="connsiteX1625" fmla="*/ 1916425 w 4940931"/>
                <a:gd name="connsiteY1625" fmla="*/ 7620 h 138429"/>
                <a:gd name="connsiteX1626" fmla="*/ 1316991 w 4940931"/>
                <a:gd name="connsiteY1626" fmla="*/ 0 h 138429"/>
                <a:gd name="connsiteX1627" fmla="*/ 1316991 w 4940931"/>
                <a:gd name="connsiteY1627" fmla="*/ 30480 h 138429"/>
                <a:gd name="connsiteX1628" fmla="*/ 1336041 w 4940931"/>
                <a:gd name="connsiteY1628" fmla="*/ 30480 h 138429"/>
                <a:gd name="connsiteX1629" fmla="*/ 1336041 w 4940931"/>
                <a:gd name="connsiteY1629" fmla="*/ 44450 h 138429"/>
                <a:gd name="connsiteX1630" fmla="*/ 1316991 w 4940931"/>
                <a:gd name="connsiteY1630" fmla="*/ 44450 h 138429"/>
                <a:gd name="connsiteX1631" fmla="*/ 1316991 w 4940931"/>
                <a:gd name="connsiteY1631" fmla="*/ 86995 h 138429"/>
                <a:gd name="connsiteX1632" fmla="*/ 1316991 w 4940931"/>
                <a:gd name="connsiteY1632" fmla="*/ 91440 h 138429"/>
                <a:gd name="connsiteX1633" fmla="*/ 1318261 w 4940931"/>
                <a:gd name="connsiteY1633" fmla="*/ 94615 h 138429"/>
                <a:gd name="connsiteX1634" fmla="*/ 1320801 w 4940931"/>
                <a:gd name="connsiteY1634" fmla="*/ 95885 h 138429"/>
                <a:gd name="connsiteX1635" fmla="*/ 1324611 w 4940931"/>
                <a:gd name="connsiteY1635" fmla="*/ 95885 h 138429"/>
                <a:gd name="connsiteX1636" fmla="*/ 1330961 w 4940931"/>
                <a:gd name="connsiteY1636" fmla="*/ 95250 h 138429"/>
                <a:gd name="connsiteX1637" fmla="*/ 1336041 w 4940931"/>
                <a:gd name="connsiteY1637" fmla="*/ 93345 h 138429"/>
                <a:gd name="connsiteX1638" fmla="*/ 1334136 w 4940931"/>
                <a:gd name="connsiteY1638" fmla="*/ 106680 h 138429"/>
                <a:gd name="connsiteX1639" fmla="*/ 1327786 w 4940931"/>
                <a:gd name="connsiteY1639" fmla="*/ 109220 h 138429"/>
                <a:gd name="connsiteX1640" fmla="*/ 1319531 w 4940931"/>
                <a:gd name="connsiteY1640" fmla="*/ 110490 h 138429"/>
                <a:gd name="connsiteX1641" fmla="*/ 1312546 w 4940931"/>
                <a:gd name="connsiteY1641" fmla="*/ 109220 h 138429"/>
                <a:gd name="connsiteX1642" fmla="*/ 1306831 w 4940931"/>
                <a:gd name="connsiteY1642" fmla="*/ 105410 h 138429"/>
                <a:gd name="connsiteX1643" fmla="*/ 1303021 w 4940931"/>
                <a:gd name="connsiteY1643" fmla="*/ 99060 h 138429"/>
                <a:gd name="connsiteX1644" fmla="*/ 1301751 w 4940931"/>
                <a:gd name="connsiteY1644" fmla="*/ 89535 h 138429"/>
                <a:gd name="connsiteX1645" fmla="*/ 1301751 w 4940931"/>
                <a:gd name="connsiteY1645" fmla="*/ 44450 h 138429"/>
                <a:gd name="connsiteX1646" fmla="*/ 1290956 w 4940931"/>
                <a:gd name="connsiteY1646" fmla="*/ 44450 h 138429"/>
                <a:gd name="connsiteX1647" fmla="*/ 1290956 w 4940931"/>
                <a:gd name="connsiteY1647" fmla="*/ 30480 h 138429"/>
                <a:gd name="connsiteX1648" fmla="*/ 1301751 w 4940931"/>
                <a:gd name="connsiteY1648" fmla="*/ 30480 h 138429"/>
                <a:gd name="connsiteX1649" fmla="*/ 1301751 w 4940931"/>
                <a:gd name="connsiteY1649" fmla="*/ 8255 h 138429"/>
                <a:gd name="connsiteX1650" fmla="*/ 751206 w 4940931"/>
                <a:gd name="connsiteY1650" fmla="*/ 0 h 138429"/>
                <a:gd name="connsiteX1651" fmla="*/ 751206 w 4940931"/>
                <a:gd name="connsiteY1651" fmla="*/ 30480 h 138429"/>
                <a:gd name="connsiteX1652" fmla="*/ 770256 w 4940931"/>
                <a:gd name="connsiteY1652" fmla="*/ 30480 h 138429"/>
                <a:gd name="connsiteX1653" fmla="*/ 770256 w 4940931"/>
                <a:gd name="connsiteY1653" fmla="*/ 44450 h 138429"/>
                <a:gd name="connsiteX1654" fmla="*/ 751206 w 4940931"/>
                <a:gd name="connsiteY1654" fmla="*/ 44450 h 138429"/>
                <a:gd name="connsiteX1655" fmla="*/ 751206 w 4940931"/>
                <a:gd name="connsiteY1655" fmla="*/ 86995 h 138429"/>
                <a:gd name="connsiteX1656" fmla="*/ 751206 w 4940931"/>
                <a:gd name="connsiteY1656" fmla="*/ 91440 h 138429"/>
                <a:gd name="connsiteX1657" fmla="*/ 752476 w 4940931"/>
                <a:gd name="connsiteY1657" fmla="*/ 94615 h 138429"/>
                <a:gd name="connsiteX1658" fmla="*/ 755016 w 4940931"/>
                <a:gd name="connsiteY1658" fmla="*/ 95885 h 138429"/>
                <a:gd name="connsiteX1659" fmla="*/ 758826 w 4940931"/>
                <a:gd name="connsiteY1659" fmla="*/ 95885 h 138429"/>
                <a:gd name="connsiteX1660" fmla="*/ 765176 w 4940931"/>
                <a:gd name="connsiteY1660" fmla="*/ 95250 h 138429"/>
                <a:gd name="connsiteX1661" fmla="*/ 770256 w 4940931"/>
                <a:gd name="connsiteY1661" fmla="*/ 93345 h 138429"/>
                <a:gd name="connsiteX1662" fmla="*/ 768351 w 4940931"/>
                <a:gd name="connsiteY1662" fmla="*/ 106680 h 138429"/>
                <a:gd name="connsiteX1663" fmla="*/ 762001 w 4940931"/>
                <a:gd name="connsiteY1663" fmla="*/ 109220 h 138429"/>
                <a:gd name="connsiteX1664" fmla="*/ 753746 w 4940931"/>
                <a:gd name="connsiteY1664" fmla="*/ 110490 h 138429"/>
                <a:gd name="connsiteX1665" fmla="*/ 746761 w 4940931"/>
                <a:gd name="connsiteY1665" fmla="*/ 109220 h 138429"/>
                <a:gd name="connsiteX1666" fmla="*/ 741045 w 4940931"/>
                <a:gd name="connsiteY1666" fmla="*/ 105410 h 138429"/>
                <a:gd name="connsiteX1667" fmla="*/ 737236 w 4940931"/>
                <a:gd name="connsiteY1667" fmla="*/ 99060 h 138429"/>
                <a:gd name="connsiteX1668" fmla="*/ 735966 w 4940931"/>
                <a:gd name="connsiteY1668" fmla="*/ 89535 h 138429"/>
                <a:gd name="connsiteX1669" fmla="*/ 735966 w 4940931"/>
                <a:gd name="connsiteY1669" fmla="*/ 44450 h 138429"/>
                <a:gd name="connsiteX1670" fmla="*/ 725171 w 4940931"/>
                <a:gd name="connsiteY1670" fmla="*/ 44450 h 138429"/>
                <a:gd name="connsiteX1671" fmla="*/ 725171 w 4940931"/>
                <a:gd name="connsiteY1671" fmla="*/ 30480 h 138429"/>
                <a:gd name="connsiteX1672" fmla="*/ 735966 w 4940931"/>
                <a:gd name="connsiteY1672" fmla="*/ 30480 h 138429"/>
                <a:gd name="connsiteX1673" fmla="*/ 735966 w 4940931"/>
                <a:gd name="connsiteY1673" fmla="*/ 8255 h 138429"/>
                <a:gd name="connsiteX1674" fmla="*/ 521335 w 4940931"/>
                <a:gd name="connsiteY1674" fmla="*/ 0 h 138429"/>
                <a:gd name="connsiteX1675" fmla="*/ 521335 w 4940931"/>
                <a:gd name="connsiteY1675" fmla="*/ 30480 h 138429"/>
                <a:gd name="connsiteX1676" fmla="*/ 540385 w 4940931"/>
                <a:gd name="connsiteY1676" fmla="*/ 30480 h 138429"/>
                <a:gd name="connsiteX1677" fmla="*/ 540385 w 4940931"/>
                <a:gd name="connsiteY1677" fmla="*/ 44450 h 138429"/>
                <a:gd name="connsiteX1678" fmla="*/ 521335 w 4940931"/>
                <a:gd name="connsiteY1678" fmla="*/ 44450 h 138429"/>
                <a:gd name="connsiteX1679" fmla="*/ 521335 w 4940931"/>
                <a:gd name="connsiteY1679" fmla="*/ 86995 h 138429"/>
                <a:gd name="connsiteX1680" fmla="*/ 521335 w 4940931"/>
                <a:gd name="connsiteY1680" fmla="*/ 91440 h 138429"/>
                <a:gd name="connsiteX1681" fmla="*/ 522605 w 4940931"/>
                <a:gd name="connsiteY1681" fmla="*/ 94615 h 138429"/>
                <a:gd name="connsiteX1682" fmla="*/ 525145 w 4940931"/>
                <a:gd name="connsiteY1682" fmla="*/ 95885 h 138429"/>
                <a:gd name="connsiteX1683" fmla="*/ 528955 w 4940931"/>
                <a:gd name="connsiteY1683" fmla="*/ 95885 h 138429"/>
                <a:gd name="connsiteX1684" fmla="*/ 535305 w 4940931"/>
                <a:gd name="connsiteY1684" fmla="*/ 95250 h 138429"/>
                <a:gd name="connsiteX1685" fmla="*/ 540385 w 4940931"/>
                <a:gd name="connsiteY1685" fmla="*/ 93345 h 138429"/>
                <a:gd name="connsiteX1686" fmla="*/ 538480 w 4940931"/>
                <a:gd name="connsiteY1686" fmla="*/ 106680 h 138429"/>
                <a:gd name="connsiteX1687" fmla="*/ 532130 w 4940931"/>
                <a:gd name="connsiteY1687" fmla="*/ 109220 h 138429"/>
                <a:gd name="connsiteX1688" fmla="*/ 523875 w 4940931"/>
                <a:gd name="connsiteY1688" fmla="*/ 110490 h 138429"/>
                <a:gd name="connsiteX1689" fmla="*/ 516890 w 4940931"/>
                <a:gd name="connsiteY1689" fmla="*/ 109220 h 138429"/>
                <a:gd name="connsiteX1690" fmla="*/ 511175 w 4940931"/>
                <a:gd name="connsiteY1690" fmla="*/ 105410 h 138429"/>
                <a:gd name="connsiteX1691" fmla="*/ 507365 w 4940931"/>
                <a:gd name="connsiteY1691" fmla="*/ 99060 h 138429"/>
                <a:gd name="connsiteX1692" fmla="*/ 506095 w 4940931"/>
                <a:gd name="connsiteY1692" fmla="*/ 89535 h 138429"/>
                <a:gd name="connsiteX1693" fmla="*/ 506095 w 4940931"/>
                <a:gd name="connsiteY1693" fmla="*/ 44450 h 138429"/>
                <a:gd name="connsiteX1694" fmla="*/ 495300 w 4940931"/>
                <a:gd name="connsiteY1694" fmla="*/ 44450 h 138429"/>
                <a:gd name="connsiteX1695" fmla="*/ 495300 w 4940931"/>
                <a:gd name="connsiteY1695" fmla="*/ 30480 h 138429"/>
                <a:gd name="connsiteX1696" fmla="*/ 506095 w 4940931"/>
                <a:gd name="connsiteY1696" fmla="*/ 30480 h 138429"/>
                <a:gd name="connsiteX1697" fmla="*/ 506095 w 4940931"/>
                <a:gd name="connsiteY1697" fmla="*/ 8255 h 138429"/>
                <a:gd name="connsiteX1698" fmla="*/ 466724 w 4940931"/>
                <a:gd name="connsiteY1698" fmla="*/ 0 h 138429"/>
                <a:gd name="connsiteX1699" fmla="*/ 466724 w 4940931"/>
                <a:gd name="connsiteY1699" fmla="*/ 30480 h 138429"/>
                <a:gd name="connsiteX1700" fmla="*/ 485774 w 4940931"/>
                <a:gd name="connsiteY1700" fmla="*/ 30480 h 138429"/>
                <a:gd name="connsiteX1701" fmla="*/ 485774 w 4940931"/>
                <a:gd name="connsiteY1701" fmla="*/ 44450 h 138429"/>
                <a:gd name="connsiteX1702" fmla="*/ 466724 w 4940931"/>
                <a:gd name="connsiteY1702" fmla="*/ 44450 h 138429"/>
                <a:gd name="connsiteX1703" fmla="*/ 466724 w 4940931"/>
                <a:gd name="connsiteY1703" fmla="*/ 86995 h 138429"/>
                <a:gd name="connsiteX1704" fmla="*/ 466724 w 4940931"/>
                <a:gd name="connsiteY1704" fmla="*/ 91440 h 138429"/>
                <a:gd name="connsiteX1705" fmla="*/ 467994 w 4940931"/>
                <a:gd name="connsiteY1705" fmla="*/ 94615 h 138429"/>
                <a:gd name="connsiteX1706" fmla="*/ 470534 w 4940931"/>
                <a:gd name="connsiteY1706" fmla="*/ 95885 h 138429"/>
                <a:gd name="connsiteX1707" fmla="*/ 474344 w 4940931"/>
                <a:gd name="connsiteY1707" fmla="*/ 95885 h 138429"/>
                <a:gd name="connsiteX1708" fmla="*/ 480694 w 4940931"/>
                <a:gd name="connsiteY1708" fmla="*/ 95250 h 138429"/>
                <a:gd name="connsiteX1709" fmla="*/ 485774 w 4940931"/>
                <a:gd name="connsiteY1709" fmla="*/ 93345 h 138429"/>
                <a:gd name="connsiteX1710" fmla="*/ 483869 w 4940931"/>
                <a:gd name="connsiteY1710" fmla="*/ 106680 h 138429"/>
                <a:gd name="connsiteX1711" fmla="*/ 477519 w 4940931"/>
                <a:gd name="connsiteY1711" fmla="*/ 109220 h 138429"/>
                <a:gd name="connsiteX1712" fmla="*/ 469264 w 4940931"/>
                <a:gd name="connsiteY1712" fmla="*/ 110490 h 138429"/>
                <a:gd name="connsiteX1713" fmla="*/ 462279 w 4940931"/>
                <a:gd name="connsiteY1713" fmla="*/ 109220 h 138429"/>
                <a:gd name="connsiteX1714" fmla="*/ 456564 w 4940931"/>
                <a:gd name="connsiteY1714" fmla="*/ 105410 h 138429"/>
                <a:gd name="connsiteX1715" fmla="*/ 452754 w 4940931"/>
                <a:gd name="connsiteY1715" fmla="*/ 99060 h 138429"/>
                <a:gd name="connsiteX1716" fmla="*/ 451484 w 4940931"/>
                <a:gd name="connsiteY1716" fmla="*/ 89535 h 138429"/>
                <a:gd name="connsiteX1717" fmla="*/ 451484 w 4940931"/>
                <a:gd name="connsiteY1717" fmla="*/ 44450 h 138429"/>
                <a:gd name="connsiteX1718" fmla="*/ 440689 w 4940931"/>
                <a:gd name="connsiteY1718" fmla="*/ 44450 h 138429"/>
                <a:gd name="connsiteX1719" fmla="*/ 440689 w 4940931"/>
                <a:gd name="connsiteY1719" fmla="*/ 30480 h 138429"/>
                <a:gd name="connsiteX1720" fmla="*/ 451484 w 4940931"/>
                <a:gd name="connsiteY1720" fmla="*/ 30480 h 138429"/>
                <a:gd name="connsiteX1721" fmla="*/ 451484 w 4940931"/>
                <a:gd name="connsiteY1721" fmla="*/ 8255 h 138429"/>
                <a:gd name="connsiteX1722" fmla="*/ 302259 w 4940931"/>
                <a:gd name="connsiteY1722" fmla="*/ 0 h 138429"/>
                <a:gd name="connsiteX1723" fmla="*/ 302259 w 4940931"/>
                <a:gd name="connsiteY1723" fmla="*/ 37465 h 138429"/>
                <a:gd name="connsiteX1724" fmla="*/ 306704 w 4940931"/>
                <a:gd name="connsiteY1724" fmla="*/ 33655 h 138429"/>
                <a:gd name="connsiteX1725" fmla="*/ 310514 w 4940931"/>
                <a:gd name="connsiteY1725" fmla="*/ 31115 h 138429"/>
                <a:gd name="connsiteX1726" fmla="*/ 315594 w 4940931"/>
                <a:gd name="connsiteY1726" fmla="*/ 29210 h 138429"/>
                <a:gd name="connsiteX1727" fmla="*/ 322579 w 4940931"/>
                <a:gd name="connsiteY1727" fmla="*/ 28575 h 138429"/>
                <a:gd name="connsiteX1728" fmla="*/ 334644 w 4940931"/>
                <a:gd name="connsiteY1728" fmla="*/ 31115 h 138429"/>
                <a:gd name="connsiteX1729" fmla="*/ 344169 w 4940931"/>
                <a:gd name="connsiteY1729" fmla="*/ 38735 h 138429"/>
                <a:gd name="connsiteX1730" fmla="*/ 350519 w 4940931"/>
                <a:gd name="connsiteY1730" fmla="*/ 51435 h 138429"/>
                <a:gd name="connsiteX1731" fmla="*/ 353059 w 4940931"/>
                <a:gd name="connsiteY1731" fmla="*/ 70485 h 138429"/>
                <a:gd name="connsiteX1732" fmla="*/ 352424 w 4940931"/>
                <a:gd name="connsiteY1732" fmla="*/ 71120 h 138429"/>
                <a:gd name="connsiteX1733" fmla="*/ 349884 w 4940931"/>
                <a:gd name="connsiteY1733" fmla="*/ 88265 h 138429"/>
                <a:gd name="connsiteX1734" fmla="*/ 342899 w 4940931"/>
                <a:gd name="connsiteY1734" fmla="*/ 100330 h 138429"/>
                <a:gd name="connsiteX1735" fmla="*/ 333374 w 4940931"/>
                <a:gd name="connsiteY1735" fmla="*/ 107315 h 138429"/>
                <a:gd name="connsiteX1736" fmla="*/ 321944 w 4940931"/>
                <a:gd name="connsiteY1736" fmla="*/ 109855 h 138429"/>
                <a:gd name="connsiteX1737" fmla="*/ 311149 w 4940931"/>
                <a:gd name="connsiteY1737" fmla="*/ 107315 h 138429"/>
                <a:gd name="connsiteX1738" fmla="*/ 302259 w 4940931"/>
                <a:gd name="connsiteY1738" fmla="*/ 100965 h 138429"/>
                <a:gd name="connsiteX1739" fmla="*/ 302259 w 4940931"/>
                <a:gd name="connsiteY1739" fmla="*/ 107950 h 138429"/>
                <a:gd name="connsiteX1740" fmla="*/ 287019 w 4940931"/>
                <a:gd name="connsiteY1740" fmla="*/ 107950 h 138429"/>
                <a:gd name="connsiteX1741" fmla="*/ 287019 w 4940931"/>
                <a:gd name="connsiteY1741" fmla="*/ 7620 h 138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  <a:cxn ang="0">
                  <a:pos x="connsiteX1535" y="connsiteY1535"/>
                </a:cxn>
                <a:cxn ang="0">
                  <a:pos x="connsiteX1536" y="connsiteY1536"/>
                </a:cxn>
                <a:cxn ang="0">
                  <a:pos x="connsiteX1537" y="connsiteY1537"/>
                </a:cxn>
                <a:cxn ang="0">
                  <a:pos x="connsiteX1538" y="connsiteY1538"/>
                </a:cxn>
                <a:cxn ang="0">
                  <a:pos x="connsiteX1539" y="connsiteY1539"/>
                </a:cxn>
                <a:cxn ang="0">
                  <a:pos x="connsiteX1540" y="connsiteY1540"/>
                </a:cxn>
                <a:cxn ang="0">
                  <a:pos x="connsiteX1541" y="connsiteY1541"/>
                </a:cxn>
                <a:cxn ang="0">
                  <a:pos x="connsiteX1542" y="connsiteY1542"/>
                </a:cxn>
                <a:cxn ang="0">
                  <a:pos x="connsiteX1543" y="connsiteY1543"/>
                </a:cxn>
                <a:cxn ang="0">
                  <a:pos x="connsiteX1544" y="connsiteY1544"/>
                </a:cxn>
                <a:cxn ang="0">
                  <a:pos x="connsiteX1545" y="connsiteY1545"/>
                </a:cxn>
                <a:cxn ang="0">
                  <a:pos x="connsiteX1546" y="connsiteY1546"/>
                </a:cxn>
                <a:cxn ang="0">
                  <a:pos x="connsiteX1547" y="connsiteY1547"/>
                </a:cxn>
                <a:cxn ang="0">
                  <a:pos x="connsiteX1548" y="connsiteY1548"/>
                </a:cxn>
                <a:cxn ang="0">
                  <a:pos x="connsiteX1549" y="connsiteY1549"/>
                </a:cxn>
                <a:cxn ang="0">
                  <a:pos x="connsiteX1550" y="connsiteY1550"/>
                </a:cxn>
                <a:cxn ang="0">
                  <a:pos x="connsiteX1551" y="connsiteY1551"/>
                </a:cxn>
                <a:cxn ang="0">
                  <a:pos x="connsiteX1552" y="connsiteY1552"/>
                </a:cxn>
                <a:cxn ang="0">
                  <a:pos x="connsiteX1553" y="connsiteY1553"/>
                </a:cxn>
                <a:cxn ang="0">
                  <a:pos x="connsiteX1554" y="connsiteY1554"/>
                </a:cxn>
                <a:cxn ang="0">
                  <a:pos x="connsiteX1555" y="connsiteY1555"/>
                </a:cxn>
                <a:cxn ang="0">
                  <a:pos x="connsiteX1556" y="connsiteY1556"/>
                </a:cxn>
                <a:cxn ang="0">
                  <a:pos x="connsiteX1557" y="connsiteY1557"/>
                </a:cxn>
                <a:cxn ang="0">
                  <a:pos x="connsiteX1558" y="connsiteY1558"/>
                </a:cxn>
                <a:cxn ang="0">
                  <a:pos x="connsiteX1559" y="connsiteY1559"/>
                </a:cxn>
                <a:cxn ang="0">
                  <a:pos x="connsiteX1560" y="connsiteY1560"/>
                </a:cxn>
                <a:cxn ang="0">
                  <a:pos x="connsiteX1561" y="connsiteY1561"/>
                </a:cxn>
                <a:cxn ang="0">
                  <a:pos x="connsiteX1562" y="connsiteY1562"/>
                </a:cxn>
                <a:cxn ang="0">
                  <a:pos x="connsiteX1563" y="connsiteY1563"/>
                </a:cxn>
                <a:cxn ang="0">
                  <a:pos x="connsiteX1564" y="connsiteY1564"/>
                </a:cxn>
                <a:cxn ang="0">
                  <a:pos x="connsiteX1565" y="connsiteY1565"/>
                </a:cxn>
                <a:cxn ang="0">
                  <a:pos x="connsiteX1566" y="connsiteY1566"/>
                </a:cxn>
                <a:cxn ang="0">
                  <a:pos x="connsiteX1567" y="connsiteY1567"/>
                </a:cxn>
                <a:cxn ang="0">
                  <a:pos x="connsiteX1568" y="connsiteY1568"/>
                </a:cxn>
                <a:cxn ang="0">
                  <a:pos x="connsiteX1569" y="connsiteY1569"/>
                </a:cxn>
                <a:cxn ang="0">
                  <a:pos x="connsiteX1570" y="connsiteY1570"/>
                </a:cxn>
                <a:cxn ang="0">
                  <a:pos x="connsiteX1571" y="connsiteY1571"/>
                </a:cxn>
                <a:cxn ang="0">
                  <a:pos x="connsiteX1572" y="connsiteY1572"/>
                </a:cxn>
                <a:cxn ang="0">
                  <a:pos x="connsiteX1573" y="connsiteY1573"/>
                </a:cxn>
                <a:cxn ang="0">
                  <a:pos x="connsiteX1574" y="connsiteY1574"/>
                </a:cxn>
                <a:cxn ang="0">
                  <a:pos x="connsiteX1575" y="connsiteY1575"/>
                </a:cxn>
                <a:cxn ang="0">
                  <a:pos x="connsiteX1576" y="connsiteY1576"/>
                </a:cxn>
                <a:cxn ang="0">
                  <a:pos x="connsiteX1577" y="connsiteY1577"/>
                </a:cxn>
                <a:cxn ang="0">
                  <a:pos x="connsiteX1578" y="connsiteY1578"/>
                </a:cxn>
                <a:cxn ang="0">
                  <a:pos x="connsiteX1579" y="connsiteY1579"/>
                </a:cxn>
                <a:cxn ang="0">
                  <a:pos x="connsiteX1580" y="connsiteY1580"/>
                </a:cxn>
                <a:cxn ang="0">
                  <a:pos x="connsiteX1581" y="connsiteY1581"/>
                </a:cxn>
                <a:cxn ang="0">
                  <a:pos x="connsiteX1582" y="connsiteY1582"/>
                </a:cxn>
                <a:cxn ang="0">
                  <a:pos x="connsiteX1583" y="connsiteY1583"/>
                </a:cxn>
                <a:cxn ang="0">
                  <a:pos x="connsiteX1584" y="connsiteY1584"/>
                </a:cxn>
                <a:cxn ang="0">
                  <a:pos x="connsiteX1585" y="connsiteY1585"/>
                </a:cxn>
                <a:cxn ang="0">
                  <a:pos x="connsiteX1586" y="connsiteY1586"/>
                </a:cxn>
                <a:cxn ang="0">
                  <a:pos x="connsiteX1587" y="connsiteY1587"/>
                </a:cxn>
                <a:cxn ang="0">
                  <a:pos x="connsiteX1588" y="connsiteY1588"/>
                </a:cxn>
                <a:cxn ang="0">
                  <a:pos x="connsiteX1589" y="connsiteY1589"/>
                </a:cxn>
                <a:cxn ang="0">
                  <a:pos x="connsiteX1590" y="connsiteY1590"/>
                </a:cxn>
                <a:cxn ang="0">
                  <a:pos x="connsiteX1591" y="connsiteY1591"/>
                </a:cxn>
                <a:cxn ang="0">
                  <a:pos x="connsiteX1592" y="connsiteY1592"/>
                </a:cxn>
                <a:cxn ang="0">
                  <a:pos x="connsiteX1593" y="connsiteY1593"/>
                </a:cxn>
                <a:cxn ang="0">
                  <a:pos x="connsiteX1594" y="connsiteY1594"/>
                </a:cxn>
                <a:cxn ang="0">
                  <a:pos x="connsiteX1595" y="connsiteY1595"/>
                </a:cxn>
                <a:cxn ang="0">
                  <a:pos x="connsiteX1596" y="connsiteY1596"/>
                </a:cxn>
                <a:cxn ang="0">
                  <a:pos x="connsiteX1597" y="connsiteY1597"/>
                </a:cxn>
                <a:cxn ang="0">
                  <a:pos x="connsiteX1598" y="connsiteY1598"/>
                </a:cxn>
                <a:cxn ang="0">
                  <a:pos x="connsiteX1599" y="connsiteY1599"/>
                </a:cxn>
                <a:cxn ang="0">
                  <a:pos x="connsiteX1600" y="connsiteY1600"/>
                </a:cxn>
                <a:cxn ang="0">
                  <a:pos x="connsiteX1601" y="connsiteY1601"/>
                </a:cxn>
                <a:cxn ang="0">
                  <a:pos x="connsiteX1602" y="connsiteY1602"/>
                </a:cxn>
                <a:cxn ang="0">
                  <a:pos x="connsiteX1603" y="connsiteY1603"/>
                </a:cxn>
                <a:cxn ang="0">
                  <a:pos x="connsiteX1604" y="connsiteY1604"/>
                </a:cxn>
                <a:cxn ang="0">
                  <a:pos x="connsiteX1605" y="connsiteY1605"/>
                </a:cxn>
                <a:cxn ang="0">
                  <a:pos x="connsiteX1606" y="connsiteY1606"/>
                </a:cxn>
                <a:cxn ang="0">
                  <a:pos x="connsiteX1607" y="connsiteY1607"/>
                </a:cxn>
                <a:cxn ang="0">
                  <a:pos x="connsiteX1608" y="connsiteY1608"/>
                </a:cxn>
                <a:cxn ang="0">
                  <a:pos x="connsiteX1609" y="connsiteY1609"/>
                </a:cxn>
                <a:cxn ang="0">
                  <a:pos x="connsiteX1610" y="connsiteY1610"/>
                </a:cxn>
                <a:cxn ang="0">
                  <a:pos x="connsiteX1611" y="connsiteY1611"/>
                </a:cxn>
                <a:cxn ang="0">
                  <a:pos x="connsiteX1612" y="connsiteY1612"/>
                </a:cxn>
                <a:cxn ang="0">
                  <a:pos x="connsiteX1613" y="connsiteY1613"/>
                </a:cxn>
                <a:cxn ang="0">
                  <a:pos x="connsiteX1614" y="connsiteY1614"/>
                </a:cxn>
                <a:cxn ang="0">
                  <a:pos x="connsiteX1615" y="connsiteY1615"/>
                </a:cxn>
                <a:cxn ang="0">
                  <a:pos x="connsiteX1616" y="connsiteY1616"/>
                </a:cxn>
                <a:cxn ang="0">
                  <a:pos x="connsiteX1617" y="connsiteY1617"/>
                </a:cxn>
                <a:cxn ang="0">
                  <a:pos x="connsiteX1618" y="connsiteY1618"/>
                </a:cxn>
                <a:cxn ang="0">
                  <a:pos x="connsiteX1619" y="connsiteY1619"/>
                </a:cxn>
                <a:cxn ang="0">
                  <a:pos x="connsiteX1620" y="connsiteY1620"/>
                </a:cxn>
                <a:cxn ang="0">
                  <a:pos x="connsiteX1621" y="connsiteY1621"/>
                </a:cxn>
                <a:cxn ang="0">
                  <a:pos x="connsiteX1622" y="connsiteY1622"/>
                </a:cxn>
                <a:cxn ang="0">
                  <a:pos x="connsiteX1623" y="connsiteY1623"/>
                </a:cxn>
                <a:cxn ang="0">
                  <a:pos x="connsiteX1624" y="connsiteY1624"/>
                </a:cxn>
                <a:cxn ang="0">
                  <a:pos x="connsiteX1625" y="connsiteY1625"/>
                </a:cxn>
                <a:cxn ang="0">
                  <a:pos x="connsiteX1626" y="connsiteY1626"/>
                </a:cxn>
                <a:cxn ang="0">
                  <a:pos x="connsiteX1627" y="connsiteY1627"/>
                </a:cxn>
                <a:cxn ang="0">
                  <a:pos x="connsiteX1628" y="connsiteY1628"/>
                </a:cxn>
                <a:cxn ang="0">
                  <a:pos x="connsiteX1629" y="connsiteY1629"/>
                </a:cxn>
                <a:cxn ang="0">
                  <a:pos x="connsiteX1630" y="connsiteY1630"/>
                </a:cxn>
                <a:cxn ang="0">
                  <a:pos x="connsiteX1631" y="connsiteY1631"/>
                </a:cxn>
                <a:cxn ang="0">
                  <a:pos x="connsiteX1632" y="connsiteY1632"/>
                </a:cxn>
                <a:cxn ang="0">
                  <a:pos x="connsiteX1633" y="connsiteY1633"/>
                </a:cxn>
                <a:cxn ang="0">
                  <a:pos x="connsiteX1634" y="connsiteY1634"/>
                </a:cxn>
                <a:cxn ang="0">
                  <a:pos x="connsiteX1635" y="connsiteY1635"/>
                </a:cxn>
                <a:cxn ang="0">
                  <a:pos x="connsiteX1636" y="connsiteY1636"/>
                </a:cxn>
                <a:cxn ang="0">
                  <a:pos x="connsiteX1637" y="connsiteY1637"/>
                </a:cxn>
                <a:cxn ang="0">
                  <a:pos x="connsiteX1638" y="connsiteY1638"/>
                </a:cxn>
                <a:cxn ang="0">
                  <a:pos x="connsiteX1639" y="connsiteY1639"/>
                </a:cxn>
                <a:cxn ang="0">
                  <a:pos x="connsiteX1640" y="connsiteY1640"/>
                </a:cxn>
                <a:cxn ang="0">
                  <a:pos x="connsiteX1641" y="connsiteY1641"/>
                </a:cxn>
                <a:cxn ang="0">
                  <a:pos x="connsiteX1642" y="connsiteY1642"/>
                </a:cxn>
                <a:cxn ang="0">
                  <a:pos x="connsiteX1643" y="connsiteY1643"/>
                </a:cxn>
                <a:cxn ang="0">
                  <a:pos x="connsiteX1644" y="connsiteY1644"/>
                </a:cxn>
                <a:cxn ang="0">
                  <a:pos x="connsiteX1645" y="connsiteY1645"/>
                </a:cxn>
                <a:cxn ang="0">
                  <a:pos x="connsiteX1646" y="connsiteY1646"/>
                </a:cxn>
                <a:cxn ang="0">
                  <a:pos x="connsiteX1647" y="connsiteY1647"/>
                </a:cxn>
                <a:cxn ang="0">
                  <a:pos x="connsiteX1648" y="connsiteY1648"/>
                </a:cxn>
                <a:cxn ang="0">
                  <a:pos x="connsiteX1649" y="connsiteY1649"/>
                </a:cxn>
                <a:cxn ang="0">
                  <a:pos x="connsiteX1650" y="connsiteY1650"/>
                </a:cxn>
                <a:cxn ang="0">
                  <a:pos x="connsiteX1651" y="connsiteY1651"/>
                </a:cxn>
                <a:cxn ang="0">
                  <a:pos x="connsiteX1652" y="connsiteY1652"/>
                </a:cxn>
                <a:cxn ang="0">
                  <a:pos x="connsiteX1653" y="connsiteY1653"/>
                </a:cxn>
                <a:cxn ang="0">
                  <a:pos x="connsiteX1654" y="connsiteY1654"/>
                </a:cxn>
                <a:cxn ang="0">
                  <a:pos x="connsiteX1655" y="connsiteY1655"/>
                </a:cxn>
                <a:cxn ang="0">
                  <a:pos x="connsiteX1656" y="connsiteY1656"/>
                </a:cxn>
                <a:cxn ang="0">
                  <a:pos x="connsiteX1657" y="connsiteY1657"/>
                </a:cxn>
                <a:cxn ang="0">
                  <a:pos x="connsiteX1658" y="connsiteY1658"/>
                </a:cxn>
                <a:cxn ang="0">
                  <a:pos x="connsiteX1659" y="connsiteY1659"/>
                </a:cxn>
                <a:cxn ang="0">
                  <a:pos x="connsiteX1660" y="connsiteY1660"/>
                </a:cxn>
                <a:cxn ang="0">
                  <a:pos x="connsiteX1661" y="connsiteY1661"/>
                </a:cxn>
                <a:cxn ang="0">
                  <a:pos x="connsiteX1662" y="connsiteY1662"/>
                </a:cxn>
                <a:cxn ang="0">
                  <a:pos x="connsiteX1663" y="connsiteY1663"/>
                </a:cxn>
                <a:cxn ang="0">
                  <a:pos x="connsiteX1664" y="connsiteY1664"/>
                </a:cxn>
                <a:cxn ang="0">
                  <a:pos x="connsiteX1665" y="connsiteY1665"/>
                </a:cxn>
                <a:cxn ang="0">
                  <a:pos x="connsiteX1666" y="connsiteY1666"/>
                </a:cxn>
                <a:cxn ang="0">
                  <a:pos x="connsiteX1667" y="connsiteY1667"/>
                </a:cxn>
                <a:cxn ang="0">
                  <a:pos x="connsiteX1668" y="connsiteY1668"/>
                </a:cxn>
                <a:cxn ang="0">
                  <a:pos x="connsiteX1669" y="connsiteY1669"/>
                </a:cxn>
                <a:cxn ang="0">
                  <a:pos x="connsiteX1670" y="connsiteY1670"/>
                </a:cxn>
                <a:cxn ang="0">
                  <a:pos x="connsiteX1671" y="connsiteY1671"/>
                </a:cxn>
                <a:cxn ang="0">
                  <a:pos x="connsiteX1672" y="connsiteY1672"/>
                </a:cxn>
                <a:cxn ang="0">
                  <a:pos x="connsiteX1673" y="connsiteY1673"/>
                </a:cxn>
                <a:cxn ang="0">
                  <a:pos x="connsiteX1674" y="connsiteY1674"/>
                </a:cxn>
                <a:cxn ang="0">
                  <a:pos x="connsiteX1675" y="connsiteY1675"/>
                </a:cxn>
                <a:cxn ang="0">
                  <a:pos x="connsiteX1676" y="connsiteY1676"/>
                </a:cxn>
                <a:cxn ang="0">
                  <a:pos x="connsiteX1677" y="connsiteY1677"/>
                </a:cxn>
                <a:cxn ang="0">
                  <a:pos x="connsiteX1678" y="connsiteY1678"/>
                </a:cxn>
                <a:cxn ang="0">
                  <a:pos x="connsiteX1679" y="connsiteY1679"/>
                </a:cxn>
                <a:cxn ang="0">
                  <a:pos x="connsiteX1680" y="connsiteY1680"/>
                </a:cxn>
                <a:cxn ang="0">
                  <a:pos x="connsiteX1681" y="connsiteY1681"/>
                </a:cxn>
                <a:cxn ang="0">
                  <a:pos x="connsiteX1682" y="connsiteY1682"/>
                </a:cxn>
                <a:cxn ang="0">
                  <a:pos x="connsiteX1683" y="connsiteY1683"/>
                </a:cxn>
                <a:cxn ang="0">
                  <a:pos x="connsiteX1684" y="connsiteY1684"/>
                </a:cxn>
                <a:cxn ang="0">
                  <a:pos x="connsiteX1685" y="connsiteY1685"/>
                </a:cxn>
                <a:cxn ang="0">
                  <a:pos x="connsiteX1686" y="connsiteY1686"/>
                </a:cxn>
                <a:cxn ang="0">
                  <a:pos x="connsiteX1687" y="connsiteY1687"/>
                </a:cxn>
                <a:cxn ang="0">
                  <a:pos x="connsiteX1688" y="connsiteY1688"/>
                </a:cxn>
                <a:cxn ang="0">
                  <a:pos x="connsiteX1689" y="connsiteY1689"/>
                </a:cxn>
                <a:cxn ang="0">
                  <a:pos x="connsiteX1690" y="connsiteY1690"/>
                </a:cxn>
                <a:cxn ang="0">
                  <a:pos x="connsiteX1691" y="connsiteY1691"/>
                </a:cxn>
                <a:cxn ang="0">
                  <a:pos x="connsiteX1692" y="connsiteY1692"/>
                </a:cxn>
                <a:cxn ang="0">
                  <a:pos x="connsiteX1693" y="connsiteY1693"/>
                </a:cxn>
                <a:cxn ang="0">
                  <a:pos x="connsiteX1694" y="connsiteY1694"/>
                </a:cxn>
                <a:cxn ang="0">
                  <a:pos x="connsiteX1695" y="connsiteY1695"/>
                </a:cxn>
                <a:cxn ang="0">
                  <a:pos x="connsiteX1696" y="connsiteY1696"/>
                </a:cxn>
                <a:cxn ang="0">
                  <a:pos x="connsiteX1697" y="connsiteY1697"/>
                </a:cxn>
                <a:cxn ang="0">
                  <a:pos x="connsiteX1698" y="connsiteY1698"/>
                </a:cxn>
                <a:cxn ang="0">
                  <a:pos x="connsiteX1699" y="connsiteY1699"/>
                </a:cxn>
                <a:cxn ang="0">
                  <a:pos x="connsiteX1700" y="connsiteY1700"/>
                </a:cxn>
                <a:cxn ang="0">
                  <a:pos x="connsiteX1701" y="connsiteY1701"/>
                </a:cxn>
                <a:cxn ang="0">
                  <a:pos x="connsiteX1702" y="connsiteY1702"/>
                </a:cxn>
                <a:cxn ang="0">
                  <a:pos x="connsiteX1703" y="connsiteY1703"/>
                </a:cxn>
                <a:cxn ang="0">
                  <a:pos x="connsiteX1704" y="connsiteY1704"/>
                </a:cxn>
                <a:cxn ang="0">
                  <a:pos x="connsiteX1705" y="connsiteY1705"/>
                </a:cxn>
                <a:cxn ang="0">
                  <a:pos x="connsiteX1706" y="connsiteY1706"/>
                </a:cxn>
                <a:cxn ang="0">
                  <a:pos x="connsiteX1707" y="connsiteY1707"/>
                </a:cxn>
                <a:cxn ang="0">
                  <a:pos x="connsiteX1708" y="connsiteY1708"/>
                </a:cxn>
                <a:cxn ang="0">
                  <a:pos x="connsiteX1709" y="connsiteY1709"/>
                </a:cxn>
                <a:cxn ang="0">
                  <a:pos x="connsiteX1710" y="connsiteY1710"/>
                </a:cxn>
                <a:cxn ang="0">
                  <a:pos x="connsiteX1711" y="connsiteY1711"/>
                </a:cxn>
                <a:cxn ang="0">
                  <a:pos x="connsiteX1712" y="connsiteY1712"/>
                </a:cxn>
                <a:cxn ang="0">
                  <a:pos x="connsiteX1713" y="connsiteY1713"/>
                </a:cxn>
                <a:cxn ang="0">
                  <a:pos x="connsiteX1714" y="connsiteY1714"/>
                </a:cxn>
                <a:cxn ang="0">
                  <a:pos x="connsiteX1715" y="connsiteY1715"/>
                </a:cxn>
                <a:cxn ang="0">
                  <a:pos x="connsiteX1716" y="connsiteY1716"/>
                </a:cxn>
                <a:cxn ang="0">
                  <a:pos x="connsiteX1717" y="connsiteY1717"/>
                </a:cxn>
                <a:cxn ang="0">
                  <a:pos x="connsiteX1718" y="connsiteY1718"/>
                </a:cxn>
                <a:cxn ang="0">
                  <a:pos x="connsiteX1719" y="connsiteY1719"/>
                </a:cxn>
                <a:cxn ang="0">
                  <a:pos x="connsiteX1720" y="connsiteY1720"/>
                </a:cxn>
                <a:cxn ang="0">
                  <a:pos x="connsiteX1721" y="connsiteY1721"/>
                </a:cxn>
                <a:cxn ang="0">
                  <a:pos x="connsiteX1722" y="connsiteY1722"/>
                </a:cxn>
                <a:cxn ang="0">
                  <a:pos x="connsiteX1723" y="connsiteY1723"/>
                </a:cxn>
                <a:cxn ang="0">
                  <a:pos x="connsiteX1724" y="connsiteY1724"/>
                </a:cxn>
                <a:cxn ang="0">
                  <a:pos x="connsiteX1725" y="connsiteY1725"/>
                </a:cxn>
                <a:cxn ang="0">
                  <a:pos x="connsiteX1726" y="connsiteY1726"/>
                </a:cxn>
                <a:cxn ang="0">
                  <a:pos x="connsiteX1727" y="connsiteY1727"/>
                </a:cxn>
                <a:cxn ang="0">
                  <a:pos x="connsiteX1728" y="connsiteY1728"/>
                </a:cxn>
                <a:cxn ang="0">
                  <a:pos x="connsiteX1729" y="connsiteY1729"/>
                </a:cxn>
                <a:cxn ang="0">
                  <a:pos x="connsiteX1730" y="connsiteY1730"/>
                </a:cxn>
                <a:cxn ang="0">
                  <a:pos x="connsiteX1731" y="connsiteY1731"/>
                </a:cxn>
                <a:cxn ang="0">
                  <a:pos x="connsiteX1732" y="connsiteY1732"/>
                </a:cxn>
                <a:cxn ang="0">
                  <a:pos x="connsiteX1733" y="connsiteY1733"/>
                </a:cxn>
                <a:cxn ang="0">
                  <a:pos x="connsiteX1734" y="connsiteY1734"/>
                </a:cxn>
                <a:cxn ang="0">
                  <a:pos x="connsiteX1735" y="connsiteY1735"/>
                </a:cxn>
                <a:cxn ang="0">
                  <a:pos x="connsiteX1736" y="connsiteY1736"/>
                </a:cxn>
                <a:cxn ang="0">
                  <a:pos x="connsiteX1737" y="connsiteY1737"/>
                </a:cxn>
                <a:cxn ang="0">
                  <a:pos x="connsiteX1738" y="connsiteY1738"/>
                </a:cxn>
                <a:cxn ang="0">
                  <a:pos x="connsiteX1739" y="connsiteY1739"/>
                </a:cxn>
                <a:cxn ang="0">
                  <a:pos x="connsiteX1740" y="connsiteY1740"/>
                </a:cxn>
                <a:cxn ang="0">
                  <a:pos x="connsiteX1741" y="connsiteY1741"/>
                </a:cxn>
              </a:cxnLst>
              <a:rect l="l" t="t" r="r" b="b"/>
              <a:pathLst>
                <a:path w="4940931" h="138429">
                  <a:moveTo>
                    <a:pt x="1032512" y="137477"/>
                  </a:moveTo>
                  <a:lnTo>
                    <a:pt x="1032512" y="137794"/>
                  </a:lnTo>
                  <a:lnTo>
                    <a:pt x="1030607" y="138429"/>
                  </a:lnTo>
                  <a:close/>
                  <a:moveTo>
                    <a:pt x="4929501" y="87629"/>
                  </a:moveTo>
                  <a:cubicBezTo>
                    <a:pt x="4930771" y="87629"/>
                    <a:pt x="4932676" y="87629"/>
                    <a:pt x="4933946" y="88264"/>
                  </a:cubicBezTo>
                  <a:cubicBezTo>
                    <a:pt x="4935216" y="88264"/>
                    <a:pt x="4936486" y="89534"/>
                    <a:pt x="4937756" y="90804"/>
                  </a:cubicBezTo>
                  <a:cubicBezTo>
                    <a:pt x="4939026" y="92074"/>
                    <a:pt x="4939661" y="93344"/>
                    <a:pt x="4940296" y="94614"/>
                  </a:cubicBezTo>
                  <a:cubicBezTo>
                    <a:pt x="4940296" y="95884"/>
                    <a:pt x="4940931" y="97789"/>
                    <a:pt x="4940931" y="99059"/>
                  </a:cubicBezTo>
                  <a:cubicBezTo>
                    <a:pt x="4940931" y="99059"/>
                    <a:pt x="4940931" y="102234"/>
                    <a:pt x="4940296" y="103504"/>
                  </a:cubicBezTo>
                  <a:cubicBezTo>
                    <a:pt x="4940296" y="104774"/>
                    <a:pt x="4939026" y="106044"/>
                    <a:pt x="4937756" y="107314"/>
                  </a:cubicBezTo>
                  <a:cubicBezTo>
                    <a:pt x="4936486" y="108584"/>
                    <a:pt x="4935216" y="109219"/>
                    <a:pt x="4933946" y="109854"/>
                  </a:cubicBezTo>
                  <a:cubicBezTo>
                    <a:pt x="4932676" y="109854"/>
                    <a:pt x="4930771" y="110489"/>
                    <a:pt x="4929501" y="110489"/>
                  </a:cubicBezTo>
                  <a:cubicBezTo>
                    <a:pt x="4928231" y="110489"/>
                    <a:pt x="4926326" y="110489"/>
                    <a:pt x="4925056" y="109854"/>
                  </a:cubicBezTo>
                  <a:cubicBezTo>
                    <a:pt x="4923786" y="109854"/>
                    <a:pt x="4922516" y="108584"/>
                    <a:pt x="4921246" y="107314"/>
                  </a:cubicBezTo>
                  <a:cubicBezTo>
                    <a:pt x="4919976" y="106044"/>
                    <a:pt x="4919341" y="104774"/>
                    <a:pt x="4918706" y="103504"/>
                  </a:cubicBezTo>
                  <a:cubicBezTo>
                    <a:pt x="4918706" y="102234"/>
                    <a:pt x="4918071" y="100329"/>
                    <a:pt x="4918071" y="99059"/>
                  </a:cubicBezTo>
                  <a:cubicBezTo>
                    <a:pt x="4918071" y="97789"/>
                    <a:pt x="4918071" y="95884"/>
                    <a:pt x="4918706" y="94614"/>
                  </a:cubicBezTo>
                  <a:cubicBezTo>
                    <a:pt x="4918706" y="93344"/>
                    <a:pt x="4919976" y="92074"/>
                    <a:pt x="4921246" y="90804"/>
                  </a:cubicBezTo>
                  <a:cubicBezTo>
                    <a:pt x="4922516" y="89534"/>
                    <a:pt x="4923786" y="88899"/>
                    <a:pt x="4925056" y="88264"/>
                  </a:cubicBezTo>
                  <a:cubicBezTo>
                    <a:pt x="4926326" y="88264"/>
                    <a:pt x="4928231" y="87629"/>
                    <a:pt x="4929501" y="87629"/>
                  </a:cubicBezTo>
                  <a:close/>
                  <a:moveTo>
                    <a:pt x="3079110" y="87629"/>
                  </a:moveTo>
                  <a:cubicBezTo>
                    <a:pt x="3080380" y="87629"/>
                    <a:pt x="3082285" y="87629"/>
                    <a:pt x="3083555" y="88264"/>
                  </a:cubicBezTo>
                  <a:cubicBezTo>
                    <a:pt x="3084825" y="88264"/>
                    <a:pt x="3086095" y="89534"/>
                    <a:pt x="3087365" y="90804"/>
                  </a:cubicBezTo>
                  <a:cubicBezTo>
                    <a:pt x="3088635" y="92074"/>
                    <a:pt x="3089270" y="93344"/>
                    <a:pt x="3089905" y="94614"/>
                  </a:cubicBezTo>
                  <a:cubicBezTo>
                    <a:pt x="3089905" y="95884"/>
                    <a:pt x="3090540" y="97789"/>
                    <a:pt x="3090540" y="99059"/>
                  </a:cubicBezTo>
                  <a:cubicBezTo>
                    <a:pt x="3090540" y="99059"/>
                    <a:pt x="3090540" y="102234"/>
                    <a:pt x="3089905" y="103504"/>
                  </a:cubicBezTo>
                  <a:cubicBezTo>
                    <a:pt x="3089905" y="104774"/>
                    <a:pt x="3088635" y="106044"/>
                    <a:pt x="3087365" y="107314"/>
                  </a:cubicBezTo>
                  <a:cubicBezTo>
                    <a:pt x="3086095" y="108584"/>
                    <a:pt x="3084825" y="109219"/>
                    <a:pt x="3083555" y="109854"/>
                  </a:cubicBezTo>
                  <a:cubicBezTo>
                    <a:pt x="3082285" y="109854"/>
                    <a:pt x="3080380" y="110489"/>
                    <a:pt x="3079110" y="110489"/>
                  </a:cubicBezTo>
                  <a:cubicBezTo>
                    <a:pt x="3077840" y="110489"/>
                    <a:pt x="3075935" y="110489"/>
                    <a:pt x="3074665" y="109854"/>
                  </a:cubicBezTo>
                  <a:cubicBezTo>
                    <a:pt x="3073395" y="109854"/>
                    <a:pt x="3072125" y="108584"/>
                    <a:pt x="3070855" y="107314"/>
                  </a:cubicBezTo>
                  <a:cubicBezTo>
                    <a:pt x="3069585" y="106044"/>
                    <a:pt x="3068950" y="104774"/>
                    <a:pt x="3068315" y="103504"/>
                  </a:cubicBezTo>
                  <a:cubicBezTo>
                    <a:pt x="3068315" y="102234"/>
                    <a:pt x="3067680" y="100329"/>
                    <a:pt x="3067680" y="99059"/>
                  </a:cubicBezTo>
                  <a:cubicBezTo>
                    <a:pt x="3067680" y="97789"/>
                    <a:pt x="3067680" y="95884"/>
                    <a:pt x="3068315" y="94614"/>
                  </a:cubicBezTo>
                  <a:cubicBezTo>
                    <a:pt x="3068315" y="93344"/>
                    <a:pt x="3069585" y="92074"/>
                    <a:pt x="3070855" y="90804"/>
                  </a:cubicBezTo>
                  <a:cubicBezTo>
                    <a:pt x="3072125" y="89534"/>
                    <a:pt x="3073395" y="88899"/>
                    <a:pt x="3074665" y="88264"/>
                  </a:cubicBezTo>
                  <a:cubicBezTo>
                    <a:pt x="3075935" y="88264"/>
                    <a:pt x="3077840" y="87629"/>
                    <a:pt x="3079110" y="87629"/>
                  </a:cubicBezTo>
                  <a:close/>
                  <a:moveTo>
                    <a:pt x="1565275" y="87629"/>
                  </a:moveTo>
                  <a:cubicBezTo>
                    <a:pt x="1566545" y="87629"/>
                    <a:pt x="1568450" y="87629"/>
                    <a:pt x="1569720" y="88264"/>
                  </a:cubicBezTo>
                  <a:cubicBezTo>
                    <a:pt x="1570990" y="88264"/>
                    <a:pt x="1572260" y="89534"/>
                    <a:pt x="1573529" y="90804"/>
                  </a:cubicBezTo>
                  <a:cubicBezTo>
                    <a:pt x="1574800" y="92074"/>
                    <a:pt x="1575435" y="93344"/>
                    <a:pt x="1576069" y="94614"/>
                  </a:cubicBezTo>
                  <a:cubicBezTo>
                    <a:pt x="1576069" y="95884"/>
                    <a:pt x="1576705" y="97789"/>
                    <a:pt x="1576705" y="99059"/>
                  </a:cubicBezTo>
                  <a:cubicBezTo>
                    <a:pt x="1576705" y="99059"/>
                    <a:pt x="1576705" y="102234"/>
                    <a:pt x="1576069" y="103504"/>
                  </a:cubicBezTo>
                  <a:cubicBezTo>
                    <a:pt x="1576069" y="104774"/>
                    <a:pt x="1574800" y="106044"/>
                    <a:pt x="1573529" y="107314"/>
                  </a:cubicBezTo>
                  <a:cubicBezTo>
                    <a:pt x="1572260" y="108584"/>
                    <a:pt x="1570990" y="109219"/>
                    <a:pt x="1569720" y="109854"/>
                  </a:cubicBezTo>
                  <a:cubicBezTo>
                    <a:pt x="1568450" y="109854"/>
                    <a:pt x="1566545" y="110489"/>
                    <a:pt x="1565275" y="110489"/>
                  </a:cubicBezTo>
                  <a:cubicBezTo>
                    <a:pt x="1564005" y="110489"/>
                    <a:pt x="1562099" y="110489"/>
                    <a:pt x="1560830" y="109854"/>
                  </a:cubicBezTo>
                  <a:cubicBezTo>
                    <a:pt x="1559559" y="109854"/>
                    <a:pt x="1558289" y="108584"/>
                    <a:pt x="1557020" y="107314"/>
                  </a:cubicBezTo>
                  <a:cubicBezTo>
                    <a:pt x="1555750" y="106044"/>
                    <a:pt x="1555114" y="104774"/>
                    <a:pt x="1554479" y="103504"/>
                  </a:cubicBezTo>
                  <a:cubicBezTo>
                    <a:pt x="1554479" y="102234"/>
                    <a:pt x="1553844" y="100329"/>
                    <a:pt x="1553844" y="99059"/>
                  </a:cubicBezTo>
                  <a:cubicBezTo>
                    <a:pt x="1553844" y="97789"/>
                    <a:pt x="1553844" y="95884"/>
                    <a:pt x="1554479" y="94614"/>
                  </a:cubicBezTo>
                  <a:cubicBezTo>
                    <a:pt x="1554479" y="93344"/>
                    <a:pt x="1555750" y="92074"/>
                    <a:pt x="1557020" y="90804"/>
                  </a:cubicBezTo>
                  <a:cubicBezTo>
                    <a:pt x="1558289" y="89534"/>
                    <a:pt x="1559559" y="88899"/>
                    <a:pt x="1560830" y="88264"/>
                  </a:cubicBezTo>
                  <a:cubicBezTo>
                    <a:pt x="1562099" y="88264"/>
                    <a:pt x="1564005" y="87629"/>
                    <a:pt x="1565275" y="87629"/>
                  </a:cubicBezTo>
                  <a:close/>
                  <a:moveTo>
                    <a:pt x="2642230" y="73024"/>
                  </a:moveTo>
                  <a:cubicBezTo>
                    <a:pt x="2637150" y="73024"/>
                    <a:pt x="2633340" y="74294"/>
                    <a:pt x="2630800" y="76199"/>
                  </a:cubicBezTo>
                  <a:cubicBezTo>
                    <a:pt x="2627625" y="78104"/>
                    <a:pt x="2626355" y="81279"/>
                    <a:pt x="2626355" y="84454"/>
                  </a:cubicBezTo>
                  <a:cubicBezTo>
                    <a:pt x="2626355" y="86994"/>
                    <a:pt x="2626355" y="88899"/>
                    <a:pt x="2627625" y="90169"/>
                  </a:cubicBezTo>
                  <a:cubicBezTo>
                    <a:pt x="2628260" y="92074"/>
                    <a:pt x="2629530" y="93344"/>
                    <a:pt x="2630800" y="93979"/>
                  </a:cubicBezTo>
                  <a:cubicBezTo>
                    <a:pt x="2632070" y="95249"/>
                    <a:pt x="2633340" y="95884"/>
                    <a:pt x="2635245" y="96519"/>
                  </a:cubicBezTo>
                  <a:cubicBezTo>
                    <a:pt x="2637150" y="96519"/>
                    <a:pt x="2639055" y="97154"/>
                    <a:pt x="2641595" y="97154"/>
                  </a:cubicBezTo>
                  <a:cubicBezTo>
                    <a:pt x="2643500" y="97154"/>
                    <a:pt x="2645405" y="97154"/>
                    <a:pt x="2647310" y="96519"/>
                  </a:cubicBezTo>
                  <a:cubicBezTo>
                    <a:pt x="2649215" y="96519"/>
                    <a:pt x="2651120" y="95249"/>
                    <a:pt x="2652390" y="93979"/>
                  </a:cubicBezTo>
                  <a:cubicBezTo>
                    <a:pt x="2654295" y="93344"/>
                    <a:pt x="2655565" y="92074"/>
                    <a:pt x="2656835" y="90804"/>
                  </a:cubicBezTo>
                  <a:cubicBezTo>
                    <a:pt x="2658105" y="89534"/>
                    <a:pt x="2659375" y="88264"/>
                    <a:pt x="2660010" y="86994"/>
                  </a:cubicBezTo>
                  <a:lnTo>
                    <a:pt x="2660010" y="75564"/>
                  </a:lnTo>
                  <a:cubicBezTo>
                    <a:pt x="2660010" y="75564"/>
                    <a:pt x="2657470" y="74294"/>
                    <a:pt x="2656200" y="74294"/>
                  </a:cubicBezTo>
                  <a:cubicBezTo>
                    <a:pt x="2654930" y="74294"/>
                    <a:pt x="2653660" y="73659"/>
                    <a:pt x="2652390" y="73659"/>
                  </a:cubicBezTo>
                  <a:cubicBezTo>
                    <a:pt x="2651120" y="73659"/>
                    <a:pt x="2649850" y="73659"/>
                    <a:pt x="2647945" y="73024"/>
                  </a:cubicBezTo>
                  <a:cubicBezTo>
                    <a:pt x="2646040" y="73024"/>
                    <a:pt x="2644135" y="73024"/>
                    <a:pt x="2642230" y="73024"/>
                  </a:cubicBezTo>
                  <a:close/>
                  <a:moveTo>
                    <a:pt x="4664706" y="43814"/>
                  </a:moveTo>
                  <a:cubicBezTo>
                    <a:pt x="4661531" y="43814"/>
                    <a:pt x="4658991" y="43814"/>
                    <a:pt x="4657086" y="45719"/>
                  </a:cubicBezTo>
                  <a:cubicBezTo>
                    <a:pt x="4654546" y="46989"/>
                    <a:pt x="4652641" y="48894"/>
                    <a:pt x="4651371" y="50799"/>
                  </a:cubicBezTo>
                  <a:cubicBezTo>
                    <a:pt x="4649466" y="53339"/>
                    <a:pt x="4648831" y="55879"/>
                    <a:pt x="4647561" y="59054"/>
                  </a:cubicBezTo>
                  <a:cubicBezTo>
                    <a:pt x="4646926" y="62229"/>
                    <a:pt x="4646291" y="65404"/>
                    <a:pt x="4646291" y="69849"/>
                  </a:cubicBezTo>
                  <a:cubicBezTo>
                    <a:pt x="4646291" y="74294"/>
                    <a:pt x="4646291" y="78104"/>
                    <a:pt x="4647561" y="81279"/>
                  </a:cubicBezTo>
                  <a:cubicBezTo>
                    <a:pt x="4648196" y="84454"/>
                    <a:pt x="4650101" y="87629"/>
                    <a:pt x="4651371" y="89534"/>
                  </a:cubicBezTo>
                  <a:cubicBezTo>
                    <a:pt x="4653276" y="92074"/>
                    <a:pt x="4655181" y="93344"/>
                    <a:pt x="4657721" y="94614"/>
                  </a:cubicBezTo>
                  <a:cubicBezTo>
                    <a:pt x="4660261" y="95884"/>
                    <a:pt x="4662801" y="96519"/>
                    <a:pt x="4665341" y="96519"/>
                  </a:cubicBezTo>
                  <a:cubicBezTo>
                    <a:pt x="4667881" y="96519"/>
                    <a:pt x="4671056" y="95884"/>
                    <a:pt x="4672961" y="94614"/>
                  </a:cubicBezTo>
                  <a:cubicBezTo>
                    <a:pt x="4675501" y="93344"/>
                    <a:pt x="4677406" y="91439"/>
                    <a:pt x="4678676" y="88899"/>
                  </a:cubicBezTo>
                  <a:cubicBezTo>
                    <a:pt x="4680581" y="86359"/>
                    <a:pt x="4681851" y="83819"/>
                    <a:pt x="4682486" y="80644"/>
                  </a:cubicBezTo>
                  <a:cubicBezTo>
                    <a:pt x="4683121" y="77469"/>
                    <a:pt x="4683756" y="74294"/>
                    <a:pt x="4683756" y="70484"/>
                  </a:cubicBezTo>
                  <a:lnTo>
                    <a:pt x="4684391" y="69849"/>
                  </a:lnTo>
                  <a:cubicBezTo>
                    <a:pt x="4684391" y="66039"/>
                    <a:pt x="4684391" y="62229"/>
                    <a:pt x="4683121" y="59054"/>
                  </a:cubicBezTo>
                  <a:cubicBezTo>
                    <a:pt x="4682486" y="55879"/>
                    <a:pt x="4680581" y="53339"/>
                    <a:pt x="4679311" y="50799"/>
                  </a:cubicBezTo>
                  <a:cubicBezTo>
                    <a:pt x="4677406" y="48259"/>
                    <a:pt x="4675501" y="46989"/>
                    <a:pt x="4672961" y="45719"/>
                  </a:cubicBezTo>
                  <a:cubicBezTo>
                    <a:pt x="4670421" y="44449"/>
                    <a:pt x="4667881" y="43814"/>
                    <a:pt x="4664706" y="43814"/>
                  </a:cubicBezTo>
                  <a:close/>
                  <a:moveTo>
                    <a:pt x="4264020" y="43814"/>
                  </a:moveTo>
                  <a:cubicBezTo>
                    <a:pt x="4260845" y="43814"/>
                    <a:pt x="4258305" y="43814"/>
                    <a:pt x="4256400" y="45719"/>
                  </a:cubicBezTo>
                  <a:cubicBezTo>
                    <a:pt x="4253860" y="46989"/>
                    <a:pt x="4251955" y="48894"/>
                    <a:pt x="4250685" y="50799"/>
                  </a:cubicBezTo>
                  <a:cubicBezTo>
                    <a:pt x="4248780" y="53339"/>
                    <a:pt x="4247510" y="55879"/>
                    <a:pt x="4246875" y="59054"/>
                  </a:cubicBezTo>
                  <a:cubicBezTo>
                    <a:pt x="4246240" y="62229"/>
                    <a:pt x="4245605" y="65404"/>
                    <a:pt x="4245605" y="69849"/>
                  </a:cubicBezTo>
                  <a:cubicBezTo>
                    <a:pt x="4245605" y="74294"/>
                    <a:pt x="4245605" y="78104"/>
                    <a:pt x="4246875" y="81279"/>
                  </a:cubicBezTo>
                  <a:cubicBezTo>
                    <a:pt x="4247510" y="84454"/>
                    <a:pt x="4249415" y="87629"/>
                    <a:pt x="4250685" y="89534"/>
                  </a:cubicBezTo>
                  <a:cubicBezTo>
                    <a:pt x="4252590" y="92074"/>
                    <a:pt x="4254495" y="93344"/>
                    <a:pt x="4257035" y="94614"/>
                  </a:cubicBezTo>
                  <a:cubicBezTo>
                    <a:pt x="4259575" y="95884"/>
                    <a:pt x="4262115" y="96519"/>
                    <a:pt x="4264655" y="96519"/>
                  </a:cubicBezTo>
                  <a:cubicBezTo>
                    <a:pt x="4267195" y="96519"/>
                    <a:pt x="4270370" y="95884"/>
                    <a:pt x="4272275" y="94614"/>
                  </a:cubicBezTo>
                  <a:cubicBezTo>
                    <a:pt x="4274815" y="93344"/>
                    <a:pt x="4276720" y="91439"/>
                    <a:pt x="4277990" y="88899"/>
                  </a:cubicBezTo>
                  <a:cubicBezTo>
                    <a:pt x="4279895" y="86359"/>
                    <a:pt x="4281165" y="83819"/>
                    <a:pt x="4281800" y="80644"/>
                  </a:cubicBezTo>
                  <a:cubicBezTo>
                    <a:pt x="4282435" y="77469"/>
                    <a:pt x="4283070" y="74294"/>
                    <a:pt x="4283070" y="70484"/>
                  </a:cubicBezTo>
                  <a:lnTo>
                    <a:pt x="4283705" y="69849"/>
                  </a:lnTo>
                  <a:cubicBezTo>
                    <a:pt x="4283705" y="66039"/>
                    <a:pt x="4283705" y="62229"/>
                    <a:pt x="4282435" y="59054"/>
                  </a:cubicBezTo>
                  <a:cubicBezTo>
                    <a:pt x="4281800" y="55879"/>
                    <a:pt x="4279895" y="53339"/>
                    <a:pt x="4278625" y="50799"/>
                  </a:cubicBezTo>
                  <a:cubicBezTo>
                    <a:pt x="4276720" y="48259"/>
                    <a:pt x="4274815" y="46989"/>
                    <a:pt x="4272275" y="45719"/>
                  </a:cubicBezTo>
                  <a:cubicBezTo>
                    <a:pt x="4269735" y="44449"/>
                    <a:pt x="4267195" y="43814"/>
                    <a:pt x="4264020" y="43814"/>
                  </a:cubicBezTo>
                  <a:close/>
                  <a:moveTo>
                    <a:pt x="1420495" y="43814"/>
                  </a:moveTo>
                  <a:cubicBezTo>
                    <a:pt x="1417320" y="43814"/>
                    <a:pt x="1414780" y="43814"/>
                    <a:pt x="1412875" y="45719"/>
                  </a:cubicBezTo>
                  <a:cubicBezTo>
                    <a:pt x="1410335" y="46989"/>
                    <a:pt x="1408430" y="48894"/>
                    <a:pt x="1407160" y="50799"/>
                  </a:cubicBezTo>
                  <a:cubicBezTo>
                    <a:pt x="1405255" y="53339"/>
                    <a:pt x="1403985" y="55879"/>
                    <a:pt x="1403350" y="59054"/>
                  </a:cubicBezTo>
                  <a:cubicBezTo>
                    <a:pt x="1402715" y="62229"/>
                    <a:pt x="1402080" y="65404"/>
                    <a:pt x="1402080" y="69849"/>
                  </a:cubicBezTo>
                  <a:cubicBezTo>
                    <a:pt x="1402080" y="74294"/>
                    <a:pt x="1402080" y="78104"/>
                    <a:pt x="1403350" y="81279"/>
                  </a:cubicBezTo>
                  <a:cubicBezTo>
                    <a:pt x="1403985" y="84454"/>
                    <a:pt x="1405890" y="87629"/>
                    <a:pt x="1407160" y="89534"/>
                  </a:cubicBezTo>
                  <a:cubicBezTo>
                    <a:pt x="1409065" y="92074"/>
                    <a:pt x="1410970" y="93344"/>
                    <a:pt x="1413510" y="94614"/>
                  </a:cubicBezTo>
                  <a:cubicBezTo>
                    <a:pt x="1416050" y="95884"/>
                    <a:pt x="1418590" y="96519"/>
                    <a:pt x="1421130" y="96519"/>
                  </a:cubicBezTo>
                  <a:cubicBezTo>
                    <a:pt x="1423670" y="96519"/>
                    <a:pt x="1426845" y="95884"/>
                    <a:pt x="1428750" y="94614"/>
                  </a:cubicBezTo>
                  <a:cubicBezTo>
                    <a:pt x="1431290" y="93344"/>
                    <a:pt x="1433195" y="91439"/>
                    <a:pt x="1434465" y="88899"/>
                  </a:cubicBezTo>
                  <a:cubicBezTo>
                    <a:pt x="1436370" y="86359"/>
                    <a:pt x="1437640" y="83819"/>
                    <a:pt x="1438275" y="80644"/>
                  </a:cubicBezTo>
                  <a:cubicBezTo>
                    <a:pt x="1438910" y="77469"/>
                    <a:pt x="1439545" y="74294"/>
                    <a:pt x="1439545" y="70484"/>
                  </a:cubicBezTo>
                  <a:lnTo>
                    <a:pt x="1440180" y="69849"/>
                  </a:lnTo>
                  <a:cubicBezTo>
                    <a:pt x="1440180" y="66039"/>
                    <a:pt x="1440180" y="62229"/>
                    <a:pt x="1438910" y="59054"/>
                  </a:cubicBezTo>
                  <a:cubicBezTo>
                    <a:pt x="1438275" y="55879"/>
                    <a:pt x="1436370" y="53339"/>
                    <a:pt x="1435100" y="50799"/>
                  </a:cubicBezTo>
                  <a:cubicBezTo>
                    <a:pt x="1433195" y="48259"/>
                    <a:pt x="1431290" y="46989"/>
                    <a:pt x="1428750" y="45719"/>
                  </a:cubicBezTo>
                  <a:cubicBezTo>
                    <a:pt x="1426210" y="44449"/>
                    <a:pt x="1423670" y="43814"/>
                    <a:pt x="1420495" y="43814"/>
                  </a:cubicBezTo>
                  <a:close/>
                  <a:moveTo>
                    <a:pt x="4041770" y="43180"/>
                  </a:moveTo>
                  <a:cubicBezTo>
                    <a:pt x="4039230" y="43180"/>
                    <a:pt x="4036690" y="43180"/>
                    <a:pt x="4034785" y="44450"/>
                  </a:cubicBezTo>
                  <a:cubicBezTo>
                    <a:pt x="4032880" y="45085"/>
                    <a:pt x="4030975" y="46355"/>
                    <a:pt x="4029705" y="48260"/>
                  </a:cubicBezTo>
                  <a:cubicBezTo>
                    <a:pt x="4028435" y="50165"/>
                    <a:pt x="4027165" y="52070"/>
                    <a:pt x="4025895" y="54610"/>
                  </a:cubicBezTo>
                  <a:cubicBezTo>
                    <a:pt x="4025260" y="57150"/>
                    <a:pt x="4023990" y="59690"/>
                    <a:pt x="4023990" y="62865"/>
                  </a:cubicBezTo>
                  <a:lnTo>
                    <a:pt x="4060185" y="62865"/>
                  </a:lnTo>
                  <a:cubicBezTo>
                    <a:pt x="4060185" y="62865"/>
                    <a:pt x="4059550" y="57785"/>
                    <a:pt x="4058915" y="55245"/>
                  </a:cubicBezTo>
                  <a:cubicBezTo>
                    <a:pt x="4058280" y="52705"/>
                    <a:pt x="4057010" y="50800"/>
                    <a:pt x="4055740" y="48895"/>
                  </a:cubicBezTo>
                  <a:cubicBezTo>
                    <a:pt x="4054470" y="46990"/>
                    <a:pt x="4052565" y="45720"/>
                    <a:pt x="4050025" y="44450"/>
                  </a:cubicBezTo>
                  <a:cubicBezTo>
                    <a:pt x="4047485" y="43180"/>
                    <a:pt x="4044945" y="43180"/>
                    <a:pt x="4041770" y="43180"/>
                  </a:cubicBezTo>
                  <a:close/>
                  <a:moveTo>
                    <a:pt x="3728081" y="43180"/>
                  </a:moveTo>
                  <a:cubicBezTo>
                    <a:pt x="3725541" y="43180"/>
                    <a:pt x="3723001" y="43180"/>
                    <a:pt x="3721096" y="44450"/>
                  </a:cubicBezTo>
                  <a:cubicBezTo>
                    <a:pt x="3719191" y="45085"/>
                    <a:pt x="3717286" y="46355"/>
                    <a:pt x="3716016" y="48260"/>
                  </a:cubicBezTo>
                  <a:cubicBezTo>
                    <a:pt x="3714746" y="50165"/>
                    <a:pt x="3713476" y="52070"/>
                    <a:pt x="3712206" y="54610"/>
                  </a:cubicBezTo>
                  <a:cubicBezTo>
                    <a:pt x="3711571" y="57150"/>
                    <a:pt x="3710301" y="59690"/>
                    <a:pt x="3710301" y="62865"/>
                  </a:cubicBezTo>
                  <a:lnTo>
                    <a:pt x="3746496" y="62865"/>
                  </a:lnTo>
                  <a:cubicBezTo>
                    <a:pt x="3746496" y="62865"/>
                    <a:pt x="3745861" y="57785"/>
                    <a:pt x="3745226" y="55245"/>
                  </a:cubicBezTo>
                  <a:cubicBezTo>
                    <a:pt x="3744591" y="52705"/>
                    <a:pt x="3743321" y="50800"/>
                    <a:pt x="3742051" y="48895"/>
                  </a:cubicBezTo>
                  <a:cubicBezTo>
                    <a:pt x="3740781" y="46990"/>
                    <a:pt x="3738876" y="45720"/>
                    <a:pt x="3736336" y="44450"/>
                  </a:cubicBezTo>
                  <a:cubicBezTo>
                    <a:pt x="3733796" y="43180"/>
                    <a:pt x="3731256" y="43180"/>
                    <a:pt x="3728081" y="43180"/>
                  </a:cubicBezTo>
                  <a:close/>
                  <a:moveTo>
                    <a:pt x="3541391" y="43180"/>
                  </a:moveTo>
                  <a:cubicBezTo>
                    <a:pt x="3538851" y="43180"/>
                    <a:pt x="3536311" y="43180"/>
                    <a:pt x="3534406" y="44450"/>
                  </a:cubicBezTo>
                  <a:cubicBezTo>
                    <a:pt x="3532501" y="45085"/>
                    <a:pt x="3530596" y="46355"/>
                    <a:pt x="3529326" y="48260"/>
                  </a:cubicBezTo>
                  <a:cubicBezTo>
                    <a:pt x="3528056" y="50165"/>
                    <a:pt x="3526786" y="52070"/>
                    <a:pt x="3525516" y="54610"/>
                  </a:cubicBezTo>
                  <a:cubicBezTo>
                    <a:pt x="3524881" y="57150"/>
                    <a:pt x="3524246" y="59690"/>
                    <a:pt x="3523611" y="62865"/>
                  </a:cubicBezTo>
                  <a:lnTo>
                    <a:pt x="3559806" y="62865"/>
                  </a:lnTo>
                  <a:cubicBezTo>
                    <a:pt x="3559806" y="62865"/>
                    <a:pt x="3559171" y="57785"/>
                    <a:pt x="3558536" y="55245"/>
                  </a:cubicBezTo>
                  <a:cubicBezTo>
                    <a:pt x="3557901" y="52705"/>
                    <a:pt x="3556631" y="50800"/>
                    <a:pt x="3555361" y="48895"/>
                  </a:cubicBezTo>
                  <a:cubicBezTo>
                    <a:pt x="3554091" y="46990"/>
                    <a:pt x="3552186" y="45720"/>
                    <a:pt x="3549646" y="44450"/>
                  </a:cubicBezTo>
                  <a:cubicBezTo>
                    <a:pt x="3547106" y="43180"/>
                    <a:pt x="3544566" y="43180"/>
                    <a:pt x="3541391" y="43180"/>
                  </a:cubicBezTo>
                  <a:close/>
                  <a:moveTo>
                    <a:pt x="3463285" y="43180"/>
                  </a:moveTo>
                  <a:cubicBezTo>
                    <a:pt x="3461380" y="43180"/>
                    <a:pt x="3459475" y="43180"/>
                    <a:pt x="3458205" y="43815"/>
                  </a:cubicBezTo>
                  <a:cubicBezTo>
                    <a:pt x="3456300" y="43815"/>
                    <a:pt x="3455030" y="45085"/>
                    <a:pt x="3453125" y="45720"/>
                  </a:cubicBezTo>
                  <a:cubicBezTo>
                    <a:pt x="3451855" y="46355"/>
                    <a:pt x="3449950" y="47625"/>
                    <a:pt x="3448680" y="48895"/>
                  </a:cubicBezTo>
                  <a:cubicBezTo>
                    <a:pt x="3447410" y="50165"/>
                    <a:pt x="3446140" y="51435"/>
                    <a:pt x="3445505" y="52705"/>
                  </a:cubicBezTo>
                  <a:lnTo>
                    <a:pt x="3445505" y="85725"/>
                  </a:lnTo>
                  <a:cubicBezTo>
                    <a:pt x="3445505" y="85725"/>
                    <a:pt x="3447410" y="88265"/>
                    <a:pt x="3448680" y="89535"/>
                  </a:cubicBezTo>
                  <a:cubicBezTo>
                    <a:pt x="3449950" y="90805"/>
                    <a:pt x="3451220" y="92075"/>
                    <a:pt x="3453125" y="92710"/>
                  </a:cubicBezTo>
                  <a:cubicBezTo>
                    <a:pt x="3455030" y="93980"/>
                    <a:pt x="3456300" y="94615"/>
                    <a:pt x="3458205" y="95250"/>
                  </a:cubicBezTo>
                  <a:cubicBezTo>
                    <a:pt x="3460110" y="95250"/>
                    <a:pt x="3462015" y="95885"/>
                    <a:pt x="3463920" y="95885"/>
                  </a:cubicBezTo>
                  <a:cubicBezTo>
                    <a:pt x="3469635" y="95885"/>
                    <a:pt x="3473445" y="93980"/>
                    <a:pt x="3476620" y="89535"/>
                  </a:cubicBezTo>
                  <a:cubicBezTo>
                    <a:pt x="3479795" y="85090"/>
                    <a:pt x="3481065" y="79375"/>
                    <a:pt x="3481065" y="71120"/>
                  </a:cubicBezTo>
                  <a:lnTo>
                    <a:pt x="3480430" y="71755"/>
                  </a:lnTo>
                  <a:cubicBezTo>
                    <a:pt x="3480430" y="62230"/>
                    <a:pt x="3479160" y="54610"/>
                    <a:pt x="3475985" y="50165"/>
                  </a:cubicBezTo>
                  <a:cubicBezTo>
                    <a:pt x="3472810" y="45720"/>
                    <a:pt x="3468365" y="43180"/>
                    <a:pt x="3463285" y="43180"/>
                  </a:cubicBezTo>
                  <a:close/>
                  <a:moveTo>
                    <a:pt x="3343271" y="43180"/>
                  </a:moveTo>
                  <a:cubicBezTo>
                    <a:pt x="3340731" y="43180"/>
                    <a:pt x="3338191" y="43180"/>
                    <a:pt x="3336286" y="44450"/>
                  </a:cubicBezTo>
                  <a:cubicBezTo>
                    <a:pt x="3334381" y="45085"/>
                    <a:pt x="3332476" y="46355"/>
                    <a:pt x="3331206" y="48260"/>
                  </a:cubicBezTo>
                  <a:cubicBezTo>
                    <a:pt x="3329936" y="50165"/>
                    <a:pt x="3328666" y="52070"/>
                    <a:pt x="3327396" y="54610"/>
                  </a:cubicBezTo>
                  <a:cubicBezTo>
                    <a:pt x="3326761" y="57150"/>
                    <a:pt x="3326126" y="59690"/>
                    <a:pt x="3325491" y="62865"/>
                  </a:cubicBezTo>
                  <a:lnTo>
                    <a:pt x="3361686" y="62865"/>
                  </a:lnTo>
                  <a:cubicBezTo>
                    <a:pt x="3361686" y="62865"/>
                    <a:pt x="3361051" y="57785"/>
                    <a:pt x="3360416" y="55245"/>
                  </a:cubicBezTo>
                  <a:cubicBezTo>
                    <a:pt x="3359781" y="52705"/>
                    <a:pt x="3358511" y="50800"/>
                    <a:pt x="3357241" y="48895"/>
                  </a:cubicBezTo>
                  <a:cubicBezTo>
                    <a:pt x="3355971" y="46990"/>
                    <a:pt x="3354066" y="45720"/>
                    <a:pt x="3351526" y="44450"/>
                  </a:cubicBezTo>
                  <a:cubicBezTo>
                    <a:pt x="3348986" y="43180"/>
                    <a:pt x="3346446" y="43180"/>
                    <a:pt x="3343271" y="43180"/>
                  </a:cubicBezTo>
                  <a:close/>
                  <a:moveTo>
                    <a:pt x="2976876" y="43180"/>
                  </a:moveTo>
                  <a:cubicBezTo>
                    <a:pt x="2974336" y="43180"/>
                    <a:pt x="2971796" y="43180"/>
                    <a:pt x="2969891" y="44450"/>
                  </a:cubicBezTo>
                  <a:cubicBezTo>
                    <a:pt x="2967986" y="45085"/>
                    <a:pt x="2966081" y="46355"/>
                    <a:pt x="2964811" y="48260"/>
                  </a:cubicBezTo>
                  <a:cubicBezTo>
                    <a:pt x="2963541" y="50165"/>
                    <a:pt x="2962271" y="52070"/>
                    <a:pt x="2961001" y="54610"/>
                  </a:cubicBezTo>
                  <a:cubicBezTo>
                    <a:pt x="2960366" y="57150"/>
                    <a:pt x="2959731" y="59690"/>
                    <a:pt x="2959096" y="62865"/>
                  </a:cubicBezTo>
                  <a:lnTo>
                    <a:pt x="2995291" y="62865"/>
                  </a:lnTo>
                  <a:cubicBezTo>
                    <a:pt x="2995291" y="62865"/>
                    <a:pt x="2994656" y="57785"/>
                    <a:pt x="2994021" y="55245"/>
                  </a:cubicBezTo>
                  <a:cubicBezTo>
                    <a:pt x="2993386" y="52705"/>
                    <a:pt x="2992116" y="50800"/>
                    <a:pt x="2990846" y="48895"/>
                  </a:cubicBezTo>
                  <a:cubicBezTo>
                    <a:pt x="2989576" y="46990"/>
                    <a:pt x="2987671" y="45720"/>
                    <a:pt x="2985131" y="44450"/>
                  </a:cubicBezTo>
                  <a:cubicBezTo>
                    <a:pt x="2982591" y="43180"/>
                    <a:pt x="2980051" y="43180"/>
                    <a:pt x="2976876" y="43180"/>
                  </a:cubicBezTo>
                  <a:close/>
                  <a:moveTo>
                    <a:pt x="2527930" y="43180"/>
                  </a:moveTo>
                  <a:cubicBezTo>
                    <a:pt x="2525390" y="43180"/>
                    <a:pt x="2522850" y="43180"/>
                    <a:pt x="2520945" y="44450"/>
                  </a:cubicBezTo>
                  <a:cubicBezTo>
                    <a:pt x="2519040" y="45085"/>
                    <a:pt x="2517135" y="46355"/>
                    <a:pt x="2515865" y="48260"/>
                  </a:cubicBezTo>
                  <a:cubicBezTo>
                    <a:pt x="2514595" y="50165"/>
                    <a:pt x="2513325" y="52070"/>
                    <a:pt x="2512055" y="54610"/>
                  </a:cubicBezTo>
                  <a:cubicBezTo>
                    <a:pt x="2511420" y="57150"/>
                    <a:pt x="2510150" y="59690"/>
                    <a:pt x="2510150" y="62865"/>
                  </a:cubicBezTo>
                  <a:lnTo>
                    <a:pt x="2546345" y="62865"/>
                  </a:lnTo>
                  <a:cubicBezTo>
                    <a:pt x="2546345" y="62865"/>
                    <a:pt x="2545710" y="57785"/>
                    <a:pt x="2545075" y="55245"/>
                  </a:cubicBezTo>
                  <a:cubicBezTo>
                    <a:pt x="2544440" y="52705"/>
                    <a:pt x="2543170" y="50800"/>
                    <a:pt x="2541900" y="48895"/>
                  </a:cubicBezTo>
                  <a:cubicBezTo>
                    <a:pt x="2540630" y="46990"/>
                    <a:pt x="2538725" y="45720"/>
                    <a:pt x="2536185" y="44450"/>
                  </a:cubicBezTo>
                  <a:cubicBezTo>
                    <a:pt x="2533645" y="43180"/>
                    <a:pt x="2531105" y="43180"/>
                    <a:pt x="2527930" y="43180"/>
                  </a:cubicBezTo>
                  <a:close/>
                  <a:moveTo>
                    <a:pt x="2214240" y="43180"/>
                  </a:moveTo>
                  <a:cubicBezTo>
                    <a:pt x="2211700" y="43180"/>
                    <a:pt x="2209160" y="43180"/>
                    <a:pt x="2207255" y="44450"/>
                  </a:cubicBezTo>
                  <a:cubicBezTo>
                    <a:pt x="2205350" y="45085"/>
                    <a:pt x="2203445" y="46355"/>
                    <a:pt x="2202175" y="48260"/>
                  </a:cubicBezTo>
                  <a:cubicBezTo>
                    <a:pt x="2200905" y="50165"/>
                    <a:pt x="2199635" y="52070"/>
                    <a:pt x="2198365" y="54610"/>
                  </a:cubicBezTo>
                  <a:cubicBezTo>
                    <a:pt x="2197730" y="57150"/>
                    <a:pt x="2196460" y="59690"/>
                    <a:pt x="2196460" y="62865"/>
                  </a:cubicBezTo>
                  <a:lnTo>
                    <a:pt x="2232655" y="62865"/>
                  </a:lnTo>
                  <a:cubicBezTo>
                    <a:pt x="2232655" y="62865"/>
                    <a:pt x="2232020" y="57785"/>
                    <a:pt x="2231385" y="55245"/>
                  </a:cubicBezTo>
                  <a:cubicBezTo>
                    <a:pt x="2230750" y="52705"/>
                    <a:pt x="2229480" y="50800"/>
                    <a:pt x="2228210" y="48895"/>
                  </a:cubicBezTo>
                  <a:cubicBezTo>
                    <a:pt x="2226940" y="46990"/>
                    <a:pt x="2225035" y="45720"/>
                    <a:pt x="2222495" y="44450"/>
                  </a:cubicBezTo>
                  <a:cubicBezTo>
                    <a:pt x="2219955" y="43180"/>
                    <a:pt x="2217415" y="43180"/>
                    <a:pt x="2214240" y="43180"/>
                  </a:cubicBezTo>
                  <a:close/>
                  <a:moveTo>
                    <a:pt x="2027551" y="43180"/>
                  </a:moveTo>
                  <a:cubicBezTo>
                    <a:pt x="2025011" y="43180"/>
                    <a:pt x="2022471" y="43180"/>
                    <a:pt x="2020566" y="44450"/>
                  </a:cubicBezTo>
                  <a:cubicBezTo>
                    <a:pt x="2018661" y="45085"/>
                    <a:pt x="2016756" y="46355"/>
                    <a:pt x="2015486" y="48260"/>
                  </a:cubicBezTo>
                  <a:cubicBezTo>
                    <a:pt x="2014216" y="50165"/>
                    <a:pt x="2012946" y="52070"/>
                    <a:pt x="2011676" y="54610"/>
                  </a:cubicBezTo>
                  <a:cubicBezTo>
                    <a:pt x="2011041" y="57150"/>
                    <a:pt x="2010406" y="59690"/>
                    <a:pt x="2009771" y="62865"/>
                  </a:cubicBezTo>
                  <a:lnTo>
                    <a:pt x="2045966" y="62865"/>
                  </a:lnTo>
                  <a:cubicBezTo>
                    <a:pt x="2045966" y="62865"/>
                    <a:pt x="2045331" y="57785"/>
                    <a:pt x="2044696" y="55245"/>
                  </a:cubicBezTo>
                  <a:cubicBezTo>
                    <a:pt x="2044061" y="52705"/>
                    <a:pt x="2042791" y="50800"/>
                    <a:pt x="2041521" y="48895"/>
                  </a:cubicBezTo>
                  <a:cubicBezTo>
                    <a:pt x="2040251" y="46990"/>
                    <a:pt x="2038346" y="45720"/>
                    <a:pt x="2035806" y="44450"/>
                  </a:cubicBezTo>
                  <a:cubicBezTo>
                    <a:pt x="2033266" y="43180"/>
                    <a:pt x="2030726" y="43180"/>
                    <a:pt x="2027551" y="43180"/>
                  </a:cubicBezTo>
                  <a:close/>
                  <a:moveTo>
                    <a:pt x="1949445" y="43180"/>
                  </a:moveTo>
                  <a:cubicBezTo>
                    <a:pt x="1947540" y="43180"/>
                    <a:pt x="1945635" y="43180"/>
                    <a:pt x="1944365" y="43815"/>
                  </a:cubicBezTo>
                  <a:cubicBezTo>
                    <a:pt x="1942460" y="43815"/>
                    <a:pt x="1941190" y="45085"/>
                    <a:pt x="1939285" y="45720"/>
                  </a:cubicBezTo>
                  <a:cubicBezTo>
                    <a:pt x="1938015" y="46355"/>
                    <a:pt x="1936110" y="47625"/>
                    <a:pt x="1934840" y="48895"/>
                  </a:cubicBezTo>
                  <a:cubicBezTo>
                    <a:pt x="1933570" y="50165"/>
                    <a:pt x="1932300" y="51435"/>
                    <a:pt x="1931665" y="52705"/>
                  </a:cubicBezTo>
                  <a:lnTo>
                    <a:pt x="1931665" y="85725"/>
                  </a:lnTo>
                  <a:cubicBezTo>
                    <a:pt x="1931665" y="85725"/>
                    <a:pt x="1933570" y="88265"/>
                    <a:pt x="1934840" y="89535"/>
                  </a:cubicBezTo>
                  <a:cubicBezTo>
                    <a:pt x="1936110" y="90805"/>
                    <a:pt x="1937380" y="92075"/>
                    <a:pt x="1939285" y="92710"/>
                  </a:cubicBezTo>
                  <a:cubicBezTo>
                    <a:pt x="1941190" y="93980"/>
                    <a:pt x="1942460" y="94615"/>
                    <a:pt x="1944365" y="95250"/>
                  </a:cubicBezTo>
                  <a:cubicBezTo>
                    <a:pt x="1946270" y="95250"/>
                    <a:pt x="1948175" y="95885"/>
                    <a:pt x="1950080" y="95885"/>
                  </a:cubicBezTo>
                  <a:cubicBezTo>
                    <a:pt x="1955795" y="95885"/>
                    <a:pt x="1959605" y="93980"/>
                    <a:pt x="1962780" y="89535"/>
                  </a:cubicBezTo>
                  <a:cubicBezTo>
                    <a:pt x="1965955" y="85090"/>
                    <a:pt x="1967225" y="79375"/>
                    <a:pt x="1967225" y="71120"/>
                  </a:cubicBezTo>
                  <a:lnTo>
                    <a:pt x="1966590" y="71755"/>
                  </a:lnTo>
                  <a:cubicBezTo>
                    <a:pt x="1966590" y="62230"/>
                    <a:pt x="1965320" y="54610"/>
                    <a:pt x="1962145" y="50165"/>
                  </a:cubicBezTo>
                  <a:cubicBezTo>
                    <a:pt x="1958970" y="45720"/>
                    <a:pt x="1954525" y="43180"/>
                    <a:pt x="1949445" y="43180"/>
                  </a:cubicBezTo>
                  <a:close/>
                  <a:moveTo>
                    <a:pt x="1829431" y="43180"/>
                  </a:moveTo>
                  <a:cubicBezTo>
                    <a:pt x="1826891" y="43180"/>
                    <a:pt x="1824351" y="43180"/>
                    <a:pt x="1822446" y="44450"/>
                  </a:cubicBezTo>
                  <a:cubicBezTo>
                    <a:pt x="1820541" y="45085"/>
                    <a:pt x="1818636" y="46355"/>
                    <a:pt x="1817366" y="48260"/>
                  </a:cubicBezTo>
                  <a:cubicBezTo>
                    <a:pt x="1816096" y="50165"/>
                    <a:pt x="1814826" y="52070"/>
                    <a:pt x="1813556" y="54610"/>
                  </a:cubicBezTo>
                  <a:cubicBezTo>
                    <a:pt x="1812921" y="57150"/>
                    <a:pt x="1811651" y="59690"/>
                    <a:pt x="1811651" y="62865"/>
                  </a:cubicBezTo>
                  <a:lnTo>
                    <a:pt x="1847846" y="62865"/>
                  </a:lnTo>
                  <a:cubicBezTo>
                    <a:pt x="1847846" y="62865"/>
                    <a:pt x="1847211" y="57785"/>
                    <a:pt x="1846576" y="55245"/>
                  </a:cubicBezTo>
                  <a:cubicBezTo>
                    <a:pt x="1845941" y="52705"/>
                    <a:pt x="1844671" y="50800"/>
                    <a:pt x="1843401" y="48895"/>
                  </a:cubicBezTo>
                  <a:cubicBezTo>
                    <a:pt x="1842131" y="46990"/>
                    <a:pt x="1840226" y="45720"/>
                    <a:pt x="1837686" y="44450"/>
                  </a:cubicBezTo>
                  <a:cubicBezTo>
                    <a:pt x="1835146" y="43180"/>
                    <a:pt x="1832606" y="43180"/>
                    <a:pt x="1829431" y="43180"/>
                  </a:cubicBezTo>
                  <a:close/>
                  <a:moveTo>
                    <a:pt x="1178561" y="43180"/>
                  </a:moveTo>
                  <a:cubicBezTo>
                    <a:pt x="1176021" y="43180"/>
                    <a:pt x="1173481" y="43180"/>
                    <a:pt x="1171576" y="44450"/>
                  </a:cubicBezTo>
                  <a:cubicBezTo>
                    <a:pt x="1169671" y="45085"/>
                    <a:pt x="1167766" y="46355"/>
                    <a:pt x="1166496" y="48260"/>
                  </a:cubicBezTo>
                  <a:cubicBezTo>
                    <a:pt x="1165226" y="50165"/>
                    <a:pt x="1163956" y="52070"/>
                    <a:pt x="1162686" y="54610"/>
                  </a:cubicBezTo>
                  <a:cubicBezTo>
                    <a:pt x="1162051" y="57150"/>
                    <a:pt x="1160781" y="59690"/>
                    <a:pt x="1160781" y="62865"/>
                  </a:cubicBezTo>
                  <a:lnTo>
                    <a:pt x="1196976" y="62865"/>
                  </a:lnTo>
                  <a:cubicBezTo>
                    <a:pt x="1196976" y="62865"/>
                    <a:pt x="1196341" y="57785"/>
                    <a:pt x="1195706" y="55245"/>
                  </a:cubicBezTo>
                  <a:cubicBezTo>
                    <a:pt x="1195071" y="52705"/>
                    <a:pt x="1193801" y="50800"/>
                    <a:pt x="1192531" y="48895"/>
                  </a:cubicBezTo>
                  <a:cubicBezTo>
                    <a:pt x="1191261" y="46990"/>
                    <a:pt x="1189356" y="45720"/>
                    <a:pt x="1186816" y="44450"/>
                  </a:cubicBezTo>
                  <a:cubicBezTo>
                    <a:pt x="1184276" y="43180"/>
                    <a:pt x="1181736" y="43180"/>
                    <a:pt x="1178561" y="43180"/>
                  </a:cubicBezTo>
                  <a:close/>
                  <a:moveTo>
                    <a:pt x="898525" y="43180"/>
                  </a:moveTo>
                  <a:cubicBezTo>
                    <a:pt x="895985" y="43180"/>
                    <a:pt x="893445" y="43180"/>
                    <a:pt x="891540" y="44450"/>
                  </a:cubicBezTo>
                  <a:cubicBezTo>
                    <a:pt x="889635" y="45085"/>
                    <a:pt x="887730" y="46355"/>
                    <a:pt x="886460" y="48260"/>
                  </a:cubicBezTo>
                  <a:cubicBezTo>
                    <a:pt x="885190" y="50165"/>
                    <a:pt x="883920" y="52070"/>
                    <a:pt x="882650" y="54610"/>
                  </a:cubicBezTo>
                  <a:cubicBezTo>
                    <a:pt x="882015" y="57150"/>
                    <a:pt x="881380" y="59690"/>
                    <a:pt x="880745" y="62865"/>
                  </a:cubicBezTo>
                  <a:lnTo>
                    <a:pt x="916940" y="62865"/>
                  </a:lnTo>
                  <a:cubicBezTo>
                    <a:pt x="916940" y="62865"/>
                    <a:pt x="916305" y="57785"/>
                    <a:pt x="915670" y="55245"/>
                  </a:cubicBezTo>
                  <a:cubicBezTo>
                    <a:pt x="915035" y="52705"/>
                    <a:pt x="913765" y="50800"/>
                    <a:pt x="912495" y="48895"/>
                  </a:cubicBezTo>
                  <a:cubicBezTo>
                    <a:pt x="911225" y="46990"/>
                    <a:pt x="909320" y="45720"/>
                    <a:pt x="906780" y="44450"/>
                  </a:cubicBezTo>
                  <a:cubicBezTo>
                    <a:pt x="904240" y="43180"/>
                    <a:pt x="901700" y="43180"/>
                    <a:pt x="898525" y="43180"/>
                  </a:cubicBezTo>
                  <a:close/>
                  <a:moveTo>
                    <a:pt x="584834" y="43180"/>
                  </a:moveTo>
                  <a:cubicBezTo>
                    <a:pt x="582294" y="43180"/>
                    <a:pt x="579754" y="43180"/>
                    <a:pt x="577849" y="44450"/>
                  </a:cubicBezTo>
                  <a:cubicBezTo>
                    <a:pt x="575944" y="45085"/>
                    <a:pt x="574039" y="46355"/>
                    <a:pt x="572769" y="48260"/>
                  </a:cubicBezTo>
                  <a:cubicBezTo>
                    <a:pt x="571499" y="50165"/>
                    <a:pt x="570229" y="52070"/>
                    <a:pt x="568959" y="54610"/>
                  </a:cubicBezTo>
                  <a:cubicBezTo>
                    <a:pt x="568324" y="57150"/>
                    <a:pt x="567689" y="59690"/>
                    <a:pt x="567054" y="62865"/>
                  </a:cubicBezTo>
                  <a:lnTo>
                    <a:pt x="603249" y="62865"/>
                  </a:lnTo>
                  <a:cubicBezTo>
                    <a:pt x="603249" y="62865"/>
                    <a:pt x="602614" y="57785"/>
                    <a:pt x="601979" y="55245"/>
                  </a:cubicBezTo>
                  <a:cubicBezTo>
                    <a:pt x="601344" y="52705"/>
                    <a:pt x="600074" y="50800"/>
                    <a:pt x="598804" y="48895"/>
                  </a:cubicBezTo>
                  <a:cubicBezTo>
                    <a:pt x="597534" y="46990"/>
                    <a:pt x="595629" y="45720"/>
                    <a:pt x="593089" y="44450"/>
                  </a:cubicBezTo>
                  <a:cubicBezTo>
                    <a:pt x="590549" y="43180"/>
                    <a:pt x="588009" y="43180"/>
                    <a:pt x="584834" y="43180"/>
                  </a:cubicBezTo>
                  <a:close/>
                  <a:moveTo>
                    <a:pt x="398145" y="43180"/>
                  </a:moveTo>
                  <a:cubicBezTo>
                    <a:pt x="395605" y="43180"/>
                    <a:pt x="393065" y="43180"/>
                    <a:pt x="391160" y="44450"/>
                  </a:cubicBezTo>
                  <a:cubicBezTo>
                    <a:pt x="389255" y="45085"/>
                    <a:pt x="387350" y="46355"/>
                    <a:pt x="386080" y="48260"/>
                  </a:cubicBezTo>
                  <a:cubicBezTo>
                    <a:pt x="384810" y="50165"/>
                    <a:pt x="383540" y="52070"/>
                    <a:pt x="382270" y="54610"/>
                  </a:cubicBezTo>
                  <a:cubicBezTo>
                    <a:pt x="381635" y="57150"/>
                    <a:pt x="380365" y="59690"/>
                    <a:pt x="380365" y="62865"/>
                  </a:cubicBezTo>
                  <a:lnTo>
                    <a:pt x="416560" y="62865"/>
                  </a:lnTo>
                  <a:cubicBezTo>
                    <a:pt x="416560" y="62865"/>
                    <a:pt x="415925" y="57785"/>
                    <a:pt x="415290" y="55245"/>
                  </a:cubicBezTo>
                  <a:cubicBezTo>
                    <a:pt x="414655" y="52705"/>
                    <a:pt x="413385" y="50800"/>
                    <a:pt x="412115" y="48895"/>
                  </a:cubicBezTo>
                  <a:cubicBezTo>
                    <a:pt x="410845" y="46990"/>
                    <a:pt x="408940" y="45720"/>
                    <a:pt x="406400" y="44450"/>
                  </a:cubicBezTo>
                  <a:cubicBezTo>
                    <a:pt x="403860" y="43180"/>
                    <a:pt x="401320" y="43180"/>
                    <a:pt x="398145" y="43180"/>
                  </a:cubicBezTo>
                  <a:close/>
                  <a:moveTo>
                    <a:pt x="320039" y="43180"/>
                  </a:moveTo>
                  <a:cubicBezTo>
                    <a:pt x="318134" y="43180"/>
                    <a:pt x="316229" y="43180"/>
                    <a:pt x="314959" y="43815"/>
                  </a:cubicBezTo>
                  <a:cubicBezTo>
                    <a:pt x="313054" y="43815"/>
                    <a:pt x="311784" y="45085"/>
                    <a:pt x="309879" y="45720"/>
                  </a:cubicBezTo>
                  <a:cubicBezTo>
                    <a:pt x="308609" y="46355"/>
                    <a:pt x="306704" y="47625"/>
                    <a:pt x="305434" y="48895"/>
                  </a:cubicBezTo>
                  <a:cubicBezTo>
                    <a:pt x="304164" y="50165"/>
                    <a:pt x="302894" y="51435"/>
                    <a:pt x="302259" y="52705"/>
                  </a:cubicBezTo>
                  <a:lnTo>
                    <a:pt x="302259" y="85725"/>
                  </a:lnTo>
                  <a:cubicBezTo>
                    <a:pt x="302259" y="85725"/>
                    <a:pt x="304164" y="88265"/>
                    <a:pt x="305434" y="89535"/>
                  </a:cubicBezTo>
                  <a:cubicBezTo>
                    <a:pt x="306704" y="90805"/>
                    <a:pt x="307974" y="92075"/>
                    <a:pt x="309879" y="92710"/>
                  </a:cubicBezTo>
                  <a:cubicBezTo>
                    <a:pt x="311784" y="93980"/>
                    <a:pt x="313054" y="94615"/>
                    <a:pt x="314959" y="95250"/>
                  </a:cubicBezTo>
                  <a:cubicBezTo>
                    <a:pt x="316864" y="95250"/>
                    <a:pt x="318769" y="95885"/>
                    <a:pt x="320674" y="95885"/>
                  </a:cubicBezTo>
                  <a:cubicBezTo>
                    <a:pt x="326389" y="95885"/>
                    <a:pt x="330199" y="93980"/>
                    <a:pt x="333374" y="89535"/>
                  </a:cubicBezTo>
                  <a:cubicBezTo>
                    <a:pt x="336549" y="85090"/>
                    <a:pt x="337819" y="79375"/>
                    <a:pt x="337819" y="71120"/>
                  </a:cubicBezTo>
                  <a:lnTo>
                    <a:pt x="337184" y="71755"/>
                  </a:lnTo>
                  <a:cubicBezTo>
                    <a:pt x="337184" y="62230"/>
                    <a:pt x="335914" y="54610"/>
                    <a:pt x="332739" y="50165"/>
                  </a:cubicBezTo>
                  <a:cubicBezTo>
                    <a:pt x="329564" y="45720"/>
                    <a:pt x="325119" y="43180"/>
                    <a:pt x="320039" y="43180"/>
                  </a:cubicBezTo>
                  <a:close/>
                  <a:moveTo>
                    <a:pt x="200025" y="43180"/>
                  </a:moveTo>
                  <a:cubicBezTo>
                    <a:pt x="197485" y="43180"/>
                    <a:pt x="194945" y="43180"/>
                    <a:pt x="193040" y="44450"/>
                  </a:cubicBezTo>
                  <a:cubicBezTo>
                    <a:pt x="191135" y="45085"/>
                    <a:pt x="189230" y="46355"/>
                    <a:pt x="187960" y="48260"/>
                  </a:cubicBezTo>
                  <a:cubicBezTo>
                    <a:pt x="186690" y="50165"/>
                    <a:pt x="185420" y="52070"/>
                    <a:pt x="184150" y="54610"/>
                  </a:cubicBezTo>
                  <a:cubicBezTo>
                    <a:pt x="183515" y="57150"/>
                    <a:pt x="182880" y="59690"/>
                    <a:pt x="182245" y="62865"/>
                  </a:cubicBezTo>
                  <a:lnTo>
                    <a:pt x="218440" y="62865"/>
                  </a:lnTo>
                  <a:cubicBezTo>
                    <a:pt x="218440" y="62865"/>
                    <a:pt x="217805" y="57785"/>
                    <a:pt x="217170" y="55245"/>
                  </a:cubicBezTo>
                  <a:cubicBezTo>
                    <a:pt x="216535" y="52705"/>
                    <a:pt x="215265" y="50800"/>
                    <a:pt x="213995" y="48895"/>
                  </a:cubicBezTo>
                  <a:cubicBezTo>
                    <a:pt x="212725" y="46990"/>
                    <a:pt x="210820" y="45720"/>
                    <a:pt x="208280" y="44450"/>
                  </a:cubicBezTo>
                  <a:cubicBezTo>
                    <a:pt x="205740" y="43180"/>
                    <a:pt x="203200" y="43180"/>
                    <a:pt x="200025" y="43180"/>
                  </a:cubicBezTo>
                  <a:close/>
                  <a:moveTo>
                    <a:pt x="4439281" y="43179"/>
                  </a:moveTo>
                  <a:cubicBezTo>
                    <a:pt x="4433566" y="43179"/>
                    <a:pt x="4429756" y="45084"/>
                    <a:pt x="4426581" y="49529"/>
                  </a:cubicBezTo>
                  <a:cubicBezTo>
                    <a:pt x="4423406" y="53974"/>
                    <a:pt x="4422136" y="59689"/>
                    <a:pt x="4422136" y="67944"/>
                  </a:cubicBezTo>
                  <a:cubicBezTo>
                    <a:pt x="4422136" y="73024"/>
                    <a:pt x="4422136" y="76834"/>
                    <a:pt x="4423406" y="80644"/>
                  </a:cubicBezTo>
                  <a:cubicBezTo>
                    <a:pt x="4424041" y="84454"/>
                    <a:pt x="4425311" y="86994"/>
                    <a:pt x="4426581" y="89534"/>
                  </a:cubicBezTo>
                  <a:cubicBezTo>
                    <a:pt x="4427851" y="92074"/>
                    <a:pt x="4429756" y="93344"/>
                    <a:pt x="4432296" y="94614"/>
                  </a:cubicBezTo>
                  <a:cubicBezTo>
                    <a:pt x="4434201" y="95884"/>
                    <a:pt x="4436741" y="96519"/>
                    <a:pt x="4439916" y="96519"/>
                  </a:cubicBezTo>
                  <a:cubicBezTo>
                    <a:pt x="4441821" y="96519"/>
                    <a:pt x="4443726" y="96519"/>
                    <a:pt x="4444996" y="95884"/>
                  </a:cubicBezTo>
                  <a:cubicBezTo>
                    <a:pt x="4446901" y="95884"/>
                    <a:pt x="4448171" y="94614"/>
                    <a:pt x="4450076" y="93344"/>
                  </a:cubicBezTo>
                  <a:cubicBezTo>
                    <a:pt x="4451346" y="92709"/>
                    <a:pt x="4453251" y="91439"/>
                    <a:pt x="4454521" y="90169"/>
                  </a:cubicBezTo>
                  <a:cubicBezTo>
                    <a:pt x="4455791" y="88899"/>
                    <a:pt x="4457061" y="87629"/>
                    <a:pt x="4457696" y="86359"/>
                  </a:cubicBezTo>
                  <a:lnTo>
                    <a:pt x="4457696" y="53339"/>
                  </a:lnTo>
                  <a:cubicBezTo>
                    <a:pt x="4457696" y="53339"/>
                    <a:pt x="4455791" y="50799"/>
                    <a:pt x="4454521" y="49529"/>
                  </a:cubicBezTo>
                  <a:cubicBezTo>
                    <a:pt x="4453251" y="48259"/>
                    <a:pt x="4451981" y="46989"/>
                    <a:pt x="4450076" y="46354"/>
                  </a:cubicBezTo>
                  <a:cubicBezTo>
                    <a:pt x="4448806" y="45084"/>
                    <a:pt x="4446901" y="44449"/>
                    <a:pt x="4444996" y="43814"/>
                  </a:cubicBezTo>
                  <a:cubicBezTo>
                    <a:pt x="4443091" y="43814"/>
                    <a:pt x="4441186" y="43179"/>
                    <a:pt x="4439281" y="43179"/>
                  </a:cubicBezTo>
                  <a:close/>
                  <a:moveTo>
                    <a:pt x="1014731" y="43179"/>
                  </a:moveTo>
                  <a:cubicBezTo>
                    <a:pt x="1009016" y="43179"/>
                    <a:pt x="1005206" y="45084"/>
                    <a:pt x="1002032" y="49529"/>
                  </a:cubicBezTo>
                  <a:cubicBezTo>
                    <a:pt x="998856" y="53974"/>
                    <a:pt x="997587" y="59689"/>
                    <a:pt x="997587" y="67944"/>
                  </a:cubicBezTo>
                  <a:cubicBezTo>
                    <a:pt x="997587" y="77469"/>
                    <a:pt x="998856" y="84454"/>
                    <a:pt x="1002032" y="88899"/>
                  </a:cubicBezTo>
                  <a:cubicBezTo>
                    <a:pt x="1005206" y="93979"/>
                    <a:pt x="1009016" y="95884"/>
                    <a:pt x="1015367" y="95884"/>
                  </a:cubicBezTo>
                  <a:cubicBezTo>
                    <a:pt x="1018541" y="95884"/>
                    <a:pt x="1022352" y="95249"/>
                    <a:pt x="1024891" y="93344"/>
                  </a:cubicBezTo>
                  <a:cubicBezTo>
                    <a:pt x="1028067" y="91439"/>
                    <a:pt x="1030607" y="88899"/>
                    <a:pt x="1033147" y="86359"/>
                  </a:cubicBezTo>
                  <a:lnTo>
                    <a:pt x="1033147" y="53339"/>
                  </a:lnTo>
                  <a:cubicBezTo>
                    <a:pt x="1033147" y="53339"/>
                    <a:pt x="1031242" y="50799"/>
                    <a:pt x="1029971" y="49529"/>
                  </a:cubicBezTo>
                  <a:cubicBezTo>
                    <a:pt x="1028702" y="48259"/>
                    <a:pt x="1027431" y="46989"/>
                    <a:pt x="1025526" y="46354"/>
                  </a:cubicBezTo>
                  <a:cubicBezTo>
                    <a:pt x="1023621" y="45084"/>
                    <a:pt x="1022352" y="44449"/>
                    <a:pt x="1020446" y="43814"/>
                  </a:cubicBezTo>
                  <a:cubicBezTo>
                    <a:pt x="1018541" y="43179"/>
                    <a:pt x="1016636" y="43179"/>
                    <a:pt x="1014731" y="43179"/>
                  </a:cubicBezTo>
                  <a:close/>
                  <a:moveTo>
                    <a:pt x="4524370" y="31114"/>
                  </a:moveTo>
                  <a:lnTo>
                    <a:pt x="4538975" y="31114"/>
                  </a:lnTo>
                  <a:lnTo>
                    <a:pt x="4552310" y="84454"/>
                  </a:lnTo>
                  <a:lnTo>
                    <a:pt x="4566915" y="31114"/>
                  </a:lnTo>
                  <a:lnTo>
                    <a:pt x="4579615" y="31114"/>
                  </a:lnTo>
                  <a:lnTo>
                    <a:pt x="4594220" y="84454"/>
                  </a:lnTo>
                  <a:lnTo>
                    <a:pt x="4606920" y="31114"/>
                  </a:lnTo>
                  <a:lnTo>
                    <a:pt x="4622160" y="31114"/>
                  </a:lnTo>
                  <a:lnTo>
                    <a:pt x="4600570" y="108584"/>
                  </a:lnTo>
                  <a:lnTo>
                    <a:pt x="4587235" y="108584"/>
                  </a:lnTo>
                  <a:lnTo>
                    <a:pt x="4572630" y="54609"/>
                  </a:lnTo>
                  <a:lnTo>
                    <a:pt x="4558660" y="108584"/>
                  </a:lnTo>
                  <a:lnTo>
                    <a:pt x="4545325" y="108584"/>
                  </a:lnTo>
                  <a:close/>
                  <a:moveTo>
                    <a:pt x="4123686" y="31114"/>
                  </a:moveTo>
                  <a:lnTo>
                    <a:pt x="4138926" y="31114"/>
                  </a:lnTo>
                  <a:lnTo>
                    <a:pt x="4152261" y="84454"/>
                  </a:lnTo>
                  <a:lnTo>
                    <a:pt x="4166866" y="31114"/>
                  </a:lnTo>
                  <a:lnTo>
                    <a:pt x="4178931" y="31114"/>
                  </a:lnTo>
                  <a:lnTo>
                    <a:pt x="4193536" y="84454"/>
                  </a:lnTo>
                  <a:lnTo>
                    <a:pt x="4206871" y="31114"/>
                  </a:lnTo>
                  <a:lnTo>
                    <a:pt x="4222111" y="31114"/>
                  </a:lnTo>
                  <a:lnTo>
                    <a:pt x="4200521" y="108584"/>
                  </a:lnTo>
                  <a:lnTo>
                    <a:pt x="4187186" y="108584"/>
                  </a:lnTo>
                  <a:lnTo>
                    <a:pt x="4172581" y="54609"/>
                  </a:lnTo>
                  <a:lnTo>
                    <a:pt x="4157976" y="108584"/>
                  </a:lnTo>
                  <a:lnTo>
                    <a:pt x="4145276" y="108584"/>
                  </a:lnTo>
                  <a:close/>
                  <a:moveTo>
                    <a:pt x="2837811" y="31114"/>
                  </a:moveTo>
                  <a:lnTo>
                    <a:pt x="2852416" y="31114"/>
                  </a:lnTo>
                  <a:lnTo>
                    <a:pt x="2865751" y="84454"/>
                  </a:lnTo>
                  <a:lnTo>
                    <a:pt x="2880356" y="31114"/>
                  </a:lnTo>
                  <a:lnTo>
                    <a:pt x="2893056" y="31114"/>
                  </a:lnTo>
                  <a:lnTo>
                    <a:pt x="2907661" y="84454"/>
                  </a:lnTo>
                  <a:lnTo>
                    <a:pt x="2920361" y="31114"/>
                  </a:lnTo>
                  <a:lnTo>
                    <a:pt x="2935601" y="31114"/>
                  </a:lnTo>
                  <a:lnTo>
                    <a:pt x="2914011" y="108584"/>
                  </a:lnTo>
                  <a:lnTo>
                    <a:pt x="2900676" y="108584"/>
                  </a:lnTo>
                  <a:lnTo>
                    <a:pt x="2886706" y="54609"/>
                  </a:lnTo>
                  <a:lnTo>
                    <a:pt x="2872101" y="108584"/>
                  </a:lnTo>
                  <a:lnTo>
                    <a:pt x="2858766" y="108584"/>
                  </a:lnTo>
                  <a:close/>
                  <a:moveTo>
                    <a:pt x="1354455" y="31114"/>
                  </a:moveTo>
                  <a:lnTo>
                    <a:pt x="1369695" y="31114"/>
                  </a:lnTo>
                  <a:lnTo>
                    <a:pt x="1369695" y="109219"/>
                  </a:lnTo>
                  <a:lnTo>
                    <a:pt x="1354455" y="109219"/>
                  </a:lnTo>
                  <a:close/>
                  <a:moveTo>
                    <a:pt x="2646040" y="29844"/>
                  </a:moveTo>
                  <a:cubicBezTo>
                    <a:pt x="2650485" y="29844"/>
                    <a:pt x="2654295" y="29844"/>
                    <a:pt x="2658105" y="31749"/>
                  </a:cubicBezTo>
                  <a:cubicBezTo>
                    <a:pt x="2661915" y="33019"/>
                    <a:pt x="2665090" y="34289"/>
                    <a:pt x="2667630" y="36829"/>
                  </a:cubicBezTo>
                  <a:cubicBezTo>
                    <a:pt x="2670170" y="38734"/>
                    <a:pt x="2672075" y="41909"/>
                    <a:pt x="2673345" y="45084"/>
                  </a:cubicBezTo>
                  <a:cubicBezTo>
                    <a:pt x="2674615" y="48259"/>
                    <a:pt x="2675250" y="52069"/>
                    <a:pt x="2675250" y="56514"/>
                  </a:cubicBezTo>
                  <a:lnTo>
                    <a:pt x="2675250" y="109854"/>
                  </a:lnTo>
                  <a:lnTo>
                    <a:pt x="2660010" y="109854"/>
                  </a:lnTo>
                  <a:lnTo>
                    <a:pt x="2660010" y="108584"/>
                  </a:lnTo>
                  <a:lnTo>
                    <a:pt x="2660010" y="100964"/>
                  </a:lnTo>
                  <a:cubicBezTo>
                    <a:pt x="2660010" y="100964"/>
                    <a:pt x="2656200" y="104139"/>
                    <a:pt x="2654930" y="104774"/>
                  </a:cubicBezTo>
                  <a:cubicBezTo>
                    <a:pt x="2653660" y="105409"/>
                    <a:pt x="2652390" y="106679"/>
                    <a:pt x="2651120" y="107314"/>
                  </a:cubicBezTo>
                  <a:cubicBezTo>
                    <a:pt x="2649850" y="107949"/>
                    <a:pt x="2647945" y="108584"/>
                    <a:pt x="2646040" y="109219"/>
                  </a:cubicBezTo>
                  <a:cubicBezTo>
                    <a:pt x="2644135" y="109219"/>
                    <a:pt x="2641595" y="109854"/>
                    <a:pt x="2639055" y="109854"/>
                  </a:cubicBezTo>
                  <a:cubicBezTo>
                    <a:pt x="2635880" y="109854"/>
                    <a:pt x="2632705" y="109854"/>
                    <a:pt x="2629530" y="108584"/>
                  </a:cubicBezTo>
                  <a:cubicBezTo>
                    <a:pt x="2626355" y="107949"/>
                    <a:pt x="2623180" y="106044"/>
                    <a:pt x="2620640" y="104139"/>
                  </a:cubicBezTo>
                  <a:cubicBezTo>
                    <a:pt x="2618100" y="102234"/>
                    <a:pt x="2616195" y="99059"/>
                    <a:pt x="2614290" y="95884"/>
                  </a:cubicBezTo>
                  <a:cubicBezTo>
                    <a:pt x="2612385" y="92709"/>
                    <a:pt x="2611750" y="88264"/>
                    <a:pt x="2611750" y="83819"/>
                  </a:cubicBezTo>
                  <a:cubicBezTo>
                    <a:pt x="2611750" y="79374"/>
                    <a:pt x="2612385" y="75564"/>
                    <a:pt x="2614290" y="72389"/>
                  </a:cubicBezTo>
                  <a:cubicBezTo>
                    <a:pt x="2615560" y="69214"/>
                    <a:pt x="2618100" y="66674"/>
                    <a:pt x="2620640" y="64769"/>
                  </a:cubicBezTo>
                  <a:cubicBezTo>
                    <a:pt x="2623180" y="62864"/>
                    <a:pt x="2626990" y="60959"/>
                    <a:pt x="2630800" y="60324"/>
                  </a:cubicBezTo>
                  <a:cubicBezTo>
                    <a:pt x="2634610" y="59054"/>
                    <a:pt x="2638420" y="59054"/>
                    <a:pt x="2642865" y="59054"/>
                  </a:cubicBezTo>
                  <a:cubicBezTo>
                    <a:pt x="2646675" y="59054"/>
                    <a:pt x="2650485" y="59054"/>
                    <a:pt x="2653025" y="59689"/>
                  </a:cubicBezTo>
                  <a:cubicBezTo>
                    <a:pt x="2655565" y="59689"/>
                    <a:pt x="2658105" y="60959"/>
                    <a:pt x="2660010" y="61594"/>
                  </a:cubicBezTo>
                  <a:lnTo>
                    <a:pt x="2660010" y="55879"/>
                  </a:lnTo>
                  <a:cubicBezTo>
                    <a:pt x="2660010" y="51434"/>
                    <a:pt x="2658740" y="48259"/>
                    <a:pt x="2656200" y="46354"/>
                  </a:cubicBezTo>
                  <a:cubicBezTo>
                    <a:pt x="2653660" y="43814"/>
                    <a:pt x="2649850" y="43179"/>
                    <a:pt x="2645405" y="43179"/>
                  </a:cubicBezTo>
                  <a:cubicBezTo>
                    <a:pt x="2641595" y="43179"/>
                    <a:pt x="2637785" y="43179"/>
                    <a:pt x="2634610" y="44449"/>
                  </a:cubicBezTo>
                  <a:cubicBezTo>
                    <a:pt x="2631435" y="45084"/>
                    <a:pt x="2628260" y="46354"/>
                    <a:pt x="2625085" y="48259"/>
                  </a:cubicBezTo>
                  <a:lnTo>
                    <a:pt x="2619370" y="36829"/>
                  </a:lnTo>
                  <a:cubicBezTo>
                    <a:pt x="2623180" y="34289"/>
                    <a:pt x="2626990" y="33019"/>
                    <a:pt x="2631435" y="31749"/>
                  </a:cubicBezTo>
                  <a:cubicBezTo>
                    <a:pt x="2635880" y="30479"/>
                    <a:pt x="2640325" y="29844"/>
                    <a:pt x="2646040" y="29844"/>
                  </a:cubicBezTo>
                  <a:close/>
                  <a:moveTo>
                    <a:pt x="1114426" y="29844"/>
                  </a:moveTo>
                  <a:lnTo>
                    <a:pt x="1129666" y="29844"/>
                  </a:lnTo>
                  <a:lnTo>
                    <a:pt x="1129666" y="107949"/>
                  </a:lnTo>
                  <a:lnTo>
                    <a:pt x="1114426" y="107949"/>
                  </a:lnTo>
                  <a:lnTo>
                    <a:pt x="1114426" y="100964"/>
                  </a:lnTo>
                  <a:cubicBezTo>
                    <a:pt x="1114426" y="100964"/>
                    <a:pt x="1109981" y="106044"/>
                    <a:pt x="1106171" y="107314"/>
                  </a:cubicBezTo>
                  <a:cubicBezTo>
                    <a:pt x="1102996" y="109219"/>
                    <a:pt x="1098551" y="109854"/>
                    <a:pt x="1094741" y="109854"/>
                  </a:cubicBezTo>
                  <a:cubicBezTo>
                    <a:pt x="1085851" y="109854"/>
                    <a:pt x="1078866" y="106679"/>
                    <a:pt x="1073786" y="100964"/>
                  </a:cubicBezTo>
                  <a:cubicBezTo>
                    <a:pt x="1069341" y="95249"/>
                    <a:pt x="1066800" y="86359"/>
                    <a:pt x="1066800" y="74929"/>
                  </a:cubicBezTo>
                  <a:lnTo>
                    <a:pt x="1066800" y="30479"/>
                  </a:lnTo>
                  <a:lnTo>
                    <a:pt x="1082040" y="30479"/>
                  </a:lnTo>
                  <a:lnTo>
                    <a:pt x="1082040" y="74294"/>
                  </a:lnTo>
                  <a:cubicBezTo>
                    <a:pt x="1082040" y="81279"/>
                    <a:pt x="1083311" y="86994"/>
                    <a:pt x="1085851" y="90169"/>
                  </a:cubicBezTo>
                  <a:cubicBezTo>
                    <a:pt x="1088390" y="93979"/>
                    <a:pt x="1092201" y="95249"/>
                    <a:pt x="1097916" y="95249"/>
                  </a:cubicBezTo>
                  <a:cubicBezTo>
                    <a:pt x="1102996" y="95249"/>
                    <a:pt x="1106806" y="93344"/>
                    <a:pt x="1109981" y="90169"/>
                  </a:cubicBezTo>
                  <a:cubicBezTo>
                    <a:pt x="1112521" y="86994"/>
                    <a:pt x="1114426" y="81914"/>
                    <a:pt x="1114426" y="75564"/>
                  </a:cubicBezTo>
                  <a:close/>
                  <a:moveTo>
                    <a:pt x="1011556" y="29844"/>
                  </a:moveTo>
                  <a:cubicBezTo>
                    <a:pt x="1013461" y="29844"/>
                    <a:pt x="1015367" y="29844"/>
                    <a:pt x="1017272" y="30479"/>
                  </a:cubicBezTo>
                  <a:cubicBezTo>
                    <a:pt x="1019176" y="30479"/>
                    <a:pt x="1021081" y="31749"/>
                    <a:pt x="1022352" y="32384"/>
                  </a:cubicBezTo>
                  <a:cubicBezTo>
                    <a:pt x="1024257" y="33019"/>
                    <a:pt x="1025526" y="34289"/>
                    <a:pt x="1026797" y="35559"/>
                  </a:cubicBezTo>
                  <a:cubicBezTo>
                    <a:pt x="1028067" y="36829"/>
                    <a:pt x="1029336" y="37464"/>
                    <a:pt x="1030607" y="38734"/>
                  </a:cubicBezTo>
                  <a:lnTo>
                    <a:pt x="1030607" y="31749"/>
                  </a:lnTo>
                  <a:lnTo>
                    <a:pt x="1045847" y="31749"/>
                  </a:lnTo>
                  <a:lnTo>
                    <a:pt x="1045847" y="130809"/>
                  </a:lnTo>
                  <a:lnTo>
                    <a:pt x="1032512" y="137477"/>
                  </a:lnTo>
                  <a:lnTo>
                    <a:pt x="1032512" y="101599"/>
                  </a:lnTo>
                  <a:cubicBezTo>
                    <a:pt x="1032512" y="101599"/>
                    <a:pt x="1026797" y="106679"/>
                    <a:pt x="1022986" y="107949"/>
                  </a:cubicBezTo>
                  <a:cubicBezTo>
                    <a:pt x="1019812" y="109854"/>
                    <a:pt x="1016001" y="110489"/>
                    <a:pt x="1011556" y="110489"/>
                  </a:cubicBezTo>
                  <a:cubicBezTo>
                    <a:pt x="1007111" y="110489"/>
                    <a:pt x="1003301" y="109854"/>
                    <a:pt x="999491" y="107949"/>
                  </a:cubicBezTo>
                  <a:cubicBezTo>
                    <a:pt x="995681" y="106679"/>
                    <a:pt x="992506" y="104139"/>
                    <a:pt x="989966" y="100329"/>
                  </a:cubicBezTo>
                  <a:cubicBezTo>
                    <a:pt x="987426" y="97154"/>
                    <a:pt x="984886" y="92709"/>
                    <a:pt x="983616" y="87629"/>
                  </a:cubicBezTo>
                  <a:cubicBezTo>
                    <a:pt x="982346" y="82549"/>
                    <a:pt x="981076" y="76199"/>
                    <a:pt x="981076" y="68579"/>
                  </a:cubicBezTo>
                  <a:cubicBezTo>
                    <a:pt x="981076" y="61594"/>
                    <a:pt x="981711" y="55879"/>
                    <a:pt x="983616" y="51434"/>
                  </a:cubicBezTo>
                  <a:cubicBezTo>
                    <a:pt x="985521" y="46354"/>
                    <a:pt x="987426" y="42544"/>
                    <a:pt x="990601" y="39369"/>
                  </a:cubicBezTo>
                  <a:cubicBezTo>
                    <a:pt x="993142" y="36194"/>
                    <a:pt x="996951" y="33654"/>
                    <a:pt x="1000126" y="32384"/>
                  </a:cubicBezTo>
                  <a:cubicBezTo>
                    <a:pt x="1003937" y="31114"/>
                    <a:pt x="1007746" y="29844"/>
                    <a:pt x="1011556" y="29844"/>
                  </a:cubicBezTo>
                  <a:close/>
                  <a:moveTo>
                    <a:pt x="4871716" y="29210"/>
                  </a:moveTo>
                  <a:cubicBezTo>
                    <a:pt x="4876796" y="29210"/>
                    <a:pt x="4881241" y="29845"/>
                    <a:pt x="4885686" y="31750"/>
                  </a:cubicBezTo>
                  <a:cubicBezTo>
                    <a:pt x="4890131" y="33655"/>
                    <a:pt x="4894576" y="35560"/>
                    <a:pt x="4897751" y="38100"/>
                  </a:cubicBezTo>
                  <a:lnTo>
                    <a:pt x="4899021" y="38100"/>
                  </a:lnTo>
                  <a:lnTo>
                    <a:pt x="4892036" y="50165"/>
                  </a:lnTo>
                  <a:cubicBezTo>
                    <a:pt x="4888861" y="47625"/>
                    <a:pt x="4885686" y="46355"/>
                    <a:pt x="4882511" y="45085"/>
                  </a:cubicBezTo>
                  <a:cubicBezTo>
                    <a:pt x="4879336" y="43815"/>
                    <a:pt x="4875526" y="43180"/>
                    <a:pt x="4872351" y="43180"/>
                  </a:cubicBezTo>
                  <a:cubicBezTo>
                    <a:pt x="4869176" y="43180"/>
                    <a:pt x="4866001" y="43815"/>
                    <a:pt x="4864096" y="45085"/>
                  </a:cubicBezTo>
                  <a:cubicBezTo>
                    <a:pt x="4862191" y="46355"/>
                    <a:pt x="4861556" y="48260"/>
                    <a:pt x="4861556" y="50165"/>
                  </a:cubicBezTo>
                  <a:cubicBezTo>
                    <a:pt x="4861556" y="51435"/>
                    <a:pt x="4861556" y="52070"/>
                    <a:pt x="4861556" y="52705"/>
                  </a:cubicBezTo>
                  <a:cubicBezTo>
                    <a:pt x="4861556" y="53340"/>
                    <a:pt x="4862826" y="54610"/>
                    <a:pt x="4863461" y="55245"/>
                  </a:cubicBezTo>
                  <a:cubicBezTo>
                    <a:pt x="4864731" y="55880"/>
                    <a:pt x="4866001" y="57150"/>
                    <a:pt x="4867906" y="57785"/>
                  </a:cubicBezTo>
                  <a:cubicBezTo>
                    <a:pt x="4869811" y="59055"/>
                    <a:pt x="4872351" y="59690"/>
                    <a:pt x="4874891" y="60960"/>
                  </a:cubicBezTo>
                  <a:cubicBezTo>
                    <a:pt x="4879336" y="62865"/>
                    <a:pt x="4883146" y="64135"/>
                    <a:pt x="4886321" y="66040"/>
                  </a:cubicBezTo>
                  <a:cubicBezTo>
                    <a:pt x="4889496" y="67310"/>
                    <a:pt x="4892036" y="69215"/>
                    <a:pt x="4894576" y="71120"/>
                  </a:cubicBezTo>
                  <a:cubicBezTo>
                    <a:pt x="4896481" y="73025"/>
                    <a:pt x="4898386" y="75565"/>
                    <a:pt x="4899656" y="78105"/>
                  </a:cubicBezTo>
                  <a:cubicBezTo>
                    <a:pt x="4900926" y="80645"/>
                    <a:pt x="4901561" y="83820"/>
                    <a:pt x="4901561" y="87630"/>
                  </a:cubicBezTo>
                  <a:cubicBezTo>
                    <a:pt x="4901561" y="92075"/>
                    <a:pt x="4900926" y="95250"/>
                    <a:pt x="4899021" y="98425"/>
                  </a:cubicBezTo>
                  <a:cubicBezTo>
                    <a:pt x="4897116" y="101600"/>
                    <a:pt x="4895211" y="103505"/>
                    <a:pt x="4892671" y="105410"/>
                  </a:cubicBezTo>
                  <a:cubicBezTo>
                    <a:pt x="4890131" y="107315"/>
                    <a:pt x="4886956" y="108585"/>
                    <a:pt x="4883146" y="109220"/>
                  </a:cubicBezTo>
                  <a:cubicBezTo>
                    <a:pt x="4879336" y="109855"/>
                    <a:pt x="4876161" y="110490"/>
                    <a:pt x="4872351" y="110490"/>
                  </a:cubicBezTo>
                  <a:cubicBezTo>
                    <a:pt x="4867271" y="110490"/>
                    <a:pt x="4862191" y="109855"/>
                    <a:pt x="4857111" y="107950"/>
                  </a:cubicBezTo>
                  <a:cubicBezTo>
                    <a:pt x="4851396" y="106045"/>
                    <a:pt x="4846951" y="103505"/>
                    <a:pt x="4842506" y="100965"/>
                  </a:cubicBezTo>
                  <a:lnTo>
                    <a:pt x="4849491" y="89535"/>
                  </a:lnTo>
                  <a:cubicBezTo>
                    <a:pt x="4853301" y="92075"/>
                    <a:pt x="4857111" y="93980"/>
                    <a:pt x="4860921" y="95250"/>
                  </a:cubicBezTo>
                  <a:cubicBezTo>
                    <a:pt x="4864731" y="96520"/>
                    <a:pt x="4868541" y="97155"/>
                    <a:pt x="4872351" y="97155"/>
                  </a:cubicBezTo>
                  <a:cubicBezTo>
                    <a:pt x="4877431" y="97155"/>
                    <a:pt x="4880606" y="96520"/>
                    <a:pt x="4883146" y="94615"/>
                  </a:cubicBezTo>
                  <a:cubicBezTo>
                    <a:pt x="4885686" y="93345"/>
                    <a:pt x="4886321" y="90805"/>
                    <a:pt x="4886321" y="88265"/>
                  </a:cubicBezTo>
                  <a:cubicBezTo>
                    <a:pt x="4886321" y="86995"/>
                    <a:pt x="4886321" y="85725"/>
                    <a:pt x="4885051" y="84455"/>
                  </a:cubicBezTo>
                  <a:cubicBezTo>
                    <a:pt x="4884416" y="83185"/>
                    <a:pt x="4883146" y="82550"/>
                    <a:pt x="4881241" y="81280"/>
                  </a:cubicBezTo>
                  <a:cubicBezTo>
                    <a:pt x="4879971" y="80010"/>
                    <a:pt x="4878066" y="79375"/>
                    <a:pt x="4875526" y="78105"/>
                  </a:cubicBezTo>
                  <a:cubicBezTo>
                    <a:pt x="4872986" y="77470"/>
                    <a:pt x="4871081" y="76200"/>
                    <a:pt x="4867906" y="74930"/>
                  </a:cubicBezTo>
                  <a:cubicBezTo>
                    <a:pt x="4863461" y="73025"/>
                    <a:pt x="4860286" y="71755"/>
                    <a:pt x="4857111" y="69850"/>
                  </a:cubicBezTo>
                  <a:cubicBezTo>
                    <a:pt x="4853936" y="67945"/>
                    <a:pt x="4852031" y="66675"/>
                    <a:pt x="4850126" y="64770"/>
                  </a:cubicBezTo>
                  <a:cubicBezTo>
                    <a:pt x="4848221" y="62865"/>
                    <a:pt x="4846951" y="60960"/>
                    <a:pt x="4846316" y="58420"/>
                  </a:cubicBezTo>
                  <a:cubicBezTo>
                    <a:pt x="4845681" y="55880"/>
                    <a:pt x="4845046" y="53340"/>
                    <a:pt x="4845046" y="50165"/>
                  </a:cubicBezTo>
                  <a:cubicBezTo>
                    <a:pt x="4845046" y="46990"/>
                    <a:pt x="4845681" y="43815"/>
                    <a:pt x="4846951" y="40640"/>
                  </a:cubicBezTo>
                  <a:cubicBezTo>
                    <a:pt x="4848221" y="38100"/>
                    <a:pt x="4850126" y="35560"/>
                    <a:pt x="4852666" y="34290"/>
                  </a:cubicBezTo>
                  <a:cubicBezTo>
                    <a:pt x="4855206" y="32385"/>
                    <a:pt x="4857746" y="31115"/>
                    <a:pt x="4860921" y="30480"/>
                  </a:cubicBezTo>
                  <a:cubicBezTo>
                    <a:pt x="4864096" y="29845"/>
                    <a:pt x="4867906" y="29210"/>
                    <a:pt x="4871716" y="29210"/>
                  </a:cubicBezTo>
                  <a:close/>
                  <a:moveTo>
                    <a:pt x="4749796" y="29210"/>
                  </a:moveTo>
                  <a:cubicBezTo>
                    <a:pt x="4752971" y="29210"/>
                    <a:pt x="4755511" y="29210"/>
                    <a:pt x="4757416" y="29845"/>
                  </a:cubicBezTo>
                  <a:cubicBezTo>
                    <a:pt x="4759321" y="30480"/>
                    <a:pt x="4761226" y="31115"/>
                    <a:pt x="4763131" y="32385"/>
                  </a:cubicBezTo>
                  <a:lnTo>
                    <a:pt x="4759321" y="46990"/>
                  </a:lnTo>
                  <a:lnTo>
                    <a:pt x="4758051" y="46990"/>
                  </a:lnTo>
                  <a:cubicBezTo>
                    <a:pt x="4758051" y="46990"/>
                    <a:pt x="4754876" y="45085"/>
                    <a:pt x="4752971" y="45085"/>
                  </a:cubicBezTo>
                  <a:cubicBezTo>
                    <a:pt x="4751066" y="45085"/>
                    <a:pt x="4749161" y="44450"/>
                    <a:pt x="4746621" y="44450"/>
                  </a:cubicBezTo>
                  <a:cubicBezTo>
                    <a:pt x="4741541" y="44450"/>
                    <a:pt x="4737731" y="46355"/>
                    <a:pt x="4735191" y="49530"/>
                  </a:cubicBezTo>
                  <a:cubicBezTo>
                    <a:pt x="4732651" y="52705"/>
                    <a:pt x="4731381" y="57785"/>
                    <a:pt x="4731381" y="64770"/>
                  </a:cubicBezTo>
                  <a:lnTo>
                    <a:pt x="4731381" y="109220"/>
                  </a:lnTo>
                  <a:lnTo>
                    <a:pt x="4716141" y="109220"/>
                  </a:lnTo>
                  <a:lnTo>
                    <a:pt x="4716141" y="31115"/>
                  </a:lnTo>
                  <a:lnTo>
                    <a:pt x="4731381" y="31115"/>
                  </a:lnTo>
                  <a:lnTo>
                    <a:pt x="4731381" y="38735"/>
                  </a:lnTo>
                  <a:cubicBezTo>
                    <a:pt x="4731381" y="38735"/>
                    <a:pt x="4733286" y="36195"/>
                    <a:pt x="4734556" y="34925"/>
                  </a:cubicBezTo>
                  <a:cubicBezTo>
                    <a:pt x="4735826" y="33655"/>
                    <a:pt x="4737096" y="33020"/>
                    <a:pt x="4739001" y="31750"/>
                  </a:cubicBezTo>
                  <a:cubicBezTo>
                    <a:pt x="4740271" y="31115"/>
                    <a:pt x="4742176" y="30480"/>
                    <a:pt x="4744081" y="29845"/>
                  </a:cubicBezTo>
                  <a:cubicBezTo>
                    <a:pt x="4745986" y="29845"/>
                    <a:pt x="4747891" y="29210"/>
                    <a:pt x="4749796" y="29210"/>
                  </a:cubicBezTo>
                  <a:close/>
                  <a:moveTo>
                    <a:pt x="4349110" y="29210"/>
                  </a:moveTo>
                  <a:cubicBezTo>
                    <a:pt x="4352285" y="29210"/>
                    <a:pt x="4354825" y="29210"/>
                    <a:pt x="4356730" y="29845"/>
                  </a:cubicBezTo>
                  <a:cubicBezTo>
                    <a:pt x="4358635" y="29845"/>
                    <a:pt x="4360540" y="31115"/>
                    <a:pt x="4362445" y="32385"/>
                  </a:cubicBezTo>
                  <a:lnTo>
                    <a:pt x="4358635" y="46990"/>
                  </a:lnTo>
                  <a:lnTo>
                    <a:pt x="4357365" y="46990"/>
                  </a:lnTo>
                  <a:cubicBezTo>
                    <a:pt x="4357365" y="46990"/>
                    <a:pt x="4354190" y="45085"/>
                    <a:pt x="4352285" y="45085"/>
                  </a:cubicBezTo>
                  <a:cubicBezTo>
                    <a:pt x="4350380" y="45085"/>
                    <a:pt x="4348475" y="44450"/>
                    <a:pt x="4345935" y="44450"/>
                  </a:cubicBezTo>
                  <a:cubicBezTo>
                    <a:pt x="4340855" y="44450"/>
                    <a:pt x="4337045" y="46355"/>
                    <a:pt x="4334505" y="49530"/>
                  </a:cubicBezTo>
                  <a:cubicBezTo>
                    <a:pt x="4331965" y="52705"/>
                    <a:pt x="4330695" y="57785"/>
                    <a:pt x="4330695" y="64770"/>
                  </a:cubicBezTo>
                  <a:lnTo>
                    <a:pt x="4330695" y="109220"/>
                  </a:lnTo>
                  <a:lnTo>
                    <a:pt x="4315455" y="109220"/>
                  </a:lnTo>
                  <a:lnTo>
                    <a:pt x="4315455" y="31115"/>
                  </a:lnTo>
                  <a:lnTo>
                    <a:pt x="4330695" y="31115"/>
                  </a:lnTo>
                  <a:lnTo>
                    <a:pt x="4330695" y="38735"/>
                  </a:lnTo>
                  <a:cubicBezTo>
                    <a:pt x="4330695" y="38735"/>
                    <a:pt x="4332600" y="36195"/>
                    <a:pt x="4333870" y="34925"/>
                  </a:cubicBezTo>
                  <a:cubicBezTo>
                    <a:pt x="4335140" y="33655"/>
                    <a:pt x="4336410" y="33020"/>
                    <a:pt x="4338315" y="31750"/>
                  </a:cubicBezTo>
                  <a:cubicBezTo>
                    <a:pt x="4339585" y="31115"/>
                    <a:pt x="4341490" y="30480"/>
                    <a:pt x="4343395" y="29845"/>
                  </a:cubicBezTo>
                  <a:cubicBezTo>
                    <a:pt x="4345300" y="29845"/>
                    <a:pt x="4347205" y="29210"/>
                    <a:pt x="4349110" y="29210"/>
                  </a:cubicBezTo>
                  <a:close/>
                  <a:moveTo>
                    <a:pt x="4044310" y="29210"/>
                  </a:moveTo>
                  <a:cubicBezTo>
                    <a:pt x="4050025" y="29210"/>
                    <a:pt x="4054470" y="30480"/>
                    <a:pt x="4058915" y="32385"/>
                  </a:cubicBezTo>
                  <a:cubicBezTo>
                    <a:pt x="4062725" y="34290"/>
                    <a:pt x="4066535" y="37465"/>
                    <a:pt x="4069075" y="40640"/>
                  </a:cubicBezTo>
                  <a:cubicBezTo>
                    <a:pt x="4071615" y="44450"/>
                    <a:pt x="4073520" y="48260"/>
                    <a:pt x="4075425" y="53340"/>
                  </a:cubicBezTo>
                  <a:cubicBezTo>
                    <a:pt x="4076695" y="57785"/>
                    <a:pt x="4077330" y="62865"/>
                    <a:pt x="4077330" y="68580"/>
                  </a:cubicBezTo>
                  <a:lnTo>
                    <a:pt x="4076060" y="68580"/>
                  </a:lnTo>
                  <a:cubicBezTo>
                    <a:pt x="4076060" y="68580"/>
                    <a:pt x="4076060" y="71120"/>
                    <a:pt x="4076060" y="72390"/>
                  </a:cubicBezTo>
                  <a:cubicBezTo>
                    <a:pt x="4076060" y="73660"/>
                    <a:pt x="4076060" y="74295"/>
                    <a:pt x="4076060" y="75565"/>
                  </a:cubicBezTo>
                  <a:lnTo>
                    <a:pt x="4024625" y="75565"/>
                  </a:lnTo>
                  <a:cubicBezTo>
                    <a:pt x="4024625" y="79375"/>
                    <a:pt x="4025895" y="82550"/>
                    <a:pt x="4027165" y="85090"/>
                  </a:cubicBezTo>
                  <a:cubicBezTo>
                    <a:pt x="4028435" y="87630"/>
                    <a:pt x="4029705" y="90170"/>
                    <a:pt x="4031610" y="91440"/>
                  </a:cubicBezTo>
                  <a:cubicBezTo>
                    <a:pt x="4033515" y="93345"/>
                    <a:pt x="4035420" y="94615"/>
                    <a:pt x="4037325" y="95250"/>
                  </a:cubicBezTo>
                  <a:cubicBezTo>
                    <a:pt x="4039230" y="95885"/>
                    <a:pt x="4041770" y="96520"/>
                    <a:pt x="4044310" y="96520"/>
                  </a:cubicBezTo>
                  <a:cubicBezTo>
                    <a:pt x="4046215" y="96520"/>
                    <a:pt x="4047485" y="96520"/>
                    <a:pt x="4049390" y="96520"/>
                  </a:cubicBezTo>
                  <a:cubicBezTo>
                    <a:pt x="4050660" y="96520"/>
                    <a:pt x="4052565" y="95885"/>
                    <a:pt x="4053835" y="95250"/>
                  </a:cubicBezTo>
                  <a:cubicBezTo>
                    <a:pt x="4055105" y="95250"/>
                    <a:pt x="4056375" y="93980"/>
                    <a:pt x="4057645" y="93345"/>
                  </a:cubicBezTo>
                  <a:cubicBezTo>
                    <a:pt x="4058915" y="93345"/>
                    <a:pt x="4060185" y="92075"/>
                    <a:pt x="4062090" y="90805"/>
                  </a:cubicBezTo>
                  <a:lnTo>
                    <a:pt x="4070980" y="100330"/>
                  </a:lnTo>
                  <a:cubicBezTo>
                    <a:pt x="4070980" y="100330"/>
                    <a:pt x="4067170" y="103505"/>
                    <a:pt x="4065265" y="104775"/>
                  </a:cubicBezTo>
                  <a:cubicBezTo>
                    <a:pt x="4063360" y="106045"/>
                    <a:pt x="4061455" y="106680"/>
                    <a:pt x="4059550" y="107950"/>
                  </a:cubicBezTo>
                  <a:cubicBezTo>
                    <a:pt x="4057645" y="108585"/>
                    <a:pt x="4055105" y="109855"/>
                    <a:pt x="4052565" y="109855"/>
                  </a:cubicBezTo>
                  <a:cubicBezTo>
                    <a:pt x="4050025" y="109855"/>
                    <a:pt x="4046850" y="110490"/>
                    <a:pt x="4043675" y="110490"/>
                  </a:cubicBezTo>
                  <a:cubicBezTo>
                    <a:pt x="4040500" y="110490"/>
                    <a:pt x="4037325" y="110490"/>
                    <a:pt x="4034150" y="109220"/>
                  </a:cubicBezTo>
                  <a:cubicBezTo>
                    <a:pt x="4030975" y="108585"/>
                    <a:pt x="4028435" y="107315"/>
                    <a:pt x="4026530" y="105410"/>
                  </a:cubicBezTo>
                  <a:cubicBezTo>
                    <a:pt x="4023990" y="104140"/>
                    <a:pt x="4022085" y="102235"/>
                    <a:pt x="4020180" y="100330"/>
                  </a:cubicBezTo>
                  <a:cubicBezTo>
                    <a:pt x="4018275" y="98425"/>
                    <a:pt x="4016370" y="95885"/>
                    <a:pt x="4015100" y="92710"/>
                  </a:cubicBezTo>
                  <a:cubicBezTo>
                    <a:pt x="4013195" y="89535"/>
                    <a:pt x="4011925" y="86360"/>
                    <a:pt x="4011290" y="82550"/>
                  </a:cubicBezTo>
                  <a:cubicBezTo>
                    <a:pt x="4010655" y="78740"/>
                    <a:pt x="4010020" y="74295"/>
                    <a:pt x="4010020" y="69850"/>
                  </a:cubicBezTo>
                  <a:cubicBezTo>
                    <a:pt x="4010020" y="63500"/>
                    <a:pt x="4010655" y="57150"/>
                    <a:pt x="4012560" y="52070"/>
                  </a:cubicBezTo>
                  <a:cubicBezTo>
                    <a:pt x="4014465" y="46990"/>
                    <a:pt x="4016370" y="42545"/>
                    <a:pt x="4019545" y="39370"/>
                  </a:cubicBezTo>
                  <a:cubicBezTo>
                    <a:pt x="4022720" y="36195"/>
                    <a:pt x="4025895" y="33020"/>
                    <a:pt x="4030340" y="31750"/>
                  </a:cubicBezTo>
                  <a:cubicBezTo>
                    <a:pt x="4034785" y="29845"/>
                    <a:pt x="4039230" y="29210"/>
                    <a:pt x="4044310" y="29210"/>
                  </a:cubicBezTo>
                  <a:close/>
                  <a:moveTo>
                    <a:pt x="3811900" y="29210"/>
                  </a:moveTo>
                  <a:cubicBezTo>
                    <a:pt x="3815075" y="29210"/>
                    <a:pt x="3817615" y="29210"/>
                    <a:pt x="3819520" y="29845"/>
                  </a:cubicBezTo>
                  <a:cubicBezTo>
                    <a:pt x="3821425" y="29845"/>
                    <a:pt x="3823330" y="31115"/>
                    <a:pt x="3825235" y="32385"/>
                  </a:cubicBezTo>
                  <a:lnTo>
                    <a:pt x="3821425" y="46990"/>
                  </a:lnTo>
                  <a:lnTo>
                    <a:pt x="3820155" y="46990"/>
                  </a:lnTo>
                  <a:cubicBezTo>
                    <a:pt x="3820155" y="46990"/>
                    <a:pt x="3816980" y="45085"/>
                    <a:pt x="3815075" y="45085"/>
                  </a:cubicBezTo>
                  <a:cubicBezTo>
                    <a:pt x="3813170" y="45085"/>
                    <a:pt x="3811265" y="44450"/>
                    <a:pt x="3808725" y="44450"/>
                  </a:cubicBezTo>
                  <a:cubicBezTo>
                    <a:pt x="3803645" y="44450"/>
                    <a:pt x="3799835" y="46355"/>
                    <a:pt x="3797295" y="49530"/>
                  </a:cubicBezTo>
                  <a:cubicBezTo>
                    <a:pt x="3794755" y="52705"/>
                    <a:pt x="3793485" y="57785"/>
                    <a:pt x="3793485" y="64770"/>
                  </a:cubicBezTo>
                  <a:lnTo>
                    <a:pt x="3793485" y="109220"/>
                  </a:lnTo>
                  <a:lnTo>
                    <a:pt x="3778245" y="109220"/>
                  </a:lnTo>
                  <a:lnTo>
                    <a:pt x="3778245" y="31115"/>
                  </a:lnTo>
                  <a:lnTo>
                    <a:pt x="3793485" y="31115"/>
                  </a:lnTo>
                  <a:lnTo>
                    <a:pt x="3793485" y="38735"/>
                  </a:lnTo>
                  <a:cubicBezTo>
                    <a:pt x="3793485" y="38735"/>
                    <a:pt x="3795390" y="36195"/>
                    <a:pt x="3796660" y="34925"/>
                  </a:cubicBezTo>
                  <a:cubicBezTo>
                    <a:pt x="3797930" y="33655"/>
                    <a:pt x="3799200" y="33020"/>
                    <a:pt x="3801105" y="31750"/>
                  </a:cubicBezTo>
                  <a:cubicBezTo>
                    <a:pt x="3802375" y="31115"/>
                    <a:pt x="3804280" y="30480"/>
                    <a:pt x="3806185" y="29845"/>
                  </a:cubicBezTo>
                  <a:cubicBezTo>
                    <a:pt x="3808090" y="29845"/>
                    <a:pt x="3809995" y="29210"/>
                    <a:pt x="3811900" y="29210"/>
                  </a:cubicBezTo>
                  <a:close/>
                  <a:moveTo>
                    <a:pt x="3729986" y="29210"/>
                  </a:moveTo>
                  <a:cubicBezTo>
                    <a:pt x="3735701" y="29210"/>
                    <a:pt x="3740146" y="30480"/>
                    <a:pt x="3744591" y="32385"/>
                  </a:cubicBezTo>
                  <a:cubicBezTo>
                    <a:pt x="3748401" y="34290"/>
                    <a:pt x="3752211" y="37465"/>
                    <a:pt x="3754751" y="40640"/>
                  </a:cubicBezTo>
                  <a:cubicBezTo>
                    <a:pt x="3757291" y="44450"/>
                    <a:pt x="3759196" y="48260"/>
                    <a:pt x="3761101" y="53340"/>
                  </a:cubicBezTo>
                  <a:cubicBezTo>
                    <a:pt x="3762371" y="57785"/>
                    <a:pt x="3763006" y="62865"/>
                    <a:pt x="3763006" y="68580"/>
                  </a:cubicBezTo>
                  <a:lnTo>
                    <a:pt x="3761736" y="68580"/>
                  </a:lnTo>
                  <a:cubicBezTo>
                    <a:pt x="3761736" y="68580"/>
                    <a:pt x="3761736" y="71120"/>
                    <a:pt x="3761736" y="72390"/>
                  </a:cubicBezTo>
                  <a:cubicBezTo>
                    <a:pt x="3761736" y="73660"/>
                    <a:pt x="3761736" y="74295"/>
                    <a:pt x="3761736" y="75565"/>
                  </a:cubicBezTo>
                  <a:lnTo>
                    <a:pt x="3710301" y="75565"/>
                  </a:lnTo>
                  <a:cubicBezTo>
                    <a:pt x="3710301" y="79375"/>
                    <a:pt x="3711571" y="82550"/>
                    <a:pt x="3712841" y="85090"/>
                  </a:cubicBezTo>
                  <a:cubicBezTo>
                    <a:pt x="3714111" y="87630"/>
                    <a:pt x="3715381" y="90170"/>
                    <a:pt x="3717286" y="91440"/>
                  </a:cubicBezTo>
                  <a:cubicBezTo>
                    <a:pt x="3719191" y="93345"/>
                    <a:pt x="3721096" y="94615"/>
                    <a:pt x="3723001" y="95250"/>
                  </a:cubicBezTo>
                  <a:cubicBezTo>
                    <a:pt x="3724906" y="95885"/>
                    <a:pt x="3727446" y="96520"/>
                    <a:pt x="3729986" y="96520"/>
                  </a:cubicBezTo>
                  <a:cubicBezTo>
                    <a:pt x="3731891" y="96520"/>
                    <a:pt x="3733161" y="96520"/>
                    <a:pt x="3735066" y="96520"/>
                  </a:cubicBezTo>
                  <a:cubicBezTo>
                    <a:pt x="3736336" y="96520"/>
                    <a:pt x="3738241" y="95885"/>
                    <a:pt x="3739511" y="95250"/>
                  </a:cubicBezTo>
                  <a:cubicBezTo>
                    <a:pt x="3740781" y="95250"/>
                    <a:pt x="3742051" y="93980"/>
                    <a:pt x="3743321" y="93345"/>
                  </a:cubicBezTo>
                  <a:cubicBezTo>
                    <a:pt x="3744591" y="93345"/>
                    <a:pt x="3745861" y="92075"/>
                    <a:pt x="3747766" y="90805"/>
                  </a:cubicBezTo>
                  <a:lnTo>
                    <a:pt x="3756656" y="100330"/>
                  </a:lnTo>
                  <a:cubicBezTo>
                    <a:pt x="3756656" y="100330"/>
                    <a:pt x="3752846" y="103505"/>
                    <a:pt x="3750941" y="104775"/>
                  </a:cubicBezTo>
                  <a:cubicBezTo>
                    <a:pt x="3749036" y="106045"/>
                    <a:pt x="3747131" y="106680"/>
                    <a:pt x="3745226" y="107950"/>
                  </a:cubicBezTo>
                  <a:cubicBezTo>
                    <a:pt x="3743321" y="108585"/>
                    <a:pt x="3740781" y="109855"/>
                    <a:pt x="3738241" y="109855"/>
                  </a:cubicBezTo>
                  <a:cubicBezTo>
                    <a:pt x="3735701" y="109855"/>
                    <a:pt x="3732526" y="110490"/>
                    <a:pt x="3729351" y="110490"/>
                  </a:cubicBezTo>
                  <a:cubicBezTo>
                    <a:pt x="3726176" y="110490"/>
                    <a:pt x="3723001" y="110490"/>
                    <a:pt x="3719826" y="109220"/>
                  </a:cubicBezTo>
                  <a:cubicBezTo>
                    <a:pt x="3716651" y="108585"/>
                    <a:pt x="3714111" y="107315"/>
                    <a:pt x="3712206" y="105410"/>
                  </a:cubicBezTo>
                  <a:cubicBezTo>
                    <a:pt x="3709666" y="104140"/>
                    <a:pt x="3707761" y="102235"/>
                    <a:pt x="3705856" y="100330"/>
                  </a:cubicBezTo>
                  <a:cubicBezTo>
                    <a:pt x="3703951" y="98425"/>
                    <a:pt x="3702046" y="95885"/>
                    <a:pt x="3700776" y="92710"/>
                  </a:cubicBezTo>
                  <a:cubicBezTo>
                    <a:pt x="3698871" y="89535"/>
                    <a:pt x="3697601" y="86360"/>
                    <a:pt x="3696966" y="82550"/>
                  </a:cubicBezTo>
                  <a:cubicBezTo>
                    <a:pt x="3696331" y="78740"/>
                    <a:pt x="3695696" y="74295"/>
                    <a:pt x="3695696" y="69850"/>
                  </a:cubicBezTo>
                  <a:cubicBezTo>
                    <a:pt x="3695696" y="63500"/>
                    <a:pt x="3696331" y="57150"/>
                    <a:pt x="3698236" y="52070"/>
                  </a:cubicBezTo>
                  <a:cubicBezTo>
                    <a:pt x="3700141" y="46990"/>
                    <a:pt x="3702046" y="42545"/>
                    <a:pt x="3705221" y="39370"/>
                  </a:cubicBezTo>
                  <a:cubicBezTo>
                    <a:pt x="3708396" y="36195"/>
                    <a:pt x="3711571" y="33020"/>
                    <a:pt x="3716016" y="31750"/>
                  </a:cubicBezTo>
                  <a:cubicBezTo>
                    <a:pt x="3720461" y="29845"/>
                    <a:pt x="3724906" y="29210"/>
                    <a:pt x="3729986" y="29210"/>
                  </a:cubicBezTo>
                  <a:close/>
                  <a:moveTo>
                    <a:pt x="3543296" y="29210"/>
                  </a:moveTo>
                  <a:cubicBezTo>
                    <a:pt x="3549011" y="29210"/>
                    <a:pt x="3553456" y="30480"/>
                    <a:pt x="3557901" y="32385"/>
                  </a:cubicBezTo>
                  <a:cubicBezTo>
                    <a:pt x="3561711" y="34290"/>
                    <a:pt x="3565521" y="37465"/>
                    <a:pt x="3568061" y="40640"/>
                  </a:cubicBezTo>
                  <a:cubicBezTo>
                    <a:pt x="3570601" y="44450"/>
                    <a:pt x="3572506" y="48260"/>
                    <a:pt x="3574411" y="53340"/>
                  </a:cubicBezTo>
                  <a:cubicBezTo>
                    <a:pt x="3575681" y="57785"/>
                    <a:pt x="3576316" y="62865"/>
                    <a:pt x="3576316" y="68580"/>
                  </a:cubicBezTo>
                  <a:lnTo>
                    <a:pt x="3575046" y="68580"/>
                  </a:lnTo>
                  <a:cubicBezTo>
                    <a:pt x="3575046" y="68580"/>
                    <a:pt x="3575046" y="71120"/>
                    <a:pt x="3575046" y="72390"/>
                  </a:cubicBezTo>
                  <a:cubicBezTo>
                    <a:pt x="3575046" y="73660"/>
                    <a:pt x="3575046" y="74295"/>
                    <a:pt x="3575046" y="75565"/>
                  </a:cubicBezTo>
                  <a:lnTo>
                    <a:pt x="3523611" y="75565"/>
                  </a:lnTo>
                  <a:cubicBezTo>
                    <a:pt x="3523611" y="79375"/>
                    <a:pt x="3524881" y="82550"/>
                    <a:pt x="3526151" y="85090"/>
                  </a:cubicBezTo>
                  <a:cubicBezTo>
                    <a:pt x="3527421" y="87630"/>
                    <a:pt x="3528691" y="90170"/>
                    <a:pt x="3530596" y="91440"/>
                  </a:cubicBezTo>
                  <a:cubicBezTo>
                    <a:pt x="3532501" y="93345"/>
                    <a:pt x="3534406" y="94615"/>
                    <a:pt x="3536311" y="95250"/>
                  </a:cubicBezTo>
                  <a:cubicBezTo>
                    <a:pt x="3538216" y="95885"/>
                    <a:pt x="3540756" y="96520"/>
                    <a:pt x="3543296" y="96520"/>
                  </a:cubicBezTo>
                  <a:cubicBezTo>
                    <a:pt x="3545201" y="96520"/>
                    <a:pt x="3546471" y="96520"/>
                    <a:pt x="3548376" y="96520"/>
                  </a:cubicBezTo>
                  <a:cubicBezTo>
                    <a:pt x="3549646" y="96520"/>
                    <a:pt x="3551551" y="95885"/>
                    <a:pt x="3552821" y="95250"/>
                  </a:cubicBezTo>
                  <a:cubicBezTo>
                    <a:pt x="3554091" y="95250"/>
                    <a:pt x="3555361" y="93980"/>
                    <a:pt x="3556631" y="93345"/>
                  </a:cubicBezTo>
                  <a:cubicBezTo>
                    <a:pt x="3557901" y="93345"/>
                    <a:pt x="3559171" y="92075"/>
                    <a:pt x="3561076" y="90805"/>
                  </a:cubicBezTo>
                  <a:lnTo>
                    <a:pt x="3569966" y="100330"/>
                  </a:lnTo>
                  <a:cubicBezTo>
                    <a:pt x="3569966" y="100330"/>
                    <a:pt x="3566156" y="103505"/>
                    <a:pt x="3564251" y="104775"/>
                  </a:cubicBezTo>
                  <a:cubicBezTo>
                    <a:pt x="3562346" y="106045"/>
                    <a:pt x="3560441" y="106680"/>
                    <a:pt x="3558536" y="107950"/>
                  </a:cubicBezTo>
                  <a:cubicBezTo>
                    <a:pt x="3556631" y="108585"/>
                    <a:pt x="3554091" y="109855"/>
                    <a:pt x="3551551" y="109855"/>
                  </a:cubicBezTo>
                  <a:cubicBezTo>
                    <a:pt x="3549011" y="109855"/>
                    <a:pt x="3545836" y="110490"/>
                    <a:pt x="3542661" y="110490"/>
                  </a:cubicBezTo>
                  <a:cubicBezTo>
                    <a:pt x="3539486" y="110490"/>
                    <a:pt x="3536311" y="110490"/>
                    <a:pt x="3533136" y="109220"/>
                  </a:cubicBezTo>
                  <a:cubicBezTo>
                    <a:pt x="3529961" y="108585"/>
                    <a:pt x="3527421" y="107315"/>
                    <a:pt x="3525516" y="105410"/>
                  </a:cubicBezTo>
                  <a:cubicBezTo>
                    <a:pt x="3522976" y="104140"/>
                    <a:pt x="3521071" y="102235"/>
                    <a:pt x="3519166" y="100330"/>
                  </a:cubicBezTo>
                  <a:cubicBezTo>
                    <a:pt x="3517261" y="98425"/>
                    <a:pt x="3515356" y="95885"/>
                    <a:pt x="3514086" y="92710"/>
                  </a:cubicBezTo>
                  <a:cubicBezTo>
                    <a:pt x="3512181" y="89535"/>
                    <a:pt x="3510911" y="86360"/>
                    <a:pt x="3510276" y="82550"/>
                  </a:cubicBezTo>
                  <a:cubicBezTo>
                    <a:pt x="3509641" y="78740"/>
                    <a:pt x="3509006" y="74295"/>
                    <a:pt x="3509006" y="69850"/>
                  </a:cubicBezTo>
                  <a:cubicBezTo>
                    <a:pt x="3509006" y="63500"/>
                    <a:pt x="3509641" y="57150"/>
                    <a:pt x="3511546" y="52070"/>
                  </a:cubicBezTo>
                  <a:cubicBezTo>
                    <a:pt x="3513451" y="46990"/>
                    <a:pt x="3515356" y="42545"/>
                    <a:pt x="3518531" y="39370"/>
                  </a:cubicBezTo>
                  <a:cubicBezTo>
                    <a:pt x="3521706" y="36195"/>
                    <a:pt x="3524881" y="33020"/>
                    <a:pt x="3529326" y="31750"/>
                  </a:cubicBezTo>
                  <a:cubicBezTo>
                    <a:pt x="3533771" y="29845"/>
                    <a:pt x="3538216" y="29210"/>
                    <a:pt x="3543296" y="29210"/>
                  </a:cubicBezTo>
                  <a:close/>
                  <a:moveTo>
                    <a:pt x="3345176" y="29210"/>
                  </a:moveTo>
                  <a:cubicBezTo>
                    <a:pt x="3350891" y="29210"/>
                    <a:pt x="3355336" y="30480"/>
                    <a:pt x="3359781" y="32385"/>
                  </a:cubicBezTo>
                  <a:cubicBezTo>
                    <a:pt x="3363591" y="34290"/>
                    <a:pt x="3367401" y="37465"/>
                    <a:pt x="3369941" y="40640"/>
                  </a:cubicBezTo>
                  <a:cubicBezTo>
                    <a:pt x="3372481" y="44450"/>
                    <a:pt x="3374386" y="48260"/>
                    <a:pt x="3376291" y="53340"/>
                  </a:cubicBezTo>
                  <a:cubicBezTo>
                    <a:pt x="3377561" y="57785"/>
                    <a:pt x="3378196" y="62865"/>
                    <a:pt x="3378196" y="68580"/>
                  </a:cubicBezTo>
                  <a:lnTo>
                    <a:pt x="3376926" y="68580"/>
                  </a:lnTo>
                  <a:cubicBezTo>
                    <a:pt x="3376926" y="68580"/>
                    <a:pt x="3376926" y="71120"/>
                    <a:pt x="3376926" y="72390"/>
                  </a:cubicBezTo>
                  <a:cubicBezTo>
                    <a:pt x="3376926" y="73660"/>
                    <a:pt x="3376926" y="74295"/>
                    <a:pt x="3376926" y="75565"/>
                  </a:cubicBezTo>
                  <a:lnTo>
                    <a:pt x="3325491" y="75565"/>
                  </a:lnTo>
                  <a:cubicBezTo>
                    <a:pt x="3325491" y="79375"/>
                    <a:pt x="3326761" y="82550"/>
                    <a:pt x="3328031" y="85090"/>
                  </a:cubicBezTo>
                  <a:cubicBezTo>
                    <a:pt x="3329301" y="87630"/>
                    <a:pt x="3330571" y="90170"/>
                    <a:pt x="3332476" y="91440"/>
                  </a:cubicBezTo>
                  <a:cubicBezTo>
                    <a:pt x="3334381" y="93345"/>
                    <a:pt x="3336286" y="94615"/>
                    <a:pt x="3338191" y="95250"/>
                  </a:cubicBezTo>
                  <a:cubicBezTo>
                    <a:pt x="3340096" y="95885"/>
                    <a:pt x="3342636" y="96520"/>
                    <a:pt x="3345176" y="96520"/>
                  </a:cubicBezTo>
                  <a:cubicBezTo>
                    <a:pt x="3347081" y="96520"/>
                    <a:pt x="3348351" y="96520"/>
                    <a:pt x="3350256" y="96520"/>
                  </a:cubicBezTo>
                  <a:cubicBezTo>
                    <a:pt x="3351526" y="96520"/>
                    <a:pt x="3353431" y="95885"/>
                    <a:pt x="3354701" y="95250"/>
                  </a:cubicBezTo>
                  <a:cubicBezTo>
                    <a:pt x="3355971" y="95250"/>
                    <a:pt x="3357241" y="93980"/>
                    <a:pt x="3358511" y="93345"/>
                  </a:cubicBezTo>
                  <a:cubicBezTo>
                    <a:pt x="3359781" y="93345"/>
                    <a:pt x="3361051" y="92075"/>
                    <a:pt x="3362956" y="90805"/>
                  </a:cubicBezTo>
                  <a:lnTo>
                    <a:pt x="3371846" y="100330"/>
                  </a:lnTo>
                  <a:cubicBezTo>
                    <a:pt x="3371846" y="100330"/>
                    <a:pt x="3368036" y="103505"/>
                    <a:pt x="3366131" y="104775"/>
                  </a:cubicBezTo>
                  <a:cubicBezTo>
                    <a:pt x="3364226" y="106045"/>
                    <a:pt x="3362321" y="106680"/>
                    <a:pt x="3360416" y="107950"/>
                  </a:cubicBezTo>
                  <a:cubicBezTo>
                    <a:pt x="3358511" y="108585"/>
                    <a:pt x="3355971" y="109855"/>
                    <a:pt x="3353431" y="109855"/>
                  </a:cubicBezTo>
                  <a:cubicBezTo>
                    <a:pt x="3350891" y="109855"/>
                    <a:pt x="3347716" y="110490"/>
                    <a:pt x="3344541" y="110490"/>
                  </a:cubicBezTo>
                  <a:cubicBezTo>
                    <a:pt x="3341366" y="110490"/>
                    <a:pt x="3338191" y="110490"/>
                    <a:pt x="3335016" y="109220"/>
                  </a:cubicBezTo>
                  <a:cubicBezTo>
                    <a:pt x="3331841" y="108585"/>
                    <a:pt x="3329301" y="107315"/>
                    <a:pt x="3327396" y="105410"/>
                  </a:cubicBezTo>
                  <a:cubicBezTo>
                    <a:pt x="3324856" y="104140"/>
                    <a:pt x="3322951" y="102235"/>
                    <a:pt x="3321046" y="100330"/>
                  </a:cubicBezTo>
                  <a:cubicBezTo>
                    <a:pt x="3319141" y="98425"/>
                    <a:pt x="3317236" y="95885"/>
                    <a:pt x="3315966" y="92710"/>
                  </a:cubicBezTo>
                  <a:cubicBezTo>
                    <a:pt x="3314061" y="89535"/>
                    <a:pt x="3312791" y="86360"/>
                    <a:pt x="3312156" y="82550"/>
                  </a:cubicBezTo>
                  <a:cubicBezTo>
                    <a:pt x="3311521" y="78740"/>
                    <a:pt x="3310886" y="74295"/>
                    <a:pt x="3310886" y="69850"/>
                  </a:cubicBezTo>
                  <a:cubicBezTo>
                    <a:pt x="3310886" y="63500"/>
                    <a:pt x="3311521" y="57150"/>
                    <a:pt x="3313426" y="52070"/>
                  </a:cubicBezTo>
                  <a:cubicBezTo>
                    <a:pt x="3315331" y="46990"/>
                    <a:pt x="3317236" y="42545"/>
                    <a:pt x="3320411" y="39370"/>
                  </a:cubicBezTo>
                  <a:cubicBezTo>
                    <a:pt x="3323586" y="36195"/>
                    <a:pt x="3326761" y="33020"/>
                    <a:pt x="3331206" y="31750"/>
                  </a:cubicBezTo>
                  <a:cubicBezTo>
                    <a:pt x="3335651" y="29845"/>
                    <a:pt x="3340096" y="29210"/>
                    <a:pt x="3345176" y="29210"/>
                  </a:cubicBezTo>
                  <a:close/>
                  <a:moveTo>
                    <a:pt x="3060696" y="29210"/>
                  </a:moveTo>
                  <a:cubicBezTo>
                    <a:pt x="3063871" y="29210"/>
                    <a:pt x="3066411" y="29210"/>
                    <a:pt x="3068316" y="29845"/>
                  </a:cubicBezTo>
                  <a:cubicBezTo>
                    <a:pt x="3070221" y="29845"/>
                    <a:pt x="3072126" y="31115"/>
                    <a:pt x="3074031" y="32385"/>
                  </a:cubicBezTo>
                  <a:lnTo>
                    <a:pt x="3070221" y="46990"/>
                  </a:lnTo>
                  <a:lnTo>
                    <a:pt x="3068951" y="46990"/>
                  </a:lnTo>
                  <a:cubicBezTo>
                    <a:pt x="3068951" y="46990"/>
                    <a:pt x="3065776" y="45085"/>
                    <a:pt x="3063871" y="45085"/>
                  </a:cubicBezTo>
                  <a:cubicBezTo>
                    <a:pt x="3061966" y="45085"/>
                    <a:pt x="3060061" y="44450"/>
                    <a:pt x="3057521" y="44450"/>
                  </a:cubicBezTo>
                  <a:cubicBezTo>
                    <a:pt x="3052441" y="44450"/>
                    <a:pt x="3048631" y="46355"/>
                    <a:pt x="3046091" y="49530"/>
                  </a:cubicBezTo>
                  <a:cubicBezTo>
                    <a:pt x="3043551" y="52705"/>
                    <a:pt x="3042281" y="57785"/>
                    <a:pt x="3042281" y="64770"/>
                  </a:cubicBezTo>
                  <a:lnTo>
                    <a:pt x="3042281" y="109220"/>
                  </a:lnTo>
                  <a:lnTo>
                    <a:pt x="3027041" y="109220"/>
                  </a:lnTo>
                  <a:lnTo>
                    <a:pt x="3027041" y="31115"/>
                  </a:lnTo>
                  <a:lnTo>
                    <a:pt x="3042281" y="31115"/>
                  </a:lnTo>
                  <a:lnTo>
                    <a:pt x="3042281" y="38735"/>
                  </a:lnTo>
                  <a:cubicBezTo>
                    <a:pt x="3042281" y="38735"/>
                    <a:pt x="3044186" y="36195"/>
                    <a:pt x="3045456" y="34925"/>
                  </a:cubicBezTo>
                  <a:cubicBezTo>
                    <a:pt x="3046726" y="33655"/>
                    <a:pt x="3047996" y="33020"/>
                    <a:pt x="3049901" y="31750"/>
                  </a:cubicBezTo>
                  <a:cubicBezTo>
                    <a:pt x="3051171" y="31115"/>
                    <a:pt x="3053076" y="30480"/>
                    <a:pt x="3054981" y="29845"/>
                  </a:cubicBezTo>
                  <a:cubicBezTo>
                    <a:pt x="3056886" y="29845"/>
                    <a:pt x="3058791" y="29210"/>
                    <a:pt x="3060696" y="29210"/>
                  </a:cubicBezTo>
                  <a:close/>
                  <a:moveTo>
                    <a:pt x="2978781" y="29210"/>
                  </a:moveTo>
                  <a:cubicBezTo>
                    <a:pt x="2984496" y="29210"/>
                    <a:pt x="2988941" y="30480"/>
                    <a:pt x="2993386" y="32385"/>
                  </a:cubicBezTo>
                  <a:cubicBezTo>
                    <a:pt x="2997196" y="34290"/>
                    <a:pt x="3001006" y="37465"/>
                    <a:pt x="3003546" y="40640"/>
                  </a:cubicBezTo>
                  <a:cubicBezTo>
                    <a:pt x="3006086" y="44450"/>
                    <a:pt x="3007991" y="48260"/>
                    <a:pt x="3009896" y="53340"/>
                  </a:cubicBezTo>
                  <a:cubicBezTo>
                    <a:pt x="3011166" y="57785"/>
                    <a:pt x="3011801" y="62865"/>
                    <a:pt x="3011801" y="68580"/>
                  </a:cubicBezTo>
                  <a:lnTo>
                    <a:pt x="3010531" y="68580"/>
                  </a:lnTo>
                  <a:cubicBezTo>
                    <a:pt x="3010531" y="68580"/>
                    <a:pt x="3010531" y="71120"/>
                    <a:pt x="3010531" y="72390"/>
                  </a:cubicBezTo>
                  <a:cubicBezTo>
                    <a:pt x="3010531" y="73660"/>
                    <a:pt x="3010531" y="74295"/>
                    <a:pt x="3010531" y="75565"/>
                  </a:cubicBezTo>
                  <a:lnTo>
                    <a:pt x="2959096" y="75565"/>
                  </a:lnTo>
                  <a:cubicBezTo>
                    <a:pt x="2959096" y="79375"/>
                    <a:pt x="2960366" y="82550"/>
                    <a:pt x="2961636" y="85090"/>
                  </a:cubicBezTo>
                  <a:cubicBezTo>
                    <a:pt x="2962906" y="87630"/>
                    <a:pt x="2964176" y="90170"/>
                    <a:pt x="2966081" y="91440"/>
                  </a:cubicBezTo>
                  <a:cubicBezTo>
                    <a:pt x="2967986" y="93345"/>
                    <a:pt x="2969891" y="94615"/>
                    <a:pt x="2971796" y="95250"/>
                  </a:cubicBezTo>
                  <a:cubicBezTo>
                    <a:pt x="2974336" y="95885"/>
                    <a:pt x="2976241" y="96520"/>
                    <a:pt x="2978781" y="96520"/>
                  </a:cubicBezTo>
                  <a:cubicBezTo>
                    <a:pt x="2980686" y="96520"/>
                    <a:pt x="2981956" y="96520"/>
                    <a:pt x="2983861" y="96520"/>
                  </a:cubicBezTo>
                  <a:cubicBezTo>
                    <a:pt x="2985131" y="96520"/>
                    <a:pt x="2987036" y="95885"/>
                    <a:pt x="2988306" y="95250"/>
                  </a:cubicBezTo>
                  <a:cubicBezTo>
                    <a:pt x="2989576" y="95250"/>
                    <a:pt x="2990846" y="93980"/>
                    <a:pt x="2992116" y="93345"/>
                  </a:cubicBezTo>
                  <a:cubicBezTo>
                    <a:pt x="2993386" y="93345"/>
                    <a:pt x="2994656" y="92075"/>
                    <a:pt x="2996561" y="90805"/>
                  </a:cubicBezTo>
                  <a:lnTo>
                    <a:pt x="3005451" y="100330"/>
                  </a:lnTo>
                  <a:cubicBezTo>
                    <a:pt x="3005451" y="100330"/>
                    <a:pt x="3001641" y="103505"/>
                    <a:pt x="2999736" y="104775"/>
                  </a:cubicBezTo>
                  <a:cubicBezTo>
                    <a:pt x="2997831" y="106045"/>
                    <a:pt x="2995926" y="106680"/>
                    <a:pt x="2994021" y="107950"/>
                  </a:cubicBezTo>
                  <a:cubicBezTo>
                    <a:pt x="2992116" y="108585"/>
                    <a:pt x="2989576" y="109855"/>
                    <a:pt x="2987036" y="109855"/>
                  </a:cubicBezTo>
                  <a:cubicBezTo>
                    <a:pt x="2984496" y="109855"/>
                    <a:pt x="2981321" y="110490"/>
                    <a:pt x="2978146" y="110490"/>
                  </a:cubicBezTo>
                  <a:cubicBezTo>
                    <a:pt x="2974971" y="110490"/>
                    <a:pt x="2971796" y="110490"/>
                    <a:pt x="2968621" y="109220"/>
                  </a:cubicBezTo>
                  <a:cubicBezTo>
                    <a:pt x="2965446" y="108585"/>
                    <a:pt x="2962906" y="107315"/>
                    <a:pt x="2961001" y="105410"/>
                  </a:cubicBezTo>
                  <a:cubicBezTo>
                    <a:pt x="2958461" y="104140"/>
                    <a:pt x="2956556" y="102235"/>
                    <a:pt x="2954651" y="100330"/>
                  </a:cubicBezTo>
                  <a:cubicBezTo>
                    <a:pt x="2952746" y="98425"/>
                    <a:pt x="2950841" y="95885"/>
                    <a:pt x="2949571" y="92710"/>
                  </a:cubicBezTo>
                  <a:cubicBezTo>
                    <a:pt x="2947666" y="89535"/>
                    <a:pt x="2946396" y="86360"/>
                    <a:pt x="2945761" y="82550"/>
                  </a:cubicBezTo>
                  <a:cubicBezTo>
                    <a:pt x="2945126" y="78740"/>
                    <a:pt x="2944491" y="74295"/>
                    <a:pt x="2944491" y="69850"/>
                  </a:cubicBezTo>
                  <a:cubicBezTo>
                    <a:pt x="2944491" y="63500"/>
                    <a:pt x="2945126" y="57150"/>
                    <a:pt x="2947031" y="52070"/>
                  </a:cubicBezTo>
                  <a:cubicBezTo>
                    <a:pt x="2948936" y="46990"/>
                    <a:pt x="2950841" y="42545"/>
                    <a:pt x="2954016" y="39370"/>
                  </a:cubicBezTo>
                  <a:cubicBezTo>
                    <a:pt x="2957191" y="36195"/>
                    <a:pt x="2960366" y="33020"/>
                    <a:pt x="2964811" y="31750"/>
                  </a:cubicBezTo>
                  <a:cubicBezTo>
                    <a:pt x="2969256" y="29845"/>
                    <a:pt x="2973701" y="29210"/>
                    <a:pt x="2978781" y="29210"/>
                  </a:cubicBezTo>
                  <a:close/>
                  <a:moveTo>
                    <a:pt x="2798440" y="29210"/>
                  </a:moveTo>
                  <a:cubicBezTo>
                    <a:pt x="2803520" y="29210"/>
                    <a:pt x="2807965" y="29845"/>
                    <a:pt x="2813045" y="31750"/>
                  </a:cubicBezTo>
                  <a:cubicBezTo>
                    <a:pt x="2817490" y="33655"/>
                    <a:pt x="2821935" y="35560"/>
                    <a:pt x="2825110" y="38100"/>
                  </a:cubicBezTo>
                  <a:lnTo>
                    <a:pt x="2827015" y="38100"/>
                  </a:lnTo>
                  <a:lnTo>
                    <a:pt x="2820030" y="50165"/>
                  </a:lnTo>
                  <a:cubicBezTo>
                    <a:pt x="2816855" y="47625"/>
                    <a:pt x="2813680" y="46355"/>
                    <a:pt x="2810505" y="45085"/>
                  </a:cubicBezTo>
                  <a:cubicBezTo>
                    <a:pt x="2807330" y="43815"/>
                    <a:pt x="2803520" y="43180"/>
                    <a:pt x="2799710" y="43180"/>
                  </a:cubicBezTo>
                  <a:cubicBezTo>
                    <a:pt x="2795900" y="43180"/>
                    <a:pt x="2793360" y="43815"/>
                    <a:pt x="2791455" y="45085"/>
                  </a:cubicBezTo>
                  <a:cubicBezTo>
                    <a:pt x="2789550" y="46355"/>
                    <a:pt x="2788915" y="48260"/>
                    <a:pt x="2788915" y="50165"/>
                  </a:cubicBezTo>
                  <a:cubicBezTo>
                    <a:pt x="2788915" y="51435"/>
                    <a:pt x="2788915" y="52070"/>
                    <a:pt x="2788915" y="52705"/>
                  </a:cubicBezTo>
                  <a:cubicBezTo>
                    <a:pt x="2788915" y="53340"/>
                    <a:pt x="2790185" y="54610"/>
                    <a:pt x="2790820" y="55245"/>
                  </a:cubicBezTo>
                  <a:cubicBezTo>
                    <a:pt x="2792090" y="55880"/>
                    <a:pt x="2793360" y="57150"/>
                    <a:pt x="2795265" y="57785"/>
                  </a:cubicBezTo>
                  <a:cubicBezTo>
                    <a:pt x="2797170" y="59055"/>
                    <a:pt x="2799710" y="59690"/>
                    <a:pt x="2802250" y="60960"/>
                  </a:cubicBezTo>
                  <a:cubicBezTo>
                    <a:pt x="2806695" y="62865"/>
                    <a:pt x="2810505" y="64135"/>
                    <a:pt x="2813680" y="66040"/>
                  </a:cubicBezTo>
                  <a:cubicBezTo>
                    <a:pt x="2816855" y="67310"/>
                    <a:pt x="2819395" y="69215"/>
                    <a:pt x="2821935" y="71120"/>
                  </a:cubicBezTo>
                  <a:cubicBezTo>
                    <a:pt x="2823840" y="73025"/>
                    <a:pt x="2825745" y="75565"/>
                    <a:pt x="2827015" y="78105"/>
                  </a:cubicBezTo>
                  <a:cubicBezTo>
                    <a:pt x="2828285" y="80645"/>
                    <a:pt x="2828920" y="83820"/>
                    <a:pt x="2828920" y="87630"/>
                  </a:cubicBezTo>
                  <a:cubicBezTo>
                    <a:pt x="2828920" y="92075"/>
                    <a:pt x="2828285" y="95250"/>
                    <a:pt x="2826380" y="98425"/>
                  </a:cubicBezTo>
                  <a:cubicBezTo>
                    <a:pt x="2824475" y="101600"/>
                    <a:pt x="2822570" y="103505"/>
                    <a:pt x="2820030" y="105410"/>
                  </a:cubicBezTo>
                  <a:cubicBezTo>
                    <a:pt x="2817490" y="107315"/>
                    <a:pt x="2814315" y="108585"/>
                    <a:pt x="2810505" y="109220"/>
                  </a:cubicBezTo>
                  <a:cubicBezTo>
                    <a:pt x="2806695" y="109855"/>
                    <a:pt x="2803520" y="110490"/>
                    <a:pt x="2799710" y="110490"/>
                  </a:cubicBezTo>
                  <a:cubicBezTo>
                    <a:pt x="2794630" y="110490"/>
                    <a:pt x="2789550" y="109855"/>
                    <a:pt x="2783835" y="107950"/>
                  </a:cubicBezTo>
                  <a:cubicBezTo>
                    <a:pt x="2778120" y="106045"/>
                    <a:pt x="2773675" y="103505"/>
                    <a:pt x="2769230" y="100965"/>
                  </a:cubicBezTo>
                  <a:lnTo>
                    <a:pt x="2776215" y="89535"/>
                  </a:lnTo>
                  <a:cubicBezTo>
                    <a:pt x="2780025" y="92075"/>
                    <a:pt x="2783835" y="93980"/>
                    <a:pt x="2787645" y="95250"/>
                  </a:cubicBezTo>
                  <a:cubicBezTo>
                    <a:pt x="2791455" y="96520"/>
                    <a:pt x="2795265" y="97155"/>
                    <a:pt x="2799075" y="97155"/>
                  </a:cubicBezTo>
                  <a:cubicBezTo>
                    <a:pt x="2804155" y="97155"/>
                    <a:pt x="2807330" y="96520"/>
                    <a:pt x="2809870" y="94615"/>
                  </a:cubicBezTo>
                  <a:cubicBezTo>
                    <a:pt x="2812410" y="93345"/>
                    <a:pt x="2813045" y="90805"/>
                    <a:pt x="2813045" y="88265"/>
                  </a:cubicBezTo>
                  <a:cubicBezTo>
                    <a:pt x="2813045" y="86995"/>
                    <a:pt x="2813045" y="85725"/>
                    <a:pt x="2811775" y="84455"/>
                  </a:cubicBezTo>
                  <a:cubicBezTo>
                    <a:pt x="2811140" y="83185"/>
                    <a:pt x="2809870" y="82550"/>
                    <a:pt x="2807965" y="81280"/>
                  </a:cubicBezTo>
                  <a:cubicBezTo>
                    <a:pt x="2806695" y="80010"/>
                    <a:pt x="2804790" y="79375"/>
                    <a:pt x="2802250" y="78105"/>
                  </a:cubicBezTo>
                  <a:cubicBezTo>
                    <a:pt x="2800345" y="77470"/>
                    <a:pt x="2797805" y="76200"/>
                    <a:pt x="2794630" y="74930"/>
                  </a:cubicBezTo>
                  <a:cubicBezTo>
                    <a:pt x="2790185" y="73025"/>
                    <a:pt x="2787010" y="71755"/>
                    <a:pt x="2783835" y="69850"/>
                  </a:cubicBezTo>
                  <a:cubicBezTo>
                    <a:pt x="2780660" y="67945"/>
                    <a:pt x="2778755" y="66675"/>
                    <a:pt x="2776850" y="64770"/>
                  </a:cubicBezTo>
                  <a:cubicBezTo>
                    <a:pt x="2774945" y="62865"/>
                    <a:pt x="2773675" y="60960"/>
                    <a:pt x="2773040" y="58420"/>
                  </a:cubicBezTo>
                  <a:cubicBezTo>
                    <a:pt x="2772405" y="55880"/>
                    <a:pt x="2771770" y="53340"/>
                    <a:pt x="2771770" y="50165"/>
                  </a:cubicBezTo>
                  <a:cubicBezTo>
                    <a:pt x="2771770" y="46990"/>
                    <a:pt x="2772405" y="43815"/>
                    <a:pt x="2773675" y="40640"/>
                  </a:cubicBezTo>
                  <a:cubicBezTo>
                    <a:pt x="2774945" y="38100"/>
                    <a:pt x="2776850" y="35560"/>
                    <a:pt x="2779390" y="34290"/>
                  </a:cubicBezTo>
                  <a:cubicBezTo>
                    <a:pt x="2781930" y="32385"/>
                    <a:pt x="2784470" y="31115"/>
                    <a:pt x="2787645" y="30480"/>
                  </a:cubicBezTo>
                  <a:cubicBezTo>
                    <a:pt x="2790820" y="29845"/>
                    <a:pt x="2794630" y="29210"/>
                    <a:pt x="2798440" y="29210"/>
                  </a:cubicBezTo>
                  <a:close/>
                  <a:moveTo>
                    <a:pt x="2723510" y="29210"/>
                  </a:moveTo>
                  <a:cubicBezTo>
                    <a:pt x="2725415" y="29210"/>
                    <a:pt x="2727320" y="29210"/>
                    <a:pt x="2729225" y="29210"/>
                  </a:cubicBezTo>
                  <a:cubicBezTo>
                    <a:pt x="2733670" y="29210"/>
                    <a:pt x="2738115" y="29845"/>
                    <a:pt x="2741290" y="31750"/>
                  </a:cubicBezTo>
                  <a:cubicBezTo>
                    <a:pt x="2744465" y="33020"/>
                    <a:pt x="2747640" y="35560"/>
                    <a:pt x="2750180" y="38100"/>
                  </a:cubicBezTo>
                  <a:cubicBezTo>
                    <a:pt x="2752720" y="41275"/>
                    <a:pt x="2753990" y="44450"/>
                    <a:pt x="2755260" y="48895"/>
                  </a:cubicBezTo>
                  <a:cubicBezTo>
                    <a:pt x="2756530" y="53340"/>
                    <a:pt x="2757165" y="58420"/>
                    <a:pt x="2757165" y="64135"/>
                  </a:cubicBezTo>
                  <a:lnTo>
                    <a:pt x="2757165" y="108585"/>
                  </a:lnTo>
                  <a:lnTo>
                    <a:pt x="2741925" y="108585"/>
                  </a:lnTo>
                  <a:lnTo>
                    <a:pt x="2741290" y="108585"/>
                  </a:lnTo>
                  <a:lnTo>
                    <a:pt x="2741290" y="64770"/>
                  </a:lnTo>
                  <a:cubicBezTo>
                    <a:pt x="2741290" y="57785"/>
                    <a:pt x="2740020" y="52070"/>
                    <a:pt x="2737480" y="48895"/>
                  </a:cubicBezTo>
                  <a:cubicBezTo>
                    <a:pt x="2734940" y="45085"/>
                    <a:pt x="2731130" y="43180"/>
                    <a:pt x="2725415" y="43180"/>
                  </a:cubicBezTo>
                  <a:cubicBezTo>
                    <a:pt x="2722875" y="43180"/>
                    <a:pt x="2720970" y="43180"/>
                    <a:pt x="2718430" y="44450"/>
                  </a:cubicBezTo>
                  <a:cubicBezTo>
                    <a:pt x="2716525" y="45085"/>
                    <a:pt x="2714620" y="46990"/>
                    <a:pt x="2713350" y="48260"/>
                  </a:cubicBezTo>
                  <a:cubicBezTo>
                    <a:pt x="2712080" y="50165"/>
                    <a:pt x="2710810" y="52070"/>
                    <a:pt x="2710175" y="54610"/>
                  </a:cubicBezTo>
                  <a:cubicBezTo>
                    <a:pt x="2710175" y="57150"/>
                    <a:pt x="2709540" y="59690"/>
                    <a:pt x="2709540" y="62865"/>
                  </a:cubicBezTo>
                  <a:lnTo>
                    <a:pt x="2709540" y="108585"/>
                  </a:lnTo>
                  <a:lnTo>
                    <a:pt x="2694300" y="108585"/>
                  </a:lnTo>
                  <a:lnTo>
                    <a:pt x="2694300" y="30480"/>
                  </a:lnTo>
                  <a:lnTo>
                    <a:pt x="2709540" y="30480"/>
                  </a:lnTo>
                  <a:lnTo>
                    <a:pt x="2709540" y="38100"/>
                  </a:lnTo>
                  <a:cubicBezTo>
                    <a:pt x="2709540" y="38100"/>
                    <a:pt x="2711445" y="35560"/>
                    <a:pt x="2713350" y="34290"/>
                  </a:cubicBezTo>
                  <a:cubicBezTo>
                    <a:pt x="2714620" y="33020"/>
                    <a:pt x="2716525" y="32385"/>
                    <a:pt x="2717795" y="31115"/>
                  </a:cubicBezTo>
                  <a:cubicBezTo>
                    <a:pt x="2719700" y="30480"/>
                    <a:pt x="2721605" y="29845"/>
                    <a:pt x="2723510" y="29210"/>
                  </a:cubicBezTo>
                  <a:close/>
                  <a:moveTo>
                    <a:pt x="2530470" y="29210"/>
                  </a:moveTo>
                  <a:cubicBezTo>
                    <a:pt x="2536185" y="29210"/>
                    <a:pt x="2540630" y="30480"/>
                    <a:pt x="2545075" y="32385"/>
                  </a:cubicBezTo>
                  <a:cubicBezTo>
                    <a:pt x="2548885" y="34290"/>
                    <a:pt x="2552695" y="37465"/>
                    <a:pt x="2555235" y="40640"/>
                  </a:cubicBezTo>
                  <a:cubicBezTo>
                    <a:pt x="2557775" y="44450"/>
                    <a:pt x="2559680" y="48260"/>
                    <a:pt x="2561585" y="53340"/>
                  </a:cubicBezTo>
                  <a:cubicBezTo>
                    <a:pt x="2562855" y="57785"/>
                    <a:pt x="2563490" y="62865"/>
                    <a:pt x="2563490" y="68580"/>
                  </a:cubicBezTo>
                  <a:lnTo>
                    <a:pt x="2562220" y="68580"/>
                  </a:lnTo>
                  <a:cubicBezTo>
                    <a:pt x="2562220" y="68580"/>
                    <a:pt x="2562220" y="71120"/>
                    <a:pt x="2562220" y="72390"/>
                  </a:cubicBezTo>
                  <a:cubicBezTo>
                    <a:pt x="2562220" y="73660"/>
                    <a:pt x="2562220" y="74295"/>
                    <a:pt x="2562220" y="75565"/>
                  </a:cubicBezTo>
                  <a:lnTo>
                    <a:pt x="2510785" y="75565"/>
                  </a:lnTo>
                  <a:cubicBezTo>
                    <a:pt x="2510785" y="79375"/>
                    <a:pt x="2512055" y="82550"/>
                    <a:pt x="2513325" y="85090"/>
                  </a:cubicBezTo>
                  <a:cubicBezTo>
                    <a:pt x="2514595" y="87630"/>
                    <a:pt x="2515865" y="90170"/>
                    <a:pt x="2517770" y="91440"/>
                  </a:cubicBezTo>
                  <a:cubicBezTo>
                    <a:pt x="2519675" y="93345"/>
                    <a:pt x="2521580" y="94615"/>
                    <a:pt x="2523485" y="95250"/>
                  </a:cubicBezTo>
                  <a:cubicBezTo>
                    <a:pt x="2525390" y="95885"/>
                    <a:pt x="2527930" y="96520"/>
                    <a:pt x="2530470" y="96520"/>
                  </a:cubicBezTo>
                  <a:cubicBezTo>
                    <a:pt x="2532375" y="96520"/>
                    <a:pt x="2533645" y="96520"/>
                    <a:pt x="2535550" y="96520"/>
                  </a:cubicBezTo>
                  <a:cubicBezTo>
                    <a:pt x="2536820" y="96520"/>
                    <a:pt x="2538725" y="95885"/>
                    <a:pt x="2539995" y="95250"/>
                  </a:cubicBezTo>
                  <a:cubicBezTo>
                    <a:pt x="2541265" y="95250"/>
                    <a:pt x="2542535" y="93980"/>
                    <a:pt x="2543805" y="93345"/>
                  </a:cubicBezTo>
                  <a:cubicBezTo>
                    <a:pt x="2545075" y="93345"/>
                    <a:pt x="2546345" y="92075"/>
                    <a:pt x="2548250" y="90805"/>
                  </a:cubicBezTo>
                  <a:lnTo>
                    <a:pt x="2557140" y="100330"/>
                  </a:lnTo>
                  <a:cubicBezTo>
                    <a:pt x="2557140" y="100330"/>
                    <a:pt x="2553330" y="103505"/>
                    <a:pt x="2551425" y="104775"/>
                  </a:cubicBezTo>
                  <a:cubicBezTo>
                    <a:pt x="2549520" y="106045"/>
                    <a:pt x="2547615" y="106680"/>
                    <a:pt x="2545710" y="107950"/>
                  </a:cubicBezTo>
                  <a:cubicBezTo>
                    <a:pt x="2543805" y="108585"/>
                    <a:pt x="2541265" y="109855"/>
                    <a:pt x="2538725" y="109855"/>
                  </a:cubicBezTo>
                  <a:cubicBezTo>
                    <a:pt x="2536185" y="109855"/>
                    <a:pt x="2533010" y="110490"/>
                    <a:pt x="2529835" y="110490"/>
                  </a:cubicBezTo>
                  <a:cubicBezTo>
                    <a:pt x="2526660" y="110490"/>
                    <a:pt x="2523485" y="110490"/>
                    <a:pt x="2520310" y="109220"/>
                  </a:cubicBezTo>
                  <a:cubicBezTo>
                    <a:pt x="2517135" y="108585"/>
                    <a:pt x="2514595" y="107315"/>
                    <a:pt x="2512690" y="105410"/>
                  </a:cubicBezTo>
                  <a:cubicBezTo>
                    <a:pt x="2510785" y="103505"/>
                    <a:pt x="2508245" y="102235"/>
                    <a:pt x="2506340" y="100330"/>
                  </a:cubicBezTo>
                  <a:cubicBezTo>
                    <a:pt x="2504435" y="98425"/>
                    <a:pt x="2502530" y="95885"/>
                    <a:pt x="2501260" y="92710"/>
                  </a:cubicBezTo>
                  <a:cubicBezTo>
                    <a:pt x="2499355" y="89535"/>
                    <a:pt x="2498085" y="86360"/>
                    <a:pt x="2497450" y="82550"/>
                  </a:cubicBezTo>
                  <a:cubicBezTo>
                    <a:pt x="2496815" y="78740"/>
                    <a:pt x="2496180" y="74295"/>
                    <a:pt x="2496180" y="69850"/>
                  </a:cubicBezTo>
                  <a:cubicBezTo>
                    <a:pt x="2496180" y="63500"/>
                    <a:pt x="2496815" y="57150"/>
                    <a:pt x="2498720" y="52070"/>
                  </a:cubicBezTo>
                  <a:cubicBezTo>
                    <a:pt x="2500625" y="46990"/>
                    <a:pt x="2502530" y="42545"/>
                    <a:pt x="2505705" y="39370"/>
                  </a:cubicBezTo>
                  <a:cubicBezTo>
                    <a:pt x="2508880" y="36195"/>
                    <a:pt x="2512055" y="33020"/>
                    <a:pt x="2516500" y="31750"/>
                  </a:cubicBezTo>
                  <a:cubicBezTo>
                    <a:pt x="2520945" y="29845"/>
                    <a:pt x="2525390" y="29210"/>
                    <a:pt x="2530470" y="29210"/>
                  </a:cubicBezTo>
                  <a:close/>
                  <a:moveTo>
                    <a:pt x="2298061" y="29210"/>
                  </a:moveTo>
                  <a:cubicBezTo>
                    <a:pt x="2301236" y="29210"/>
                    <a:pt x="2303776" y="29210"/>
                    <a:pt x="2305681" y="29845"/>
                  </a:cubicBezTo>
                  <a:cubicBezTo>
                    <a:pt x="2307586" y="29845"/>
                    <a:pt x="2309491" y="31115"/>
                    <a:pt x="2311396" y="32385"/>
                  </a:cubicBezTo>
                  <a:lnTo>
                    <a:pt x="2307586" y="46990"/>
                  </a:lnTo>
                  <a:lnTo>
                    <a:pt x="2306316" y="46990"/>
                  </a:lnTo>
                  <a:cubicBezTo>
                    <a:pt x="2306316" y="46990"/>
                    <a:pt x="2303141" y="45085"/>
                    <a:pt x="2301236" y="45085"/>
                  </a:cubicBezTo>
                  <a:cubicBezTo>
                    <a:pt x="2299331" y="45085"/>
                    <a:pt x="2297426" y="44450"/>
                    <a:pt x="2294886" y="44450"/>
                  </a:cubicBezTo>
                  <a:cubicBezTo>
                    <a:pt x="2289806" y="44450"/>
                    <a:pt x="2285996" y="46355"/>
                    <a:pt x="2283456" y="49530"/>
                  </a:cubicBezTo>
                  <a:cubicBezTo>
                    <a:pt x="2280916" y="52705"/>
                    <a:pt x="2279646" y="57785"/>
                    <a:pt x="2279646" y="64770"/>
                  </a:cubicBezTo>
                  <a:lnTo>
                    <a:pt x="2279646" y="109220"/>
                  </a:lnTo>
                  <a:lnTo>
                    <a:pt x="2264406" y="109220"/>
                  </a:lnTo>
                  <a:lnTo>
                    <a:pt x="2264406" y="31115"/>
                  </a:lnTo>
                  <a:lnTo>
                    <a:pt x="2279646" y="31115"/>
                  </a:lnTo>
                  <a:lnTo>
                    <a:pt x="2279646" y="38735"/>
                  </a:lnTo>
                  <a:cubicBezTo>
                    <a:pt x="2279646" y="38735"/>
                    <a:pt x="2281551" y="36195"/>
                    <a:pt x="2282821" y="34925"/>
                  </a:cubicBezTo>
                  <a:cubicBezTo>
                    <a:pt x="2284091" y="33655"/>
                    <a:pt x="2285361" y="33020"/>
                    <a:pt x="2287266" y="31750"/>
                  </a:cubicBezTo>
                  <a:cubicBezTo>
                    <a:pt x="2288536" y="31115"/>
                    <a:pt x="2290441" y="30480"/>
                    <a:pt x="2292346" y="29845"/>
                  </a:cubicBezTo>
                  <a:cubicBezTo>
                    <a:pt x="2294251" y="29845"/>
                    <a:pt x="2296156" y="29210"/>
                    <a:pt x="2298061" y="29210"/>
                  </a:cubicBezTo>
                  <a:close/>
                  <a:moveTo>
                    <a:pt x="2216145" y="29210"/>
                  </a:moveTo>
                  <a:cubicBezTo>
                    <a:pt x="2221860" y="29210"/>
                    <a:pt x="2226305" y="30480"/>
                    <a:pt x="2230750" y="32385"/>
                  </a:cubicBezTo>
                  <a:cubicBezTo>
                    <a:pt x="2234560" y="34290"/>
                    <a:pt x="2238370" y="37465"/>
                    <a:pt x="2240910" y="40640"/>
                  </a:cubicBezTo>
                  <a:cubicBezTo>
                    <a:pt x="2243450" y="44450"/>
                    <a:pt x="2245355" y="48260"/>
                    <a:pt x="2247260" y="53340"/>
                  </a:cubicBezTo>
                  <a:cubicBezTo>
                    <a:pt x="2248530" y="57785"/>
                    <a:pt x="2249165" y="62865"/>
                    <a:pt x="2249165" y="68580"/>
                  </a:cubicBezTo>
                  <a:lnTo>
                    <a:pt x="2247895" y="68580"/>
                  </a:lnTo>
                  <a:cubicBezTo>
                    <a:pt x="2247895" y="68580"/>
                    <a:pt x="2247895" y="71120"/>
                    <a:pt x="2247895" y="72390"/>
                  </a:cubicBezTo>
                  <a:cubicBezTo>
                    <a:pt x="2247895" y="73660"/>
                    <a:pt x="2247895" y="74295"/>
                    <a:pt x="2247895" y="75565"/>
                  </a:cubicBezTo>
                  <a:lnTo>
                    <a:pt x="2196460" y="75565"/>
                  </a:lnTo>
                  <a:cubicBezTo>
                    <a:pt x="2196460" y="79375"/>
                    <a:pt x="2197730" y="82550"/>
                    <a:pt x="2199000" y="85090"/>
                  </a:cubicBezTo>
                  <a:cubicBezTo>
                    <a:pt x="2200270" y="87630"/>
                    <a:pt x="2201540" y="90170"/>
                    <a:pt x="2203445" y="91440"/>
                  </a:cubicBezTo>
                  <a:cubicBezTo>
                    <a:pt x="2205350" y="93345"/>
                    <a:pt x="2207255" y="94615"/>
                    <a:pt x="2209160" y="95250"/>
                  </a:cubicBezTo>
                  <a:cubicBezTo>
                    <a:pt x="2211065" y="95885"/>
                    <a:pt x="2213605" y="96520"/>
                    <a:pt x="2216145" y="96520"/>
                  </a:cubicBezTo>
                  <a:cubicBezTo>
                    <a:pt x="2218050" y="96520"/>
                    <a:pt x="2219320" y="96520"/>
                    <a:pt x="2221225" y="96520"/>
                  </a:cubicBezTo>
                  <a:cubicBezTo>
                    <a:pt x="2222495" y="96520"/>
                    <a:pt x="2224400" y="95885"/>
                    <a:pt x="2225670" y="95250"/>
                  </a:cubicBezTo>
                  <a:cubicBezTo>
                    <a:pt x="2226940" y="95250"/>
                    <a:pt x="2228210" y="93980"/>
                    <a:pt x="2229480" y="93345"/>
                  </a:cubicBezTo>
                  <a:cubicBezTo>
                    <a:pt x="2230750" y="93345"/>
                    <a:pt x="2232020" y="92075"/>
                    <a:pt x="2233925" y="90805"/>
                  </a:cubicBezTo>
                  <a:lnTo>
                    <a:pt x="2242815" y="100330"/>
                  </a:lnTo>
                  <a:cubicBezTo>
                    <a:pt x="2242815" y="100330"/>
                    <a:pt x="2239005" y="103505"/>
                    <a:pt x="2237100" y="104775"/>
                  </a:cubicBezTo>
                  <a:cubicBezTo>
                    <a:pt x="2235195" y="106045"/>
                    <a:pt x="2233290" y="106680"/>
                    <a:pt x="2231385" y="107950"/>
                  </a:cubicBezTo>
                  <a:cubicBezTo>
                    <a:pt x="2229480" y="108585"/>
                    <a:pt x="2226940" y="109855"/>
                    <a:pt x="2224400" y="109855"/>
                  </a:cubicBezTo>
                  <a:cubicBezTo>
                    <a:pt x="2221860" y="109855"/>
                    <a:pt x="2218685" y="110490"/>
                    <a:pt x="2215510" y="110490"/>
                  </a:cubicBezTo>
                  <a:cubicBezTo>
                    <a:pt x="2212335" y="110490"/>
                    <a:pt x="2209160" y="110490"/>
                    <a:pt x="2205985" y="109220"/>
                  </a:cubicBezTo>
                  <a:cubicBezTo>
                    <a:pt x="2202810" y="108585"/>
                    <a:pt x="2200270" y="107315"/>
                    <a:pt x="2198365" y="105410"/>
                  </a:cubicBezTo>
                  <a:cubicBezTo>
                    <a:pt x="2195825" y="104140"/>
                    <a:pt x="2193920" y="102235"/>
                    <a:pt x="2192015" y="100330"/>
                  </a:cubicBezTo>
                  <a:cubicBezTo>
                    <a:pt x="2190110" y="98425"/>
                    <a:pt x="2188205" y="95885"/>
                    <a:pt x="2186935" y="92710"/>
                  </a:cubicBezTo>
                  <a:cubicBezTo>
                    <a:pt x="2185030" y="89535"/>
                    <a:pt x="2183760" y="86360"/>
                    <a:pt x="2183125" y="82550"/>
                  </a:cubicBezTo>
                  <a:cubicBezTo>
                    <a:pt x="2182490" y="78740"/>
                    <a:pt x="2181855" y="74295"/>
                    <a:pt x="2181855" y="69850"/>
                  </a:cubicBezTo>
                  <a:cubicBezTo>
                    <a:pt x="2181855" y="63500"/>
                    <a:pt x="2182490" y="57150"/>
                    <a:pt x="2184395" y="52070"/>
                  </a:cubicBezTo>
                  <a:cubicBezTo>
                    <a:pt x="2186300" y="46990"/>
                    <a:pt x="2188205" y="42545"/>
                    <a:pt x="2191380" y="39370"/>
                  </a:cubicBezTo>
                  <a:cubicBezTo>
                    <a:pt x="2194555" y="36195"/>
                    <a:pt x="2197730" y="33020"/>
                    <a:pt x="2202175" y="31750"/>
                  </a:cubicBezTo>
                  <a:cubicBezTo>
                    <a:pt x="2206620" y="29845"/>
                    <a:pt x="2211065" y="29210"/>
                    <a:pt x="2216145" y="29210"/>
                  </a:cubicBezTo>
                  <a:close/>
                  <a:moveTo>
                    <a:pt x="2029456" y="29210"/>
                  </a:moveTo>
                  <a:cubicBezTo>
                    <a:pt x="2035171" y="29210"/>
                    <a:pt x="2039616" y="30480"/>
                    <a:pt x="2044061" y="32385"/>
                  </a:cubicBezTo>
                  <a:cubicBezTo>
                    <a:pt x="2047871" y="34290"/>
                    <a:pt x="2051681" y="37465"/>
                    <a:pt x="2054221" y="40640"/>
                  </a:cubicBezTo>
                  <a:cubicBezTo>
                    <a:pt x="2056761" y="44450"/>
                    <a:pt x="2058666" y="48260"/>
                    <a:pt x="2060571" y="53340"/>
                  </a:cubicBezTo>
                  <a:cubicBezTo>
                    <a:pt x="2061841" y="57785"/>
                    <a:pt x="2062476" y="62865"/>
                    <a:pt x="2062476" y="68580"/>
                  </a:cubicBezTo>
                  <a:lnTo>
                    <a:pt x="2061206" y="68580"/>
                  </a:lnTo>
                  <a:cubicBezTo>
                    <a:pt x="2061206" y="68580"/>
                    <a:pt x="2061206" y="71120"/>
                    <a:pt x="2061206" y="72390"/>
                  </a:cubicBezTo>
                  <a:cubicBezTo>
                    <a:pt x="2061206" y="73660"/>
                    <a:pt x="2061206" y="74295"/>
                    <a:pt x="2061206" y="75565"/>
                  </a:cubicBezTo>
                  <a:lnTo>
                    <a:pt x="2009771" y="75565"/>
                  </a:lnTo>
                  <a:cubicBezTo>
                    <a:pt x="2009771" y="79375"/>
                    <a:pt x="2011041" y="82550"/>
                    <a:pt x="2012311" y="85090"/>
                  </a:cubicBezTo>
                  <a:cubicBezTo>
                    <a:pt x="2013581" y="87630"/>
                    <a:pt x="2014851" y="90170"/>
                    <a:pt x="2016756" y="91440"/>
                  </a:cubicBezTo>
                  <a:cubicBezTo>
                    <a:pt x="2018661" y="93345"/>
                    <a:pt x="2020566" y="94615"/>
                    <a:pt x="2022471" y="95250"/>
                  </a:cubicBezTo>
                  <a:cubicBezTo>
                    <a:pt x="2024376" y="95885"/>
                    <a:pt x="2026916" y="96520"/>
                    <a:pt x="2029456" y="96520"/>
                  </a:cubicBezTo>
                  <a:cubicBezTo>
                    <a:pt x="2031361" y="96520"/>
                    <a:pt x="2032631" y="96520"/>
                    <a:pt x="2034536" y="96520"/>
                  </a:cubicBezTo>
                  <a:cubicBezTo>
                    <a:pt x="2035806" y="96520"/>
                    <a:pt x="2037711" y="95885"/>
                    <a:pt x="2038981" y="95250"/>
                  </a:cubicBezTo>
                  <a:cubicBezTo>
                    <a:pt x="2040251" y="95250"/>
                    <a:pt x="2041521" y="93980"/>
                    <a:pt x="2042791" y="93345"/>
                  </a:cubicBezTo>
                  <a:cubicBezTo>
                    <a:pt x="2044061" y="93345"/>
                    <a:pt x="2045331" y="92075"/>
                    <a:pt x="2047236" y="90805"/>
                  </a:cubicBezTo>
                  <a:lnTo>
                    <a:pt x="2056126" y="100330"/>
                  </a:lnTo>
                  <a:cubicBezTo>
                    <a:pt x="2056126" y="100330"/>
                    <a:pt x="2052316" y="103505"/>
                    <a:pt x="2050411" y="104775"/>
                  </a:cubicBezTo>
                  <a:cubicBezTo>
                    <a:pt x="2048506" y="106045"/>
                    <a:pt x="2046601" y="106680"/>
                    <a:pt x="2044696" y="107950"/>
                  </a:cubicBezTo>
                  <a:cubicBezTo>
                    <a:pt x="2042791" y="108585"/>
                    <a:pt x="2040251" y="109855"/>
                    <a:pt x="2037711" y="109855"/>
                  </a:cubicBezTo>
                  <a:cubicBezTo>
                    <a:pt x="2035171" y="109855"/>
                    <a:pt x="2031996" y="110490"/>
                    <a:pt x="2028821" y="110490"/>
                  </a:cubicBezTo>
                  <a:cubicBezTo>
                    <a:pt x="2025646" y="110490"/>
                    <a:pt x="2022471" y="110490"/>
                    <a:pt x="2019296" y="109220"/>
                  </a:cubicBezTo>
                  <a:cubicBezTo>
                    <a:pt x="2016121" y="108585"/>
                    <a:pt x="2013581" y="107315"/>
                    <a:pt x="2011676" y="105410"/>
                  </a:cubicBezTo>
                  <a:cubicBezTo>
                    <a:pt x="2009136" y="104140"/>
                    <a:pt x="2007231" y="102235"/>
                    <a:pt x="2005326" y="100330"/>
                  </a:cubicBezTo>
                  <a:cubicBezTo>
                    <a:pt x="2003421" y="98425"/>
                    <a:pt x="2001516" y="95885"/>
                    <a:pt x="2000246" y="92710"/>
                  </a:cubicBezTo>
                  <a:cubicBezTo>
                    <a:pt x="1998341" y="89535"/>
                    <a:pt x="1997071" y="86360"/>
                    <a:pt x="1996436" y="82550"/>
                  </a:cubicBezTo>
                  <a:cubicBezTo>
                    <a:pt x="1995801" y="78740"/>
                    <a:pt x="1995166" y="74295"/>
                    <a:pt x="1995166" y="69850"/>
                  </a:cubicBezTo>
                  <a:cubicBezTo>
                    <a:pt x="1995166" y="63500"/>
                    <a:pt x="1995801" y="57150"/>
                    <a:pt x="1997706" y="52070"/>
                  </a:cubicBezTo>
                  <a:cubicBezTo>
                    <a:pt x="1999611" y="46990"/>
                    <a:pt x="2001516" y="42545"/>
                    <a:pt x="2004691" y="39370"/>
                  </a:cubicBezTo>
                  <a:cubicBezTo>
                    <a:pt x="2007866" y="36195"/>
                    <a:pt x="2011041" y="33020"/>
                    <a:pt x="2015486" y="31750"/>
                  </a:cubicBezTo>
                  <a:cubicBezTo>
                    <a:pt x="2019931" y="29845"/>
                    <a:pt x="2024376" y="29210"/>
                    <a:pt x="2029456" y="29210"/>
                  </a:cubicBezTo>
                  <a:close/>
                  <a:moveTo>
                    <a:pt x="1831336" y="29210"/>
                  </a:moveTo>
                  <a:cubicBezTo>
                    <a:pt x="1837051" y="29210"/>
                    <a:pt x="1841496" y="30480"/>
                    <a:pt x="1845941" y="32385"/>
                  </a:cubicBezTo>
                  <a:cubicBezTo>
                    <a:pt x="1849751" y="34290"/>
                    <a:pt x="1853561" y="37465"/>
                    <a:pt x="1856101" y="40640"/>
                  </a:cubicBezTo>
                  <a:cubicBezTo>
                    <a:pt x="1858641" y="44450"/>
                    <a:pt x="1860546" y="48260"/>
                    <a:pt x="1862451" y="53340"/>
                  </a:cubicBezTo>
                  <a:cubicBezTo>
                    <a:pt x="1863721" y="57785"/>
                    <a:pt x="1864356" y="62865"/>
                    <a:pt x="1864356" y="68580"/>
                  </a:cubicBezTo>
                  <a:lnTo>
                    <a:pt x="1863086" y="68580"/>
                  </a:lnTo>
                  <a:cubicBezTo>
                    <a:pt x="1863086" y="68580"/>
                    <a:pt x="1863086" y="71120"/>
                    <a:pt x="1863086" y="72390"/>
                  </a:cubicBezTo>
                  <a:cubicBezTo>
                    <a:pt x="1863086" y="73660"/>
                    <a:pt x="1863086" y="74295"/>
                    <a:pt x="1863086" y="75565"/>
                  </a:cubicBezTo>
                  <a:lnTo>
                    <a:pt x="1811651" y="75565"/>
                  </a:lnTo>
                  <a:cubicBezTo>
                    <a:pt x="1811651" y="79375"/>
                    <a:pt x="1812921" y="82550"/>
                    <a:pt x="1814191" y="85090"/>
                  </a:cubicBezTo>
                  <a:cubicBezTo>
                    <a:pt x="1815461" y="87630"/>
                    <a:pt x="1816731" y="90170"/>
                    <a:pt x="1818636" y="91440"/>
                  </a:cubicBezTo>
                  <a:cubicBezTo>
                    <a:pt x="1820541" y="93345"/>
                    <a:pt x="1822446" y="94615"/>
                    <a:pt x="1824351" y="95250"/>
                  </a:cubicBezTo>
                  <a:cubicBezTo>
                    <a:pt x="1826256" y="95885"/>
                    <a:pt x="1828796" y="96520"/>
                    <a:pt x="1831336" y="96520"/>
                  </a:cubicBezTo>
                  <a:cubicBezTo>
                    <a:pt x="1833241" y="96520"/>
                    <a:pt x="1834511" y="96520"/>
                    <a:pt x="1836416" y="96520"/>
                  </a:cubicBezTo>
                  <a:cubicBezTo>
                    <a:pt x="1837686" y="96520"/>
                    <a:pt x="1839591" y="95885"/>
                    <a:pt x="1840861" y="95250"/>
                  </a:cubicBezTo>
                  <a:cubicBezTo>
                    <a:pt x="1842131" y="95250"/>
                    <a:pt x="1843401" y="93980"/>
                    <a:pt x="1844671" y="93345"/>
                  </a:cubicBezTo>
                  <a:cubicBezTo>
                    <a:pt x="1845941" y="93345"/>
                    <a:pt x="1847211" y="92075"/>
                    <a:pt x="1849116" y="90805"/>
                  </a:cubicBezTo>
                  <a:lnTo>
                    <a:pt x="1858006" y="100330"/>
                  </a:lnTo>
                  <a:cubicBezTo>
                    <a:pt x="1858006" y="100330"/>
                    <a:pt x="1854196" y="103505"/>
                    <a:pt x="1852291" y="104775"/>
                  </a:cubicBezTo>
                  <a:cubicBezTo>
                    <a:pt x="1850386" y="106045"/>
                    <a:pt x="1848481" y="106680"/>
                    <a:pt x="1846576" y="107950"/>
                  </a:cubicBezTo>
                  <a:cubicBezTo>
                    <a:pt x="1844671" y="108585"/>
                    <a:pt x="1842131" y="109855"/>
                    <a:pt x="1839591" y="109855"/>
                  </a:cubicBezTo>
                  <a:cubicBezTo>
                    <a:pt x="1837051" y="109855"/>
                    <a:pt x="1833876" y="110490"/>
                    <a:pt x="1830701" y="110490"/>
                  </a:cubicBezTo>
                  <a:cubicBezTo>
                    <a:pt x="1827526" y="110490"/>
                    <a:pt x="1824351" y="110490"/>
                    <a:pt x="1821176" y="109220"/>
                  </a:cubicBezTo>
                  <a:cubicBezTo>
                    <a:pt x="1818001" y="108585"/>
                    <a:pt x="1815461" y="107315"/>
                    <a:pt x="1813556" y="105410"/>
                  </a:cubicBezTo>
                  <a:cubicBezTo>
                    <a:pt x="1811016" y="104140"/>
                    <a:pt x="1809111" y="102235"/>
                    <a:pt x="1807206" y="100330"/>
                  </a:cubicBezTo>
                  <a:cubicBezTo>
                    <a:pt x="1805301" y="98425"/>
                    <a:pt x="1803396" y="95885"/>
                    <a:pt x="1802126" y="92710"/>
                  </a:cubicBezTo>
                  <a:cubicBezTo>
                    <a:pt x="1800221" y="89535"/>
                    <a:pt x="1798951" y="86360"/>
                    <a:pt x="1798316" y="82550"/>
                  </a:cubicBezTo>
                  <a:cubicBezTo>
                    <a:pt x="1797681" y="78740"/>
                    <a:pt x="1797046" y="74295"/>
                    <a:pt x="1797046" y="69850"/>
                  </a:cubicBezTo>
                  <a:cubicBezTo>
                    <a:pt x="1797046" y="63500"/>
                    <a:pt x="1797681" y="57150"/>
                    <a:pt x="1799586" y="52070"/>
                  </a:cubicBezTo>
                  <a:cubicBezTo>
                    <a:pt x="1801491" y="46990"/>
                    <a:pt x="1803396" y="42545"/>
                    <a:pt x="1806571" y="39370"/>
                  </a:cubicBezTo>
                  <a:cubicBezTo>
                    <a:pt x="1809746" y="36195"/>
                    <a:pt x="1812921" y="33020"/>
                    <a:pt x="1817366" y="31750"/>
                  </a:cubicBezTo>
                  <a:cubicBezTo>
                    <a:pt x="1821811" y="29845"/>
                    <a:pt x="1826256" y="29210"/>
                    <a:pt x="1831336" y="29210"/>
                  </a:cubicBezTo>
                  <a:close/>
                  <a:moveTo>
                    <a:pt x="1501140" y="29210"/>
                  </a:moveTo>
                  <a:cubicBezTo>
                    <a:pt x="1503046" y="29210"/>
                    <a:pt x="1504951" y="29210"/>
                    <a:pt x="1506856" y="29210"/>
                  </a:cubicBezTo>
                  <a:cubicBezTo>
                    <a:pt x="1511301" y="29210"/>
                    <a:pt x="1515746" y="29845"/>
                    <a:pt x="1518920" y="31750"/>
                  </a:cubicBezTo>
                  <a:cubicBezTo>
                    <a:pt x="1522096" y="33020"/>
                    <a:pt x="1525271" y="35560"/>
                    <a:pt x="1527811" y="38100"/>
                  </a:cubicBezTo>
                  <a:cubicBezTo>
                    <a:pt x="1530351" y="41275"/>
                    <a:pt x="1531621" y="44450"/>
                    <a:pt x="1532891" y="48895"/>
                  </a:cubicBezTo>
                  <a:cubicBezTo>
                    <a:pt x="1534161" y="53340"/>
                    <a:pt x="1534796" y="58420"/>
                    <a:pt x="1534796" y="64135"/>
                  </a:cubicBezTo>
                  <a:lnTo>
                    <a:pt x="1534796" y="108585"/>
                  </a:lnTo>
                  <a:lnTo>
                    <a:pt x="1519556" y="108585"/>
                  </a:lnTo>
                  <a:lnTo>
                    <a:pt x="1518920" y="108585"/>
                  </a:lnTo>
                  <a:lnTo>
                    <a:pt x="1518920" y="64770"/>
                  </a:lnTo>
                  <a:cubicBezTo>
                    <a:pt x="1518920" y="57785"/>
                    <a:pt x="1517651" y="52070"/>
                    <a:pt x="1515111" y="48895"/>
                  </a:cubicBezTo>
                  <a:cubicBezTo>
                    <a:pt x="1512571" y="45085"/>
                    <a:pt x="1508761" y="43180"/>
                    <a:pt x="1503046" y="43180"/>
                  </a:cubicBezTo>
                  <a:cubicBezTo>
                    <a:pt x="1500506" y="43180"/>
                    <a:pt x="1498601" y="43180"/>
                    <a:pt x="1496061" y="44450"/>
                  </a:cubicBezTo>
                  <a:cubicBezTo>
                    <a:pt x="1494156" y="45085"/>
                    <a:pt x="1492250" y="46990"/>
                    <a:pt x="1490981" y="48260"/>
                  </a:cubicBezTo>
                  <a:cubicBezTo>
                    <a:pt x="1489711" y="50165"/>
                    <a:pt x="1488441" y="52070"/>
                    <a:pt x="1487806" y="54610"/>
                  </a:cubicBezTo>
                  <a:cubicBezTo>
                    <a:pt x="1487806" y="57150"/>
                    <a:pt x="1487170" y="59690"/>
                    <a:pt x="1487170" y="62865"/>
                  </a:cubicBezTo>
                  <a:lnTo>
                    <a:pt x="1487170" y="108585"/>
                  </a:lnTo>
                  <a:lnTo>
                    <a:pt x="1471931" y="108585"/>
                  </a:lnTo>
                  <a:lnTo>
                    <a:pt x="1471931" y="30480"/>
                  </a:lnTo>
                  <a:lnTo>
                    <a:pt x="1487170" y="30480"/>
                  </a:lnTo>
                  <a:lnTo>
                    <a:pt x="1487170" y="38100"/>
                  </a:lnTo>
                  <a:cubicBezTo>
                    <a:pt x="1487170" y="38100"/>
                    <a:pt x="1489076" y="35560"/>
                    <a:pt x="1490981" y="34290"/>
                  </a:cubicBezTo>
                  <a:cubicBezTo>
                    <a:pt x="1492250" y="33020"/>
                    <a:pt x="1494156" y="32385"/>
                    <a:pt x="1495426" y="31115"/>
                  </a:cubicBezTo>
                  <a:cubicBezTo>
                    <a:pt x="1497331" y="30480"/>
                    <a:pt x="1499236" y="29845"/>
                    <a:pt x="1501140" y="29210"/>
                  </a:cubicBezTo>
                  <a:close/>
                  <a:moveTo>
                    <a:pt x="1250316" y="29210"/>
                  </a:moveTo>
                  <a:cubicBezTo>
                    <a:pt x="1255396" y="29210"/>
                    <a:pt x="1259841" y="29845"/>
                    <a:pt x="1264286" y="31750"/>
                  </a:cubicBezTo>
                  <a:cubicBezTo>
                    <a:pt x="1268731" y="33655"/>
                    <a:pt x="1273176" y="35560"/>
                    <a:pt x="1276350" y="38100"/>
                  </a:cubicBezTo>
                  <a:lnTo>
                    <a:pt x="1278256" y="38100"/>
                  </a:lnTo>
                  <a:lnTo>
                    <a:pt x="1271271" y="50165"/>
                  </a:lnTo>
                  <a:cubicBezTo>
                    <a:pt x="1268095" y="47625"/>
                    <a:pt x="1264921" y="46355"/>
                    <a:pt x="1261746" y="45085"/>
                  </a:cubicBezTo>
                  <a:cubicBezTo>
                    <a:pt x="1258570" y="43815"/>
                    <a:pt x="1254761" y="43180"/>
                    <a:pt x="1250951" y="43180"/>
                  </a:cubicBezTo>
                  <a:cubicBezTo>
                    <a:pt x="1247141" y="43180"/>
                    <a:pt x="1244601" y="43815"/>
                    <a:pt x="1242696" y="45085"/>
                  </a:cubicBezTo>
                  <a:cubicBezTo>
                    <a:pt x="1240791" y="46355"/>
                    <a:pt x="1240156" y="48260"/>
                    <a:pt x="1240156" y="50165"/>
                  </a:cubicBezTo>
                  <a:cubicBezTo>
                    <a:pt x="1240156" y="51435"/>
                    <a:pt x="1240156" y="52070"/>
                    <a:pt x="1240156" y="52705"/>
                  </a:cubicBezTo>
                  <a:cubicBezTo>
                    <a:pt x="1240156" y="53340"/>
                    <a:pt x="1241426" y="54610"/>
                    <a:pt x="1242061" y="55245"/>
                  </a:cubicBezTo>
                  <a:cubicBezTo>
                    <a:pt x="1243331" y="55880"/>
                    <a:pt x="1244601" y="57150"/>
                    <a:pt x="1246506" y="57785"/>
                  </a:cubicBezTo>
                  <a:cubicBezTo>
                    <a:pt x="1248411" y="59055"/>
                    <a:pt x="1250951" y="59690"/>
                    <a:pt x="1253491" y="60960"/>
                  </a:cubicBezTo>
                  <a:cubicBezTo>
                    <a:pt x="1257936" y="62865"/>
                    <a:pt x="1261746" y="64135"/>
                    <a:pt x="1264921" y="66040"/>
                  </a:cubicBezTo>
                  <a:cubicBezTo>
                    <a:pt x="1268095" y="67310"/>
                    <a:pt x="1270635" y="69215"/>
                    <a:pt x="1273176" y="71120"/>
                  </a:cubicBezTo>
                  <a:cubicBezTo>
                    <a:pt x="1275080" y="73025"/>
                    <a:pt x="1276985" y="75565"/>
                    <a:pt x="1278256" y="78105"/>
                  </a:cubicBezTo>
                  <a:cubicBezTo>
                    <a:pt x="1279525" y="80645"/>
                    <a:pt x="1280161" y="83820"/>
                    <a:pt x="1280161" y="87630"/>
                  </a:cubicBezTo>
                  <a:cubicBezTo>
                    <a:pt x="1280161" y="92075"/>
                    <a:pt x="1279525" y="95250"/>
                    <a:pt x="1277621" y="98425"/>
                  </a:cubicBezTo>
                  <a:cubicBezTo>
                    <a:pt x="1275716" y="101600"/>
                    <a:pt x="1273811" y="103505"/>
                    <a:pt x="1271271" y="105410"/>
                  </a:cubicBezTo>
                  <a:cubicBezTo>
                    <a:pt x="1268731" y="107315"/>
                    <a:pt x="1265556" y="108585"/>
                    <a:pt x="1261746" y="109220"/>
                  </a:cubicBezTo>
                  <a:cubicBezTo>
                    <a:pt x="1257936" y="109855"/>
                    <a:pt x="1254761" y="110490"/>
                    <a:pt x="1250951" y="110490"/>
                  </a:cubicBezTo>
                  <a:cubicBezTo>
                    <a:pt x="1245871" y="110490"/>
                    <a:pt x="1240791" y="109855"/>
                    <a:pt x="1235711" y="107950"/>
                  </a:cubicBezTo>
                  <a:cubicBezTo>
                    <a:pt x="1229996" y="106045"/>
                    <a:pt x="1225551" y="103505"/>
                    <a:pt x="1221106" y="100965"/>
                  </a:cubicBezTo>
                  <a:lnTo>
                    <a:pt x="1228091" y="89535"/>
                  </a:lnTo>
                  <a:cubicBezTo>
                    <a:pt x="1231901" y="92075"/>
                    <a:pt x="1235711" y="93980"/>
                    <a:pt x="1239521" y="95250"/>
                  </a:cubicBezTo>
                  <a:cubicBezTo>
                    <a:pt x="1243331" y="96520"/>
                    <a:pt x="1247141" y="97155"/>
                    <a:pt x="1250951" y="97155"/>
                  </a:cubicBezTo>
                  <a:cubicBezTo>
                    <a:pt x="1256031" y="97155"/>
                    <a:pt x="1259205" y="96520"/>
                    <a:pt x="1261746" y="94615"/>
                  </a:cubicBezTo>
                  <a:cubicBezTo>
                    <a:pt x="1264286" y="93345"/>
                    <a:pt x="1264921" y="90805"/>
                    <a:pt x="1264921" y="88265"/>
                  </a:cubicBezTo>
                  <a:cubicBezTo>
                    <a:pt x="1264921" y="86995"/>
                    <a:pt x="1264921" y="85725"/>
                    <a:pt x="1263650" y="84455"/>
                  </a:cubicBezTo>
                  <a:cubicBezTo>
                    <a:pt x="1263015" y="83185"/>
                    <a:pt x="1261746" y="82550"/>
                    <a:pt x="1259841" y="81280"/>
                  </a:cubicBezTo>
                  <a:cubicBezTo>
                    <a:pt x="1258570" y="80010"/>
                    <a:pt x="1256666" y="79375"/>
                    <a:pt x="1254125" y="78105"/>
                  </a:cubicBezTo>
                  <a:cubicBezTo>
                    <a:pt x="1252221" y="77470"/>
                    <a:pt x="1249681" y="76200"/>
                    <a:pt x="1246506" y="74930"/>
                  </a:cubicBezTo>
                  <a:cubicBezTo>
                    <a:pt x="1242061" y="73025"/>
                    <a:pt x="1238886" y="71755"/>
                    <a:pt x="1235711" y="69850"/>
                  </a:cubicBezTo>
                  <a:cubicBezTo>
                    <a:pt x="1232536" y="67945"/>
                    <a:pt x="1230631" y="66675"/>
                    <a:pt x="1228726" y="64770"/>
                  </a:cubicBezTo>
                  <a:cubicBezTo>
                    <a:pt x="1226821" y="62865"/>
                    <a:pt x="1225551" y="60960"/>
                    <a:pt x="1224916" y="58420"/>
                  </a:cubicBezTo>
                  <a:cubicBezTo>
                    <a:pt x="1224281" y="55880"/>
                    <a:pt x="1223646" y="53340"/>
                    <a:pt x="1223646" y="50165"/>
                  </a:cubicBezTo>
                  <a:cubicBezTo>
                    <a:pt x="1223646" y="46990"/>
                    <a:pt x="1224281" y="43815"/>
                    <a:pt x="1225551" y="40640"/>
                  </a:cubicBezTo>
                  <a:cubicBezTo>
                    <a:pt x="1226821" y="38100"/>
                    <a:pt x="1228726" y="35560"/>
                    <a:pt x="1231266" y="34290"/>
                  </a:cubicBezTo>
                  <a:cubicBezTo>
                    <a:pt x="1233806" y="32385"/>
                    <a:pt x="1236346" y="31115"/>
                    <a:pt x="1239521" y="30480"/>
                  </a:cubicBezTo>
                  <a:cubicBezTo>
                    <a:pt x="1242696" y="29845"/>
                    <a:pt x="1246506" y="29210"/>
                    <a:pt x="1250316" y="29210"/>
                  </a:cubicBezTo>
                  <a:close/>
                  <a:moveTo>
                    <a:pt x="1180466" y="29210"/>
                  </a:moveTo>
                  <a:cubicBezTo>
                    <a:pt x="1186181" y="29210"/>
                    <a:pt x="1190626" y="30480"/>
                    <a:pt x="1195071" y="32385"/>
                  </a:cubicBezTo>
                  <a:cubicBezTo>
                    <a:pt x="1198881" y="34290"/>
                    <a:pt x="1202691" y="37465"/>
                    <a:pt x="1205231" y="40640"/>
                  </a:cubicBezTo>
                  <a:cubicBezTo>
                    <a:pt x="1207771" y="44450"/>
                    <a:pt x="1209676" y="48260"/>
                    <a:pt x="1211581" y="53340"/>
                  </a:cubicBezTo>
                  <a:cubicBezTo>
                    <a:pt x="1212851" y="57785"/>
                    <a:pt x="1213486" y="62865"/>
                    <a:pt x="1213486" y="68580"/>
                  </a:cubicBezTo>
                  <a:lnTo>
                    <a:pt x="1212216" y="68580"/>
                  </a:lnTo>
                  <a:cubicBezTo>
                    <a:pt x="1212216" y="68580"/>
                    <a:pt x="1212216" y="71120"/>
                    <a:pt x="1212216" y="72390"/>
                  </a:cubicBezTo>
                  <a:cubicBezTo>
                    <a:pt x="1212216" y="73660"/>
                    <a:pt x="1212216" y="74295"/>
                    <a:pt x="1212216" y="75565"/>
                  </a:cubicBezTo>
                  <a:lnTo>
                    <a:pt x="1160781" y="75565"/>
                  </a:lnTo>
                  <a:cubicBezTo>
                    <a:pt x="1160781" y="79375"/>
                    <a:pt x="1162051" y="82550"/>
                    <a:pt x="1163321" y="85090"/>
                  </a:cubicBezTo>
                  <a:cubicBezTo>
                    <a:pt x="1164591" y="87630"/>
                    <a:pt x="1165861" y="90170"/>
                    <a:pt x="1167766" y="91440"/>
                  </a:cubicBezTo>
                  <a:cubicBezTo>
                    <a:pt x="1169671" y="93345"/>
                    <a:pt x="1171576" y="94615"/>
                    <a:pt x="1173481" y="95250"/>
                  </a:cubicBezTo>
                  <a:cubicBezTo>
                    <a:pt x="1175386" y="95885"/>
                    <a:pt x="1177926" y="96520"/>
                    <a:pt x="1180466" y="96520"/>
                  </a:cubicBezTo>
                  <a:cubicBezTo>
                    <a:pt x="1182371" y="96520"/>
                    <a:pt x="1183641" y="96520"/>
                    <a:pt x="1185546" y="96520"/>
                  </a:cubicBezTo>
                  <a:cubicBezTo>
                    <a:pt x="1186816" y="96520"/>
                    <a:pt x="1188721" y="95885"/>
                    <a:pt x="1189991" y="95250"/>
                  </a:cubicBezTo>
                  <a:cubicBezTo>
                    <a:pt x="1191261" y="95250"/>
                    <a:pt x="1192531" y="93980"/>
                    <a:pt x="1193801" y="93345"/>
                  </a:cubicBezTo>
                  <a:cubicBezTo>
                    <a:pt x="1195071" y="93345"/>
                    <a:pt x="1196341" y="92075"/>
                    <a:pt x="1198246" y="90805"/>
                  </a:cubicBezTo>
                  <a:lnTo>
                    <a:pt x="1207136" y="100330"/>
                  </a:lnTo>
                  <a:cubicBezTo>
                    <a:pt x="1207136" y="100330"/>
                    <a:pt x="1203326" y="103505"/>
                    <a:pt x="1201421" y="104775"/>
                  </a:cubicBezTo>
                  <a:cubicBezTo>
                    <a:pt x="1199516" y="106045"/>
                    <a:pt x="1197611" y="106680"/>
                    <a:pt x="1195706" y="107950"/>
                  </a:cubicBezTo>
                  <a:cubicBezTo>
                    <a:pt x="1193801" y="108585"/>
                    <a:pt x="1191261" y="109855"/>
                    <a:pt x="1188721" y="109855"/>
                  </a:cubicBezTo>
                  <a:cubicBezTo>
                    <a:pt x="1186181" y="109855"/>
                    <a:pt x="1183006" y="110490"/>
                    <a:pt x="1179831" y="110490"/>
                  </a:cubicBezTo>
                  <a:cubicBezTo>
                    <a:pt x="1176656" y="110490"/>
                    <a:pt x="1173481" y="110490"/>
                    <a:pt x="1170306" y="109220"/>
                  </a:cubicBezTo>
                  <a:cubicBezTo>
                    <a:pt x="1167131" y="108585"/>
                    <a:pt x="1164591" y="107315"/>
                    <a:pt x="1162686" y="105410"/>
                  </a:cubicBezTo>
                  <a:cubicBezTo>
                    <a:pt x="1160781" y="103505"/>
                    <a:pt x="1158241" y="102235"/>
                    <a:pt x="1156336" y="100330"/>
                  </a:cubicBezTo>
                  <a:cubicBezTo>
                    <a:pt x="1154431" y="98425"/>
                    <a:pt x="1152526" y="95885"/>
                    <a:pt x="1151256" y="92710"/>
                  </a:cubicBezTo>
                  <a:cubicBezTo>
                    <a:pt x="1149351" y="89535"/>
                    <a:pt x="1148081" y="86360"/>
                    <a:pt x="1147446" y="82550"/>
                  </a:cubicBezTo>
                  <a:cubicBezTo>
                    <a:pt x="1146811" y="78740"/>
                    <a:pt x="1146176" y="74295"/>
                    <a:pt x="1146176" y="69850"/>
                  </a:cubicBezTo>
                  <a:cubicBezTo>
                    <a:pt x="1146176" y="63500"/>
                    <a:pt x="1146811" y="57150"/>
                    <a:pt x="1148716" y="52070"/>
                  </a:cubicBezTo>
                  <a:cubicBezTo>
                    <a:pt x="1150621" y="46990"/>
                    <a:pt x="1152526" y="42545"/>
                    <a:pt x="1155701" y="39370"/>
                  </a:cubicBezTo>
                  <a:cubicBezTo>
                    <a:pt x="1158876" y="36195"/>
                    <a:pt x="1162051" y="33020"/>
                    <a:pt x="1166496" y="31750"/>
                  </a:cubicBezTo>
                  <a:cubicBezTo>
                    <a:pt x="1170941" y="29845"/>
                    <a:pt x="1175386" y="29210"/>
                    <a:pt x="1180466" y="29210"/>
                  </a:cubicBezTo>
                  <a:close/>
                  <a:moveTo>
                    <a:pt x="901065" y="29210"/>
                  </a:moveTo>
                  <a:cubicBezTo>
                    <a:pt x="906780" y="29210"/>
                    <a:pt x="911225" y="30480"/>
                    <a:pt x="915670" y="32385"/>
                  </a:cubicBezTo>
                  <a:cubicBezTo>
                    <a:pt x="919480" y="34290"/>
                    <a:pt x="923290" y="37465"/>
                    <a:pt x="925830" y="40640"/>
                  </a:cubicBezTo>
                  <a:cubicBezTo>
                    <a:pt x="928370" y="44450"/>
                    <a:pt x="930275" y="48260"/>
                    <a:pt x="932180" y="53340"/>
                  </a:cubicBezTo>
                  <a:cubicBezTo>
                    <a:pt x="933450" y="57785"/>
                    <a:pt x="934085" y="62865"/>
                    <a:pt x="934085" y="68580"/>
                  </a:cubicBezTo>
                  <a:lnTo>
                    <a:pt x="932815" y="68580"/>
                  </a:lnTo>
                  <a:cubicBezTo>
                    <a:pt x="932815" y="68580"/>
                    <a:pt x="932815" y="71120"/>
                    <a:pt x="932815" y="72390"/>
                  </a:cubicBezTo>
                  <a:cubicBezTo>
                    <a:pt x="932815" y="73660"/>
                    <a:pt x="932815" y="74295"/>
                    <a:pt x="932815" y="75565"/>
                  </a:cubicBezTo>
                  <a:lnTo>
                    <a:pt x="881380" y="75565"/>
                  </a:lnTo>
                  <a:cubicBezTo>
                    <a:pt x="881380" y="79375"/>
                    <a:pt x="882650" y="82550"/>
                    <a:pt x="883920" y="85090"/>
                  </a:cubicBezTo>
                  <a:cubicBezTo>
                    <a:pt x="885190" y="87630"/>
                    <a:pt x="886460" y="90170"/>
                    <a:pt x="888365" y="91440"/>
                  </a:cubicBezTo>
                  <a:cubicBezTo>
                    <a:pt x="890270" y="93345"/>
                    <a:pt x="892175" y="94615"/>
                    <a:pt x="894080" y="95250"/>
                  </a:cubicBezTo>
                  <a:cubicBezTo>
                    <a:pt x="895985" y="95885"/>
                    <a:pt x="898525" y="96520"/>
                    <a:pt x="901065" y="96520"/>
                  </a:cubicBezTo>
                  <a:cubicBezTo>
                    <a:pt x="902970" y="96520"/>
                    <a:pt x="904240" y="96520"/>
                    <a:pt x="906145" y="96520"/>
                  </a:cubicBezTo>
                  <a:cubicBezTo>
                    <a:pt x="907415" y="96520"/>
                    <a:pt x="909320" y="95885"/>
                    <a:pt x="910590" y="95250"/>
                  </a:cubicBezTo>
                  <a:cubicBezTo>
                    <a:pt x="911860" y="95250"/>
                    <a:pt x="913130" y="93980"/>
                    <a:pt x="914400" y="93345"/>
                  </a:cubicBezTo>
                  <a:cubicBezTo>
                    <a:pt x="915670" y="93345"/>
                    <a:pt x="916940" y="92075"/>
                    <a:pt x="918845" y="90805"/>
                  </a:cubicBezTo>
                  <a:lnTo>
                    <a:pt x="927735" y="100330"/>
                  </a:lnTo>
                  <a:cubicBezTo>
                    <a:pt x="927735" y="100330"/>
                    <a:pt x="923925" y="103505"/>
                    <a:pt x="922020" y="104775"/>
                  </a:cubicBezTo>
                  <a:cubicBezTo>
                    <a:pt x="920115" y="106045"/>
                    <a:pt x="918210" y="106680"/>
                    <a:pt x="916305" y="107950"/>
                  </a:cubicBezTo>
                  <a:cubicBezTo>
                    <a:pt x="914400" y="108585"/>
                    <a:pt x="911860" y="109855"/>
                    <a:pt x="909320" y="109855"/>
                  </a:cubicBezTo>
                  <a:cubicBezTo>
                    <a:pt x="906780" y="109855"/>
                    <a:pt x="903605" y="110490"/>
                    <a:pt x="900430" y="110490"/>
                  </a:cubicBezTo>
                  <a:cubicBezTo>
                    <a:pt x="897255" y="110490"/>
                    <a:pt x="894080" y="110490"/>
                    <a:pt x="890905" y="109220"/>
                  </a:cubicBezTo>
                  <a:cubicBezTo>
                    <a:pt x="887730" y="108585"/>
                    <a:pt x="885190" y="107315"/>
                    <a:pt x="883285" y="105410"/>
                  </a:cubicBezTo>
                  <a:cubicBezTo>
                    <a:pt x="881380" y="103505"/>
                    <a:pt x="878840" y="102235"/>
                    <a:pt x="876935" y="100330"/>
                  </a:cubicBezTo>
                  <a:cubicBezTo>
                    <a:pt x="875030" y="98425"/>
                    <a:pt x="873125" y="95885"/>
                    <a:pt x="871855" y="92710"/>
                  </a:cubicBezTo>
                  <a:cubicBezTo>
                    <a:pt x="869950" y="89535"/>
                    <a:pt x="868680" y="86360"/>
                    <a:pt x="868045" y="82550"/>
                  </a:cubicBezTo>
                  <a:cubicBezTo>
                    <a:pt x="867410" y="78740"/>
                    <a:pt x="866775" y="74295"/>
                    <a:pt x="866775" y="69850"/>
                  </a:cubicBezTo>
                  <a:cubicBezTo>
                    <a:pt x="866775" y="63500"/>
                    <a:pt x="867410" y="57150"/>
                    <a:pt x="869315" y="52070"/>
                  </a:cubicBezTo>
                  <a:cubicBezTo>
                    <a:pt x="871220" y="46990"/>
                    <a:pt x="873125" y="42545"/>
                    <a:pt x="876300" y="39370"/>
                  </a:cubicBezTo>
                  <a:cubicBezTo>
                    <a:pt x="879475" y="36195"/>
                    <a:pt x="882650" y="33020"/>
                    <a:pt x="887095" y="31750"/>
                  </a:cubicBezTo>
                  <a:cubicBezTo>
                    <a:pt x="891540" y="29845"/>
                    <a:pt x="895985" y="29210"/>
                    <a:pt x="901065" y="29210"/>
                  </a:cubicBezTo>
                  <a:close/>
                  <a:moveTo>
                    <a:pt x="668656" y="29210"/>
                  </a:moveTo>
                  <a:cubicBezTo>
                    <a:pt x="671830" y="29210"/>
                    <a:pt x="674370" y="29210"/>
                    <a:pt x="676275" y="29845"/>
                  </a:cubicBezTo>
                  <a:cubicBezTo>
                    <a:pt x="678181" y="29845"/>
                    <a:pt x="680086" y="31115"/>
                    <a:pt x="681991" y="32385"/>
                  </a:cubicBezTo>
                  <a:lnTo>
                    <a:pt x="678181" y="46990"/>
                  </a:lnTo>
                  <a:lnTo>
                    <a:pt x="676910" y="46990"/>
                  </a:lnTo>
                  <a:cubicBezTo>
                    <a:pt x="676910" y="46990"/>
                    <a:pt x="673736" y="45085"/>
                    <a:pt x="671830" y="45085"/>
                  </a:cubicBezTo>
                  <a:cubicBezTo>
                    <a:pt x="669925" y="45085"/>
                    <a:pt x="668020" y="44450"/>
                    <a:pt x="665480" y="44450"/>
                  </a:cubicBezTo>
                  <a:cubicBezTo>
                    <a:pt x="660400" y="44450"/>
                    <a:pt x="656590" y="46355"/>
                    <a:pt x="654050" y="49530"/>
                  </a:cubicBezTo>
                  <a:cubicBezTo>
                    <a:pt x="651510" y="52705"/>
                    <a:pt x="650240" y="57785"/>
                    <a:pt x="650240" y="64770"/>
                  </a:cubicBezTo>
                  <a:lnTo>
                    <a:pt x="650240" y="109220"/>
                  </a:lnTo>
                  <a:lnTo>
                    <a:pt x="635000" y="109220"/>
                  </a:lnTo>
                  <a:lnTo>
                    <a:pt x="635000" y="31115"/>
                  </a:lnTo>
                  <a:lnTo>
                    <a:pt x="650240" y="31115"/>
                  </a:lnTo>
                  <a:lnTo>
                    <a:pt x="650240" y="38735"/>
                  </a:lnTo>
                  <a:cubicBezTo>
                    <a:pt x="650240" y="38735"/>
                    <a:pt x="652145" y="36195"/>
                    <a:pt x="653416" y="34925"/>
                  </a:cubicBezTo>
                  <a:cubicBezTo>
                    <a:pt x="654685" y="33655"/>
                    <a:pt x="655955" y="33020"/>
                    <a:pt x="657861" y="31750"/>
                  </a:cubicBezTo>
                  <a:cubicBezTo>
                    <a:pt x="659130" y="31115"/>
                    <a:pt x="661035" y="30480"/>
                    <a:pt x="662940" y="29845"/>
                  </a:cubicBezTo>
                  <a:cubicBezTo>
                    <a:pt x="664845" y="29845"/>
                    <a:pt x="666751" y="29210"/>
                    <a:pt x="668656" y="29210"/>
                  </a:cubicBezTo>
                  <a:close/>
                  <a:moveTo>
                    <a:pt x="586739" y="29210"/>
                  </a:moveTo>
                  <a:cubicBezTo>
                    <a:pt x="592454" y="29210"/>
                    <a:pt x="596899" y="30480"/>
                    <a:pt x="601344" y="32385"/>
                  </a:cubicBezTo>
                  <a:cubicBezTo>
                    <a:pt x="605154" y="34290"/>
                    <a:pt x="608964" y="37465"/>
                    <a:pt x="611504" y="40640"/>
                  </a:cubicBezTo>
                  <a:cubicBezTo>
                    <a:pt x="614044" y="44450"/>
                    <a:pt x="615949" y="48260"/>
                    <a:pt x="617854" y="53340"/>
                  </a:cubicBezTo>
                  <a:cubicBezTo>
                    <a:pt x="619124" y="57785"/>
                    <a:pt x="619759" y="62865"/>
                    <a:pt x="619759" y="68580"/>
                  </a:cubicBezTo>
                  <a:lnTo>
                    <a:pt x="618489" y="68580"/>
                  </a:lnTo>
                  <a:cubicBezTo>
                    <a:pt x="618489" y="68580"/>
                    <a:pt x="618489" y="71120"/>
                    <a:pt x="618489" y="72390"/>
                  </a:cubicBezTo>
                  <a:cubicBezTo>
                    <a:pt x="618489" y="73660"/>
                    <a:pt x="618489" y="74295"/>
                    <a:pt x="618489" y="75565"/>
                  </a:cubicBezTo>
                  <a:lnTo>
                    <a:pt x="567054" y="75565"/>
                  </a:lnTo>
                  <a:cubicBezTo>
                    <a:pt x="567054" y="79375"/>
                    <a:pt x="568324" y="82550"/>
                    <a:pt x="569594" y="85090"/>
                  </a:cubicBezTo>
                  <a:cubicBezTo>
                    <a:pt x="570864" y="87630"/>
                    <a:pt x="572134" y="90170"/>
                    <a:pt x="574039" y="91440"/>
                  </a:cubicBezTo>
                  <a:cubicBezTo>
                    <a:pt x="575944" y="93345"/>
                    <a:pt x="577849" y="94615"/>
                    <a:pt x="579754" y="95250"/>
                  </a:cubicBezTo>
                  <a:cubicBezTo>
                    <a:pt x="581659" y="95885"/>
                    <a:pt x="584199" y="96520"/>
                    <a:pt x="586739" y="96520"/>
                  </a:cubicBezTo>
                  <a:cubicBezTo>
                    <a:pt x="588644" y="96520"/>
                    <a:pt x="589914" y="96520"/>
                    <a:pt x="591819" y="96520"/>
                  </a:cubicBezTo>
                  <a:cubicBezTo>
                    <a:pt x="593089" y="96520"/>
                    <a:pt x="594994" y="95885"/>
                    <a:pt x="596264" y="95250"/>
                  </a:cubicBezTo>
                  <a:cubicBezTo>
                    <a:pt x="597534" y="95250"/>
                    <a:pt x="598804" y="93980"/>
                    <a:pt x="600074" y="93345"/>
                  </a:cubicBezTo>
                  <a:cubicBezTo>
                    <a:pt x="601344" y="93345"/>
                    <a:pt x="602614" y="92075"/>
                    <a:pt x="604519" y="90805"/>
                  </a:cubicBezTo>
                  <a:lnTo>
                    <a:pt x="613409" y="100330"/>
                  </a:lnTo>
                  <a:cubicBezTo>
                    <a:pt x="613409" y="100330"/>
                    <a:pt x="609599" y="103505"/>
                    <a:pt x="607694" y="104775"/>
                  </a:cubicBezTo>
                  <a:cubicBezTo>
                    <a:pt x="605789" y="106045"/>
                    <a:pt x="603884" y="106680"/>
                    <a:pt x="601979" y="107950"/>
                  </a:cubicBezTo>
                  <a:cubicBezTo>
                    <a:pt x="600074" y="108585"/>
                    <a:pt x="597534" y="109855"/>
                    <a:pt x="594994" y="109855"/>
                  </a:cubicBezTo>
                  <a:cubicBezTo>
                    <a:pt x="592454" y="109855"/>
                    <a:pt x="589279" y="110490"/>
                    <a:pt x="586104" y="110490"/>
                  </a:cubicBezTo>
                  <a:cubicBezTo>
                    <a:pt x="582929" y="110490"/>
                    <a:pt x="579754" y="110490"/>
                    <a:pt x="576579" y="109220"/>
                  </a:cubicBezTo>
                  <a:cubicBezTo>
                    <a:pt x="573404" y="108585"/>
                    <a:pt x="570864" y="107315"/>
                    <a:pt x="568959" y="105410"/>
                  </a:cubicBezTo>
                  <a:cubicBezTo>
                    <a:pt x="566419" y="104140"/>
                    <a:pt x="564514" y="102235"/>
                    <a:pt x="562609" y="100330"/>
                  </a:cubicBezTo>
                  <a:cubicBezTo>
                    <a:pt x="560704" y="98425"/>
                    <a:pt x="558799" y="95885"/>
                    <a:pt x="557529" y="92710"/>
                  </a:cubicBezTo>
                  <a:cubicBezTo>
                    <a:pt x="555624" y="89535"/>
                    <a:pt x="554354" y="86360"/>
                    <a:pt x="553719" y="82550"/>
                  </a:cubicBezTo>
                  <a:cubicBezTo>
                    <a:pt x="553084" y="78740"/>
                    <a:pt x="552449" y="74295"/>
                    <a:pt x="552449" y="69850"/>
                  </a:cubicBezTo>
                  <a:cubicBezTo>
                    <a:pt x="552449" y="63500"/>
                    <a:pt x="553084" y="57150"/>
                    <a:pt x="554989" y="52070"/>
                  </a:cubicBezTo>
                  <a:cubicBezTo>
                    <a:pt x="556894" y="46990"/>
                    <a:pt x="558799" y="42545"/>
                    <a:pt x="561974" y="39370"/>
                  </a:cubicBezTo>
                  <a:cubicBezTo>
                    <a:pt x="565149" y="36195"/>
                    <a:pt x="568324" y="33020"/>
                    <a:pt x="572769" y="31750"/>
                  </a:cubicBezTo>
                  <a:cubicBezTo>
                    <a:pt x="577214" y="29845"/>
                    <a:pt x="581659" y="29210"/>
                    <a:pt x="586739" y="29210"/>
                  </a:cubicBezTo>
                  <a:close/>
                  <a:moveTo>
                    <a:pt x="400050" y="29210"/>
                  </a:moveTo>
                  <a:cubicBezTo>
                    <a:pt x="405765" y="29210"/>
                    <a:pt x="410210" y="30480"/>
                    <a:pt x="414655" y="32385"/>
                  </a:cubicBezTo>
                  <a:cubicBezTo>
                    <a:pt x="418465" y="34290"/>
                    <a:pt x="422275" y="37465"/>
                    <a:pt x="424815" y="40640"/>
                  </a:cubicBezTo>
                  <a:cubicBezTo>
                    <a:pt x="427355" y="44450"/>
                    <a:pt x="429260" y="48260"/>
                    <a:pt x="431165" y="53340"/>
                  </a:cubicBezTo>
                  <a:cubicBezTo>
                    <a:pt x="432435" y="57785"/>
                    <a:pt x="433070" y="62865"/>
                    <a:pt x="433070" y="68580"/>
                  </a:cubicBezTo>
                  <a:lnTo>
                    <a:pt x="431800" y="68580"/>
                  </a:lnTo>
                  <a:cubicBezTo>
                    <a:pt x="431800" y="68580"/>
                    <a:pt x="431800" y="71120"/>
                    <a:pt x="431800" y="72390"/>
                  </a:cubicBezTo>
                  <a:cubicBezTo>
                    <a:pt x="431800" y="73660"/>
                    <a:pt x="431800" y="74295"/>
                    <a:pt x="431800" y="75565"/>
                  </a:cubicBezTo>
                  <a:lnTo>
                    <a:pt x="380365" y="75565"/>
                  </a:lnTo>
                  <a:cubicBezTo>
                    <a:pt x="380365" y="79375"/>
                    <a:pt x="381635" y="82550"/>
                    <a:pt x="382905" y="85090"/>
                  </a:cubicBezTo>
                  <a:cubicBezTo>
                    <a:pt x="384175" y="87630"/>
                    <a:pt x="385445" y="90170"/>
                    <a:pt x="387350" y="91440"/>
                  </a:cubicBezTo>
                  <a:cubicBezTo>
                    <a:pt x="389255" y="93345"/>
                    <a:pt x="391160" y="94615"/>
                    <a:pt x="393065" y="95250"/>
                  </a:cubicBezTo>
                  <a:cubicBezTo>
                    <a:pt x="394970" y="95885"/>
                    <a:pt x="397510" y="96520"/>
                    <a:pt x="400050" y="96520"/>
                  </a:cubicBezTo>
                  <a:cubicBezTo>
                    <a:pt x="401955" y="96520"/>
                    <a:pt x="403225" y="96520"/>
                    <a:pt x="405130" y="96520"/>
                  </a:cubicBezTo>
                  <a:cubicBezTo>
                    <a:pt x="406400" y="96520"/>
                    <a:pt x="408305" y="95885"/>
                    <a:pt x="409575" y="95250"/>
                  </a:cubicBezTo>
                  <a:cubicBezTo>
                    <a:pt x="410845" y="95250"/>
                    <a:pt x="412115" y="93980"/>
                    <a:pt x="413385" y="93345"/>
                  </a:cubicBezTo>
                  <a:cubicBezTo>
                    <a:pt x="414655" y="93345"/>
                    <a:pt x="415925" y="92075"/>
                    <a:pt x="417830" y="90805"/>
                  </a:cubicBezTo>
                  <a:lnTo>
                    <a:pt x="426720" y="100330"/>
                  </a:lnTo>
                  <a:cubicBezTo>
                    <a:pt x="426720" y="100330"/>
                    <a:pt x="422910" y="103505"/>
                    <a:pt x="421005" y="104775"/>
                  </a:cubicBezTo>
                  <a:cubicBezTo>
                    <a:pt x="419100" y="106045"/>
                    <a:pt x="417195" y="106680"/>
                    <a:pt x="415290" y="107950"/>
                  </a:cubicBezTo>
                  <a:cubicBezTo>
                    <a:pt x="413385" y="108585"/>
                    <a:pt x="410845" y="109855"/>
                    <a:pt x="408305" y="109855"/>
                  </a:cubicBezTo>
                  <a:cubicBezTo>
                    <a:pt x="405765" y="109855"/>
                    <a:pt x="402590" y="110490"/>
                    <a:pt x="399415" y="110490"/>
                  </a:cubicBezTo>
                  <a:cubicBezTo>
                    <a:pt x="396240" y="110490"/>
                    <a:pt x="393065" y="110490"/>
                    <a:pt x="389890" y="109220"/>
                  </a:cubicBezTo>
                  <a:cubicBezTo>
                    <a:pt x="386715" y="108585"/>
                    <a:pt x="384175" y="107315"/>
                    <a:pt x="382270" y="105410"/>
                  </a:cubicBezTo>
                  <a:cubicBezTo>
                    <a:pt x="380365" y="103505"/>
                    <a:pt x="377825" y="102235"/>
                    <a:pt x="375920" y="100330"/>
                  </a:cubicBezTo>
                  <a:cubicBezTo>
                    <a:pt x="374015" y="98425"/>
                    <a:pt x="372110" y="95885"/>
                    <a:pt x="370840" y="92710"/>
                  </a:cubicBezTo>
                  <a:cubicBezTo>
                    <a:pt x="368935" y="89535"/>
                    <a:pt x="367665" y="86360"/>
                    <a:pt x="367030" y="82550"/>
                  </a:cubicBezTo>
                  <a:cubicBezTo>
                    <a:pt x="366395" y="78740"/>
                    <a:pt x="365760" y="74295"/>
                    <a:pt x="365760" y="69850"/>
                  </a:cubicBezTo>
                  <a:cubicBezTo>
                    <a:pt x="365760" y="63500"/>
                    <a:pt x="366395" y="57150"/>
                    <a:pt x="368300" y="52070"/>
                  </a:cubicBezTo>
                  <a:cubicBezTo>
                    <a:pt x="370205" y="46990"/>
                    <a:pt x="372110" y="42545"/>
                    <a:pt x="375285" y="39370"/>
                  </a:cubicBezTo>
                  <a:cubicBezTo>
                    <a:pt x="378460" y="36195"/>
                    <a:pt x="381635" y="33020"/>
                    <a:pt x="386080" y="31750"/>
                  </a:cubicBezTo>
                  <a:cubicBezTo>
                    <a:pt x="390525" y="29845"/>
                    <a:pt x="394970" y="29210"/>
                    <a:pt x="400050" y="29210"/>
                  </a:cubicBezTo>
                  <a:close/>
                  <a:moveTo>
                    <a:pt x="201930" y="29210"/>
                  </a:moveTo>
                  <a:cubicBezTo>
                    <a:pt x="207645" y="29210"/>
                    <a:pt x="212090" y="30480"/>
                    <a:pt x="216535" y="32385"/>
                  </a:cubicBezTo>
                  <a:cubicBezTo>
                    <a:pt x="220345" y="34290"/>
                    <a:pt x="224155" y="37465"/>
                    <a:pt x="226695" y="40640"/>
                  </a:cubicBezTo>
                  <a:cubicBezTo>
                    <a:pt x="229235" y="44450"/>
                    <a:pt x="231140" y="48260"/>
                    <a:pt x="233045" y="53340"/>
                  </a:cubicBezTo>
                  <a:cubicBezTo>
                    <a:pt x="234315" y="57785"/>
                    <a:pt x="234950" y="62865"/>
                    <a:pt x="234950" y="68580"/>
                  </a:cubicBezTo>
                  <a:lnTo>
                    <a:pt x="233680" y="68580"/>
                  </a:lnTo>
                  <a:cubicBezTo>
                    <a:pt x="233680" y="68580"/>
                    <a:pt x="233680" y="71120"/>
                    <a:pt x="233680" y="72390"/>
                  </a:cubicBezTo>
                  <a:cubicBezTo>
                    <a:pt x="233680" y="73660"/>
                    <a:pt x="233680" y="74295"/>
                    <a:pt x="233680" y="75565"/>
                  </a:cubicBezTo>
                  <a:lnTo>
                    <a:pt x="182245" y="75565"/>
                  </a:lnTo>
                  <a:cubicBezTo>
                    <a:pt x="182245" y="79375"/>
                    <a:pt x="183515" y="82550"/>
                    <a:pt x="184785" y="85090"/>
                  </a:cubicBezTo>
                  <a:cubicBezTo>
                    <a:pt x="186055" y="87630"/>
                    <a:pt x="187325" y="90170"/>
                    <a:pt x="189230" y="91440"/>
                  </a:cubicBezTo>
                  <a:cubicBezTo>
                    <a:pt x="191135" y="93345"/>
                    <a:pt x="193040" y="94615"/>
                    <a:pt x="194945" y="95250"/>
                  </a:cubicBezTo>
                  <a:cubicBezTo>
                    <a:pt x="196850" y="95885"/>
                    <a:pt x="199390" y="96520"/>
                    <a:pt x="201930" y="96520"/>
                  </a:cubicBezTo>
                  <a:cubicBezTo>
                    <a:pt x="203835" y="96520"/>
                    <a:pt x="205105" y="96520"/>
                    <a:pt x="207010" y="96520"/>
                  </a:cubicBezTo>
                  <a:cubicBezTo>
                    <a:pt x="208280" y="96520"/>
                    <a:pt x="210185" y="95885"/>
                    <a:pt x="211455" y="95250"/>
                  </a:cubicBezTo>
                  <a:cubicBezTo>
                    <a:pt x="212725" y="95250"/>
                    <a:pt x="213995" y="93980"/>
                    <a:pt x="215265" y="93345"/>
                  </a:cubicBezTo>
                  <a:cubicBezTo>
                    <a:pt x="216535" y="93345"/>
                    <a:pt x="217805" y="92075"/>
                    <a:pt x="219710" y="90805"/>
                  </a:cubicBezTo>
                  <a:lnTo>
                    <a:pt x="228600" y="100330"/>
                  </a:lnTo>
                  <a:cubicBezTo>
                    <a:pt x="228600" y="100330"/>
                    <a:pt x="224790" y="103505"/>
                    <a:pt x="222885" y="104775"/>
                  </a:cubicBezTo>
                  <a:cubicBezTo>
                    <a:pt x="220980" y="106045"/>
                    <a:pt x="219075" y="106680"/>
                    <a:pt x="217170" y="107950"/>
                  </a:cubicBezTo>
                  <a:cubicBezTo>
                    <a:pt x="215265" y="108585"/>
                    <a:pt x="212725" y="109855"/>
                    <a:pt x="210185" y="109855"/>
                  </a:cubicBezTo>
                  <a:cubicBezTo>
                    <a:pt x="207645" y="109855"/>
                    <a:pt x="204470" y="110490"/>
                    <a:pt x="201295" y="110490"/>
                  </a:cubicBezTo>
                  <a:cubicBezTo>
                    <a:pt x="198120" y="110490"/>
                    <a:pt x="194945" y="110490"/>
                    <a:pt x="191770" y="109220"/>
                  </a:cubicBezTo>
                  <a:cubicBezTo>
                    <a:pt x="188595" y="108585"/>
                    <a:pt x="186055" y="107315"/>
                    <a:pt x="184150" y="105410"/>
                  </a:cubicBezTo>
                  <a:cubicBezTo>
                    <a:pt x="181610" y="104140"/>
                    <a:pt x="179705" y="102235"/>
                    <a:pt x="177800" y="100330"/>
                  </a:cubicBezTo>
                  <a:cubicBezTo>
                    <a:pt x="175895" y="98425"/>
                    <a:pt x="173990" y="95885"/>
                    <a:pt x="172720" y="92710"/>
                  </a:cubicBezTo>
                  <a:cubicBezTo>
                    <a:pt x="170815" y="89535"/>
                    <a:pt x="169545" y="86360"/>
                    <a:pt x="168910" y="82550"/>
                  </a:cubicBezTo>
                  <a:cubicBezTo>
                    <a:pt x="168275" y="78740"/>
                    <a:pt x="167640" y="74295"/>
                    <a:pt x="167640" y="69850"/>
                  </a:cubicBezTo>
                  <a:cubicBezTo>
                    <a:pt x="167640" y="63500"/>
                    <a:pt x="168275" y="57150"/>
                    <a:pt x="170180" y="52070"/>
                  </a:cubicBezTo>
                  <a:cubicBezTo>
                    <a:pt x="172085" y="46990"/>
                    <a:pt x="173990" y="42545"/>
                    <a:pt x="177165" y="39370"/>
                  </a:cubicBezTo>
                  <a:cubicBezTo>
                    <a:pt x="180340" y="36195"/>
                    <a:pt x="183515" y="33020"/>
                    <a:pt x="187960" y="31750"/>
                  </a:cubicBezTo>
                  <a:cubicBezTo>
                    <a:pt x="192405" y="29845"/>
                    <a:pt x="196850" y="29210"/>
                    <a:pt x="201930" y="29210"/>
                  </a:cubicBezTo>
                  <a:close/>
                  <a:moveTo>
                    <a:pt x="4664706" y="28574"/>
                  </a:moveTo>
                  <a:cubicBezTo>
                    <a:pt x="4669786" y="28574"/>
                    <a:pt x="4674231" y="29209"/>
                    <a:pt x="4678676" y="31749"/>
                  </a:cubicBezTo>
                  <a:cubicBezTo>
                    <a:pt x="4683121" y="33654"/>
                    <a:pt x="4686296" y="36194"/>
                    <a:pt x="4689471" y="40004"/>
                  </a:cubicBezTo>
                  <a:cubicBezTo>
                    <a:pt x="4692646" y="43814"/>
                    <a:pt x="4695186" y="47624"/>
                    <a:pt x="4696456" y="52704"/>
                  </a:cubicBezTo>
                  <a:cubicBezTo>
                    <a:pt x="4698361" y="57784"/>
                    <a:pt x="4698996" y="63499"/>
                    <a:pt x="4698996" y="69214"/>
                  </a:cubicBezTo>
                  <a:lnTo>
                    <a:pt x="4699631" y="69214"/>
                  </a:lnTo>
                  <a:cubicBezTo>
                    <a:pt x="4699631" y="75564"/>
                    <a:pt x="4698996" y="81279"/>
                    <a:pt x="4697091" y="86359"/>
                  </a:cubicBezTo>
                  <a:cubicBezTo>
                    <a:pt x="4695186" y="91439"/>
                    <a:pt x="4692646" y="95884"/>
                    <a:pt x="4689471" y="99059"/>
                  </a:cubicBezTo>
                  <a:cubicBezTo>
                    <a:pt x="4686296" y="102869"/>
                    <a:pt x="4682486" y="105409"/>
                    <a:pt x="4678041" y="107314"/>
                  </a:cubicBezTo>
                  <a:cubicBezTo>
                    <a:pt x="4673596" y="109219"/>
                    <a:pt x="4669151" y="109854"/>
                    <a:pt x="4664071" y="109854"/>
                  </a:cubicBezTo>
                  <a:cubicBezTo>
                    <a:pt x="4658991" y="109854"/>
                    <a:pt x="4654546" y="108584"/>
                    <a:pt x="4650101" y="106679"/>
                  </a:cubicBezTo>
                  <a:cubicBezTo>
                    <a:pt x="4645656" y="104774"/>
                    <a:pt x="4642481" y="102234"/>
                    <a:pt x="4639306" y="98424"/>
                  </a:cubicBezTo>
                  <a:cubicBezTo>
                    <a:pt x="4636131" y="94614"/>
                    <a:pt x="4633591" y="90804"/>
                    <a:pt x="4632321" y="85724"/>
                  </a:cubicBezTo>
                  <a:cubicBezTo>
                    <a:pt x="4630416" y="80644"/>
                    <a:pt x="4629781" y="74929"/>
                    <a:pt x="4629781" y="69214"/>
                  </a:cubicBezTo>
                  <a:cubicBezTo>
                    <a:pt x="4629781" y="63499"/>
                    <a:pt x="4630416" y="57149"/>
                    <a:pt x="4632321" y="52069"/>
                  </a:cubicBezTo>
                  <a:cubicBezTo>
                    <a:pt x="4634226" y="46989"/>
                    <a:pt x="4636766" y="42544"/>
                    <a:pt x="4639941" y="39369"/>
                  </a:cubicBezTo>
                  <a:cubicBezTo>
                    <a:pt x="4643116" y="35559"/>
                    <a:pt x="4646926" y="33019"/>
                    <a:pt x="4650736" y="31114"/>
                  </a:cubicBezTo>
                  <a:cubicBezTo>
                    <a:pt x="4655181" y="29209"/>
                    <a:pt x="4659626" y="28574"/>
                    <a:pt x="4664706" y="28574"/>
                  </a:cubicBezTo>
                  <a:close/>
                  <a:moveTo>
                    <a:pt x="4264655" y="28574"/>
                  </a:moveTo>
                  <a:cubicBezTo>
                    <a:pt x="4269735" y="28574"/>
                    <a:pt x="4274180" y="29209"/>
                    <a:pt x="4278625" y="31749"/>
                  </a:cubicBezTo>
                  <a:cubicBezTo>
                    <a:pt x="4283070" y="33654"/>
                    <a:pt x="4286245" y="36194"/>
                    <a:pt x="4289420" y="40004"/>
                  </a:cubicBezTo>
                  <a:cubicBezTo>
                    <a:pt x="4292595" y="43814"/>
                    <a:pt x="4295135" y="47624"/>
                    <a:pt x="4296405" y="52704"/>
                  </a:cubicBezTo>
                  <a:cubicBezTo>
                    <a:pt x="4298310" y="57784"/>
                    <a:pt x="4298945" y="63499"/>
                    <a:pt x="4298945" y="69214"/>
                  </a:cubicBezTo>
                  <a:lnTo>
                    <a:pt x="4299580" y="69214"/>
                  </a:lnTo>
                  <a:cubicBezTo>
                    <a:pt x="4299580" y="75564"/>
                    <a:pt x="4298945" y="81279"/>
                    <a:pt x="4297040" y="86359"/>
                  </a:cubicBezTo>
                  <a:cubicBezTo>
                    <a:pt x="4295135" y="91439"/>
                    <a:pt x="4292595" y="95884"/>
                    <a:pt x="4289420" y="99059"/>
                  </a:cubicBezTo>
                  <a:cubicBezTo>
                    <a:pt x="4286245" y="102869"/>
                    <a:pt x="4282435" y="105409"/>
                    <a:pt x="4277990" y="107314"/>
                  </a:cubicBezTo>
                  <a:cubicBezTo>
                    <a:pt x="4273545" y="109219"/>
                    <a:pt x="4269100" y="109854"/>
                    <a:pt x="4264020" y="109854"/>
                  </a:cubicBezTo>
                  <a:cubicBezTo>
                    <a:pt x="4258940" y="109854"/>
                    <a:pt x="4254495" y="108584"/>
                    <a:pt x="4250050" y="106679"/>
                  </a:cubicBezTo>
                  <a:cubicBezTo>
                    <a:pt x="4245605" y="104774"/>
                    <a:pt x="4242430" y="102234"/>
                    <a:pt x="4239255" y="98424"/>
                  </a:cubicBezTo>
                  <a:cubicBezTo>
                    <a:pt x="4236080" y="94614"/>
                    <a:pt x="4233540" y="90804"/>
                    <a:pt x="4232270" y="85724"/>
                  </a:cubicBezTo>
                  <a:cubicBezTo>
                    <a:pt x="4230365" y="80644"/>
                    <a:pt x="4229730" y="74929"/>
                    <a:pt x="4229730" y="69214"/>
                  </a:cubicBezTo>
                  <a:cubicBezTo>
                    <a:pt x="4229730" y="63499"/>
                    <a:pt x="4230365" y="57149"/>
                    <a:pt x="4232270" y="52069"/>
                  </a:cubicBezTo>
                  <a:cubicBezTo>
                    <a:pt x="4234175" y="46989"/>
                    <a:pt x="4236715" y="42544"/>
                    <a:pt x="4239890" y="39369"/>
                  </a:cubicBezTo>
                  <a:cubicBezTo>
                    <a:pt x="4243065" y="35559"/>
                    <a:pt x="4246875" y="33019"/>
                    <a:pt x="4250685" y="31114"/>
                  </a:cubicBezTo>
                  <a:cubicBezTo>
                    <a:pt x="4255130" y="29209"/>
                    <a:pt x="4259575" y="28574"/>
                    <a:pt x="4264655" y="28574"/>
                  </a:cubicBezTo>
                  <a:close/>
                  <a:moveTo>
                    <a:pt x="1420495" y="28574"/>
                  </a:moveTo>
                  <a:cubicBezTo>
                    <a:pt x="1425575" y="28574"/>
                    <a:pt x="1430020" y="29209"/>
                    <a:pt x="1434465" y="31749"/>
                  </a:cubicBezTo>
                  <a:cubicBezTo>
                    <a:pt x="1438910" y="33654"/>
                    <a:pt x="1442085" y="36194"/>
                    <a:pt x="1445260" y="40004"/>
                  </a:cubicBezTo>
                  <a:cubicBezTo>
                    <a:pt x="1448435" y="43814"/>
                    <a:pt x="1450975" y="47624"/>
                    <a:pt x="1452245" y="52704"/>
                  </a:cubicBezTo>
                  <a:cubicBezTo>
                    <a:pt x="1454150" y="57784"/>
                    <a:pt x="1454785" y="63499"/>
                    <a:pt x="1454785" y="69214"/>
                  </a:cubicBezTo>
                  <a:lnTo>
                    <a:pt x="1455420" y="69214"/>
                  </a:lnTo>
                  <a:cubicBezTo>
                    <a:pt x="1455420" y="75564"/>
                    <a:pt x="1454785" y="81279"/>
                    <a:pt x="1452880" y="86359"/>
                  </a:cubicBezTo>
                  <a:cubicBezTo>
                    <a:pt x="1450975" y="91439"/>
                    <a:pt x="1448435" y="95884"/>
                    <a:pt x="1445260" y="99059"/>
                  </a:cubicBezTo>
                  <a:cubicBezTo>
                    <a:pt x="1442085" y="102869"/>
                    <a:pt x="1438275" y="105409"/>
                    <a:pt x="1433830" y="107314"/>
                  </a:cubicBezTo>
                  <a:cubicBezTo>
                    <a:pt x="1429385" y="109219"/>
                    <a:pt x="1424940" y="109854"/>
                    <a:pt x="1419860" y="109854"/>
                  </a:cubicBezTo>
                  <a:cubicBezTo>
                    <a:pt x="1414780" y="109854"/>
                    <a:pt x="1410335" y="108584"/>
                    <a:pt x="1405890" y="106679"/>
                  </a:cubicBezTo>
                  <a:cubicBezTo>
                    <a:pt x="1401444" y="104774"/>
                    <a:pt x="1398270" y="102234"/>
                    <a:pt x="1395095" y="98424"/>
                  </a:cubicBezTo>
                  <a:cubicBezTo>
                    <a:pt x="1391920" y="94614"/>
                    <a:pt x="1389380" y="90804"/>
                    <a:pt x="1388110" y="85724"/>
                  </a:cubicBezTo>
                  <a:cubicBezTo>
                    <a:pt x="1386205" y="80644"/>
                    <a:pt x="1385570" y="74929"/>
                    <a:pt x="1385570" y="69214"/>
                  </a:cubicBezTo>
                  <a:cubicBezTo>
                    <a:pt x="1385570" y="63499"/>
                    <a:pt x="1386205" y="57149"/>
                    <a:pt x="1388110" y="52069"/>
                  </a:cubicBezTo>
                  <a:cubicBezTo>
                    <a:pt x="1390015" y="46989"/>
                    <a:pt x="1392555" y="42544"/>
                    <a:pt x="1395730" y="39369"/>
                  </a:cubicBezTo>
                  <a:cubicBezTo>
                    <a:pt x="1398905" y="35559"/>
                    <a:pt x="1402715" y="33019"/>
                    <a:pt x="1406525" y="31114"/>
                  </a:cubicBezTo>
                  <a:cubicBezTo>
                    <a:pt x="1410970" y="29209"/>
                    <a:pt x="1415415" y="28574"/>
                    <a:pt x="1420495" y="28574"/>
                  </a:cubicBezTo>
                  <a:close/>
                  <a:moveTo>
                    <a:pt x="3143245" y="5079"/>
                  </a:moveTo>
                  <a:lnTo>
                    <a:pt x="3219445" y="5079"/>
                  </a:lnTo>
                  <a:lnTo>
                    <a:pt x="3219445" y="20319"/>
                  </a:lnTo>
                  <a:lnTo>
                    <a:pt x="3188965" y="20319"/>
                  </a:lnTo>
                  <a:lnTo>
                    <a:pt x="3188965" y="108584"/>
                  </a:lnTo>
                  <a:lnTo>
                    <a:pt x="3173090" y="108584"/>
                  </a:lnTo>
                  <a:lnTo>
                    <a:pt x="3173090" y="20319"/>
                  </a:lnTo>
                  <a:lnTo>
                    <a:pt x="3143245" y="20319"/>
                  </a:lnTo>
                  <a:close/>
                  <a:moveTo>
                    <a:pt x="1628774" y="5079"/>
                  </a:moveTo>
                  <a:lnTo>
                    <a:pt x="1704970" y="5079"/>
                  </a:lnTo>
                  <a:lnTo>
                    <a:pt x="1704970" y="20319"/>
                  </a:lnTo>
                  <a:lnTo>
                    <a:pt x="1675129" y="20319"/>
                  </a:lnTo>
                  <a:lnTo>
                    <a:pt x="1675129" y="108584"/>
                  </a:lnTo>
                  <a:lnTo>
                    <a:pt x="1659255" y="108584"/>
                  </a:lnTo>
                  <a:lnTo>
                    <a:pt x="1659255" y="20319"/>
                  </a:lnTo>
                  <a:lnTo>
                    <a:pt x="1628774" y="20319"/>
                  </a:lnTo>
                  <a:close/>
                  <a:moveTo>
                    <a:pt x="0" y="5079"/>
                  </a:moveTo>
                  <a:lnTo>
                    <a:pt x="76200" y="5079"/>
                  </a:lnTo>
                  <a:lnTo>
                    <a:pt x="76200" y="20319"/>
                  </a:lnTo>
                  <a:lnTo>
                    <a:pt x="45720" y="20319"/>
                  </a:lnTo>
                  <a:lnTo>
                    <a:pt x="45720" y="108584"/>
                  </a:lnTo>
                  <a:lnTo>
                    <a:pt x="29845" y="108584"/>
                  </a:lnTo>
                  <a:lnTo>
                    <a:pt x="29845" y="20319"/>
                  </a:lnTo>
                  <a:lnTo>
                    <a:pt x="0" y="20319"/>
                  </a:lnTo>
                  <a:close/>
                  <a:moveTo>
                    <a:pt x="1362075" y="1269"/>
                  </a:moveTo>
                  <a:cubicBezTo>
                    <a:pt x="1363345" y="1269"/>
                    <a:pt x="1364615" y="1269"/>
                    <a:pt x="1365885" y="1904"/>
                  </a:cubicBezTo>
                  <a:cubicBezTo>
                    <a:pt x="1367155" y="1904"/>
                    <a:pt x="1367790" y="3174"/>
                    <a:pt x="1369060" y="3809"/>
                  </a:cubicBezTo>
                  <a:cubicBezTo>
                    <a:pt x="1369695" y="4444"/>
                    <a:pt x="1370965" y="5714"/>
                    <a:pt x="1370965" y="6984"/>
                  </a:cubicBezTo>
                  <a:cubicBezTo>
                    <a:pt x="1370965" y="8254"/>
                    <a:pt x="1371600" y="9524"/>
                    <a:pt x="1371600" y="10794"/>
                  </a:cubicBezTo>
                  <a:cubicBezTo>
                    <a:pt x="1371600" y="10794"/>
                    <a:pt x="1371600" y="13334"/>
                    <a:pt x="1370965" y="14604"/>
                  </a:cubicBezTo>
                  <a:cubicBezTo>
                    <a:pt x="1370965" y="15874"/>
                    <a:pt x="1369695" y="17144"/>
                    <a:pt x="1369060" y="17779"/>
                  </a:cubicBezTo>
                  <a:cubicBezTo>
                    <a:pt x="1368425" y="18414"/>
                    <a:pt x="1367155" y="19684"/>
                    <a:pt x="1365885" y="19684"/>
                  </a:cubicBezTo>
                  <a:cubicBezTo>
                    <a:pt x="1364615" y="19684"/>
                    <a:pt x="1363345" y="20319"/>
                    <a:pt x="1362075" y="20319"/>
                  </a:cubicBezTo>
                  <a:cubicBezTo>
                    <a:pt x="1360805" y="20319"/>
                    <a:pt x="1359535" y="20319"/>
                    <a:pt x="1358265" y="19684"/>
                  </a:cubicBezTo>
                  <a:cubicBezTo>
                    <a:pt x="1356995" y="19684"/>
                    <a:pt x="1355725" y="18414"/>
                    <a:pt x="1355090" y="17779"/>
                  </a:cubicBezTo>
                  <a:cubicBezTo>
                    <a:pt x="1354455" y="17144"/>
                    <a:pt x="1353185" y="15874"/>
                    <a:pt x="1353185" y="14604"/>
                  </a:cubicBezTo>
                  <a:cubicBezTo>
                    <a:pt x="1353185" y="13334"/>
                    <a:pt x="1352550" y="12064"/>
                    <a:pt x="1352550" y="10794"/>
                  </a:cubicBezTo>
                  <a:cubicBezTo>
                    <a:pt x="1352550" y="9524"/>
                    <a:pt x="1352550" y="8254"/>
                    <a:pt x="1353185" y="6984"/>
                  </a:cubicBezTo>
                  <a:cubicBezTo>
                    <a:pt x="1353185" y="5714"/>
                    <a:pt x="1354455" y="4444"/>
                    <a:pt x="1355090" y="3809"/>
                  </a:cubicBezTo>
                  <a:cubicBezTo>
                    <a:pt x="1355725" y="3174"/>
                    <a:pt x="1356995" y="1904"/>
                    <a:pt x="1358265" y="1904"/>
                  </a:cubicBezTo>
                  <a:cubicBezTo>
                    <a:pt x="1359535" y="1904"/>
                    <a:pt x="1360805" y="1269"/>
                    <a:pt x="1362075" y="1269"/>
                  </a:cubicBezTo>
                  <a:close/>
                  <a:moveTo>
                    <a:pt x="4789801" y="634"/>
                  </a:moveTo>
                  <a:lnTo>
                    <a:pt x="4789801" y="65404"/>
                  </a:lnTo>
                  <a:lnTo>
                    <a:pt x="4814566" y="31114"/>
                  </a:lnTo>
                  <a:lnTo>
                    <a:pt x="4831711" y="31114"/>
                  </a:lnTo>
                  <a:lnTo>
                    <a:pt x="4812026" y="57149"/>
                  </a:lnTo>
                  <a:lnTo>
                    <a:pt x="4835521" y="108584"/>
                  </a:lnTo>
                  <a:lnTo>
                    <a:pt x="4819011" y="108584"/>
                  </a:lnTo>
                  <a:lnTo>
                    <a:pt x="4801866" y="69849"/>
                  </a:lnTo>
                  <a:lnTo>
                    <a:pt x="4789801" y="85724"/>
                  </a:lnTo>
                  <a:lnTo>
                    <a:pt x="4789801" y="108584"/>
                  </a:lnTo>
                  <a:lnTo>
                    <a:pt x="4774561" y="108584"/>
                  </a:lnTo>
                  <a:lnTo>
                    <a:pt x="4774561" y="8889"/>
                  </a:lnTo>
                  <a:close/>
                  <a:moveTo>
                    <a:pt x="4472301" y="634"/>
                  </a:moveTo>
                  <a:lnTo>
                    <a:pt x="4472301" y="109219"/>
                  </a:lnTo>
                  <a:lnTo>
                    <a:pt x="4457061" y="109219"/>
                  </a:lnTo>
                  <a:lnTo>
                    <a:pt x="4457696" y="108584"/>
                  </a:lnTo>
                  <a:lnTo>
                    <a:pt x="4457696" y="100964"/>
                  </a:lnTo>
                  <a:cubicBezTo>
                    <a:pt x="4457696" y="100964"/>
                    <a:pt x="4454521" y="103504"/>
                    <a:pt x="4453251" y="104774"/>
                  </a:cubicBezTo>
                  <a:cubicBezTo>
                    <a:pt x="4451981" y="106044"/>
                    <a:pt x="4450076" y="106679"/>
                    <a:pt x="4448171" y="107949"/>
                  </a:cubicBezTo>
                  <a:cubicBezTo>
                    <a:pt x="4446266" y="108584"/>
                    <a:pt x="4444361" y="109219"/>
                    <a:pt x="4443091" y="109854"/>
                  </a:cubicBezTo>
                  <a:cubicBezTo>
                    <a:pt x="4441186" y="109854"/>
                    <a:pt x="4439281" y="109854"/>
                    <a:pt x="4437376" y="109854"/>
                  </a:cubicBezTo>
                  <a:cubicBezTo>
                    <a:pt x="4432931" y="109854"/>
                    <a:pt x="4429121" y="109219"/>
                    <a:pt x="4425946" y="107314"/>
                  </a:cubicBezTo>
                  <a:cubicBezTo>
                    <a:pt x="4422136" y="106044"/>
                    <a:pt x="4418961" y="103504"/>
                    <a:pt x="4416421" y="99694"/>
                  </a:cubicBezTo>
                  <a:cubicBezTo>
                    <a:pt x="4413881" y="96519"/>
                    <a:pt x="4411341" y="92074"/>
                    <a:pt x="4410071" y="86994"/>
                  </a:cubicBezTo>
                  <a:cubicBezTo>
                    <a:pt x="4408801" y="81914"/>
                    <a:pt x="4407531" y="75564"/>
                    <a:pt x="4407531" y="67944"/>
                  </a:cubicBezTo>
                  <a:cubicBezTo>
                    <a:pt x="4407531" y="61594"/>
                    <a:pt x="4408166" y="55244"/>
                    <a:pt x="4410071" y="50799"/>
                  </a:cubicBezTo>
                  <a:cubicBezTo>
                    <a:pt x="4411976" y="45719"/>
                    <a:pt x="4413881" y="41909"/>
                    <a:pt x="4417056" y="38734"/>
                  </a:cubicBezTo>
                  <a:cubicBezTo>
                    <a:pt x="4419596" y="35559"/>
                    <a:pt x="4423406" y="33019"/>
                    <a:pt x="4426581" y="31749"/>
                  </a:cubicBezTo>
                  <a:cubicBezTo>
                    <a:pt x="4430391" y="29844"/>
                    <a:pt x="4434201" y="29209"/>
                    <a:pt x="4438011" y="29209"/>
                  </a:cubicBezTo>
                  <a:cubicBezTo>
                    <a:pt x="4439916" y="29209"/>
                    <a:pt x="4441821" y="29209"/>
                    <a:pt x="4443726" y="29844"/>
                  </a:cubicBezTo>
                  <a:cubicBezTo>
                    <a:pt x="4445631" y="29844"/>
                    <a:pt x="4447536" y="31114"/>
                    <a:pt x="4448806" y="31749"/>
                  </a:cubicBezTo>
                  <a:cubicBezTo>
                    <a:pt x="4450711" y="32384"/>
                    <a:pt x="4451981" y="33654"/>
                    <a:pt x="4453251" y="34924"/>
                  </a:cubicBezTo>
                  <a:cubicBezTo>
                    <a:pt x="4454521" y="36194"/>
                    <a:pt x="4455791" y="36829"/>
                    <a:pt x="4457061" y="38099"/>
                  </a:cubicBezTo>
                  <a:lnTo>
                    <a:pt x="4457061" y="8254"/>
                  </a:lnTo>
                  <a:close/>
                  <a:moveTo>
                    <a:pt x="4390385" y="634"/>
                  </a:moveTo>
                  <a:lnTo>
                    <a:pt x="4390385" y="108584"/>
                  </a:lnTo>
                  <a:lnTo>
                    <a:pt x="4375145" y="108584"/>
                  </a:lnTo>
                  <a:lnTo>
                    <a:pt x="4375145" y="8889"/>
                  </a:lnTo>
                  <a:close/>
                  <a:moveTo>
                    <a:pt x="3946521" y="634"/>
                  </a:moveTo>
                  <a:lnTo>
                    <a:pt x="3946521" y="38099"/>
                  </a:lnTo>
                  <a:cubicBezTo>
                    <a:pt x="3946521" y="38099"/>
                    <a:pt x="3948426" y="35559"/>
                    <a:pt x="3950331" y="34289"/>
                  </a:cubicBezTo>
                  <a:cubicBezTo>
                    <a:pt x="3951601" y="33019"/>
                    <a:pt x="3953506" y="32384"/>
                    <a:pt x="3954776" y="31114"/>
                  </a:cubicBezTo>
                  <a:cubicBezTo>
                    <a:pt x="3956681" y="30479"/>
                    <a:pt x="3958586" y="29844"/>
                    <a:pt x="3960491" y="29209"/>
                  </a:cubicBezTo>
                  <a:cubicBezTo>
                    <a:pt x="3962396" y="29209"/>
                    <a:pt x="3964301" y="29209"/>
                    <a:pt x="3966206" y="29209"/>
                  </a:cubicBezTo>
                  <a:cubicBezTo>
                    <a:pt x="3970651" y="29209"/>
                    <a:pt x="3975096" y="29844"/>
                    <a:pt x="3978271" y="31749"/>
                  </a:cubicBezTo>
                  <a:cubicBezTo>
                    <a:pt x="3981446" y="33019"/>
                    <a:pt x="3984621" y="35559"/>
                    <a:pt x="3987161" y="38099"/>
                  </a:cubicBezTo>
                  <a:cubicBezTo>
                    <a:pt x="3989701" y="41274"/>
                    <a:pt x="3990971" y="44449"/>
                    <a:pt x="3992241" y="49529"/>
                  </a:cubicBezTo>
                  <a:cubicBezTo>
                    <a:pt x="3993511" y="53974"/>
                    <a:pt x="3994146" y="59054"/>
                    <a:pt x="3994146" y="64134"/>
                  </a:cubicBezTo>
                  <a:lnTo>
                    <a:pt x="3994146" y="108584"/>
                  </a:lnTo>
                  <a:lnTo>
                    <a:pt x="3978906" y="108584"/>
                  </a:lnTo>
                  <a:lnTo>
                    <a:pt x="3978271" y="108584"/>
                  </a:lnTo>
                  <a:lnTo>
                    <a:pt x="3978271" y="64769"/>
                  </a:lnTo>
                  <a:cubicBezTo>
                    <a:pt x="3978271" y="57784"/>
                    <a:pt x="3977001" y="52069"/>
                    <a:pt x="3974461" y="48894"/>
                  </a:cubicBezTo>
                  <a:cubicBezTo>
                    <a:pt x="3971921" y="45084"/>
                    <a:pt x="3968111" y="43814"/>
                    <a:pt x="3962396" y="43814"/>
                  </a:cubicBezTo>
                  <a:cubicBezTo>
                    <a:pt x="3959856" y="43814"/>
                    <a:pt x="3957951" y="43814"/>
                    <a:pt x="3956046" y="45084"/>
                  </a:cubicBezTo>
                  <a:cubicBezTo>
                    <a:pt x="3954141" y="45719"/>
                    <a:pt x="3952236" y="46989"/>
                    <a:pt x="3950966" y="48894"/>
                  </a:cubicBezTo>
                  <a:cubicBezTo>
                    <a:pt x="3949696" y="50799"/>
                    <a:pt x="3948426" y="52704"/>
                    <a:pt x="3947791" y="55244"/>
                  </a:cubicBezTo>
                  <a:cubicBezTo>
                    <a:pt x="3947156" y="57784"/>
                    <a:pt x="3946521" y="60324"/>
                    <a:pt x="3946521" y="63499"/>
                  </a:cubicBezTo>
                  <a:lnTo>
                    <a:pt x="3946521" y="109219"/>
                  </a:lnTo>
                  <a:lnTo>
                    <a:pt x="3931281" y="109219"/>
                  </a:lnTo>
                  <a:lnTo>
                    <a:pt x="3931281" y="8889"/>
                  </a:lnTo>
                  <a:close/>
                  <a:moveTo>
                    <a:pt x="3248021" y="634"/>
                  </a:moveTo>
                  <a:lnTo>
                    <a:pt x="3248021" y="38099"/>
                  </a:lnTo>
                  <a:cubicBezTo>
                    <a:pt x="3248021" y="38099"/>
                    <a:pt x="3249926" y="35559"/>
                    <a:pt x="3251831" y="34289"/>
                  </a:cubicBezTo>
                  <a:cubicBezTo>
                    <a:pt x="3253101" y="33019"/>
                    <a:pt x="3255006" y="32384"/>
                    <a:pt x="3256276" y="31114"/>
                  </a:cubicBezTo>
                  <a:cubicBezTo>
                    <a:pt x="3258181" y="30479"/>
                    <a:pt x="3260086" y="29844"/>
                    <a:pt x="3261991" y="29209"/>
                  </a:cubicBezTo>
                  <a:cubicBezTo>
                    <a:pt x="3263896" y="29209"/>
                    <a:pt x="3265801" y="29209"/>
                    <a:pt x="3267706" y="29209"/>
                  </a:cubicBezTo>
                  <a:cubicBezTo>
                    <a:pt x="3272151" y="29209"/>
                    <a:pt x="3276596" y="29844"/>
                    <a:pt x="3279771" y="31749"/>
                  </a:cubicBezTo>
                  <a:cubicBezTo>
                    <a:pt x="3282946" y="33019"/>
                    <a:pt x="3286121" y="35559"/>
                    <a:pt x="3288661" y="38099"/>
                  </a:cubicBezTo>
                  <a:cubicBezTo>
                    <a:pt x="3291201" y="41274"/>
                    <a:pt x="3292471" y="44449"/>
                    <a:pt x="3293741" y="49529"/>
                  </a:cubicBezTo>
                  <a:cubicBezTo>
                    <a:pt x="3295011" y="53974"/>
                    <a:pt x="3295646" y="59054"/>
                    <a:pt x="3295646" y="64134"/>
                  </a:cubicBezTo>
                  <a:lnTo>
                    <a:pt x="3295646" y="108584"/>
                  </a:lnTo>
                  <a:lnTo>
                    <a:pt x="3280406" y="108584"/>
                  </a:lnTo>
                  <a:lnTo>
                    <a:pt x="3279771" y="108584"/>
                  </a:lnTo>
                  <a:lnTo>
                    <a:pt x="3279771" y="64769"/>
                  </a:lnTo>
                  <a:cubicBezTo>
                    <a:pt x="3279771" y="57784"/>
                    <a:pt x="3278501" y="52069"/>
                    <a:pt x="3275961" y="48894"/>
                  </a:cubicBezTo>
                  <a:cubicBezTo>
                    <a:pt x="3273421" y="45084"/>
                    <a:pt x="3269611" y="43814"/>
                    <a:pt x="3263896" y="43814"/>
                  </a:cubicBezTo>
                  <a:cubicBezTo>
                    <a:pt x="3261356" y="43814"/>
                    <a:pt x="3259451" y="43814"/>
                    <a:pt x="3257546" y="45084"/>
                  </a:cubicBezTo>
                  <a:cubicBezTo>
                    <a:pt x="3255641" y="45719"/>
                    <a:pt x="3253736" y="46989"/>
                    <a:pt x="3252466" y="48894"/>
                  </a:cubicBezTo>
                  <a:cubicBezTo>
                    <a:pt x="3251196" y="50799"/>
                    <a:pt x="3249926" y="52704"/>
                    <a:pt x="3249291" y="55244"/>
                  </a:cubicBezTo>
                  <a:cubicBezTo>
                    <a:pt x="3248656" y="57784"/>
                    <a:pt x="3248021" y="60324"/>
                    <a:pt x="3248021" y="63499"/>
                  </a:cubicBezTo>
                  <a:lnTo>
                    <a:pt x="3248021" y="109219"/>
                  </a:lnTo>
                  <a:lnTo>
                    <a:pt x="3232781" y="109219"/>
                  </a:lnTo>
                  <a:lnTo>
                    <a:pt x="3232781" y="8889"/>
                  </a:lnTo>
                  <a:close/>
                  <a:moveTo>
                    <a:pt x="2432681" y="634"/>
                  </a:moveTo>
                  <a:lnTo>
                    <a:pt x="2432681" y="38099"/>
                  </a:lnTo>
                  <a:cubicBezTo>
                    <a:pt x="2432681" y="38099"/>
                    <a:pt x="2434586" y="35559"/>
                    <a:pt x="2436491" y="34289"/>
                  </a:cubicBezTo>
                  <a:cubicBezTo>
                    <a:pt x="2437761" y="33019"/>
                    <a:pt x="2439666" y="32384"/>
                    <a:pt x="2440936" y="31114"/>
                  </a:cubicBezTo>
                  <a:cubicBezTo>
                    <a:pt x="2442841" y="30479"/>
                    <a:pt x="2444746" y="29844"/>
                    <a:pt x="2446651" y="29209"/>
                  </a:cubicBezTo>
                  <a:cubicBezTo>
                    <a:pt x="2448556" y="29209"/>
                    <a:pt x="2450461" y="29209"/>
                    <a:pt x="2452366" y="29209"/>
                  </a:cubicBezTo>
                  <a:cubicBezTo>
                    <a:pt x="2456811" y="29209"/>
                    <a:pt x="2461256" y="29844"/>
                    <a:pt x="2464431" y="31749"/>
                  </a:cubicBezTo>
                  <a:cubicBezTo>
                    <a:pt x="2467606" y="33019"/>
                    <a:pt x="2470781" y="35559"/>
                    <a:pt x="2473321" y="38099"/>
                  </a:cubicBezTo>
                  <a:cubicBezTo>
                    <a:pt x="2475861" y="41274"/>
                    <a:pt x="2477131" y="44449"/>
                    <a:pt x="2478401" y="49529"/>
                  </a:cubicBezTo>
                  <a:cubicBezTo>
                    <a:pt x="2479671" y="53974"/>
                    <a:pt x="2480306" y="59054"/>
                    <a:pt x="2480306" y="64134"/>
                  </a:cubicBezTo>
                  <a:lnTo>
                    <a:pt x="2480306" y="108584"/>
                  </a:lnTo>
                  <a:lnTo>
                    <a:pt x="2465066" y="108584"/>
                  </a:lnTo>
                  <a:lnTo>
                    <a:pt x="2464431" y="108584"/>
                  </a:lnTo>
                  <a:lnTo>
                    <a:pt x="2464431" y="64769"/>
                  </a:lnTo>
                  <a:cubicBezTo>
                    <a:pt x="2464431" y="57784"/>
                    <a:pt x="2463161" y="52069"/>
                    <a:pt x="2460621" y="48894"/>
                  </a:cubicBezTo>
                  <a:cubicBezTo>
                    <a:pt x="2458081" y="45084"/>
                    <a:pt x="2454271" y="43814"/>
                    <a:pt x="2448556" y="43814"/>
                  </a:cubicBezTo>
                  <a:cubicBezTo>
                    <a:pt x="2446016" y="43814"/>
                    <a:pt x="2444111" y="43814"/>
                    <a:pt x="2442206" y="45084"/>
                  </a:cubicBezTo>
                  <a:cubicBezTo>
                    <a:pt x="2440301" y="45719"/>
                    <a:pt x="2438396" y="46989"/>
                    <a:pt x="2437126" y="48894"/>
                  </a:cubicBezTo>
                  <a:cubicBezTo>
                    <a:pt x="2435856" y="50799"/>
                    <a:pt x="2434586" y="52704"/>
                    <a:pt x="2433951" y="55244"/>
                  </a:cubicBezTo>
                  <a:cubicBezTo>
                    <a:pt x="2433316" y="57784"/>
                    <a:pt x="2432681" y="60324"/>
                    <a:pt x="2432681" y="63499"/>
                  </a:cubicBezTo>
                  <a:lnTo>
                    <a:pt x="2432681" y="109219"/>
                  </a:lnTo>
                  <a:lnTo>
                    <a:pt x="2417441" y="109219"/>
                  </a:lnTo>
                  <a:lnTo>
                    <a:pt x="2417441" y="8889"/>
                  </a:lnTo>
                  <a:close/>
                  <a:moveTo>
                    <a:pt x="1734181" y="634"/>
                  </a:moveTo>
                  <a:lnTo>
                    <a:pt x="1734181" y="38099"/>
                  </a:lnTo>
                  <a:cubicBezTo>
                    <a:pt x="1734181" y="38099"/>
                    <a:pt x="1736086" y="35559"/>
                    <a:pt x="1737991" y="34289"/>
                  </a:cubicBezTo>
                  <a:cubicBezTo>
                    <a:pt x="1739261" y="33019"/>
                    <a:pt x="1741166" y="32384"/>
                    <a:pt x="1742436" y="31114"/>
                  </a:cubicBezTo>
                  <a:cubicBezTo>
                    <a:pt x="1744341" y="30479"/>
                    <a:pt x="1746246" y="29844"/>
                    <a:pt x="1748151" y="29209"/>
                  </a:cubicBezTo>
                  <a:cubicBezTo>
                    <a:pt x="1750056" y="29209"/>
                    <a:pt x="1751961" y="29209"/>
                    <a:pt x="1753866" y="29209"/>
                  </a:cubicBezTo>
                  <a:cubicBezTo>
                    <a:pt x="1758311" y="29209"/>
                    <a:pt x="1762756" y="29844"/>
                    <a:pt x="1765931" y="31749"/>
                  </a:cubicBezTo>
                  <a:cubicBezTo>
                    <a:pt x="1769106" y="33019"/>
                    <a:pt x="1772281" y="35559"/>
                    <a:pt x="1774821" y="38099"/>
                  </a:cubicBezTo>
                  <a:cubicBezTo>
                    <a:pt x="1777361" y="41274"/>
                    <a:pt x="1778631" y="44449"/>
                    <a:pt x="1779901" y="49529"/>
                  </a:cubicBezTo>
                  <a:cubicBezTo>
                    <a:pt x="1781171" y="53974"/>
                    <a:pt x="1781806" y="59054"/>
                    <a:pt x="1781806" y="64134"/>
                  </a:cubicBezTo>
                  <a:lnTo>
                    <a:pt x="1781806" y="108584"/>
                  </a:lnTo>
                  <a:lnTo>
                    <a:pt x="1766566" y="108584"/>
                  </a:lnTo>
                  <a:lnTo>
                    <a:pt x="1765931" y="108584"/>
                  </a:lnTo>
                  <a:lnTo>
                    <a:pt x="1765931" y="64769"/>
                  </a:lnTo>
                  <a:cubicBezTo>
                    <a:pt x="1765931" y="57784"/>
                    <a:pt x="1764661" y="52069"/>
                    <a:pt x="1762121" y="48894"/>
                  </a:cubicBezTo>
                  <a:cubicBezTo>
                    <a:pt x="1759581" y="45084"/>
                    <a:pt x="1755771" y="43814"/>
                    <a:pt x="1750056" y="43814"/>
                  </a:cubicBezTo>
                  <a:cubicBezTo>
                    <a:pt x="1747516" y="43814"/>
                    <a:pt x="1745611" y="43814"/>
                    <a:pt x="1743706" y="45084"/>
                  </a:cubicBezTo>
                  <a:cubicBezTo>
                    <a:pt x="1741801" y="45719"/>
                    <a:pt x="1739896" y="46989"/>
                    <a:pt x="1738626" y="48894"/>
                  </a:cubicBezTo>
                  <a:cubicBezTo>
                    <a:pt x="1737356" y="50799"/>
                    <a:pt x="1736086" y="52704"/>
                    <a:pt x="1735451" y="55244"/>
                  </a:cubicBezTo>
                  <a:cubicBezTo>
                    <a:pt x="1734816" y="57784"/>
                    <a:pt x="1734181" y="60324"/>
                    <a:pt x="1734181" y="63499"/>
                  </a:cubicBezTo>
                  <a:lnTo>
                    <a:pt x="1734181" y="109219"/>
                  </a:lnTo>
                  <a:lnTo>
                    <a:pt x="1718941" y="109219"/>
                  </a:lnTo>
                  <a:lnTo>
                    <a:pt x="1718941" y="8889"/>
                  </a:lnTo>
                  <a:close/>
                  <a:moveTo>
                    <a:pt x="803275" y="634"/>
                  </a:moveTo>
                  <a:lnTo>
                    <a:pt x="803275" y="38099"/>
                  </a:lnTo>
                  <a:cubicBezTo>
                    <a:pt x="803275" y="38099"/>
                    <a:pt x="805180" y="35559"/>
                    <a:pt x="807085" y="34289"/>
                  </a:cubicBezTo>
                  <a:cubicBezTo>
                    <a:pt x="808355" y="33019"/>
                    <a:pt x="810260" y="32384"/>
                    <a:pt x="811530" y="31114"/>
                  </a:cubicBezTo>
                  <a:cubicBezTo>
                    <a:pt x="813435" y="30479"/>
                    <a:pt x="815340" y="29844"/>
                    <a:pt x="817245" y="29209"/>
                  </a:cubicBezTo>
                  <a:cubicBezTo>
                    <a:pt x="819150" y="29209"/>
                    <a:pt x="821055" y="29209"/>
                    <a:pt x="822960" y="29209"/>
                  </a:cubicBezTo>
                  <a:cubicBezTo>
                    <a:pt x="827405" y="29209"/>
                    <a:pt x="831850" y="29844"/>
                    <a:pt x="835025" y="31749"/>
                  </a:cubicBezTo>
                  <a:cubicBezTo>
                    <a:pt x="838200" y="33019"/>
                    <a:pt x="841375" y="35559"/>
                    <a:pt x="843915" y="38099"/>
                  </a:cubicBezTo>
                  <a:cubicBezTo>
                    <a:pt x="846455" y="41274"/>
                    <a:pt x="847725" y="44449"/>
                    <a:pt x="848995" y="49529"/>
                  </a:cubicBezTo>
                  <a:cubicBezTo>
                    <a:pt x="850265" y="53974"/>
                    <a:pt x="850900" y="59054"/>
                    <a:pt x="850900" y="64134"/>
                  </a:cubicBezTo>
                  <a:lnTo>
                    <a:pt x="850900" y="108584"/>
                  </a:lnTo>
                  <a:lnTo>
                    <a:pt x="835660" y="108584"/>
                  </a:lnTo>
                  <a:lnTo>
                    <a:pt x="835025" y="108584"/>
                  </a:lnTo>
                  <a:lnTo>
                    <a:pt x="835025" y="64769"/>
                  </a:lnTo>
                  <a:cubicBezTo>
                    <a:pt x="835025" y="57784"/>
                    <a:pt x="833755" y="52069"/>
                    <a:pt x="831215" y="48894"/>
                  </a:cubicBezTo>
                  <a:cubicBezTo>
                    <a:pt x="828675" y="45084"/>
                    <a:pt x="824865" y="43814"/>
                    <a:pt x="819150" y="43814"/>
                  </a:cubicBezTo>
                  <a:cubicBezTo>
                    <a:pt x="816610" y="43814"/>
                    <a:pt x="814705" y="43814"/>
                    <a:pt x="812800" y="45084"/>
                  </a:cubicBezTo>
                  <a:cubicBezTo>
                    <a:pt x="810895" y="45719"/>
                    <a:pt x="808990" y="46989"/>
                    <a:pt x="807720" y="48894"/>
                  </a:cubicBezTo>
                  <a:cubicBezTo>
                    <a:pt x="806450" y="50799"/>
                    <a:pt x="805180" y="52704"/>
                    <a:pt x="804545" y="55244"/>
                  </a:cubicBezTo>
                  <a:cubicBezTo>
                    <a:pt x="803910" y="57784"/>
                    <a:pt x="803275" y="60324"/>
                    <a:pt x="803275" y="63499"/>
                  </a:cubicBezTo>
                  <a:lnTo>
                    <a:pt x="803275" y="109219"/>
                  </a:lnTo>
                  <a:lnTo>
                    <a:pt x="788035" y="109219"/>
                  </a:lnTo>
                  <a:lnTo>
                    <a:pt x="788035" y="8889"/>
                  </a:lnTo>
                  <a:close/>
                  <a:moveTo>
                    <a:pt x="104774" y="634"/>
                  </a:moveTo>
                  <a:lnTo>
                    <a:pt x="104774" y="38099"/>
                  </a:lnTo>
                  <a:cubicBezTo>
                    <a:pt x="104774" y="38099"/>
                    <a:pt x="106679" y="35559"/>
                    <a:pt x="108584" y="34289"/>
                  </a:cubicBezTo>
                  <a:cubicBezTo>
                    <a:pt x="109854" y="33019"/>
                    <a:pt x="111759" y="32384"/>
                    <a:pt x="113029" y="31114"/>
                  </a:cubicBezTo>
                  <a:cubicBezTo>
                    <a:pt x="114934" y="30479"/>
                    <a:pt x="116839" y="29844"/>
                    <a:pt x="118744" y="29209"/>
                  </a:cubicBezTo>
                  <a:cubicBezTo>
                    <a:pt x="120649" y="29209"/>
                    <a:pt x="122554" y="29209"/>
                    <a:pt x="124459" y="29209"/>
                  </a:cubicBezTo>
                  <a:cubicBezTo>
                    <a:pt x="128904" y="29209"/>
                    <a:pt x="133349" y="29844"/>
                    <a:pt x="136524" y="31749"/>
                  </a:cubicBezTo>
                  <a:cubicBezTo>
                    <a:pt x="139699" y="33019"/>
                    <a:pt x="142874" y="35559"/>
                    <a:pt x="145414" y="38099"/>
                  </a:cubicBezTo>
                  <a:cubicBezTo>
                    <a:pt x="147954" y="41274"/>
                    <a:pt x="149224" y="44449"/>
                    <a:pt x="150494" y="49529"/>
                  </a:cubicBezTo>
                  <a:cubicBezTo>
                    <a:pt x="151764" y="53974"/>
                    <a:pt x="152399" y="59054"/>
                    <a:pt x="152399" y="64134"/>
                  </a:cubicBezTo>
                  <a:lnTo>
                    <a:pt x="152399" y="108584"/>
                  </a:lnTo>
                  <a:lnTo>
                    <a:pt x="137159" y="108584"/>
                  </a:lnTo>
                  <a:lnTo>
                    <a:pt x="136524" y="108584"/>
                  </a:lnTo>
                  <a:lnTo>
                    <a:pt x="136524" y="64769"/>
                  </a:lnTo>
                  <a:cubicBezTo>
                    <a:pt x="136524" y="57784"/>
                    <a:pt x="135254" y="52069"/>
                    <a:pt x="132714" y="48894"/>
                  </a:cubicBezTo>
                  <a:cubicBezTo>
                    <a:pt x="130174" y="45084"/>
                    <a:pt x="126364" y="43814"/>
                    <a:pt x="120649" y="43814"/>
                  </a:cubicBezTo>
                  <a:cubicBezTo>
                    <a:pt x="118109" y="43814"/>
                    <a:pt x="116204" y="43814"/>
                    <a:pt x="114299" y="45084"/>
                  </a:cubicBezTo>
                  <a:cubicBezTo>
                    <a:pt x="112394" y="45719"/>
                    <a:pt x="110489" y="46989"/>
                    <a:pt x="109219" y="48894"/>
                  </a:cubicBezTo>
                  <a:cubicBezTo>
                    <a:pt x="107949" y="50799"/>
                    <a:pt x="106679" y="52704"/>
                    <a:pt x="106044" y="55244"/>
                  </a:cubicBezTo>
                  <a:cubicBezTo>
                    <a:pt x="105409" y="57784"/>
                    <a:pt x="104774" y="60324"/>
                    <a:pt x="104774" y="63499"/>
                  </a:cubicBezTo>
                  <a:lnTo>
                    <a:pt x="104774" y="109219"/>
                  </a:lnTo>
                  <a:lnTo>
                    <a:pt x="89534" y="109219"/>
                  </a:lnTo>
                  <a:lnTo>
                    <a:pt x="89534" y="8889"/>
                  </a:lnTo>
                  <a:close/>
                  <a:moveTo>
                    <a:pt x="3894450" y="0"/>
                  </a:moveTo>
                  <a:lnTo>
                    <a:pt x="3894450" y="30480"/>
                  </a:lnTo>
                  <a:lnTo>
                    <a:pt x="3913500" y="30480"/>
                  </a:lnTo>
                  <a:lnTo>
                    <a:pt x="3913500" y="44450"/>
                  </a:lnTo>
                  <a:lnTo>
                    <a:pt x="3894450" y="44450"/>
                  </a:lnTo>
                  <a:lnTo>
                    <a:pt x="3894450" y="86995"/>
                  </a:lnTo>
                  <a:cubicBezTo>
                    <a:pt x="3894450" y="86995"/>
                    <a:pt x="3894450" y="90170"/>
                    <a:pt x="3894450" y="91440"/>
                  </a:cubicBezTo>
                  <a:cubicBezTo>
                    <a:pt x="3894450" y="92710"/>
                    <a:pt x="3895085" y="93345"/>
                    <a:pt x="3895720" y="94615"/>
                  </a:cubicBezTo>
                  <a:cubicBezTo>
                    <a:pt x="3896355" y="95250"/>
                    <a:pt x="3896990" y="95885"/>
                    <a:pt x="3898260" y="95885"/>
                  </a:cubicBezTo>
                  <a:cubicBezTo>
                    <a:pt x="3899530" y="95885"/>
                    <a:pt x="3900800" y="95885"/>
                    <a:pt x="3902070" y="95885"/>
                  </a:cubicBezTo>
                  <a:cubicBezTo>
                    <a:pt x="3903975" y="95885"/>
                    <a:pt x="3905880" y="95885"/>
                    <a:pt x="3908420" y="95250"/>
                  </a:cubicBezTo>
                  <a:cubicBezTo>
                    <a:pt x="3910325" y="94615"/>
                    <a:pt x="3912230" y="93980"/>
                    <a:pt x="3913500" y="93345"/>
                  </a:cubicBezTo>
                  <a:lnTo>
                    <a:pt x="3911595" y="106680"/>
                  </a:lnTo>
                  <a:cubicBezTo>
                    <a:pt x="3911595" y="106680"/>
                    <a:pt x="3907785" y="108585"/>
                    <a:pt x="3905245" y="109220"/>
                  </a:cubicBezTo>
                  <a:cubicBezTo>
                    <a:pt x="3902705" y="109855"/>
                    <a:pt x="3900165" y="110490"/>
                    <a:pt x="3896990" y="110490"/>
                  </a:cubicBezTo>
                  <a:cubicBezTo>
                    <a:pt x="3894450" y="110490"/>
                    <a:pt x="3891910" y="110490"/>
                    <a:pt x="3890005" y="109220"/>
                  </a:cubicBezTo>
                  <a:cubicBezTo>
                    <a:pt x="3888100" y="108585"/>
                    <a:pt x="3886195" y="107315"/>
                    <a:pt x="3884290" y="105410"/>
                  </a:cubicBezTo>
                  <a:cubicBezTo>
                    <a:pt x="3882385" y="103505"/>
                    <a:pt x="3881115" y="101600"/>
                    <a:pt x="3880480" y="99060"/>
                  </a:cubicBezTo>
                  <a:cubicBezTo>
                    <a:pt x="3879845" y="96520"/>
                    <a:pt x="3879210" y="93345"/>
                    <a:pt x="3879210" y="89535"/>
                  </a:cubicBezTo>
                  <a:lnTo>
                    <a:pt x="3879210" y="44450"/>
                  </a:lnTo>
                  <a:lnTo>
                    <a:pt x="3868415" y="44450"/>
                  </a:lnTo>
                  <a:lnTo>
                    <a:pt x="3868415" y="30480"/>
                  </a:lnTo>
                  <a:lnTo>
                    <a:pt x="3879210" y="30480"/>
                  </a:lnTo>
                  <a:lnTo>
                    <a:pt x="3879210" y="8255"/>
                  </a:lnTo>
                  <a:close/>
                  <a:moveTo>
                    <a:pt x="3664581" y="0"/>
                  </a:moveTo>
                  <a:lnTo>
                    <a:pt x="3664581" y="30480"/>
                  </a:lnTo>
                  <a:lnTo>
                    <a:pt x="3683631" y="30480"/>
                  </a:lnTo>
                  <a:lnTo>
                    <a:pt x="3683631" y="44450"/>
                  </a:lnTo>
                  <a:lnTo>
                    <a:pt x="3664581" y="44450"/>
                  </a:lnTo>
                  <a:lnTo>
                    <a:pt x="3664581" y="86995"/>
                  </a:lnTo>
                  <a:cubicBezTo>
                    <a:pt x="3664581" y="86995"/>
                    <a:pt x="3664581" y="90170"/>
                    <a:pt x="3664581" y="91440"/>
                  </a:cubicBezTo>
                  <a:cubicBezTo>
                    <a:pt x="3664581" y="92710"/>
                    <a:pt x="3665216" y="93345"/>
                    <a:pt x="3665851" y="94615"/>
                  </a:cubicBezTo>
                  <a:cubicBezTo>
                    <a:pt x="3666486" y="95250"/>
                    <a:pt x="3667121" y="95885"/>
                    <a:pt x="3668391" y="95885"/>
                  </a:cubicBezTo>
                  <a:cubicBezTo>
                    <a:pt x="3669661" y="95885"/>
                    <a:pt x="3670931" y="95885"/>
                    <a:pt x="3672201" y="95885"/>
                  </a:cubicBezTo>
                  <a:cubicBezTo>
                    <a:pt x="3674106" y="95885"/>
                    <a:pt x="3676011" y="95885"/>
                    <a:pt x="3678551" y="95250"/>
                  </a:cubicBezTo>
                  <a:cubicBezTo>
                    <a:pt x="3680456" y="94615"/>
                    <a:pt x="3682361" y="93980"/>
                    <a:pt x="3683631" y="93345"/>
                  </a:cubicBezTo>
                  <a:lnTo>
                    <a:pt x="3681726" y="106680"/>
                  </a:lnTo>
                  <a:cubicBezTo>
                    <a:pt x="3681726" y="106680"/>
                    <a:pt x="3677916" y="108585"/>
                    <a:pt x="3675376" y="109220"/>
                  </a:cubicBezTo>
                  <a:cubicBezTo>
                    <a:pt x="3672836" y="109855"/>
                    <a:pt x="3670296" y="110490"/>
                    <a:pt x="3667121" y="110490"/>
                  </a:cubicBezTo>
                  <a:cubicBezTo>
                    <a:pt x="3664581" y="110490"/>
                    <a:pt x="3662041" y="110490"/>
                    <a:pt x="3660136" y="109220"/>
                  </a:cubicBezTo>
                  <a:cubicBezTo>
                    <a:pt x="3658231" y="108585"/>
                    <a:pt x="3656326" y="107315"/>
                    <a:pt x="3654421" y="105410"/>
                  </a:cubicBezTo>
                  <a:cubicBezTo>
                    <a:pt x="3652516" y="103505"/>
                    <a:pt x="3651246" y="101600"/>
                    <a:pt x="3650611" y="99060"/>
                  </a:cubicBezTo>
                  <a:cubicBezTo>
                    <a:pt x="3649976" y="96520"/>
                    <a:pt x="3649341" y="93345"/>
                    <a:pt x="3649341" y="89535"/>
                  </a:cubicBezTo>
                  <a:lnTo>
                    <a:pt x="3649341" y="44450"/>
                  </a:lnTo>
                  <a:lnTo>
                    <a:pt x="3638546" y="44450"/>
                  </a:lnTo>
                  <a:lnTo>
                    <a:pt x="3638546" y="30480"/>
                  </a:lnTo>
                  <a:lnTo>
                    <a:pt x="3649341" y="30480"/>
                  </a:lnTo>
                  <a:lnTo>
                    <a:pt x="3649341" y="8255"/>
                  </a:lnTo>
                  <a:close/>
                  <a:moveTo>
                    <a:pt x="3610605" y="0"/>
                  </a:moveTo>
                  <a:lnTo>
                    <a:pt x="3610605" y="30480"/>
                  </a:lnTo>
                  <a:lnTo>
                    <a:pt x="3629655" y="30480"/>
                  </a:lnTo>
                  <a:lnTo>
                    <a:pt x="3629655" y="44450"/>
                  </a:lnTo>
                  <a:lnTo>
                    <a:pt x="3610605" y="44450"/>
                  </a:lnTo>
                  <a:lnTo>
                    <a:pt x="3610605" y="86995"/>
                  </a:lnTo>
                  <a:cubicBezTo>
                    <a:pt x="3610605" y="86995"/>
                    <a:pt x="3610605" y="90170"/>
                    <a:pt x="3610605" y="91440"/>
                  </a:cubicBezTo>
                  <a:cubicBezTo>
                    <a:pt x="3610605" y="92710"/>
                    <a:pt x="3611240" y="93345"/>
                    <a:pt x="3611875" y="94615"/>
                  </a:cubicBezTo>
                  <a:cubicBezTo>
                    <a:pt x="3612510" y="95250"/>
                    <a:pt x="3613145" y="95885"/>
                    <a:pt x="3614415" y="95885"/>
                  </a:cubicBezTo>
                  <a:cubicBezTo>
                    <a:pt x="3615685" y="95885"/>
                    <a:pt x="3616955" y="95885"/>
                    <a:pt x="3618225" y="95885"/>
                  </a:cubicBezTo>
                  <a:cubicBezTo>
                    <a:pt x="3620130" y="95885"/>
                    <a:pt x="3622035" y="95885"/>
                    <a:pt x="3624575" y="95250"/>
                  </a:cubicBezTo>
                  <a:cubicBezTo>
                    <a:pt x="3626480" y="94615"/>
                    <a:pt x="3628385" y="93980"/>
                    <a:pt x="3629655" y="93345"/>
                  </a:cubicBezTo>
                  <a:lnTo>
                    <a:pt x="3627750" y="106680"/>
                  </a:lnTo>
                  <a:cubicBezTo>
                    <a:pt x="3627750" y="106680"/>
                    <a:pt x="3623940" y="108585"/>
                    <a:pt x="3621400" y="109220"/>
                  </a:cubicBezTo>
                  <a:cubicBezTo>
                    <a:pt x="3618860" y="109855"/>
                    <a:pt x="3616320" y="110490"/>
                    <a:pt x="3613145" y="110490"/>
                  </a:cubicBezTo>
                  <a:cubicBezTo>
                    <a:pt x="3610605" y="110490"/>
                    <a:pt x="3608065" y="110490"/>
                    <a:pt x="3606160" y="109220"/>
                  </a:cubicBezTo>
                  <a:cubicBezTo>
                    <a:pt x="3604255" y="108585"/>
                    <a:pt x="3602350" y="107315"/>
                    <a:pt x="3600445" y="105410"/>
                  </a:cubicBezTo>
                  <a:cubicBezTo>
                    <a:pt x="3598540" y="103505"/>
                    <a:pt x="3597270" y="101600"/>
                    <a:pt x="3596635" y="99060"/>
                  </a:cubicBezTo>
                  <a:cubicBezTo>
                    <a:pt x="3596000" y="96520"/>
                    <a:pt x="3595365" y="93345"/>
                    <a:pt x="3595365" y="89535"/>
                  </a:cubicBezTo>
                  <a:lnTo>
                    <a:pt x="3595365" y="44450"/>
                  </a:lnTo>
                  <a:lnTo>
                    <a:pt x="3584570" y="44450"/>
                  </a:lnTo>
                  <a:lnTo>
                    <a:pt x="3584570" y="30480"/>
                  </a:lnTo>
                  <a:lnTo>
                    <a:pt x="3595365" y="30480"/>
                  </a:lnTo>
                  <a:lnTo>
                    <a:pt x="3595365" y="8255"/>
                  </a:lnTo>
                  <a:close/>
                  <a:moveTo>
                    <a:pt x="3445505" y="0"/>
                  </a:moveTo>
                  <a:lnTo>
                    <a:pt x="3445505" y="37465"/>
                  </a:lnTo>
                  <a:cubicBezTo>
                    <a:pt x="3445505" y="37465"/>
                    <a:pt x="3448680" y="34925"/>
                    <a:pt x="3449950" y="33655"/>
                  </a:cubicBezTo>
                  <a:cubicBezTo>
                    <a:pt x="3451220" y="33020"/>
                    <a:pt x="3452490" y="31750"/>
                    <a:pt x="3453760" y="31115"/>
                  </a:cubicBezTo>
                  <a:cubicBezTo>
                    <a:pt x="3455030" y="30480"/>
                    <a:pt x="3456935" y="29845"/>
                    <a:pt x="3458840" y="29210"/>
                  </a:cubicBezTo>
                  <a:cubicBezTo>
                    <a:pt x="3460745" y="29210"/>
                    <a:pt x="3463285" y="28575"/>
                    <a:pt x="3465825" y="28575"/>
                  </a:cubicBezTo>
                  <a:cubicBezTo>
                    <a:pt x="3470270" y="28575"/>
                    <a:pt x="3474080" y="29210"/>
                    <a:pt x="3477890" y="31115"/>
                  </a:cubicBezTo>
                  <a:cubicBezTo>
                    <a:pt x="3481700" y="32385"/>
                    <a:pt x="3484875" y="34925"/>
                    <a:pt x="3487415" y="38735"/>
                  </a:cubicBezTo>
                  <a:cubicBezTo>
                    <a:pt x="3489955" y="41910"/>
                    <a:pt x="3492495" y="46355"/>
                    <a:pt x="3493765" y="51435"/>
                  </a:cubicBezTo>
                  <a:cubicBezTo>
                    <a:pt x="3495035" y="56515"/>
                    <a:pt x="3496305" y="62865"/>
                    <a:pt x="3496305" y="70485"/>
                  </a:cubicBezTo>
                  <a:lnTo>
                    <a:pt x="3495670" y="71120"/>
                  </a:lnTo>
                  <a:cubicBezTo>
                    <a:pt x="3495670" y="77470"/>
                    <a:pt x="3495035" y="83820"/>
                    <a:pt x="3493130" y="88265"/>
                  </a:cubicBezTo>
                  <a:cubicBezTo>
                    <a:pt x="3491225" y="93345"/>
                    <a:pt x="3489320" y="97155"/>
                    <a:pt x="3486145" y="100330"/>
                  </a:cubicBezTo>
                  <a:cubicBezTo>
                    <a:pt x="3483605" y="103505"/>
                    <a:pt x="3479795" y="106045"/>
                    <a:pt x="3476620" y="107315"/>
                  </a:cubicBezTo>
                  <a:cubicBezTo>
                    <a:pt x="3472810" y="109220"/>
                    <a:pt x="3469000" y="109855"/>
                    <a:pt x="3465190" y="109855"/>
                  </a:cubicBezTo>
                  <a:cubicBezTo>
                    <a:pt x="3461380" y="109855"/>
                    <a:pt x="3457570" y="109220"/>
                    <a:pt x="3454395" y="107315"/>
                  </a:cubicBezTo>
                  <a:cubicBezTo>
                    <a:pt x="3450585" y="105410"/>
                    <a:pt x="3448045" y="103505"/>
                    <a:pt x="3445505" y="100965"/>
                  </a:cubicBezTo>
                  <a:lnTo>
                    <a:pt x="3445505" y="107950"/>
                  </a:lnTo>
                  <a:lnTo>
                    <a:pt x="3430265" y="107950"/>
                  </a:lnTo>
                  <a:lnTo>
                    <a:pt x="3430265" y="7620"/>
                  </a:lnTo>
                  <a:close/>
                  <a:moveTo>
                    <a:pt x="2380611" y="0"/>
                  </a:moveTo>
                  <a:lnTo>
                    <a:pt x="2380611" y="30480"/>
                  </a:lnTo>
                  <a:lnTo>
                    <a:pt x="2399661" y="30480"/>
                  </a:lnTo>
                  <a:lnTo>
                    <a:pt x="2399661" y="44450"/>
                  </a:lnTo>
                  <a:lnTo>
                    <a:pt x="2380611" y="44450"/>
                  </a:lnTo>
                  <a:lnTo>
                    <a:pt x="2380611" y="86995"/>
                  </a:lnTo>
                  <a:cubicBezTo>
                    <a:pt x="2380611" y="86995"/>
                    <a:pt x="2380611" y="90170"/>
                    <a:pt x="2380611" y="91440"/>
                  </a:cubicBezTo>
                  <a:cubicBezTo>
                    <a:pt x="2380611" y="92710"/>
                    <a:pt x="2381246" y="93345"/>
                    <a:pt x="2381881" y="94615"/>
                  </a:cubicBezTo>
                  <a:cubicBezTo>
                    <a:pt x="2382516" y="95250"/>
                    <a:pt x="2383151" y="95885"/>
                    <a:pt x="2384421" y="95885"/>
                  </a:cubicBezTo>
                  <a:cubicBezTo>
                    <a:pt x="2385691" y="95885"/>
                    <a:pt x="2386961" y="95885"/>
                    <a:pt x="2388231" y="95885"/>
                  </a:cubicBezTo>
                  <a:cubicBezTo>
                    <a:pt x="2390136" y="95885"/>
                    <a:pt x="2392041" y="95885"/>
                    <a:pt x="2394581" y="95250"/>
                  </a:cubicBezTo>
                  <a:cubicBezTo>
                    <a:pt x="2396486" y="94615"/>
                    <a:pt x="2398391" y="93980"/>
                    <a:pt x="2399661" y="93345"/>
                  </a:cubicBezTo>
                  <a:lnTo>
                    <a:pt x="2397756" y="106680"/>
                  </a:lnTo>
                  <a:cubicBezTo>
                    <a:pt x="2397756" y="106680"/>
                    <a:pt x="2393946" y="108585"/>
                    <a:pt x="2391406" y="109220"/>
                  </a:cubicBezTo>
                  <a:cubicBezTo>
                    <a:pt x="2388866" y="109855"/>
                    <a:pt x="2386326" y="110490"/>
                    <a:pt x="2383151" y="110490"/>
                  </a:cubicBezTo>
                  <a:cubicBezTo>
                    <a:pt x="2380611" y="110490"/>
                    <a:pt x="2378071" y="110490"/>
                    <a:pt x="2376166" y="109220"/>
                  </a:cubicBezTo>
                  <a:cubicBezTo>
                    <a:pt x="2374261" y="108585"/>
                    <a:pt x="2372356" y="107315"/>
                    <a:pt x="2370451" y="105410"/>
                  </a:cubicBezTo>
                  <a:cubicBezTo>
                    <a:pt x="2368546" y="103505"/>
                    <a:pt x="2367276" y="101600"/>
                    <a:pt x="2366641" y="99060"/>
                  </a:cubicBezTo>
                  <a:cubicBezTo>
                    <a:pt x="2366006" y="96520"/>
                    <a:pt x="2365371" y="93345"/>
                    <a:pt x="2365371" y="89535"/>
                  </a:cubicBezTo>
                  <a:lnTo>
                    <a:pt x="2365371" y="44450"/>
                  </a:lnTo>
                  <a:lnTo>
                    <a:pt x="2354576" y="44450"/>
                  </a:lnTo>
                  <a:lnTo>
                    <a:pt x="2354576" y="30480"/>
                  </a:lnTo>
                  <a:lnTo>
                    <a:pt x="2365371" y="30480"/>
                  </a:lnTo>
                  <a:lnTo>
                    <a:pt x="2365371" y="8255"/>
                  </a:lnTo>
                  <a:close/>
                  <a:moveTo>
                    <a:pt x="2150741" y="0"/>
                  </a:moveTo>
                  <a:lnTo>
                    <a:pt x="2150741" y="30480"/>
                  </a:lnTo>
                  <a:lnTo>
                    <a:pt x="2169791" y="30480"/>
                  </a:lnTo>
                  <a:lnTo>
                    <a:pt x="2169791" y="44450"/>
                  </a:lnTo>
                  <a:lnTo>
                    <a:pt x="2150741" y="44450"/>
                  </a:lnTo>
                  <a:lnTo>
                    <a:pt x="2150741" y="86995"/>
                  </a:lnTo>
                  <a:cubicBezTo>
                    <a:pt x="2150741" y="86995"/>
                    <a:pt x="2150741" y="90170"/>
                    <a:pt x="2150741" y="91440"/>
                  </a:cubicBezTo>
                  <a:cubicBezTo>
                    <a:pt x="2150741" y="92710"/>
                    <a:pt x="2151376" y="93345"/>
                    <a:pt x="2152011" y="94615"/>
                  </a:cubicBezTo>
                  <a:cubicBezTo>
                    <a:pt x="2152646" y="95250"/>
                    <a:pt x="2153281" y="95885"/>
                    <a:pt x="2154551" y="95885"/>
                  </a:cubicBezTo>
                  <a:cubicBezTo>
                    <a:pt x="2155821" y="95885"/>
                    <a:pt x="2157091" y="95885"/>
                    <a:pt x="2158361" y="95885"/>
                  </a:cubicBezTo>
                  <a:cubicBezTo>
                    <a:pt x="2160266" y="95885"/>
                    <a:pt x="2162171" y="95885"/>
                    <a:pt x="2164711" y="95250"/>
                  </a:cubicBezTo>
                  <a:cubicBezTo>
                    <a:pt x="2166616" y="94615"/>
                    <a:pt x="2168521" y="93980"/>
                    <a:pt x="2169791" y="93345"/>
                  </a:cubicBezTo>
                  <a:lnTo>
                    <a:pt x="2167886" y="106680"/>
                  </a:lnTo>
                  <a:cubicBezTo>
                    <a:pt x="2167886" y="106680"/>
                    <a:pt x="2164076" y="108585"/>
                    <a:pt x="2161536" y="109220"/>
                  </a:cubicBezTo>
                  <a:cubicBezTo>
                    <a:pt x="2158996" y="109855"/>
                    <a:pt x="2156456" y="110490"/>
                    <a:pt x="2153281" y="110490"/>
                  </a:cubicBezTo>
                  <a:cubicBezTo>
                    <a:pt x="2150741" y="110490"/>
                    <a:pt x="2148201" y="110490"/>
                    <a:pt x="2146296" y="109220"/>
                  </a:cubicBezTo>
                  <a:cubicBezTo>
                    <a:pt x="2144391" y="108585"/>
                    <a:pt x="2142486" y="107315"/>
                    <a:pt x="2140581" y="105410"/>
                  </a:cubicBezTo>
                  <a:cubicBezTo>
                    <a:pt x="2138676" y="103505"/>
                    <a:pt x="2137406" y="101600"/>
                    <a:pt x="2136771" y="99060"/>
                  </a:cubicBezTo>
                  <a:cubicBezTo>
                    <a:pt x="2136136" y="96520"/>
                    <a:pt x="2135501" y="93345"/>
                    <a:pt x="2135501" y="89535"/>
                  </a:cubicBezTo>
                  <a:lnTo>
                    <a:pt x="2135501" y="44450"/>
                  </a:lnTo>
                  <a:lnTo>
                    <a:pt x="2124706" y="44450"/>
                  </a:lnTo>
                  <a:lnTo>
                    <a:pt x="2124706" y="30480"/>
                  </a:lnTo>
                  <a:lnTo>
                    <a:pt x="2135501" y="30480"/>
                  </a:lnTo>
                  <a:lnTo>
                    <a:pt x="2135501" y="8255"/>
                  </a:lnTo>
                  <a:close/>
                  <a:moveTo>
                    <a:pt x="2096131" y="0"/>
                  </a:moveTo>
                  <a:lnTo>
                    <a:pt x="2096131" y="30480"/>
                  </a:lnTo>
                  <a:lnTo>
                    <a:pt x="2115181" y="30480"/>
                  </a:lnTo>
                  <a:lnTo>
                    <a:pt x="2115181" y="44450"/>
                  </a:lnTo>
                  <a:lnTo>
                    <a:pt x="2096131" y="44450"/>
                  </a:lnTo>
                  <a:lnTo>
                    <a:pt x="2096131" y="86995"/>
                  </a:lnTo>
                  <a:cubicBezTo>
                    <a:pt x="2096131" y="86995"/>
                    <a:pt x="2096131" y="90170"/>
                    <a:pt x="2096131" y="91440"/>
                  </a:cubicBezTo>
                  <a:cubicBezTo>
                    <a:pt x="2096131" y="92710"/>
                    <a:pt x="2096766" y="93345"/>
                    <a:pt x="2097401" y="94615"/>
                  </a:cubicBezTo>
                  <a:cubicBezTo>
                    <a:pt x="2098036" y="95250"/>
                    <a:pt x="2098671" y="95885"/>
                    <a:pt x="2099941" y="95885"/>
                  </a:cubicBezTo>
                  <a:cubicBezTo>
                    <a:pt x="2101211" y="95885"/>
                    <a:pt x="2102481" y="95885"/>
                    <a:pt x="2103751" y="95885"/>
                  </a:cubicBezTo>
                  <a:cubicBezTo>
                    <a:pt x="2105656" y="95885"/>
                    <a:pt x="2107561" y="95885"/>
                    <a:pt x="2110101" y="95250"/>
                  </a:cubicBezTo>
                  <a:cubicBezTo>
                    <a:pt x="2112006" y="94615"/>
                    <a:pt x="2113911" y="93980"/>
                    <a:pt x="2115181" y="93345"/>
                  </a:cubicBezTo>
                  <a:lnTo>
                    <a:pt x="2113276" y="106680"/>
                  </a:lnTo>
                  <a:cubicBezTo>
                    <a:pt x="2113276" y="106680"/>
                    <a:pt x="2109466" y="108585"/>
                    <a:pt x="2106926" y="109220"/>
                  </a:cubicBezTo>
                  <a:cubicBezTo>
                    <a:pt x="2104386" y="109855"/>
                    <a:pt x="2101846" y="110490"/>
                    <a:pt x="2098671" y="110490"/>
                  </a:cubicBezTo>
                  <a:cubicBezTo>
                    <a:pt x="2096131" y="110490"/>
                    <a:pt x="2093591" y="110490"/>
                    <a:pt x="2091686" y="109220"/>
                  </a:cubicBezTo>
                  <a:cubicBezTo>
                    <a:pt x="2089781" y="108585"/>
                    <a:pt x="2087876" y="107315"/>
                    <a:pt x="2085971" y="105410"/>
                  </a:cubicBezTo>
                  <a:cubicBezTo>
                    <a:pt x="2084066" y="103505"/>
                    <a:pt x="2082796" y="101600"/>
                    <a:pt x="2082161" y="99060"/>
                  </a:cubicBezTo>
                  <a:cubicBezTo>
                    <a:pt x="2081526" y="96520"/>
                    <a:pt x="2080891" y="93345"/>
                    <a:pt x="2080891" y="89535"/>
                  </a:cubicBezTo>
                  <a:lnTo>
                    <a:pt x="2080891" y="44450"/>
                  </a:lnTo>
                  <a:lnTo>
                    <a:pt x="2070096" y="44450"/>
                  </a:lnTo>
                  <a:lnTo>
                    <a:pt x="2070096" y="30480"/>
                  </a:lnTo>
                  <a:lnTo>
                    <a:pt x="2080891" y="30480"/>
                  </a:lnTo>
                  <a:lnTo>
                    <a:pt x="2080891" y="8255"/>
                  </a:lnTo>
                  <a:close/>
                  <a:moveTo>
                    <a:pt x="1931665" y="0"/>
                  </a:moveTo>
                  <a:lnTo>
                    <a:pt x="1931665" y="37465"/>
                  </a:lnTo>
                  <a:cubicBezTo>
                    <a:pt x="1931665" y="37465"/>
                    <a:pt x="1934840" y="34925"/>
                    <a:pt x="1936110" y="33655"/>
                  </a:cubicBezTo>
                  <a:cubicBezTo>
                    <a:pt x="1937380" y="33020"/>
                    <a:pt x="1938650" y="31750"/>
                    <a:pt x="1939920" y="31115"/>
                  </a:cubicBezTo>
                  <a:cubicBezTo>
                    <a:pt x="1941190" y="30480"/>
                    <a:pt x="1943095" y="29845"/>
                    <a:pt x="1945000" y="29210"/>
                  </a:cubicBezTo>
                  <a:cubicBezTo>
                    <a:pt x="1946905" y="29210"/>
                    <a:pt x="1949445" y="28575"/>
                    <a:pt x="1951985" y="28575"/>
                  </a:cubicBezTo>
                  <a:cubicBezTo>
                    <a:pt x="1956430" y="28575"/>
                    <a:pt x="1960240" y="29210"/>
                    <a:pt x="1964050" y="31115"/>
                  </a:cubicBezTo>
                  <a:cubicBezTo>
                    <a:pt x="1967860" y="32385"/>
                    <a:pt x="1971035" y="34925"/>
                    <a:pt x="1973575" y="38735"/>
                  </a:cubicBezTo>
                  <a:cubicBezTo>
                    <a:pt x="1976115" y="41910"/>
                    <a:pt x="1978655" y="46355"/>
                    <a:pt x="1979925" y="51435"/>
                  </a:cubicBezTo>
                  <a:cubicBezTo>
                    <a:pt x="1981195" y="56515"/>
                    <a:pt x="1982465" y="62865"/>
                    <a:pt x="1982465" y="70485"/>
                  </a:cubicBezTo>
                  <a:lnTo>
                    <a:pt x="1981830" y="71120"/>
                  </a:lnTo>
                  <a:cubicBezTo>
                    <a:pt x="1981830" y="77470"/>
                    <a:pt x="1981195" y="83820"/>
                    <a:pt x="1979290" y="88265"/>
                  </a:cubicBezTo>
                  <a:cubicBezTo>
                    <a:pt x="1977385" y="93345"/>
                    <a:pt x="1975480" y="97155"/>
                    <a:pt x="1972305" y="100330"/>
                  </a:cubicBezTo>
                  <a:cubicBezTo>
                    <a:pt x="1969765" y="103505"/>
                    <a:pt x="1965955" y="106045"/>
                    <a:pt x="1962780" y="107315"/>
                  </a:cubicBezTo>
                  <a:cubicBezTo>
                    <a:pt x="1958970" y="109220"/>
                    <a:pt x="1955160" y="109855"/>
                    <a:pt x="1951350" y="109855"/>
                  </a:cubicBezTo>
                  <a:cubicBezTo>
                    <a:pt x="1947540" y="109855"/>
                    <a:pt x="1943730" y="109220"/>
                    <a:pt x="1940555" y="107315"/>
                  </a:cubicBezTo>
                  <a:cubicBezTo>
                    <a:pt x="1936745" y="105410"/>
                    <a:pt x="1934205" y="103505"/>
                    <a:pt x="1931665" y="100965"/>
                  </a:cubicBezTo>
                  <a:lnTo>
                    <a:pt x="1931665" y="107950"/>
                  </a:lnTo>
                  <a:lnTo>
                    <a:pt x="1916425" y="107950"/>
                  </a:lnTo>
                  <a:lnTo>
                    <a:pt x="1916425" y="7620"/>
                  </a:lnTo>
                  <a:close/>
                  <a:moveTo>
                    <a:pt x="1316991" y="0"/>
                  </a:moveTo>
                  <a:lnTo>
                    <a:pt x="1316991" y="30480"/>
                  </a:lnTo>
                  <a:lnTo>
                    <a:pt x="1336041" y="30480"/>
                  </a:lnTo>
                  <a:lnTo>
                    <a:pt x="1336041" y="44450"/>
                  </a:lnTo>
                  <a:lnTo>
                    <a:pt x="1316991" y="44450"/>
                  </a:lnTo>
                  <a:lnTo>
                    <a:pt x="1316991" y="86995"/>
                  </a:lnTo>
                  <a:cubicBezTo>
                    <a:pt x="1316991" y="86995"/>
                    <a:pt x="1316991" y="90170"/>
                    <a:pt x="1316991" y="91440"/>
                  </a:cubicBezTo>
                  <a:cubicBezTo>
                    <a:pt x="1316991" y="92710"/>
                    <a:pt x="1317627" y="93345"/>
                    <a:pt x="1318261" y="94615"/>
                  </a:cubicBezTo>
                  <a:cubicBezTo>
                    <a:pt x="1318896" y="95250"/>
                    <a:pt x="1319531" y="95885"/>
                    <a:pt x="1320801" y="95885"/>
                  </a:cubicBezTo>
                  <a:cubicBezTo>
                    <a:pt x="1322072" y="95885"/>
                    <a:pt x="1323341" y="95885"/>
                    <a:pt x="1324611" y="95885"/>
                  </a:cubicBezTo>
                  <a:cubicBezTo>
                    <a:pt x="1326516" y="95885"/>
                    <a:pt x="1328422" y="95885"/>
                    <a:pt x="1330961" y="95250"/>
                  </a:cubicBezTo>
                  <a:cubicBezTo>
                    <a:pt x="1332867" y="94615"/>
                    <a:pt x="1334772" y="93980"/>
                    <a:pt x="1336041" y="93345"/>
                  </a:cubicBezTo>
                  <a:lnTo>
                    <a:pt x="1334136" y="106680"/>
                  </a:lnTo>
                  <a:cubicBezTo>
                    <a:pt x="1334136" y="106680"/>
                    <a:pt x="1330326" y="108585"/>
                    <a:pt x="1327786" y="109220"/>
                  </a:cubicBezTo>
                  <a:cubicBezTo>
                    <a:pt x="1325246" y="109855"/>
                    <a:pt x="1322706" y="110490"/>
                    <a:pt x="1319531" y="110490"/>
                  </a:cubicBezTo>
                  <a:cubicBezTo>
                    <a:pt x="1316991" y="110490"/>
                    <a:pt x="1314451" y="110490"/>
                    <a:pt x="1312546" y="109220"/>
                  </a:cubicBezTo>
                  <a:cubicBezTo>
                    <a:pt x="1310641" y="108585"/>
                    <a:pt x="1308736" y="107315"/>
                    <a:pt x="1306831" y="105410"/>
                  </a:cubicBezTo>
                  <a:cubicBezTo>
                    <a:pt x="1304926" y="103505"/>
                    <a:pt x="1303656" y="101600"/>
                    <a:pt x="1303021" y="99060"/>
                  </a:cubicBezTo>
                  <a:cubicBezTo>
                    <a:pt x="1302386" y="96520"/>
                    <a:pt x="1301751" y="93345"/>
                    <a:pt x="1301751" y="89535"/>
                  </a:cubicBezTo>
                  <a:lnTo>
                    <a:pt x="1301751" y="44450"/>
                  </a:lnTo>
                  <a:lnTo>
                    <a:pt x="1290956" y="44450"/>
                  </a:lnTo>
                  <a:lnTo>
                    <a:pt x="1290956" y="30480"/>
                  </a:lnTo>
                  <a:lnTo>
                    <a:pt x="1301751" y="30480"/>
                  </a:lnTo>
                  <a:lnTo>
                    <a:pt x="1301751" y="8255"/>
                  </a:lnTo>
                  <a:close/>
                  <a:moveTo>
                    <a:pt x="751206" y="0"/>
                  </a:moveTo>
                  <a:lnTo>
                    <a:pt x="751206" y="30480"/>
                  </a:lnTo>
                  <a:lnTo>
                    <a:pt x="770256" y="30480"/>
                  </a:lnTo>
                  <a:lnTo>
                    <a:pt x="770256" y="44450"/>
                  </a:lnTo>
                  <a:lnTo>
                    <a:pt x="751206" y="44450"/>
                  </a:lnTo>
                  <a:lnTo>
                    <a:pt x="751206" y="86995"/>
                  </a:lnTo>
                  <a:cubicBezTo>
                    <a:pt x="751206" y="86995"/>
                    <a:pt x="751206" y="90170"/>
                    <a:pt x="751206" y="91440"/>
                  </a:cubicBezTo>
                  <a:cubicBezTo>
                    <a:pt x="751206" y="92710"/>
                    <a:pt x="751841" y="93345"/>
                    <a:pt x="752476" y="94615"/>
                  </a:cubicBezTo>
                  <a:cubicBezTo>
                    <a:pt x="753111" y="95250"/>
                    <a:pt x="753746" y="95885"/>
                    <a:pt x="755016" y="95885"/>
                  </a:cubicBezTo>
                  <a:cubicBezTo>
                    <a:pt x="756286" y="95885"/>
                    <a:pt x="757556" y="95885"/>
                    <a:pt x="758826" y="95885"/>
                  </a:cubicBezTo>
                  <a:cubicBezTo>
                    <a:pt x="760731" y="95885"/>
                    <a:pt x="762636" y="95885"/>
                    <a:pt x="765176" y="95250"/>
                  </a:cubicBezTo>
                  <a:cubicBezTo>
                    <a:pt x="767081" y="94615"/>
                    <a:pt x="768986" y="93980"/>
                    <a:pt x="770256" y="93345"/>
                  </a:cubicBezTo>
                  <a:lnTo>
                    <a:pt x="768351" y="106680"/>
                  </a:lnTo>
                  <a:cubicBezTo>
                    <a:pt x="768351" y="106680"/>
                    <a:pt x="764541" y="108585"/>
                    <a:pt x="762001" y="109220"/>
                  </a:cubicBezTo>
                  <a:cubicBezTo>
                    <a:pt x="759461" y="109855"/>
                    <a:pt x="756921" y="110490"/>
                    <a:pt x="753746" y="110490"/>
                  </a:cubicBezTo>
                  <a:cubicBezTo>
                    <a:pt x="751206" y="110490"/>
                    <a:pt x="748666" y="110490"/>
                    <a:pt x="746761" y="109220"/>
                  </a:cubicBezTo>
                  <a:cubicBezTo>
                    <a:pt x="744856" y="108585"/>
                    <a:pt x="742951" y="107315"/>
                    <a:pt x="741045" y="105410"/>
                  </a:cubicBezTo>
                  <a:cubicBezTo>
                    <a:pt x="739141" y="103505"/>
                    <a:pt x="737871" y="101600"/>
                    <a:pt x="737236" y="99060"/>
                  </a:cubicBezTo>
                  <a:cubicBezTo>
                    <a:pt x="736600" y="96520"/>
                    <a:pt x="735966" y="93345"/>
                    <a:pt x="735966" y="89535"/>
                  </a:cubicBezTo>
                  <a:lnTo>
                    <a:pt x="735966" y="44450"/>
                  </a:lnTo>
                  <a:lnTo>
                    <a:pt x="725171" y="44450"/>
                  </a:lnTo>
                  <a:lnTo>
                    <a:pt x="725171" y="30480"/>
                  </a:lnTo>
                  <a:lnTo>
                    <a:pt x="735966" y="30480"/>
                  </a:lnTo>
                  <a:lnTo>
                    <a:pt x="735966" y="8255"/>
                  </a:lnTo>
                  <a:close/>
                  <a:moveTo>
                    <a:pt x="521335" y="0"/>
                  </a:moveTo>
                  <a:lnTo>
                    <a:pt x="521335" y="30480"/>
                  </a:lnTo>
                  <a:lnTo>
                    <a:pt x="540385" y="30480"/>
                  </a:lnTo>
                  <a:lnTo>
                    <a:pt x="540385" y="44450"/>
                  </a:lnTo>
                  <a:lnTo>
                    <a:pt x="521335" y="44450"/>
                  </a:lnTo>
                  <a:lnTo>
                    <a:pt x="521335" y="86995"/>
                  </a:lnTo>
                  <a:cubicBezTo>
                    <a:pt x="521335" y="86995"/>
                    <a:pt x="521335" y="90170"/>
                    <a:pt x="521335" y="91440"/>
                  </a:cubicBezTo>
                  <a:cubicBezTo>
                    <a:pt x="521335" y="92710"/>
                    <a:pt x="521970" y="93345"/>
                    <a:pt x="522605" y="94615"/>
                  </a:cubicBezTo>
                  <a:cubicBezTo>
                    <a:pt x="523240" y="95250"/>
                    <a:pt x="523875" y="95885"/>
                    <a:pt x="525145" y="95885"/>
                  </a:cubicBezTo>
                  <a:cubicBezTo>
                    <a:pt x="526415" y="95885"/>
                    <a:pt x="527685" y="95885"/>
                    <a:pt x="528955" y="95885"/>
                  </a:cubicBezTo>
                  <a:cubicBezTo>
                    <a:pt x="530860" y="95885"/>
                    <a:pt x="532765" y="95885"/>
                    <a:pt x="535305" y="95250"/>
                  </a:cubicBezTo>
                  <a:cubicBezTo>
                    <a:pt x="537210" y="94615"/>
                    <a:pt x="539115" y="93980"/>
                    <a:pt x="540385" y="93345"/>
                  </a:cubicBezTo>
                  <a:lnTo>
                    <a:pt x="538480" y="106680"/>
                  </a:lnTo>
                  <a:cubicBezTo>
                    <a:pt x="538480" y="106680"/>
                    <a:pt x="534670" y="108585"/>
                    <a:pt x="532130" y="109220"/>
                  </a:cubicBezTo>
                  <a:cubicBezTo>
                    <a:pt x="529590" y="109855"/>
                    <a:pt x="527050" y="110490"/>
                    <a:pt x="523875" y="110490"/>
                  </a:cubicBezTo>
                  <a:cubicBezTo>
                    <a:pt x="521335" y="110490"/>
                    <a:pt x="518795" y="110490"/>
                    <a:pt x="516890" y="109220"/>
                  </a:cubicBezTo>
                  <a:cubicBezTo>
                    <a:pt x="514985" y="108585"/>
                    <a:pt x="513080" y="107315"/>
                    <a:pt x="511175" y="105410"/>
                  </a:cubicBezTo>
                  <a:cubicBezTo>
                    <a:pt x="509270" y="103505"/>
                    <a:pt x="508000" y="101600"/>
                    <a:pt x="507365" y="99060"/>
                  </a:cubicBezTo>
                  <a:cubicBezTo>
                    <a:pt x="506730" y="96520"/>
                    <a:pt x="506095" y="93345"/>
                    <a:pt x="506095" y="89535"/>
                  </a:cubicBezTo>
                  <a:lnTo>
                    <a:pt x="506095" y="44450"/>
                  </a:lnTo>
                  <a:lnTo>
                    <a:pt x="495300" y="44450"/>
                  </a:lnTo>
                  <a:lnTo>
                    <a:pt x="495300" y="30480"/>
                  </a:lnTo>
                  <a:lnTo>
                    <a:pt x="506095" y="30480"/>
                  </a:lnTo>
                  <a:lnTo>
                    <a:pt x="506095" y="8255"/>
                  </a:lnTo>
                  <a:close/>
                  <a:moveTo>
                    <a:pt x="466724" y="0"/>
                  </a:moveTo>
                  <a:lnTo>
                    <a:pt x="466724" y="30480"/>
                  </a:lnTo>
                  <a:lnTo>
                    <a:pt x="485774" y="30480"/>
                  </a:lnTo>
                  <a:lnTo>
                    <a:pt x="485774" y="44450"/>
                  </a:lnTo>
                  <a:lnTo>
                    <a:pt x="466724" y="44450"/>
                  </a:lnTo>
                  <a:lnTo>
                    <a:pt x="466724" y="86995"/>
                  </a:lnTo>
                  <a:cubicBezTo>
                    <a:pt x="466724" y="86995"/>
                    <a:pt x="466724" y="90170"/>
                    <a:pt x="466724" y="91440"/>
                  </a:cubicBezTo>
                  <a:cubicBezTo>
                    <a:pt x="466724" y="92710"/>
                    <a:pt x="467359" y="93345"/>
                    <a:pt x="467994" y="94615"/>
                  </a:cubicBezTo>
                  <a:cubicBezTo>
                    <a:pt x="468629" y="95250"/>
                    <a:pt x="469264" y="95885"/>
                    <a:pt x="470534" y="95885"/>
                  </a:cubicBezTo>
                  <a:cubicBezTo>
                    <a:pt x="471804" y="95885"/>
                    <a:pt x="473074" y="95885"/>
                    <a:pt x="474344" y="95885"/>
                  </a:cubicBezTo>
                  <a:cubicBezTo>
                    <a:pt x="476249" y="95885"/>
                    <a:pt x="478154" y="95885"/>
                    <a:pt x="480694" y="95250"/>
                  </a:cubicBezTo>
                  <a:cubicBezTo>
                    <a:pt x="482599" y="94615"/>
                    <a:pt x="484504" y="93980"/>
                    <a:pt x="485774" y="93345"/>
                  </a:cubicBezTo>
                  <a:lnTo>
                    <a:pt x="483869" y="106680"/>
                  </a:lnTo>
                  <a:cubicBezTo>
                    <a:pt x="483869" y="106680"/>
                    <a:pt x="480059" y="108585"/>
                    <a:pt x="477519" y="109220"/>
                  </a:cubicBezTo>
                  <a:cubicBezTo>
                    <a:pt x="474979" y="109855"/>
                    <a:pt x="472439" y="110490"/>
                    <a:pt x="469264" y="110490"/>
                  </a:cubicBezTo>
                  <a:cubicBezTo>
                    <a:pt x="466724" y="110490"/>
                    <a:pt x="464184" y="110490"/>
                    <a:pt x="462279" y="109220"/>
                  </a:cubicBezTo>
                  <a:cubicBezTo>
                    <a:pt x="460374" y="108585"/>
                    <a:pt x="458469" y="107315"/>
                    <a:pt x="456564" y="105410"/>
                  </a:cubicBezTo>
                  <a:cubicBezTo>
                    <a:pt x="454659" y="103505"/>
                    <a:pt x="453389" y="101600"/>
                    <a:pt x="452754" y="99060"/>
                  </a:cubicBezTo>
                  <a:cubicBezTo>
                    <a:pt x="452119" y="96520"/>
                    <a:pt x="451484" y="93345"/>
                    <a:pt x="451484" y="89535"/>
                  </a:cubicBezTo>
                  <a:lnTo>
                    <a:pt x="451484" y="44450"/>
                  </a:lnTo>
                  <a:lnTo>
                    <a:pt x="440689" y="44450"/>
                  </a:lnTo>
                  <a:lnTo>
                    <a:pt x="440689" y="30480"/>
                  </a:lnTo>
                  <a:lnTo>
                    <a:pt x="451484" y="30480"/>
                  </a:lnTo>
                  <a:lnTo>
                    <a:pt x="451484" y="8255"/>
                  </a:lnTo>
                  <a:close/>
                  <a:moveTo>
                    <a:pt x="302259" y="0"/>
                  </a:moveTo>
                  <a:lnTo>
                    <a:pt x="302259" y="37465"/>
                  </a:lnTo>
                  <a:cubicBezTo>
                    <a:pt x="302259" y="37465"/>
                    <a:pt x="305434" y="34925"/>
                    <a:pt x="306704" y="33655"/>
                  </a:cubicBezTo>
                  <a:cubicBezTo>
                    <a:pt x="307974" y="33020"/>
                    <a:pt x="309244" y="31750"/>
                    <a:pt x="310514" y="31115"/>
                  </a:cubicBezTo>
                  <a:cubicBezTo>
                    <a:pt x="311784" y="30480"/>
                    <a:pt x="313689" y="29845"/>
                    <a:pt x="315594" y="29210"/>
                  </a:cubicBezTo>
                  <a:cubicBezTo>
                    <a:pt x="317499" y="29210"/>
                    <a:pt x="320039" y="28575"/>
                    <a:pt x="322579" y="28575"/>
                  </a:cubicBezTo>
                  <a:cubicBezTo>
                    <a:pt x="327024" y="28575"/>
                    <a:pt x="330834" y="29210"/>
                    <a:pt x="334644" y="31115"/>
                  </a:cubicBezTo>
                  <a:cubicBezTo>
                    <a:pt x="338454" y="32385"/>
                    <a:pt x="341629" y="34925"/>
                    <a:pt x="344169" y="38735"/>
                  </a:cubicBezTo>
                  <a:cubicBezTo>
                    <a:pt x="346709" y="41910"/>
                    <a:pt x="349249" y="46355"/>
                    <a:pt x="350519" y="51435"/>
                  </a:cubicBezTo>
                  <a:cubicBezTo>
                    <a:pt x="351789" y="56515"/>
                    <a:pt x="353059" y="62865"/>
                    <a:pt x="353059" y="70485"/>
                  </a:cubicBezTo>
                  <a:lnTo>
                    <a:pt x="352424" y="71120"/>
                  </a:lnTo>
                  <a:cubicBezTo>
                    <a:pt x="352424" y="77470"/>
                    <a:pt x="351789" y="83820"/>
                    <a:pt x="349884" y="88265"/>
                  </a:cubicBezTo>
                  <a:cubicBezTo>
                    <a:pt x="347979" y="93345"/>
                    <a:pt x="346074" y="97155"/>
                    <a:pt x="342899" y="100330"/>
                  </a:cubicBezTo>
                  <a:cubicBezTo>
                    <a:pt x="340359" y="103505"/>
                    <a:pt x="336549" y="106045"/>
                    <a:pt x="333374" y="107315"/>
                  </a:cubicBezTo>
                  <a:cubicBezTo>
                    <a:pt x="329564" y="109220"/>
                    <a:pt x="325754" y="109855"/>
                    <a:pt x="321944" y="109855"/>
                  </a:cubicBezTo>
                  <a:cubicBezTo>
                    <a:pt x="318134" y="109855"/>
                    <a:pt x="314324" y="109220"/>
                    <a:pt x="311149" y="107315"/>
                  </a:cubicBezTo>
                  <a:cubicBezTo>
                    <a:pt x="307339" y="105410"/>
                    <a:pt x="304799" y="103505"/>
                    <a:pt x="302259" y="100965"/>
                  </a:cubicBezTo>
                  <a:lnTo>
                    <a:pt x="302259" y="107950"/>
                  </a:lnTo>
                  <a:lnTo>
                    <a:pt x="287019" y="107950"/>
                  </a:lnTo>
                  <a:lnTo>
                    <a:pt x="287019" y="7620"/>
                  </a:lnTo>
                  <a:close/>
                </a:path>
              </a:pathLst>
            </a:custGeom>
            <a:solidFill>
              <a:srgbClr val="FFFFFF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E0E8BD61-2DD9-6340-EB16-98CFEA0A221D}"/>
              </a:ext>
            </a:extLst>
          </p:cNvPr>
          <p:cNvGrpSpPr/>
          <p:nvPr userDrawn="1"/>
        </p:nvGrpSpPr>
        <p:grpSpPr>
          <a:xfrm>
            <a:off x="486027" y="1291009"/>
            <a:ext cx="5709082" cy="4360545"/>
            <a:chOff x="485774" y="1291008"/>
            <a:chExt cx="5706110" cy="4360545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B4038A11-FAB8-DE3A-2D5D-3D1F11925688}"/>
                </a:ext>
              </a:extLst>
            </p:cNvPr>
            <p:cNvSpPr/>
            <p:nvPr userDrawn="1"/>
          </p:nvSpPr>
          <p:spPr>
            <a:xfrm>
              <a:off x="485774" y="5549953"/>
              <a:ext cx="508000" cy="101600"/>
            </a:xfrm>
            <a:custGeom>
              <a:avLst/>
              <a:gdLst>
                <a:gd name="connsiteX0" fmla="*/ 406400 w 508000"/>
                <a:gd name="connsiteY0" fmla="*/ 0 h 101600"/>
                <a:gd name="connsiteX1" fmla="*/ 508000 w 508000"/>
                <a:gd name="connsiteY1" fmla="*/ 0 h 101600"/>
                <a:gd name="connsiteX2" fmla="*/ 508000 w 508000"/>
                <a:gd name="connsiteY2" fmla="*/ 101600 h 101600"/>
                <a:gd name="connsiteX3" fmla="*/ 406400 w 508000"/>
                <a:gd name="connsiteY3" fmla="*/ 101600 h 101600"/>
                <a:gd name="connsiteX4" fmla="*/ 203200 w 508000"/>
                <a:gd name="connsiteY4" fmla="*/ 0 h 101600"/>
                <a:gd name="connsiteX5" fmla="*/ 304800 w 508000"/>
                <a:gd name="connsiteY5" fmla="*/ 0 h 101600"/>
                <a:gd name="connsiteX6" fmla="*/ 304800 w 508000"/>
                <a:gd name="connsiteY6" fmla="*/ 101600 h 101600"/>
                <a:gd name="connsiteX7" fmla="*/ 203200 w 508000"/>
                <a:gd name="connsiteY7" fmla="*/ 101600 h 101600"/>
                <a:gd name="connsiteX8" fmla="*/ 0 w 508000"/>
                <a:gd name="connsiteY8" fmla="*/ 0 h 101600"/>
                <a:gd name="connsiteX9" fmla="*/ 101600 w 508000"/>
                <a:gd name="connsiteY9" fmla="*/ 0 h 101600"/>
                <a:gd name="connsiteX10" fmla="*/ 101600 w 508000"/>
                <a:gd name="connsiteY10" fmla="*/ 101600 h 101600"/>
                <a:gd name="connsiteX11" fmla="*/ 0 w 508000"/>
                <a:gd name="connsiteY11" fmla="*/ 101600 h 101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08000" h="101600">
                  <a:moveTo>
                    <a:pt x="406400" y="0"/>
                  </a:moveTo>
                  <a:lnTo>
                    <a:pt x="508000" y="0"/>
                  </a:lnTo>
                  <a:lnTo>
                    <a:pt x="508000" y="101600"/>
                  </a:lnTo>
                  <a:lnTo>
                    <a:pt x="406400" y="101600"/>
                  </a:lnTo>
                  <a:close/>
                  <a:moveTo>
                    <a:pt x="203200" y="0"/>
                  </a:moveTo>
                  <a:lnTo>
                    <a:pt x="304800" y="0"/>
                  </a:lnTo>
                  <a:lnTo>
                    <a:pt x="304800" y="101600"/>
                  </a:lnTo>
                  <a:lnTo>
                    <a:pt x="203200" y="101600"/>
                  </a:lnTo>
                  <a:close/>
                  <a:moveTo>
                    <a:pt x="0" y="0"/>
                  </a:moveTo>
                  <a:lnTo>
                    <a:pt x="101600" y="0"/>
                  </a:lnTo>
                  <a:lnTo>
                    <a:pt x="101600" y="101600"/>
                  </a:lnTo>
                  <a:lnTo>
                    <a:pt x="0" y="101600"/>
                  </a:lnTo>
                  <a:close/>
                </a:path>
              </a:pathLst>
            </a:custGeom>
            <a:solidFill>
              <a:schemeClr val="tx2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27" name="Freeform 26">
              <a:extLst>
                <a:ext uri="{FF2B5EF4-FFF2-40B4-BE49-F238E27FC236}">
                  <a16:creationId xmlns:a16="http://schemas.microsoft.com/office/drawing/2014/main" id="{FD45E8E5-E623-933A-074B-D3B9860ABECB}"/>
                </a:ext>
              </a:extLst>
            </p:cNvPr>
            <p:cNvSpPr/>
            <p:nvPr userDrawn="1"/>
          </p:nvSpPr>
          <p:spPr>
            <a:xfrm>
              <a:off x="485775" y="1291008"/>
              <a:ext cx="5706109" cy="4359275"/>
            </a:xfrm>
            <a:custGeom>
              <a:avLst/>
              <a:gdLst>
                <a:gd name="connsiteX0" fmla="*/ 0 w 5706109"/>
                <a:gd name="connsiteY0" fmla="*/ 4157346 h 4359275"/>
                <a:gd name="connsiteX1" fmla="*/ 101600 w 5706109"/>
                <a:gd name="connsiteY1" fmla="*/ 4157346 h 4359275"/>
                <a:gd name="connsiteX2" fmla="*/ 101600 w 5706109"/>
                <a:gd name="connsiteY2" fmla="*/ 1075055 h 4359275"/>
                <a:gd name="connsiteX3" fmla="*/ 101600 w 5706109"/>
                <a:gd name="connsiteY3" fmla="*/ 1075055 h 4359275"/>
                <a:gd name="connsiteX4" fmla="*/ 191770 w 5706109"/>
                <a:gd name="connsiteY4" fmla="*/ 1059180 h 4359275"/>
                <a:gd name="connsiteX5" fmla="*/ 861060 w 5706109"/>
                <a:gd name="connsiteY5" fmla="*/ 942975 h 4359275"/>
                <a:gd name="connsiteX6" fmla="*/ 1195705 w 5706109"/>
                <a:gd name="connsiteY6" fmla="*/ 885190 h 4359275"/>
                <a:gd name="connsiteX7" fmla="*/ 1362710 w 5706109"/>
                <a:gd name="connsiteY7" fmla="*/ 855980 h 4359275"/>
                <a:gd name="connsiteX8" fmla="*/ 1529715 w 5706109"/>
                <a:gd name="connsiteY8" fmla="*/ 826770 h 4359275"/>
                <a:gd name="connsiteX9" fmla="*/ 1864360 w 5706109"/>
                <a:gd name="connsiteY9" fmla="*/ 768985 h 4359275"/>
                <a:gd name="connsiteX10" fmla="*/ 2031365 w 5706109"/>
                <a:gd name="connsiteY10" fmla="*/ 739775 h 4359275"/>
                <a:gd name="connsiteX11" fmla="*/ 2198370 w 5706109"/>
                <a:gd name="connsiteY11" fmla="*/ 710565 h 4359275"/>
                <a:gd name="connsiteX12" fmla="*/ 2365375 w 5706109"/>
                <a:gd name="connsiteY12" fmla="*/ 681355 h 4359275"/>
                <a:gd name="connsiteX13" fmla="*/ 2532380 w 5706109"/>
                <a:gd name="connsiteY13" fmla="*/ 652145 h 4359275"/>
                <a:gd name="connsiteX14" fmla="*/ 2699385 w 5706109"/>
                <a:gd name="connsiteY14" fmla="*/ 622935 h 4359275"/>
                <a:gd name="connsiteX15" fmla="*/ 2866390 w 5706109"/>
                <a:gd name="connsiteY15" fmla="*/ 593725 h 4359275"/>
                <a:gd name="connsiteX16" fmla="*/ 5461000 w 5706109"/>
                <a:gd name="connsiteY16" fmla="*/ 144145 h 4359275"/>
                <a:gd name="connsiteX17" fmla="*/ 5602605 w 5706109"/>
                <a:gd name="connsiteY17" fmla="*/ 119380 h 4359275"/>
                <a:gd name="connsiteX18" fmla="*/ 5602605 w 5706109"/>
                <a:gd name="connsiteY18" fmla="*/ 119380 h 4359275"/>
                <a:gd name="connsiteX19" fmla="*/ 5602605 w 5706109"/>
                <a:gd name="connsiteY19" fmla="*/ 4257676 h 4359275"/>
                <a:gd name="connsiteX20" fmla="*/ 609600 w 5706109"/>
                <a:gd name="connsiteY20" fmla="*/ 4257676 h 4359275"/>
                <a:gd name="connsiteX21" fmla="*/ 609600 w 5706109"/>
                <a:gd name="connsiteY21" fmla="*/ 4359276 h 4359275"/>
                <a:gd name="connsiteX22" fmla="*/ 5706110 w 5706109"/>
                <a:gd name="connsiteY22" fmla="*/ 4359276 h 4359275"/>
                <a:gd name="connsiteX23" fmla="*/ 5706110 w 5706109"/>
                <a:gd name="connsiteY23" fmla="*/ 0 h 4359275"/>
                <a:gd name="connsiteX24" fmla="*/ 5704840 w 5706109"/>
                <a:gd name="connsiteY24" fmla="*/ 0 h 4359275"/>
                <a:gd name="connsiteX25" fmla="*/ 5445760 w 5706109"/>
                <a:gd name="connsiteY25" fmla="*/ 45085 h 4359275"/>
                <a:gd name="connsiteX26" fmla="*/ 2851150 w 5706109"/>
                <a:gd name="connsiteY26" fmla="*/ 494665 h 4359275"/>
                <a:gd name="connsiteX27" fmla="*/ 2684145 w 5706109"/>
                <a:gd name="connsiteY27" fmla="*/ 523875 h 4359275"/>
                <a:gd name="connsiteX28" fmla="*/ 2517140 w 5706109"/>
                <a:gd name="connsiteY28" fmla="*/ 553085 h 4359275"/>
                <a:gd name="connsiteX29" fmla="*/ 2350135 w 5706109"/>
                <a:gd name="connsiteY29" fmla="*/ 582295 h 4359275"/>
                <a:gd name="connsiteX30" fmla="*/ 2183130 w 5706109"/>
                <a:gd name="connsiteY30" fmla="*/ 611505 h 4359275"/>
                <a:gd name="connsiteX31" fmla="*/ 2016125 w 5706109"/>
                <a:gd name="connsiteY31" fmla="*/ 640715 h 4359275"/>
                <a:gd name="connsiteX32" fmla="*/ 1849120 w 5706109"/>
                <a:gd name="connsiteY32" fmla="*/ 669925 h 4359275"/>
                <a:gd name="connsiteX33" fmla="*/ 1514475 w 5706109"/>
                <a:gd name="connsiteY33" fmla="*/ 727710 h 4359275"/>
                <a:gd name="connsiteX34" fmla="*/ 1347470 w 5706109"/>
                <a:gd name="connsiteY34" fmla="*/ 756920 h 4359275"/>
                <a:gd name="connsiteX35" fmla="*/ 1180465 w 5706109"/>
                <a:gd name="connsiteY35" fmla="*/ 786130 h 4359275"/>
                <a:gd name="connsiteX36" fmla="*/ 845820 w 5706109"/>
                <a:gd name="connsiteY36" fmla="*/ 843915 h 4359275"/>
                <a:gd name="connsiteX37" fmla="*/ 176530 w 5706109"/>
                <a:gd name="connsiteY37" fmla="*/ 960120 h 4359275"/>
                <a:gd name="connsiteX38" fmla="*/ 3175 w 5706109"/>
                <a:gd name="connsiteY38" fmla="*/ 989965 h 4359275"/>
                <a:gd name="connsiteX39" fmla="*/ 1905 w 5706109"/>
                <a:gd name="connsiteY39" fmla="*/ 989965 h 4359275"/>
                <a:gd name="connsiteX40" fmla="*/ 1905 w 5706109"/>
                <a:gd name="connsiteY40" fmla="*/ 4158616 h 4359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5706109" h="4359275">
                  <a:moveTo>
                    <a:pt x="0" y="4157346"/>
                  </a:moveTo>
                  <a:lnTo>
                    <a:pt x="101600" y="4157346"/>
                  </a:lnTo>
                  <a:lnTo>
                    <a:pt x="101600" y="1075055"/>
                  </a:lnTo>
                  <a:lnTo>
                    <a:pt x="101600" y="1075055"/>
                  </a:lnTo>
                  <a:lnTo>
                    <a:pt x="191770" y="1059180"/>
                  </a:lnTo>
                  <a:lnTo>
                    <a:pt x="861060" y="942975"/>
                  </a:lnTo>
                  <a:lnTo>
                    <a:pt x="1195705" y="885190"/>
                  </a:lnTo>
                  <a:lnTo>
                    <a:pt x="1362710" y="855980"/>
                  </a:lnTo>
                  <a:lnTo>
                    <a:pt x="1529715" y="826770"/>
                  </a:lnTo>
                  <a:lnTo>
                    <a:pt x="1864360" y="768985"/>
                  </a:lnTo>
                  <a:lnTo>
                    <a:pt x="2031365" y="739775"/>
                  </a:lnTo>
                  <a:lnTo>
                    <a:pt x="2198370" y="710565"/>
                  </a:lnTo>
                  <a:lnTo>
                    <a:pt x="2365375" y="681355"/>
                  </a:lnTo>
                  <a:lnTo>
                    <a:pt x="2532380" y="652145"/>
                  </a:lnTo>
                  <a:lnTo>
                    <a:pt x="2699385" y="622935"/>
                  </a:lnTo>
                  <a:lnTo>
                    <a:pt x="2866390" y="593725"/>
                  </a:lnTo>
                  <a:cubicBezTo>
                    <a:pt x="3731260" y="443865"/>
                    <a:pt x="4596130" y="294005"/>
                    <a:pt x="5461000" y="144145"/>
                  </a:cubicBezTo>
                  <a:lnTo>
                    <a:pt x="5602605" y="119380"/>
                  </a:lnTo>
                  <a:lnTo>
                    <a:pt x="5602605" y="119380"/>
                  </a:lnTo>
                  <a:lnTo>
                    <a:pt x="5602605" y="4257676"/>
                  </a:lnTo>
                  <a:lnTo>
                    <a:pt x="609600" y="4257676"/>
                  </a:lnTo>
                  <a:lnTo>
                    <a:pt x="609600" y="4359276"/>
                  </a:lnTo>
                  <a:lnTo>
                    <a:pt x="5706110" y="4359276"/>
                  </a:lnTo>
                  <a:lnTo>
                    <a:pt x="5706110" y="0"/>
                  </a:lnTo>
                  <a:lnTo>
                    <a:pt x="5704840" y="0"/>
                  </a:lnTo>
                  <a:cubicBezTo>
                    <a:pt x="5618480" y="15240"/>
                    <a:pt x="5532120" y="30480"/>
                    <a:pt x="5445760" y="45085"/>
                  </a:cubicBezTo>
                  <a:cubicBezTo>
                    <a:pt x="4580890" y="194945"/>
                    <a:pt x="3716020" y="344805"/>
                    <a:pt x="2851150" y="494665"/>
                  </a:cubicBezTo>
                  <a:lnTo>
                    <a:pt x="2684145" y="523875"/>
                  </a:lnTo>
                  <a:lnTo>
                    <a:pt x="2517140" y="553085"/>
                  </a:lnTo>
                  <a:lnTo>
                    <a:pt x="2350135" y="582295"/>
                  </a:lnTo>
                  <a:lnTo>
                    <a:pt x="2183130" y="611505"/>
                  </a:lnTo>
                  <a:lnTo>
                    <a:pt x="2016125" y="640715"/>
                  </a:lnTo>
                  <a:lnTo>
                    <a:pt x="1849120" y="669925"/>
                  </a:lnTo>
                  <a:lnTo>
                    <a:pt x="1514475" y="727710"/>
                  </a:lnTo>
                  <a:lnTo>
                    <a:pt x="1347470" y="756920"/>
                  </a:lnTo>
                  <a:lnTo>
                    <a:pt x="1180465" y="786130"/>
                  </a:lnTo>
                  <a:lnTo>
                    <a:pt x="845820" y="843915"/>
                  </a:lnTo>
                  <a:lnTo>
                    <a:pt x="176530" y="960120"/>
                  </a:lnTo>
                  <a:lnTo>
                    <a:pt x="3175" y="989965"/>
                  </a:lnTo>
                  <a:lnTo>
                    <a:pt x="1905" y="989965"/>
                  </a:lnTo>
                  <a:lnTo>
                    <a:pt x="1905" y="4158616"/>
                  </a:lnTo>
                  <a:close/>
                </a:path>
              </a:pathLst>
            </a:custGeom>
            <a:gradFill flip="none" rotWithShape="1">
              <a:gsLst>
                <a:gs pos="39000">
                  <a:srgbClr val="FFE600"/>
                </a:gs>
                <a:gs pos="68000">
                  <a:srgbClr val="A420F8"/>
                </a:gs>
                <a:gs pos="100000">
                  <a:srgbClr val="5C94F9"/>
                </a:gs>
              </a:gsLst>
              <a:lin ang="18720000" scaled="0"/>
              <a:tileRect/>
            </a:gradFill>
            <a:ln w="8181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 sz="1800"/>
            </a:p>
          </p:txBody>
        </p:sp>
      </p:grpSp>
      <p:sp>
        <p:nvSpPr>
          <p:cNvPr id="28" name="Subtitle 2">
            <a:extLst>
              <a:ext uri="{FF2B5EF4-FFF2-40B4-BE49-F238E27FC236}">
                <a16:creationId xmlns:a16="http://schemas.microsoft.com/office/drawing/2014/main" id="{4CE2B77E-5DDA-CC5C-A575-69779E57947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90225" y="4436486"/>
            <a:ext cx="4910184" cy="511939"/>
          </a:xfrm>
        </p:spPr>
        <p:txBody>
          <a:bodyPr wrap="square">
            <a:noAutofit/>
          </a:bodyPr>
          <a:lstStyle>
            <a:lvl1pPr marL="0" indent="0" algn="l">
              <a:buNone/>
              <a:defRPr lang="en-GB" sz="16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/>
          </a:p>
        </p:txBody>
      </p:sp>
      <p:sp>
        <p:nvSpPr>
          <p:cNvPr id="29" name="Title 4">
            <a:extLst>
              <a:ext uri="{FF2B5EF4-FFF2-40B4-BE49-F238E27FC236}">
                <a16:creationId xmlns:a16="http://schemas.microsoft.com/office/drawing/2014/main" id="{2C2EB3B4-62C2-DB27-F905-7B5310DF5C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90226" y="2698752"/>
            <a:ext cx="4908564" cy="1654043"/>
          </a:xfrm>
        </p:spPr>
        <p:txBody>
          <a:bodyPr anchor="t">
            <a:noAutofit/>
          </a:bodyPr>
          <a:lstStyle>
            <a:lvl1pPr>
              <a:defRPr sz="4200" b="1" i="0">
                <a:solidFill>
                  <a:schemeClr val="bg1"/>
                </a:solidFill>
                <a:latin typeface="EYInterstate Regular" panose="02000503020000020004" pitchFamily="2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0" name="Text Placeholder 288">
            <a:extLst>
              <a:ext uri="{FF2B5EF4-FFF2-40B4-BE49-F238E27FC236}">
                <a16:creationId xmlns:a16="http://schemas.microsoft.com/office/drawing/2014/main" id="{41B1F747-977A-C01C-9182-B92C691E57F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90226" y="5047486"/>
            <a:ext cx="4908565" cy="246221"/>
          </a:xfrm>
        </p:spPr>
        <p:txBody>
          <a:bodyPr wrap="square">
            <a:spAutoFit/>
          </a:bodyPr>
          <a:lstStyle>
            <a:lvl1pPr marL="0" indent="0">
              <a:buNone/>
              <a:defRPr sz="1600" b="1">
                <a:latin typeface="+mj-lt"/>
              </a:defRPr>
            </a:lvl1pPr>
            <a:lvl2pPr marL="252000" indent="0">
              <a:buNone/>
              <a:defRPr sz="1600" b="1">
                <a:latin typeface="+mj-lt"/>
              </a:defRPr>
            </a:lvl2pPr>
            <a:lvl3pPr marL="504000" indent="0">
              <a:buNone/>
              <a:defRPr sz="1600" b="1">
                <a:latin typeface="+mj-lt"/>
              </a:defRPr>
            </a:lvl3pPr>
            <a:lvl4pPr marL="756000" indent="0">
              <a:buNone/>
              <a:defRPr sz="1600" b="1">
                <a:latin typeface="+mj-lt"/>
              </a:defRPr>
            </a:lvl4pPr>
            <a:lvl5pPr marL="1008000" indent="0">
              <a:buNone/>
              <a:defRPr sz="1600" b="1">
                <a:latin typeface="+mj-lt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39663451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Spectrum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colorful light in the dark&#10;&#10;Description automatically generated">
            <a:extLst>
              <a:ext uri="{FF2B5EF4-FFF2-40B4-BE49-F238E27FC236}">
                <a16:creationId xmlns:a16="http://schemas.microsoft.com/office/drawing/2014/main" id="{76F31E31-25A6-21A9-5DF2-0E1AA48A3DFC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0"/>
            <a:ext cx="12199551" cy="6858000"/>
          </a:xfrm>
          <a:prstGeom prst="rect">
            <a:avLst/>
          </a:prstGeom>
        </p:spPr>
      </p:pic>
      <p:grpSp>
        <p:nvGrpSpPr>
          <p:cNvPr id="21" name="Group 20">
            <a:extLst>
              <a:ext uri="{FF2B5EF4-FFF2-40B4-BE49-F238E27FC236}">
                <a16:creationId xmlns:a16="http://schemas.microsoft.com/office/drawing/2014/main" id="{A8D6BAB6-A68E-C404-5D92-6E11D325CFFA}"/>
              </a:ext>
            </a:extLst>
          </p:cNvPr>
          <p:cNvGrpSpPr/>
          <p:nvPr userDrawn="1"/>
        </p:nvGrpSpPr>
        <p:grpSpPr bwMode="black">
          <a:xfrm>
            <a:off x="10568726" y="5167683"/>
            <a:ext cx="1219835" cy="1284606"/>
            <a:chOff x="10563224" y="5158158"/>
            <a:chExt cx="1219200" cy="1284606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BEE0067F-78DC-1ABA-D072-D13444B14ED9}"/>
                </a:ext>
              </a:extLst>
            </p:cNvPr>
            <p:cNvSpPr/>
            <p:nvPr/>
          </p:nvSpPr>
          <p:spPr bwMode="black">
            <a:xfrm>
              <a:off x="10826115" y="5158158"/>
              <a:ext cx="805814" cy="294004"/>
            </a:xfrm>
            <a:custGeom>
              <a:avLst/>
              <a:gdLst>
                <a:gd name="connsiteX0" fmla="*/ 805814 w 805814"/>
                <a:gd name="connsiteY0" fmla="*/ 0 h 294004"/>
                <a:gd name="connsiteX1" fmla="*/ 0 w 805814"/>
                <a:gd name="connsiteY1" fmla="*/ 294005 h 294004"/>
                <a:gd name="connsiteX2" fmla="*/ 805814 w 805814"/>
                <a:gd name="connsiteY2" fmla="*/ 151765 h 294004"/>
                <a:gd name="connsiteX3" fmla="*/ 805814 w 805814"/>
                <a:gd name="connsiteY3" fmla="*/ 0 h 2940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05814" h="294004">
                  <a:moveTo>
                    <a:pt x="805814" y="0"/>
                  </a:moveTo>
                  <a:lnTo>
                    <a:pt x="0" y="294005"/>
                  </a:lnTo>
                  <a:lnTo>
                    <a:pt x="805814" y="151765"/>
                  </a:lnTo>
                  <a:lnTo>
                    <a:pt x="805814" y="0"/>
                  </a:lnTo>
                  <a:close/>
                </a:path>
              </a:pathLst>
            </a:custGeom>
            <a:solidFill>
              <a:srgbClr val="FFE600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23" name="Freeform 22">
              <a:extLst>
                <a:ext uri="{FF2B5EF4-FFF2-40B4-BE49-F238E27FC236}">
                  <a16:creationId xmlns:a16="http://schemas.microsoft.com/office/drawing/2014/main" id="{51F51328-AAA1-9C6C-5EE4-05350DF6D22E}"/>
                </a:ext>
              </a:extLst>
            </p:cNvPr>
            <p:cNvSpPr/>
            <p:nvPr/>
          </p:nvSpPr>
          <p:spPr bwMode="black">
            <a:xfrm>
              <a:off x="10563224" y="5574083"/>
              <a:ext cx="1219200" cy="868681"/>
            </a:xfrm>
            <a:custGeom>
              <a:avLst/>
              <a:gdLst>
                <a:gd name="connsiteX0" fmla="*/ 245110 w 1219200"/>
                <a:gd name="connsiteY0" fmla="*/ 839471 h 868681"/>
                <a:gd name="connsiteX1" fmla="*/ 246379 w 1219200"/>
                <a:gd name="connsiteY1" fmla="*/ 839471 h 868681"/>
                <a:gd name="connsiteX2" fmla="*/ 245041 w 1219200"/>
                <a:gd name="connsiteY2" fmla="*/ 839979 h 868681"/>
                <a:gd name="connsiteX3" fmla="*/ 522605 w 1219200"/>
                <a:gd name="connsiteY3" fmla="*/ 796926 h 868681"/>
                <a:gd name="connsiteX4" fmla="*/ 504189 w 1219200"/>
                <a:gd name="connsiteY4" fmla="*/ 821691 h 868681"/>
                <a:gd name="connsiteX5" fmla="*/ 522605 w 1219200"/>
                <a:gd name="connsiteY5" fmla="*/ 845821 h 868681"/>
                <a:gd name="connsiteX6" fmla="*/ 541019 w 1219200"/>
                <a:gd name="connsiteY6" fmla="*/ 821691 h 868681"/>
                <a:gd name="connsiteX7" fmla="*/ 522605 w 1219200"/>
                <a:gd name="connsiteY7" fmla="*/ 796926 h 868681"/>
                <a:gd name="connsiteX8" fmla="*/ 817245 w 1219200"/>
                <a:gd name="connsiteY8" fmla="*/ 796291 h 868681"/>
                <a:gd name="connsiteX9" fmla="*/ 800735 w 1219200"/>
                <a:gd name="connsiteY9" fmla="*/ 819786 h 868681"/>
                <a:gd name="connsiteX10" fmla="*/ 817879 w 1219200"/>
                <a:gd name="connsiteY10" fmla="*/ 846456 h 868681"/>
                <a:gd name="connsiteX11" fmla="*/ 833754 w 1219200"/>
                <a:gd name="connsiteY11" fmla="*/ 838836 h 868681"/>
                <a:gd name="connsiteX12" fmla="*/ 833754 w 1219200"/>
                <a:gd name="connsiteY12" fmla="*/ 838201 h 868681"/>
                <a:gd name="connsiteX13" fmla="*/ 833754 w 1219200"/>
                <a:gd name="connsiteY13" fmla="*/ 803911 h 868681"/>
                <a:gd name="connsiteX14" fmla="*/ 817245 w 1219200"/>
                <a:gd name="connsiteY14" fmla="*/ 796291 h 868681"/>
                <a:gd name="connsiteX15" fmla="*/ 1179195 w 1219200"/>
                <a:gd name="connsiteY15" fmla="*/ 794386 h 868681"/>
                <a:gd name="connsiteX16" fmla="*/ 1163320 w 1219200"/>
                <a:gd name="connsiteY16" fmla="*/ 811531 h 868681"/>
                <a:gd name="connsiteX17" fmla="*/ 1163954 w 1219200"/>
                <a:gd name="connsiteY17" fmla="*/ 811531 h 868681"/>
                <a:gd name="connsiteX18" fmla="*/ 1195704 w 1219200"/>
                <a:gd name="connsiteY18" fmla="*/ 811531 h 868681"/>
                <a:gd name="connsiteX19" fmla="*/ 1179195 w 1219200"/>
                <a:gd name="connsiteY19" fmla="*/ 794386 h 868681"/>
                <a:gd name="connsiteX20" fmla="*/ 909320 w 1219200"/>
                <a:gd name="connsiteY20" fmla="*/ 794386 h 868681"/>
                <a:gd name="connsiteX21" fmla="*/ 893445 w 1219200"/>
                <a:gd name="connsiteY21" fmla="*/ 811531 h 868681"/>
                <a:gd name="connsiteX22" fmla="*/ 894079 w 1219200"/>
                <a:gd name="connsiteY22" fmla="*/ 811531 h 868681"/>
                <a:gd name="connsiteX23" fmla="*/ 925829 w 1219200"/>
                <a:gd name="connsiteY23" fmla="*/ 811531 h 868681"/>
                <a:gd name="connsiteX24" fmla="*/ 909320 w 1219200"/>
                <a:gd name="connsiteY24" fmla="*/ 794386 h 868681"/>
                <a:gd name="connsiteX25" fmla="*/ 737870 w 1219200"/>
                <a:gd name="connsiteY25" fmla="*/ 775971 h 868681"/>
                <a:gd name="connsiteX26" fmla="*/ 761364 w 1219200"/>
                <a:gd name="connsiteY26" fmla="*/ 775971 h 868681"/>
                <a:gd name="connsiteX27" fmla="*/ 761364 w 1219200"/>
                <a:gd name="connsiteY27" fmla="*/ 866141 h 868681"/>
                <a:gd name="connsiteX28" fmla="*/ 737870 w 1219200"/>
                <a:gd name="connsiteY28" fmla="*/ 866141 h 868681"/>
                <a:gd name="connsiteX29" fmla="*/ 143510 w 1219200"/>
                <a:gd name="connsiteY29" fmla="*/ 775971 h 868681"/>
                <a:gd name="connsiteX30" fmla="*/ 167004 w 1219200"/>
                <a:gd name="connsiteY30" fmla="*/ 775971 h 868681"/>
                <a:gd name="connsiteX31" fmla="*/ 167004 w 1219200"/>
                <a:gd name="connsiteY31" fmla="*/ 866141 h 868681"/>
                <a:gd name="connsiteX32" fmla="*/ 143510 w 1219200"/>
                <a:gd name="connsiteY32" fmla="*/ 866141 h 868681"/>
                <a:gd name="connsiteX33" fmla="*/ 635 w 1219200"/>
                <a:gd name="connsiteY33" fmla="*/ 775971 h 868681"/>
                <a:gd name="connsiteX34" fmla="*/ 26670 w 1219200"/>
                <a:gd name="connsiteY34" fmla="*/ 775971 h 868681"/>
                <a:gd name="connsiteX35" fmla="*/ 40004 w 1219200"/>
                <a:gd name="connsiteY35" fmla="*/ 828041 h 868681"/>
                <a:gd name="connsiteX36" fmla="*/ 55245 w 1219200"/>
                <a:gd name="connsiteY36" fmla="*/ 775971 h 868681"/>
                <a:gd name="connsiteX37" fmla="*/ 76200 w 1219200"/>
                <a:gd name="connsiteY37" fmla="*/ 775971 h 868681"/>
                <a:gd name="connsiteX38" fmla="*/ 91439 w 1219200"/>
                <a:gd name="connsiteY38" fmla="*/ 828041 h 868681"/>
                <a:gd name="connsiteX39" fmla="*/ 105409 w 1219200"/>
                <a:gd name="connsiteY39" fmla="*/ 775971 h 868681"/>
                <a:gd name="connsiteX40" fmla="*/ 130810 w 1219200"/>
                <a:gd name="connsiteY40" fmla="*/ 775971 h 868681"/>
                <a:gd name="connsiteX41" fmla="*/ 102235 w 1219200"/>
                <a:gd name="connsiteY41" fmla="*/ 866141 h 868681"/>
                <a:gd name="connsiteX42" fmla="*/ 80644 w 1219200"/>
                <a:gd name="connsiteY42" fmla="*/ 866141 h 868681"/>
                <a:gd name="connsiteX43" fmla="*/ 65405 w 1219200"/>
                <a:gd name="connsiteY43" fmla="*/ 811531 h 868681"/>
                <a:gd name="connsiteX44" fmla="*/ 50165 w 1219200"/>
                <a:gd name="connsiteY44" fmla="*/ 866141 h 868681"/>
                <a:gd name="connsiteX45" fmla="*/ 28575 w 1219200"/>
                <a:gd name="connsiteY45" fmla="*/ 866141 h 868681"/>
                <a:gd name="connsiteX46" fmla="*/ 1181099 w 1219200"/>
                <a:gd name="connsiteY46" fmla="*/ 774066 h 868681"/>
                <a:gd name="connsiteX47" fmla="*/ 1219200 w 1219200"/>
                <a:gd name="connsiteY47" fmla="*/ 821056 h 868681"/>
                <a:gd name="connsiteX48" fmla="*/ 1218564 w 1219200"/>
                <a:gd name="connsiteY48" fmla="*/ 821056 h 868681"/>
                <a:gd name="connsiteX49" fmla="*/ 1218564 w 1219200"/>
                <a:gd name="connsiteY49" fmla="*/ 828676 h 868681"/>
                <a:gd name="connsiteX50" fmla="*/ 1163954 w 1219200"/>
                <a:gd name="connsiteY50" fmla="*/ 828676 h 868681"/>
                <a:gd name="connsiteX51" fmla="*/ 1183004 w 1219200"/>
                <a:gd name="connsiteY51" fmla="*/ 846456 h 868681"/>
                <a:gd name="connsiteX52" fmla="*/ 1198879 w 1219200"/>
                <a:gd name="connsiteY52" fmla="*/ 840106 h 868681"/>
                <a:gd name="connsiteX53" fmla="*/ 1214754 w 1219200"/>
                <a:gd name="connsiteY53" fmla="*/ 853441 h 868681"/>
                <a:gd name="connsiteX54" fmla="*/ 1182370 w 1219200"/>
                <a:gd name="connsiteY54" fmla="*/ 868046 h 868681"/>
                <a:gd name="connsiteX55" fmla="*/ 1141095 w 1219200"/>
                <a:gd name="connsiteY55" fmla="*/ 821056 h 868681"/>
                <a:gd name="connsiteX56" fmla="*/ 1181099 w 1219200"/>
                <a:gd name="connsiteY56" fmla="*/ 774066 h 868681"/>
                <a:gd name="connsiteX57" fmla="*/ 1097915 w 1219200"/>
                <a:gd name="connsiteY57" fmla="*/ 774066 h 868681"/>
                <a:gd name="connsiteX58" fmla="*/ 1133474 w 1219200"/>
                <a:gd name="connsiteY58" fmla="*/ 793751 h 868681"/>
                <a:gd name="connsiteX59" fmla="*/ 1118235 w 1219200"/>
                <a:gd name="connsiteY59" fmla="*/ 808991 h 868681"/>
                <a:gd name="connsiteX60" fmla="*/ 1097915 w 1219200"/>
                <a:gd name="connsiteY60" fmla="*/ 796291 h 868681"/>
                <a:gd name="connsiteX61" fmla="*/ 1078864 w 1219200"/>
                <a:gd name="connsiteY61" fmla="*/ 820421 h 868681"/>
                <a:gd name="connsiteX62" fmla="*/ 1097915 w 1219200"/>
                <a:gd name="connsiteY62" fmla="*/ 845186 h 868681"/>
                <a:gd name="connsiteX63" fmla="*/ 1118235 w 1219200"/>
                <a:gd name="connsiteY63" fmla="*/ 833756 h 868681"/>
                <a:gd name="connsiteX64" fmla="*/ 1118870 w 1219200"/>
                <a:gd name="connsiteY64" fmla="*/ 834391 h 868681"/>
                <a:gd name="connsiteX65" fmla="*/ 1133474 w 1219200"/>
                <a:gd name="connsiteY65" fmla="*/ 848361 h 868681"/>
                <a:gd name="connsiteX66" fmla="*/ 1097280 w 1219200"/>
                <a:gd name="connsiteY66" fmla="*/ 868046 h 868681"/>
                <a:gd name="connsiteX67" fmla="*/ 1054735 w 1219200"/>
                <a:gd name="connsiteY67" fmla="*/ 821056 h 868681"/>
                <a:gd name="connsiteX68" fmla="*/ 1097915 w 1219200"/>
                <a:gd name="connsiteY68" fmla="*/ 774066 h 868681"/>
                <a:gd name="connsiteX69" fmla="*/ 1009015 w 1219200"/>
                <a:gd name="connsiteY69" fmla="*/ 774066 h 868681"/>
                <a:gd name="connsiteX70" fmla="*/ 1041400 w 1219200"/>
                <a:gd name="connsiteY70" fmla="*/ 815341 h 868681"/>
                <a:gd name="connsiteX71" fmla="*/ 1041400 w 1219200"/>
                <a:gd name="connsiteY71" fmla="*/ 866141 h 868681"/>
                <a:gd name="connsiteX72" fmla="*/ 1017905 w 1219200"/>
                <a:gd name="connsiteY72" fmla="*/ 866141 h 868681"/>
                <a:gd name="connsiteX73" fmla="*/ 1017905 w 1219200"/>
                <a:gd name="connsiteY73" fmla="*/ 817246 h 868681"/>
                <a:gd name="connsiteX74" fmla="*/ 1002665 w 1219200"/>
                <a:gd name="connsiteY74" fmla="*/ 796291 h 868681"/>
                <a:gd name="connsiteX75" fmla="*/ 986790 w 1219200"/>
                <a:gd name="connsiteY75" fmla="*/ 816611 h 868681"/>
                <a:gd name="connsiteX76" fmla="*/ 986790 w 1219200"/>
                <a:gd name="connsiteY76" fmla="*/ 866141 h 868681"/>
                <a:gd name="connsiteX77" fmla="*/ 963295 w 1219200"/>
                <a:gd name="connsiteY77" fmla="*/ 866141 h 868681"/>
                <a:gd name="connsiteX78" fmla="*/ 963295 w 1219200"/>
                <a:gd name="connsiteY78" fmla="*/ 775971 h 868681"/>
                <a:gd name="connsiteX79" fmla="*/ 986790 w 1219200"/>
                <a:gd name="connsiteY79" fmla="*/ 775971 h 868681"/>
                <a:gd name="connsiteX80" fmla="*/ 986790 w 1219200"/>
                <a:gd name="connsiteY80" fmla="*/ 782321 h 868681"/>
                <a:gd name="connsiteX81" fmla="*/ 1009015 w 1219200"/>
                <a:gd name="connsiteY81" fmla="*/ 774066 h 868681"/>
                <a:gd name="connsiteX82" fmla="*/ 911224 w 1219200"/>
                <a:gd name="connsiteY82" fmla="*/ 774066 h 868681"/>
                <a:gd name="connsiteX83" fmla="*/ 949325 w 1219200"/>
                <a:gd name="connsiteY83" fmla="*/ 821056 h 868681"/>
                <a:gd name="connsiteX84" fmla="*/ 948689 w 1219200"/>
                <a:gd name="connsiteY84" fmla="*/ 821056 h 868681"/>
                <a:gd name="connsiteX85" fmla="*/ 948689 w 1219200"/>
                <a:gd name="connsiteY85" fmla="*/ 828676 h 868681"/>
                <a:gd name="connsiteX86" fmla="*/ 894079 w 1219200"/>
                <a:gd name="connsiteY86" fmla="*/ 828676 h 868681"/>
                <a:gd name="connsiteX87" fmla="*/ 913129 w 1219200"/>
                <a:gd name="connsiteY87" fmla="*/ 846456 h 868681"/>
                <a:gd name="connsiteX88" fmla="*/ 929004 w 1219200"/>
                <a:gd name="connsiteY88" fmla="*/ 840106 h 868681"/>
                <a:gd name="connsiteX89" fmla="*/ 944879 w 1219200"/>
                <a:gd name="connsiteY89" fmla="*/ 853441 h 868681"/>
                <a:gd name="connsiteX90" fmla="*/ 912495 w 1219200"/>
                <a:gd name="connsiteY90" fmla="*/ 868046 h 868681"/>
                <a:gd name="connsiteX91" fmla="*/ 871220 w 1219200"/>
                <a:gd name="connsiteY91" fmla="*/ 821056 h 868681"/>
                <a:gd name="connsiteX92" fmla="*/ 911224 w 1219200"/>
                <a:gd name="connsiteY92" fmla="*/ 774066 h 868681"/>
                <a:gd name="connsiteX93" fmla="*/ 623570 w 1219200"/>
                <a:gd name="connsiteY93" fmla="*/ 774066 h 868681"/>
                <a:gd name="connsiteX94" fmla="*/ 655954 w 1219200"/>
                <a:gd name="connsiteY94" fmla="*/ 815341 h 868681"/>
                <a:gd name="connsiteX95" fmla="*/ 655954 w 1219200"/>
                <a:gd name="connsiteY95" fmla="*/ 866141 h 868681"/>
                <a:gd name="connsiteX96" fmla="*/ 632459 w 1219200"/>
                <a:gd name="connsiteY96" fmla="*/ 866141 h 868681"/>
                <a:gd name="connsiteX97" fmla="*/ 632459 w 1219200"/>
                <a:gd name="connsiteY97" fmla="*/ 817246 h 868681"/>
                <a:gd name="connsiteX98" fmla="*/ 617220 w 1219200"/>
                <a:gd name="connsiteY98" fmla="*/ 796291 h 868681"/>
                <a:gd name="connsiteX99" fmla="*/ 601345 w 1219200"/>
                <a:gd name="connsiteY99" fmla="*/ 816611 h 868681"/>
                <a:gd name="connsiteX100" fmla="*/ 601345 w 1219200"/>
                <a:gd name="connsiteY100" fmla="*/ 866141 h 868681"/>
                <a:gd name="connsiteX101" fmla="*/ 577849 w 1219200"/>
                <a:gd name="connsiteY101" fmla="*/ 866141 h 868681"/>
                <a:gd name="connsiteX102" fmla="*/ 577849 w 1219200"/>
                <a:gd name="connsiteY102" fmla="*/ 775971 h 868681"/>
                <a:gd name="connsiteX103" fmla="*/ 601345 w 1219200"/>
                <a:gd name="connsiteY103" fmla="*/ 775971 h 868681"/>
                <a:gd name="connsiteX104" fmla="*/ 601345 w 1219200"/>
                <a:gd name="connsiteY104" fmla="*/ 782321 h 868681"/>
                <a:gd name="connsiteX105" fmla="*/ 623570 w 1219200"/>
                <a:gd name="connsiteY105" fmla="*/ 774066 h 868681"/>
                <a:gd name="connsiteX106" fmla="*/ 522605 w 1219200"/>
                <a:gd name="connsiteY106" fmla="*/ 774066 h 868681"/>
                <a:gd name="connsiteX107" fmla="*/ 564515 w 1219200"/>
                <a:gd name="connsiteY107" fmla="*/ 821056 h 868681"/>
                <a:gd name="connsiteX108" fmla="*/ 522605 w 1219200"/>
                <a:gd name="connsiteY108" fmla="*/ 868046 h 868681"/>
                <a:gd name="connsiteX109" fmla="*/ 480695 w 1219200"/>
                <a:gd name="connsiteY109" fmla="*/ 821056 h 868681"/>
                <a:gd name="connsiteX110" fmla="*/ 522605 w 1219200"/>
                <a:gd name="connsiteY110" fmla="*/ 774066 h 868681"/>
                <a:gd name="connsiteX111" fmla="*/ 436879 w 1219200"/>
                <a:gd name="connsiteY111" fmla="*/ 774066 h 868681"/>
                <a:gd name="connsiteX112" fmla="*/ 472439 w 1219200"/>
                <a:gd name="connsiteY112" fmla="*/ 793751 h 868681"/>
                <a:gd name="connsiteX113" fmla="*/ 457200 w 1219200"/>
                <a:gd name="connsiteY113" fmla="*/ 808991 h 868681"/>
                <a:gd name="connsiteX114" fmla="*/ 436879 w 1219200"/>
                <a:gd name="connsiteY114" fmla="*/ 796291 h 868681"/>
                <a:gd name="connsiteX115" fmla="*/ 417829 w 1219200"/>
                <a:gd name="connsiteY115" fmla="*/ 820421 h 868681"/>
                <a:gd name="connsiteX116" fmla="*/ 436879 w 1219200"/>
                <a:gd name="connsiteY116" fmla="*/ 845186 h 868681"/>
                <a:gd name="connsiteX117" fmla="*/ 457200 w 1219200"/>
                <a:gd name="connsiteY117" fmla="*/ 833756 h 868681"/>
                <a:gd name="connsiteX118" fmla="*/ 457834 w 1219200"/>
                <a:gd name="connsiteY118" fmla="*/ 834391 h 868681"/>
                <a:gd name="connsiteX119" fmla="*/ 472439 w 1219200"/>
                <a:gd name="connsiteY119" fmla="*/ 848361 h 868681"/>
                <a:gd name="connsiteX120" fmla="*/ 436245 w 1219200"/>
                <a:gd name="connsiteY120" fmla="*/ 868046 h 868681"/>
                <a:gd name="connsiteX121" fmla="*/ 393700 w 1219200"/>
                <a:gd name="connsiteY121" fmla="*/ 821056 h 868681"/>
                <a:gd name="connsiteX122" fmla="*/ 436879 w 1219200"/>
                <a:gd name="connsiteY122" fmla="*/ 774066 h 868681"/>
                <a:gd name="connsiteX123" fmla="*/ 219075 w 1219200"/>
                <a:gd name="connsiteY123" fmla="*/ 742316 h 868681"/>
                <a:gd name="connsiteX124" fmla="*/ 219075 w 1219200"/>
                <a:gd name="connsiteY124" fmla="*/ 777241 h 868681"/>
                <a:gd name="connsiteX125" fmla="*/ 245110 w 1219200"/>
                <a:gd name="connsiteY125" fmla="*/ 777241 h 868681"/>
                <a:gd name="connsiteX126" fmla="*/ 245110 w 1219200"/>
                <a:gd name="connsiteY126" fmla="*/ 798831 h 868681"/>
                <a:gd name="connsiteX127" fmla="*/ 219075 w 1219200"/>
                <a:gd name="connsiteY127" fmla="*/ 798831 h 868681"/>
                <a:gd name="connsiteX128" fmla="*/ 219075 w 1219200"/>
                <a:gd name="connsiteY128" fmla="*/ 835661 h 868681"/>
                <a:gd name="connsiteX129" fmla="*/ 227965 w 1219200"/>
                <a:gd name="connsiteY129" fmla="*/ 846456 h 868681"/>
                <a:gd name="connsiteX130" fmla="*/ 245041 w 1219200"/>
                <a:gd name="connsiteY130" fmla="*/ 839979 h 868681"/>
                <a:gd name="connsiteX131" fmla="*/ 241935 w 1219200"/>
                <a:gd name="connsiteY131" fmla="*/ 862966 h 868681"/>
                <a:gd name="connsiteX132" fmla="*/ 219709 w 1219200"/>
                <a:gd name="connsiteY132" fmla="*/ 868681 h 868681"/>
                <a:gd name="connsiteX133" fmla="*/ 195579 w 1219200"/>
                <a:gd name="connsiteY133" fmla="*/ 842011 h 868681"/>
                <a:gd name="connsiteX134" fmla="*/ 195579 w 1219200"/>
                <a:gd name="connsiteY134" fmla="*/ 798831 h 868681"/>
                <a:gd name="connsiteX135" fmla="*/ 179704 w 1219200"/>
                <a:gd name="connsiteY135" fmla="*/ 798831 h 868681"/>
                <a:gd name="connsiteX136" fmla="*/ 179704 w 1219200"/>
                <a:gd name="connsiteY136" fmla="*/ 777241 h 868681"/>
                <a:gd name="connsiteX137" fmla="*/ 195579 w 1219200"/>
                <a:gd name="connsiteY137" fmla="*/ 777241 h 868681"/>
                <a:gd name="connsiteX138" fmla="*/ 195579 w 1219200"/>
                <a:gd name="connsiteY138" fmla="*/ 753746 h 868681"/>
                <a:gd name="connsiteX139" fmla="*/ 749935 w 1219200"/>
                <a:gd name="connsiteY139" fmla="*/ 741681 h 868681"/>
                <a:gd name="connsiteX140" fmla="*/ 763269 w 1219200"/>
                <a:gd name="connsiteY140" fmla="*/ 755016 h 868681"/>
                <a:gd name="connsiteX141" fmla="*/ 749935 w 1219200"/>
                <a:gd name="connsiteY141" fmla="*/ 768351 h 868681"/>
                <a:gd name="connsiteX142" fmla="*/ 736599 w 1219200"/>
                <a:gd name="connsiteY142" fmla="*/ 755016 h 868681"/>
                <a:gd name="connsiteX143" fmla="*/ 749935 w 1219200"/>
                <a:gd name="connsiteY143" fmla="*/ 741681 h 868681"/>
                <a:gd name="connsiteX144" fmla="*/ 154939 w 1219200"/>
                <a:gd name="connsiteY144" fmla="*/ 741681 h 868681"/>
                <a:gd name="connsiteX145" fmla="*/ 168275 w 1219200"/>
                <a:gd name="connsiteY145" fmla="*/ 755016 h 868681"/>
                <a:gd name="connsiteX146" fmla="*/ 154939 w 1219200"/>
                <a:gd name="connsiteY146" fmla="*/ 768351 h 868681"/>
                <a:gd name="connsiteX147" fmla="*/ 141605 w 1219200"/>
                <a:gd name="connsiteY147" fmla="*/ 755016 h 868681"/>
                <a:gd name="connsiteX148" fmla="*/ 154939 w 1219200"/>
                <a:gd name="connsiteY148" fmla="*/ 741681 h 868681"/>
                <a:gd name="connsiteX149" fmla="*/ 856614 w 1219200"/>
                <a:gd name="connsiteY149" fmla="*/ 741046 h 868681"/>
                <a:gd name="connsiteX150" fmla="*/ 856614 w 1219200"/>
                <a:gd name="connsiteY150" fmla="*/ 866141 h 868681"/>
                <a:gd name="connsiteX151" fmla="*/ 833120 w 1219200"/>
                <a:gd name="connsiteY151" fmla="*/ 866141 h 868681"/>
                <a:gd name="connsiteX152" fmla="*/ 833120 w 1219200"/>
                <a:gd name="connsiteY152" fmla="*/ 860426 h 868681"/>
                <a:gd name="connsiteX153" fmla="*/ 812799 w 1219200"/>
                <a:gd name="connsiteY153" fmla="*/ 868046 h 868681"/>
                <a:gd name="connsiteX154" fmla="*/ 775970 w 1219200"/>
                <a:gd name="connsiteY154" fmla="*/ 820421 h 868681"/>
                <a:gd name="connsiteX155" fmla="*/ 812165 w 1219200"/>
                <a:gd name="connsiteY155" fmla="*/ 774066 h 868681"/>
                <a:gd name="connsiteX156" fmla="*/ 833120 w 1219200"/>
                <a:gd name="connsiteY156" fmla="*/ 781051 h 868681"/>
                <a:gd name="connsiteX157" fmla="*/ 833120 w 1219200"/>
                <a:gd name="connsiteY157" fmla="*/ 752476 h 868681"/>
                <a:gd name="connsiteX158" fmla="*/ 707390 w 1219200"/>
                <a:gd name="connsiteY158" fmla="*/ 741046 h 868681"/>
                <a:gd name="connsiteX159" fmla="*/ 724534 w 1219200"/>
                <a:gd name="connsiteY159" fmla="*/ 743586 h 868681"/>
                <a:gd name="connsiteX160" fmla="*/ 724534 w 1219200"/>
                <a:gd name="connsiteY160" fmla="*/ 744221 h 868681"/>
                <a:gd name="connsiteX161" fmla="*/ 724534 w 1219200"/>
                <a:gd name="connsiteY161" fmla="*/ 762636 h 868681"/>
                <a:gd name="connsiteX162" fmla="*/ 713105 w 1219200"/>
                <a:gd name="connsiteY162" fmla="*/ 760731 h 868681"/>
                <a:gd name="connsiteX163" fmla="*/ 703579 w 1219200"/>
                <a:gd name="connsiteY163" fmla="*/ 768351 h 868681"/>
                <a:gd name="connsiteX164" fmla="*/ 703579 w 1219200"/>
                <a:gd name="connsiteY164" fmla="*/ 775336 h 868681"/>
                <a:gd name="connsiteX165" fmla="*/ 722629 w 1219200"/>
                <a:gd name="connsiteY165" fmla="*/ 775336 h 868681"/>
                <a:gd name="connsiteX166" fmla="*/ 722629 w 1219200"/>
                <a:gd name="connsiteY166" fmla="*/ 796926 h 868681"/>
                <a:gd name="connsiteX167" fmla="*/ 703579 w 1219200"/>
                <a:gd name="connsiteY167" fmla="*/ 796926 h 868681"/>
                <a:gd name="connsiteX168" fmla="*/ 703579 w 1219200"/>
                <a:gd name="connsiteY168" fmla="*/ 865506 h 868681"/>
                <a:gd name="connsiteX169" fmla="*/ 680084 w 1219200"/>
                <a:gd name="connsiteY169" fmla="*/ 865506 h 868681"/>
                <a:gd name="connsiteX170" fmla="*/ 680084 w 1219200"/>
                <a:gd name="connsiteY170" fmla="*/ 796926 h 868681"/>
                <a:gd name="connsiteX171" fmla="*/ 667385 w 1219200"/>
                <a:gd name="connsiteY171" fmla="*/ 796926 h 868681"/>
                <a:gd name="connsiteX172" fmla="*/ 667385 w 1219200"/>
                <a:gd name="connsiteY172" fmla="*/ 775336 h 868681"/>
                <a:gd name="connsiteX173" fmla="*/ 680084 w 1219200"/>
                <a:gd name="connsiteY173" fmla="*/ 775336 h 868681"/>
                <a:gd name="connsiteX174" fmla="*/ 680084 w 1219200"/>
                <a:gd name="connsiteY174" fmla="*/ 764541 h 868681"/>
                <a:gd name="connsiteX175" fmla="*/ 707390 w 1219200"/>
                <a:gd name="connsiteY175" fmla="*/ 741046 h 868681"/>
                <a:gd name="connsiteX176" fmla="*/ 282575 w 1219200"/>
                <a:gd name="connsiteY176" fmla="*/ 741046 h 868681"/>
                <a:gd name="connsiteX177" fmla="*/ 282575 w 1219200"/>
                <a:gd name="connsiteY177" fmla="*/ 782321 h 868681"/>
                <a:gd name="connsiteX178" fmla="*/ 304799 w 1219200"/>
                <a:gd name="connsiteY178" fmla="*/ 774066 h 868681"/>
                <a:gd name="connsiteX179" fmla="*/ 336549 w 1219200"/>
                <a:gd name="connsiteY179" fmla="*/ 815341 h 868681"/>
                <a:gd name="connsiteX180" fmla="*/ 336549 w 1219200"/>
                <a:gd name="connsiteY180" fmla="*/ 866141 h 868681"/>
                <a:gd name="connsiteX181" fmla="*/ 313689 w 1219200"/>
                <a:gd name="connsiteY181" fmla="*/ 866141 h 868681"/>
                <a:gd name="connsiteX182" fmla="*/ 313689 w 1219200"/>
                <a:gd name="connsiteY182" fmla="*/ 817246 h 868681"/>
                <a:gd name="connsiteX183" fmla="*/ 298450 w 1219200"/>
                <a:gd name="connsiteY183" fmla="*/ 796291 h 868681"/>
                <a:gd name="connsiteX184" fmla="*/ 282575 w 1219200"/>
                <a:gd name="connsiteY184" fmla="*/ 816611 h 868681"/>
                <a:gd name="connsiteX185" fmla="*/ 282575 w 1219200"/>
                <a:gd name="connsiteY185" fmla="*/ 866141 h 868681"/>
                <a:gd name="connsiteX186" fmla="*/ 259079 w 1219200"/>
                <a:gd name="connsiteY186" fmla="*/ 866141 h 868681"/>
                <a:gd name="connsiteX187" fmla="*/ 259079 w 1219200"/>
                <a:gd name="connsiteY187" fmla="*/ 752476 h 868681"/>
                <a:gd name="connsiteX188" fmla="*/ 92709 w 1219200"/>
                <a:gd name="connsiteY188" fmla="*/ 648336 h 868681"/>
                <a:gd name="connsiteX189" fmla="*/ 92709 w 1219200"/>
                <a:gd name="connsiteY189" fmla="*/ 649606 h 868681"/>
                <a:gd name="connsiteX190" fmla="*/ 92427 w 1219200"/>
                <a:gd name="connsiteY190" fmla="*/ 648959 h 868681"/>
                <a:gd name="connsiteX191" fmla="*/ 230504 w 1219200"/>
                <a:gd name="connsiteY191" fmla="*/ 643256 h 868681"/>
                <a:gd name="connsiteX192" fmla="*/ 215900 w 1219200"/>
                <a:gd name="connsiteY192" fmla="*/ 654686 h 868681"/>
                <a:gd name="connsiteX193" fmla="*/ 228599 w 1219200"/>
                <a:gd name="connsiteY193" fmla="*/ 667386 h 868681"/>
                <a:gd name="connsiteX194" fmla="*/ 245745 w 1219200"/>
                <a:gd name="connsiteY194" fmla="*/ 658496 h 868681"/>
                <a:gd name="connsiteX195" fmla="*/ 245745 w 1219200"/>
                <a:gd name="connsiteY195" fmla="*/ 647066 h 868681"/>
                <a:gd name="connsiteX196" fmla="*/ 230504 w 1219200"/>
                <a:gd name="connsiteY196" fmla="*/ 643256 h 868681"/>
                <a:gd name="connsiteX197" fmla="*/ 321310 w 1219200"/>
                <a:gd name="connsiteY197" fmla="*/ 614046 h 868681"/>
                <a:gd name="connsiteX198" fmla="*/ 306704 w 1219200"/>
                <a:gd name="connsiteY198" fmla="*/ 622301 h 868681"/>
                <a:gd name="connsiteX199" fmla="*/ 306704 w 1219200"/>
                <a:gd name="connsiteY199" fmla="*/ 656591 h 868681"/>
                <a:gd name="connsiteX200" fmla="*/ 323215 w 1219200"/>
                <a:gd name="connsiteY200" fmla="*/ 664846 h 868681"/>
                <a:gd name="connsiteX201" fmla="*/ 339090 w 1219200"/>
                <a:gd name="connsiteY201" fmla="*/ 640716 h 868681"/>
                <a:gd name="connsiteX202" fmla="*/ 338454 w 1219200"/>
                <a:gd name="connsiteY202" fmla="*/ 640716 h 868681"/>
                <a:gd name="connsiteX203" fmla="*/ 321310 w 1219200"/>
                <a:gd name="connsiteY203" fmla="*/ 614046 h 868681"/>
                <a:gd name="connsiteX204" fmla="*/ 1179195 w 1219200"/>
                <a:gd name="connsiteY204" fmla="*/ 612776 h 868681"/>
                <a:gd name="connsiteX205" fmla="*/ 1163320 w 1219200"/>
                <a:gd name="connsiteY205" fmla="*/ 629921 h 868681"/>
                <a:gd name="connsiteX206" fmla="*/ 1163954 w 1219200"/>
                <a:gd name="connsiteY206" fmla="*/ 629921 h 868681"/>
                <a:gd name="connsiteX207" fmla="*/ 1195704 w 1219200"/>
                <a:gd name="connsiteY207" fmla="*/ 629921 h 868681"/>
                <a:gd name="connsiteX208" fmla="*/ 1179195 w 1219200"/>
                <a:gd name="connsiteY208" fmla="*/ 612776 h 868681"/>
                <a:gd name="connsiteX209" fmla="*/ 689610 w 1219200"/>
                <a:gd name="connsiteY209" fmla="*/ 612776 h 868681"/>
                <a:gd name="connsiteX210" fmla="*/ 673735 w 1219200"/>
                <a:gd name="connsiteY210" fmla="*/ 629921 h 868681"/>
                <a:gd name="connsiteX211" fmla="*/ 674370 w 1219200"/>
                <a:gd name="connsiteY211" fmla="*/ 629921 h 868681"/>
                <a:gd name="connsiteX212" fmla="*/ 706120 w 1219200"/>
                <a:gd name="connsiteY212" fmla="*/ 629921 h 868681"/>
                <a:gd name="connsiteX213" fmla="*/ 689610 w 1219200"/>
                <a:gd name="connsiteY213" fmla="*/ 612776 h 868681"/>
                <a:gd name="connsiteX214" fmla="*/ 410845 w 1219200"/>
                <a:gd name="connsiteY214" fmla="*/ 612776 h 868681"/>
                <a:gd name="connsiteX215" fmla="*/ 395605 w 1219200"/>
                <a:gd name="connsiteY215" fmla="*/ 629921 h 868681"/>
                <a:gd name="connsiteX216" fmla="*/ 427355 w 1219200"/>
                <a:gd name="connsiteY216" fmla="*/ 629921 h 868681"/>
                <a:gd name="connsiteX217" fmla="*/ 410845 w 1219200"/>
                <a:gd name="connsiteY217" fmla="*/ 612776 h 868681"/>
                <a:gd name="connsiteX218" fmla="*/ 991870 w 1219200"/>
                <a:gd name="connsiteY218" fmla="*/ 594361 h 868681"/>
                <a:gd name="connsiteX219" fmla="*/ 1014095 w 1219200"/>
                <a:gd name="connsiteY219" fmla="*/ 594361 h 868681"/>
                <a:gd name="connsiteX220" fmla="*/ 1014095 w 1219200"/>
                <a:gd name="connsiteY220" fmla="*/ 643256 h 868681"/>
                <a:gd name="connsiteX221" fmla="*/ 1029334 w 1219200"/>
                <a:gd name="connsiteY221" fmla="*/ 664846 h 868681"/>
                <a:gd name="connsiteX222" fmla="*/ 1044575 w 1219200"/>
                <a:gd name="connsiteY222" fmla="*/ 644526 h 868681"/>
                <a:gd name="connsiteX223" fmla="*/ 1044575 w 1219200"/>
                <a:gd name="connsiteY223" fmla="*/ 594996 h 868681"/>
                <a:gd name="connsiteX224" fmla="*/ 1066799 w 1219200"/>
                <a:gd name="connsiteY224" fmla="*/ 594996 h 868681"/>
                <a:gd name="connsiteX225" fmla="*/ 1066799 w 1219200"/>
                <a:gd name="connsiteY225" fmla="*/ 684531 h 868681"/>
                <a:gd name="connsiteX226" fmla="*/ 1044575 w 1219200"/>
                <a:gd name="connsiteY226" fmla="*/ 684531 h 868681"/>
                <a:gd name="connsiteX227" fmla="*/ 1044575 w 1219200"/>
                <a:gd name="connsiteY227" fmla="*/ 678181 h 868681"/>
                <a:gd name="connsiteX228" fmla="*/ 1023620 w 1219200"/>
                <a:gd name="connsiteY228" fmla="*/ 686436 h 868681"/>
                <a:gd name="connsiteX229" fmla="*/ 991870 w 1219200"/>
                <a:gd name="connsiteY229" fmla="*/ 645161 h 868681"/>
                <a:gd name="connsiteX230" fmla="*/ 836295 w 1219200"/>
                <a:gd name="connsiteY230" fmla="*/ 594361 h 868681"/>
                <a:gd name="connsiteX231" fmla="*/ 858519 w 1219200"/>
                <a:gd name="connsiteY231" fmla="*/ 594361 h 868681"/>
                <a:gd name="connsiteX232" fmla="*/ 858519 w 1219200"/>
                <a:gd name="connsiteY232" fmla="*/ 643256 h 868681"/>
                <a:gd name="connsiteX233" fmla="*/ 873760 w 1219200"/>
                <a:gd name="connsiteY233" fmla="*/ 664846 h 868681"/>
                <a:gd name="connsiteX234" fmla="*/ 889000 w 1219200"/>
                <a:gd name="connsiteY234" fmla="*/ 644526 h 868681"/>
                <a:gd name="connsiteX235" fmla="*/ 889000 w 1219200"/>
                <a:gd name="connsiteY235" fmla="*/ 594996 h 868681"/>
                <a:gd name="connsiteX236" fmla="*/ 911224 w 1219200"/>
                <a:gd name="connsiteY236" fmla="*/ 594996 h 868681"/>
                <a:gd name="connsiteX237" fmla="*/ 911224 w 1219200"/>
                <a:gd name="connsiteY237" fmla="*/ 684531 h 868681"/>
                <a:gd name="connsiteX238" fmla="*/ 889000 w 1219200"/>
                <a:gd name="connsiteY238" fmla="*/ 684531 h 868681"/>
                <a:gd name="connsiteX239" fmla="*/ 889000 w 1219200"/>
                <a:gd name="connsiteY239" fmla="*/ 678181 h 868681"/>
                <a:gd name="connsiteX240" fmla="*/ 868045 w 1219200"/>
                <a:gd name="connsiteY240" fmla="*/ 686436 h 868681"/>
                <a:gd name="connsiteX241" fmla="*/ 836295 w 1219200"/>
                <a:gd name="connsiteY241" fmla="*/ 645161 h 868681"/>
                <a:gd name="connsiteX242" fmla="*/ 1181099 w 1219200"/>
                <a:gd name="connsiteY242" fmla="*/ 592456 h 868681"/>
                <a:gd name="connsiteX243" fmla="*/ 1219200 w 1219200"/>
                <a:gd name="connsiteY243" fmla="*/ 639446 h 868681"/>
                <a:gd name="connsiteX244" fmla="*/ 1218564 w 1219200"/>
                <a:gd name="connsiteY244" fmla="*/ 639446 h 868681"/>
                <a:gd name="connsiteX245" fmla="*/ 1218564 w 1219200"/>
                <a:gd name="connsiteY245" fmla="*/ 647066 h 868681"/>
                <a:gd name="connsiteX246" fmla="*/ 1163954 w 1219200"/>
                <a:gd name="connsiteY246" fmla="*/ 647066 h 868681"/>
                <a:gd name="connsiteX247" fmla="*/ 1183004 w 1219200"/>
                <a:gd name="connsiteY247" fmla="*/ 664846 h 868681"/>
                <a:gd name="connsiteX248" fmla="*/ 1198879 w 1219200"/>
                <a:gd name="connsiteY248" fmla="*/ 658496 h 868681"/>
                <a:gd name="connsiteX249" fmla="*/ 1214754 w 1219200"/>
                <a:gd name="connsiteY249" fmla="*/ 671831 h 868681"/>
                <a:gd name="connsiteX250" fmla="*/ 1182370 w 1219200"/>
                <a:gd name="connsiteY250" fmla="*/ 686436 h 868681"/>
                <a:gd name="connsiteX251" fmla="*/ 1141095 w 1219200"/>
                <a:gd name="connsiteY251" fmla="*/ 639446 h 868681"/>
                <a:gd name="connsiteX252" fmla="*/ 1181099 w 1219200"/>
                <a:gd name="connsiteY252" fmla="*/ 592456 h 868681"/>
                <a:gd name="connsiteX253" fmla="*/ 691515 w 1219200"/>
                <a:gd name="connsiteY253" fmla="*/ 592456 h 868681"/>
                <a:gd name="connsiteX254" fmla="*/ 729614 w 1219200"/>
                <a:gd name="connsiteY254" fmla="*/ 639446 h 868681"/>
                <a:gd name="connsiteX255" fmla="*/ 728980 w 1219200"/>
                <a:gd name="connsiteY255" fmla="*/ 639446 h 868681"/>
                <a:gd name="connsiteX256" fmla="*/ 728980 w 1219200"/>
                <a:gd name="connsiteY256" fmla="*/ 647066 h 868681"/>
                <a:gd name="connsiteX257" fmla="*/ 674370 w 1219200"/>
                <a:gd name="connsiteY257" fmla="*/ 647066 h 868681"/>
                <a:gd name="connsiteX258" fmla="*/ 693420 w 1219200"/>
                <a:gd name="connsiteY258" fmla="*/ 664846 h 868681"/>
                <a:gd name="connsiteX259" fmla="*/ 709295 w 1219200"/>
                <a:gd name="connsiteY259" fmla="*/ 658496 h 868681"/>
                <a:gd name="connsiteX260" fmla="*/ 725170 w 1219200"/>
                <a:gd name="connsiteY260" fmla="*/ 671831 h 868681"/>
                <a:gd name="connsiteX261" fmla="*/ 692784 w 1219200"/>
                <a:gd name="connsiteY261" fmla="*/ 686436 h 868681"/>
                <a:gd name="connsiteX262" fmla="*/ 651510 w 1219200"/>
                <a:gd name="connsiteY262" fmla="*/ 639446 h 868681"/>
                <a:gd name="connsiteX263" fmla="*/ 691515 w 1219200"/>
                <a:gd name="connsiteY263" fmla="*/ 592456 h 868681"/>
                <a:gd name="connsiteX264" fmla="*/ 412114 w 1219200"/>
                <a:gd name="connsiteY264" fmla="*/ 592456 h 868681"/>
                <a:gd name="connsiteX265" fmla="*/ 448310 w 1219200"/>
                <a:gd name="connsiteY265" fmla="*/ 639446 h 868681"/>
                <a:gd name="connsiteX266" fmla="*/ 448310 w 1219200"/>
                <a:gd name="connsiteY266" fmla="*/ 647066 h 868681"/>
                <a:gd name="connsiteX267" fmla="*/ 395605 w 1219200"/>
                <a:gd name="connsiteY267" fmla="*/ 647066 h 868681"/>
                <a:gd name="connsiteX268" fmla="*/ 415290 w 1219200"/>
                <a:gd name="connsiteY268" fmla="*/ 664846 h 868681"/>
                <a:gd name="connsiteX269" fmla="*/ 430530 w 1219200"/>
                <a:gd name="connsiteY269" fmla="*/ 658496 h 868681"/>
                <a:gd name="connsiteX270" fmla="*/ 446405 w 1219200"/>
                <a:gd name="connsiteY270" fmla="*/ 671831 h 868681"/>
                <a:gd name="connsiteX271" fmla="*/ 413385 w 1219200"/>
                <a:gd name="connsiteY271" fmla="*/ 686436 h 868681"/>
                <a:gd name="connsiteX272" fmla="*/ 372110 w 1219200"/>
                <a:gd name="connsiteY272" fmla="*/ 640081 h 868681"/>
                <a:gd name="connsiteX273" fmla="*/ 412114 w 1219200"/>
                <a:gd name="connsiteY273" fmla="*/ 592456 h 868681"/>
                <a:gd name="connsiteX274" fmla="*/ 326390 w 1219200"/>
                <a:gd name="connsiteY274" fmla="*/ 592456 h 868681"/>
                <a:gd name="connsiteX275" fmla="*/ 361314 w 1219200"/>
                <a:gd name="connsiteY275" fmla="*/ 639446 h 868681"/>
                <a:gd name="connsiteX276" fmla="*/ 326390 w 1219200"/>
                <a:gd name="connsiteY276" fmla="*/ 686436 h 868681"/>
                <a:gd name="connsiteX277" fmla="*/ 306070 w 1219200"/>
                <a:gd name="connsiteY277" fmla="*/ 678816 h 868681"/>
                <a:gd name="connsiteX278" fmla="*/ 306070 w 1219200"/>
                <a:gd name="connsiteY278" fmla="*/ 706121 h 868681"/>
                <a:gd name="connsiteX279" fmla="*/ 283845 w 1219200"/>
                <a:gd name="connsiteY279" fmla="*/ 717551 h 868681"/>
                <a:gd name="connsiteX280" fmla="*/ 283845 w 1219200"/>
                <a:gd name="connsiteY280" fmla="*/ 594361 h 868681"/>
                <a:gd name="connsiteX281" fmla="*/ 306070 w 1219200"/>
                <a:gd name="connsiteY281" fmla="*/ 594361 h 868681"/>
                <a:gd name="connsiteX282" fmla="*/ 306070 w 1219200"/>
                <a:gd name="connsiteY282" fmla="*/ 600711 h 868681"/>
                <a:gd name="connsiteX283" fmla="*/ 326390 w 1219200"/>
                <a:gd name="connsiteY283" fmla="*/ 592456 h 868681"/>
                <a:gd name="connsiteX284" fmla="*/ 231775 w 1219200"/>
                <a:gd name="connsiteY284" fmla="*/ 592456 h 868681"/>
                <a:gd name="connsiteX285" fmla="*/ 268605 w 1219200"/>
                <a:gd name="connsiteY285" fmla="*/ 624206 h 868681"/>
                <a:gd name="connsiteX286" fmla="*/ 268605 w 1219200"/>
                <a:gd name="connsiteY286" fmla="*/ 684531 h 868681"/>
                <a:gd name="connsiteX287" fmla="*/ 267970 w 1219200"/>
                <a:gd name="connsiteY287" fmla="*/ 684531 h 868681"/>
                <a:gd name="connsiteX288" fmla="*/ 245745 w 1219200"/>
                <a:gd name="connsiteY288" fmla="*/ 684531 h 868681"/>
                <a:gd name="connsiteX289" fmla="*/ 245745 w 1219200"/>
                <a:gd name="connsiteY289" fmla="*/ 678181 h 868681"/>
                <a:gd name="connsiteX290" fmla="*/ 224790 w 1219200"/>
                <a:gd name="connsiteY290" fmla="*/ 686436 h 868681"/>
                <a:gd name="connsiteX291" fmla="*/ 193040 w 1219200"/>
                <a:gd name="connsiteY291" fmla="*/ 655321 h 868681"/>
                <a:gd name="connsiteX292" fmla="*/ 227965 w 1219200"/>
                <a:gd name="connsiteY292" fmla="*/ 624841 h 868681"/>
                <a:gd name="connsiteX293" fmla="*/ 245745 w 1219200"/>
                <a:gd name="connsiteY293" fmla="*/ 628651 h 868681"/>
                <a:gd name="connsiteX294" fmla="*/ 245745 w 1219200"/>
                <a:gd name="connsiteY294" fmla="*/ 623571 h 868681"/>
                <a:gd name="connsiteX295" fmla="*/ 230504 w 1219200"/>
                <a:gd name="connsiteY295" fmla="*/ 611506 h 868681"/>
                <a:gd name="connsiteX296" fmla="*/ 209549 w 1219200"/>
                <a:gd name="connsiteY296" fmla="*/ 617221 h 868681"/>
                <a:gd name="connsiteX297" fmla="*/ 200659 w 1219200"/>
                <a:gd name="connsiteY297" fmla="*/ 601346 h 868681"/>
                <a:gd name="connsiteX298" fmla="*/ 231775 w 1219200"/>
                <a:gd name="connsiteY298" fmla="*/ 592456 h 868681"/>
                <a:gd name="connsiteX299" fmla="*/ 1125855 w 1219200"/>
                <a:gd name="connsiteY299" fmla="*/ 591821 h 868681"/>
                <a:gd name="connsiteX300" fmla="*/ 1142364 w 1219200"/>
                <a:gd name="connsiteY300" fmla="*/ 598171 h 868681"/>
                <a:gd name="connsiteX301" fmla="*/ 1141730 w 1219200"/>
                <a:gd name="connsiteY301" fmla="*/ 598806 h 868681"/>
                <a:gd name="connsiteX302" fmla="*/ 1132840 w 1219200"/>
                <a:gd name="connsiteY302" fmla="*/ 621031 h 868681"/>
                <a:gd name="connsiteX303" fmla="*/ 1120140 w 1219200"/>
                <a:gd name="connsiteY303" fmla="*/ 615316 h 868681"/>
                <a:gd name="connsiteX304" fmla="*/ 1106805 w 1219200"/>
                <a:gd name="connsiteY304" fmla="*/ 635001 h 868681"/>
                <a:gd name="connsiteX305" fmla="*/ 1106805 w 1219200"/>
                <a:gd name="connsiteY305" fmla="*/ 683896 h 868681"/>
                <a:gd name="connsiteX306" fmla="*/ 1084579 w 1219200"/>
                <a:gd name="connsiteY306" fmla="*/ 683896 h 868681"/>
                <a:gd name="connsiteX307" fmla="*/ 1084579 w 1219200"/>
                <a:gd name="connsiteY307" fmla="*/ 593726 h 868681"/>
                <a:gd name="connsiteX308" fmla="*/ 1106805 w 1219200"/>
                <a:gd name="connsiteY308" fmla="*/ 593726 h 868681"/>
                <a:gd name="connsiteX309" fmla="*/ 1106805 w 1219200"/>
                <a:gd name="connsiteY309" fmla="*/ 600076 h 868681"/>
                <a:gd name="connsiteX310" fmla="*/ 1125855 w 1219200"/>
                <a:gd name="connsiteY310" fmla="*/ 591821 h 868681"/>
                <a:gd name="connsiteX311" fmla="*/ 47625 w 1219200"/>
                <a:gd name="connsiteY311" fmla="*/ 563881 h 868681"/>
                <a:gd name="connsiteX312" fmla="*/ 90170 w 1219200"/>
                <a:gd name="connsiteY312" fmla="*/ 582296 h 868681"/>
                <a:gd name="connsiteX313" fmla="*/ 73659 w 1219200"/>
                <a:gd name="connsiteY313" fmla="*/ 598806 h 868681"/>
                <a:gd name="connsiteX314" fmla="*/ 46355 w 1219200"/>
                <a:gd name="connsiteY314" fmla="*/ 586741 h 868681"/>
                <a:gd name="connsiteX315" fmla="*/ 28575 w 1219200"/>
                <a:gd name="connsiteY315" fmla="*/ 598171 h 868681"/>
                <a:gd name="connsiteX316" fmla="*/ 33655 w 1219200"/>
                <a:gd name="connsiteY316" fmla="*/ 606426 h 868681"/>
                <a:gd name="connsiteX317" fmla="*/ 52704 w 1219200"/>
                <a:gd name="connsiteY317" fmla="*/ 612776 h 868681"/>
                <a:gd name="connsiteX318" fmla="*/ 81915 w 1219200"/>
                <a:gd name="connsiteY318" fmla="*/ 624841 h 868681"/>
                <a:gd name="connsiteX319" fmla="*/ 92427 w 1219200"/>
                <a:gd name="connsiteY319" fmla="*/ 648959 h 868681"/>
                <a:gd name="connsiteX320" fmla="*/ 79454 w 1219200"/>
                <a:gd name="connsiteY320" fmla="*/ 677626 h 868681"/>
                <a:gd name="connsiteX321" fmla="*/ 47625 w 1219200"/>
                <a:gd name="connsiteY321" fmla="*/ 686436 h 868681"/>
                <a:gd name="connsiteX322" fmla="*/ 0 w 1219200"/>
                <a:gd name="connsiteY322" fmla="*/ 664846 h 868681"/>
                <a:gd name="connsiteX323" fmla="*/ 16510 w 1219200"/>
                <a:gd name="connsiteY323" fmla="*/ 650241 h 868681"/>
                <a:gd name="connsiteX324" fmla="*/ 46989 w 1219200"/>
                <a:gd name="connsiteY324" fmla="*/ 664211 h 868681"/>
                <a:gd name="connsiteX325" fmla="*/ 68579 w 1219200"/>
                <a:gd name="connsiteY325" fmla="*/ 649606 h 868681"/>
                <a:gd name="connsiteX326" fmla="*/ 61595 w 1219200"/>
                <a:gd name="connsiteY326" fmla="*/ 640081 h 868681"/>
                <a:gd name="connsiteX327" fmla="*/ 41909 w 1219200"/>
                <a:gd name="connsiteY327" fmla="*/ 634366 h 868681"/>
                <a:gd name="connsiteX328" fmla="*/ 14605 w 1219200"/>
                <a:gd name="connsiteY328" fmla="*/ 623571 h 868681"/>
                <a:gd name="connsiteX329" fmla="*/ 4444 w 1219200"/>
                <a:gd name="connsiteY329" fmla="*/ 599441 h 868681"/>
                <a:gd name="connsiteX330" fmla="*/ 47625 w 1219200"/>
                <a:gd name="connsiteY330" fmla="*/ 563881 h 868681"/>
                <a:gd name="connsiteX331" fmla="*/ 814070 w 1219200"/>
                <a:gd name="connsiteY331" fmla="*/ 560071 h 868681"/>
                <a:gd name="connsiteX332" fmla="*/ 830579 w 1219200"/>
                <a:gd name="connsiteY332" fmla="*/ 562611 h 868681"/>
                <a:gd name="connsiteX333" fmla="*/ 829945 w 1219200"/>
                <a:gd name="connsiteY333" fmla="*/ 562611 h 868681"/>
                <a:gd name="connsiteX334" fmla="*/ 829945 w 1219200"/>
                <a:gd name="connsiteY334" fmla="*/ 581026 h 868681"/>
                <a:gd name="connsiteX335" fmla="*/ 818515 w 1219200"/>
                <a:gd name="connsiteY335" fmla="*/ 579121 h 868681"/>
                <a:gd name="connsiteX336" fmla="*/ 808989 w 1219200"/>
                <a:gd name="connsiteY336" fmla="*/ 586741 h 868681"/>
                <a:gd name="connsiteX337" fmla="*/ 808989 w 1219200"/>
                <a:gd name="connsiteY337" fmla="*/ 594361 h 868681"/>
                <a:gd name="connsiteX338" fmla="*/ 824230 w 1219200"/>
                <a:gd name="connsiteY338" fmla="*/ 594361 h 868681"/>
                <a:gd name="connsiteX339" fmla="*/ 824230 w 1219200"/>
                <a:gd name="connsiteY339" fmla="*/ 615951 h 868681"/>
                <a:gd name="connsiteX340" fmla="*/ 808989 w 1219200"/>
                <a:gd name="connsiteY340" fmla="*/ 615951 h 868681"/>
                <a:gd name="connsiteX341" fmla="*/ 808989 w 1219200"/>
                <a:gd name="connsiteY341" fmla="*/ 684531 h 868681"/>
                <a:gd name="connsiteX342" fmla="*/ 786765 w 1219200"/>
                <a:gd name="connsiteY342" fmla="*/ 684531 h 868681"/>
                <a:gd name="connsiteX343" fmla="*/ 786765 w 1219200"/>
                <a:gd name="connsiteY343" fmla="*/ 615951 h 868681"/>
                <a:gd name="connsiteX344" fmla="*/ 775970 w 1219200"/>
                <a:gd name="connsiteY344" fmla="*/ 615951 h 868681"/>
                <a:gd name="connsiteX345" fmla="*/ 775970 w 1219200"/>
                <a:gd name="connsiteY345" fmla="*/ 594361 h 868681"/>
                <a:gd name="connsiteX346" fmla="*/ 786765 w 1219200"/>
                <a:gd name="connsiteY346" fmla="*/ 594361 h 868681"/>
                <a:gd name="connsiteX347" fmla="*/ 786765 w 1219200"/>
                <a:gd name="connsiteY347" fmla="*/ 583566 h 868681"/>
                <a:gd name="connsiteX348" fmla="*/ 814070 w 1219200"/>
                <a:gd name="connsiteY348" fmla="*/ 560071 h 868681"/>
                <a:gd name="connsiteX349" fmla="*/ 957579 w 1219200"/>
                <a:gd name="connsiteY349" fmla="*/ 559436 h 868681"/>
                <a:gd name="connsiteX350" fmla="*/ 957579 w 1219200"/>
                <a:gd name="connsiteY350" fmla="*/ 594361 h 868681"/>
                <a:gd name="connsiteX351" fmla="*/ 979170 w 1219200"/>
                <a:gd name="connsiteY351" fmla="*/ 594361 h 868681"/>
                <a:gd name="connsiteX352" fmla="*/ 979170 w 1219200"/>
                <a:gd name="connsiteY352" fmla="*/ 615951 h 868681"/>
                <a:gd name="connsiteX353" fmla="*/ 957579 w 1219200"/>
                <a:gd name="connsiteY353" fmla="*/ 615951 h 868681"/>
                <a:gd name="connsiteX354" fmla="*/ 957579 w 1219200"/>
                <a:gd name="connsiteY354" fmla="*/ 654051 h 868681"/>
                <a:gd name="connsiteX355" fmla="*/ 966470 w 1219200"/>
                <a:gd name="connsiteY355" fmla="*/ 664846 h 868681"/>
                <a:gd name="connsiteX356" fmla="*/ 981075 w 1219200"/>
                <a:gd name="connsiteY356" fmla="*/ 658496 h 868681"/>
                <a:gd name="connsiteX357" fmla="*/ 977900 w 1219200"/>
                <a:gd name="connsiteY357" fmla="*/ 681356 h 868681"/>
                <a:gd name="connsiteX358" fmla="*/ 959485 w 1219200"/>
                <a:gd name="connsiteY358" fmla="*/ 686436 h 868681"/>
                <a:gd name="connsiteX359" fmla="*/ 935355 w 1219200"/>
                <a:gd name="connsiteY359" fmla="*/ 659766 h 868681"/>
                <a:gd name="connsiteX360" fmla="*/ 935355 w 1219200"/>
                <a:gd name="connsiteY360" fmla="*/ 615951 h 868681"/>
                <a:gd name="connsiteX361" fmla="*/ 922655 w 1219200"/>
                <a:gd name="connsiteY361" fmla="*/ 615951 h 868681"/>
                <a:gd name="connsiteX362" fmla="*/ 922655 w 1219200"/>
                <a:gd name="connsiteY362" fmla="*/ 594361 h 868681"/>
                <a:gd name="connsiteX363" fmla="*/ 935355 w 1219200"/>
                <a:gd name="connsiteY363" fmla="*/ 594361 h 868681"/>
                <a:gd name="connsiteX364" fmla="*/ 935355 w 1219200"/>
                <a:gd name="connsiteY364" fmla="*/ 570866 h 868681"/>
                <a:gd name="connsiteX365" fmla="*/ 586739 w 1219200"/>
                <a:gd name="connsiteY365" fmla="*/ 559436 h 868681"/>
                <a:gd name="connsiteX366" fmla="*/ 586739 w 1219200"/>
                <a:gd name="connsiteY366" fmla="*/ 600711 h 868681"/>
                <a:gd name="connsiteX367" fmla="*/ 607695 w 1219200"/>
                <a:gd name="connsiteY367" fmla="*/ 592456 h 868681"/>
                <a:gd name="connsiteX368" fmla="*/ 639445 w 1219200"/>
                <a:gd name="connsiteY368" fmla="*/ 633731 h 868681"/>
                <a:gd name="connsiteX369" fmla="*/ 639445 w 1219200"/>
                <a:gd name="connsiteY369" fmla="*/ 684531 h 868681"/>
                <a:gd name="connsiteX370" fmla="*/ 617220 w 1219200"/>
                <a:gd name="connsiteY370" fmla="*/ 684531 h 868681"/>
                <a:gd name="connsiteX371" fmla="*/ 617220 w 1219200"/>
                <a:gd name="connsiteY371" fmla="*/ 635636 h 868681"/>
                <a:gd name="connsiteX372" fmla="*/ 601980 w 1219200"/>
                <a:gd name="connsiteY372" fmla="*/ 614681 h 868681"/>
                <a:gd name="connsiteX373" fmla="*/ 586739 w 1219200"/>
                <a:gd name="connsiteY373" fmla="*/ 635001 h 868681"/>
                <a:gd name="connsiteX374" fmla="*/ 586739 w 1219200"/>
                <a:gd name="connsiteY374" fmla="*/ 684531 h 868681"/>
                <a:gd name="connsiteX375" fmla="*/ 564515 w 1219200"/>
                <a:gd name="connsiteY375" fmla="*/ 684531 h 868681"/>
                <a:gd name="connsiteX376" fmla="*/ 564515 w 1219200"/>
                <a:gd name="connsiteY376" fmla="*/ 570866 h 868681"/>
                <a:gd name="connsiteX377" fmla="*/ 529590 w 1219200"/>
                <a:gd name="connsiteY377" fmla="*/ 559436 h 868681"/>
                <a:gd name="connsiteX378" fmla="*/ 529590 w 1219200"/>
                <a:gd name="connsiteY378" fmla="*/ 594361 h 868681"/>
                <a:gd name="connsiteX379" fmla="*/ 550545 w 1219200"/>
                <a:gd name="connsiteY379" fmla="*/ 594361 h 868681"/>
                <a:gd name="connsiteX380" fmla="*/ 550545 w 1219200"/>
                <a:gd name="connsiteY380" fmla="*/ 615951 h 868681"/>
                <a:gd name="connsiteX381" fmla="*/ 529590 w 1219200"/>
                <a:gd name="connsiteY381" fmla="*/ 615951 h 868681"/>
                <a:gd name="connsiteX382" fmla="*/ 529590 w 1219200"/>
                <a:gd name="connsiteY382" fmla="*/ 654051 h 868681"/>
                <a:gd name="connsiteX383" fmla="*/ 538480 w 1219200"/>
                <a:gd name="connsiteY383" fmla="*/ 664846 h 868681"/>
                <a:gd name="connsiteX384" fmla="*/ 553084 w 1219200"/>
                <a:gd name="connsiteY384" fmla="*/ 658496 h 868681"/>
                <a:gd name="connsiteX385" fmla="*/ 549909 w 1219200"/>
                <a:gd name="connsiteY385" fmla="*/ 681356 h 868681"/>
                <a:gd name="connsiteX386" fmla="*/ 531495 w 1219200"/>
                <a:gd name="connsiteY386" fmla="*/ 686436 h 868681"/>
                <a:gd name="connsiteX387" fmla="*/ 507364 w 1219200"/>
                <a:gd name="connsiteY387" fmla="*/ 659766 h 868681"/>
                <a:gd name="connsiteX388" fmla="*/ 507364 w 1219200"/>
                <a:gd name="connsiteY388" fmla="*/ 615951 h 868681"/>
                <a:gd name="connsiteX389" fmla="*/ 491489 w 1219200"/>
                <a:gd name="connsiteY389" fmla="*/ 615951 h 868681"/>
                <a:gd name="connsiteX390" fmla="*/ 491489 w 1219200"/>
                <a:gd name="connsiteY390" fmla="*/ 594361 h 868681"/>
                <a:gd name="connsiteX391" fmla="*/ 507364 w 1219200"/>
                <a:gd name="connsiteY391" fmla="*/ 594361 h 868681"/>
                <a:gd name="connsiteX392" fmla="*/ 507364 w 1219200"/>
                <a:gd name="connsiteY392" fmla="*/ 570866 h 868681"/>
                <a:gd name="connsiteX393" fmla="*/ 128269 w 1219200"/>
                <a:gd name="connsiteY393" fmla="*/ 559436 h 868681"/>
                <a:gd name="connsiteX394" fmla="*/ 128269 w 1219200"/>
                <a:gd name="connsiteY394" fmla="*/ 600711 h 868681"/>
                <a:gd name="connsiteX395" fmla="*/ 149224 w 1219200"/>
                <a:gd name="connsiteY395" fmla="*/ 592456 h 868681"/>
                <a:gd name="connsiteX396" fmla="*/ 180974 w 1219200"/>
                <a:gd name="connsiteY396" fmla="*/ 633731 h 868681"/>
                <a:gd name="connsiteX397" fmla="*/ 180974 w 1219200"/>
                <a:gd name="connsiteY397" fmla="*/ 684531 h 868681"/>
                <a:gd name="connsiteX398" fmla="*/ 158750 w 1219200"/>
                <a:gd name="connsiteY398" fmla="*/ 684531 h 868681"/>
                <a:gd name="connsiteX399" fmla="*/ 158750 w 1219200"/>
                <a:gd name="connsiteY399" fmla="*/ 635636 h 868681"/>
                <a:gd name="connsiteX400" fmla="*/ 143510 w 1219200"/>
                <a:gd name="connsiteY400" fmla="*/ 614681 h 868681"/>
                <a:gd name="connsiteX401" fmla="*/ 128269 w 1219200"/>
                <a:gd name="connsiteY401" fmla="*/ 635001 h 868681"/>
                <a:gd name="connsiteX402" fmla="*/ 128269 w 1219200"/>
                <a:gd name="connsiteY402" fmla="*/ 684531 h 868681"/>
                <a:gd name="connsiteX403" fmla="*/ 106045 w 1219200"/>
                <a:gd name="connsiteY403" fmla="*/ 684531 h 868681"/>
                <a:gd name="connsiteX404" fmla="*/ 106045 w 1219200"/>
                <a:gd name="connsiteY404" fmla="*/ 570866 h 868681"/>
                <a:gd name="connsiteX405" fmla="*/ 269875 w 1219200"/>
                <a:gd name="connsiteY405" fmla="*/ 635 h 868681"/>
                <a:gd name="connsiteX406" fmla="*/ 501015 w 1219200"/>
                <a:gd name="connsiteY406" fmla="*/ 635 h 868681"/>
                <a:gd name="connsiteX407" fmla="*/ 554989 w 1219200"/>
                <a:gd name="connsiteY407" fmla="*/ 94615 h 868681"/>
                <a:gd name="connsiteX408" fmla="*/ 391795 w 1219200"/>
                <a:gd name="connsiteY408" fmla="*/ 94615 h 868681"/>
                <a:gd name="connsiteX409" fmla="*/ 391795 w 1219200"/>
                <a:gd name="connsiteY409" fmla="*/ 161925 h 868681"/>
                <a:gd name="connsiteX410" fmla="*/ 539114 w 1219200"/>
                <a:gd name="connsiteY410" fmla="*/ 161925 h 868681"/>
                <a:gd name="connsiteX411" fmla="*/ 539114 w 1219200"/>
                <a:gd name="connsiteY411" fmla="*/ 247650 h 868681"/>
                <a:gd name="connsiteX412" fmla="*/ 391795 w 1219200"/>
                <a:gd name="connsiteY412" fmla="*/ 247650 h 868681"/>
                <a:gd name="connsiteX413" fmla="*/ 391795 w 1219200"/>
                <a:gd name="connsiteY413" fmla="*/ 314325 h 868681"/>
                <a:gd name="connsiteX414" fmla="*/ 595629 w 1219200"/>
                <a:gd name="connsiteY414" fmla="*/ 314325 h 868681"/>
                <a:gd name="connsiteX415" fmla="*/ 595629 w 1219200"/>
                <a:gd name="connsiteY415" fmla="*/ 408305 h 868681"/>
                <a:gd name="connsiteX416" fmla="*/ 269875 w 1219200"/>
                <a:gd name="connsiteY416" fmla="*/ 408305 h 868681"/>
                <a:gd name="connsiteX417" fmla="*/ 539114 w 1219200"/>
                <a:gd name="connsiteY417" fmla="*/ 0 h 868681"/>
                <a:gd name="connsiteX418" fmla="*/ 674370 w 1219200"/>
                <a:gd name="connsiteY418" fmla="*/ 0 h 868681"/>
                <a:gd name="connsiteX419" fmla="*/ 743584 w 1219200"/>
                <a:gd name="connsiteY419" fmla="*/ 132715 h 868681"/>
                <a:gd name="connsiteX420" fmla="*/ 812799 w 1219200"/>
                <a:gd name="connsiteY420" fmla="*/ 0 h 868681"/>
                <a:gd name="connsiteX421" fmla="*/ 946150 w 1219200"/>
                <a:gd name="connsiteY421" fmla="*/ 0 h 868681"/>
                <a:gd name="connsiteX422" fmla="*/ 803275 w 1219200"/>
                <a:gd name="connsiteY422" fmla="*/ 246380 h 868681"/>
                <a:gd name="connsiteX423" fmla="*/ 803275 w 1219200"/>
                <a:gd name="connsiteY423" fmla="*/ 407670 h 868681"/>
                <a:gd name="connsiteX424" fmla="*/ 681355 w 1219200"/>
                <a:gd name="connsiteY424" fmla="*/ 407670 h 868681"/>
                <a:gd name="connsiteX425" fmla="*/ 681355 w 1219200"/>
                <a:gd name="connsiteY425" fmla="*/ 246380 h 868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</a:cxnLst>
              <a:rect l="l" t="t" r="r" b="b"/>
              <a:pathLst>
                <a:path w="1219200" h="868681">
                  <a:moveTo>
                    <a:pt x="245110" y="839471"/>
                  </a:moveTo>
                  <a:lnTo>
                    <a:pt x="246379" y="839471"/>
                  </a:lnTo>
                  <a:lnTo>
                    <a:pt x="245041" y="839979"/>
                  </a:lnTo>
                  <a:close/>
                  <a:moveTo>
                    <a:pt x="522605" y="796926"/>
                  </a:moveTo>
                  <a:cubicBezTo>
                    <a:pt x="509905" y="796926"/>
                    <a:pt x="504189" y="807721"/>
                    <a:pt x="504189" y="821691"/>
                  </a:cubicBezTo>
                  <a:cubicBezTo>
                    <a:pt x="504189" y="831216"/>
                    <a:pt x="508000" y="845821"/>
                    <a:pt x="522605" y="845821"/>
                  </a:cubicBezTo>
                  <a:cubicBezTo>
                    <a:pt x="537845" y="845821"/>
                    <a:pt x="541019" y="831851"/>
                    <a:pt x="541019" y="821691"/>
                  </a:cubicBezTo>
                  <a:cubicBezTo>
                    <a:pt x="541019" y="807721"/>
                    <a:pt x="535305" y="796926"/>
                    <a:pt x="522605" y="796926"/>
                  </a:cubicBezTo>
                  <a:close/>
                  <a:moveTo>
                    <a:pt x="817245" y="796291"/>
                  </a:moveTo>
                  <a:cubicBezTo>
                    <a:pt x="803909" y="796291"/>
                    <a:pt x="800735" y="807086"/>
                    <a:pt x="800735" y="819786"/>
                  </a:cubicBezTo>
                  <a:cubicBezTo>
                    <a:pt x="800735" y="834391"/>
                    <a:pt x="805180" y="846456"/>
                    <a:pt x="817879" y="846456"/>
                  </a:cubicBezTo>
                  <a:cubicBezTo>
                    <a:pt x="824230" y="846456"/>
                    <a:pt x="828674" y="843281"/>
                    <a:pt x="833754" y="838836"/>
                  </a:cubicBezTo>
                  <a:lnTo>
                    <a:pt x="833754" y="838201"/>
                  </a:lnTo>
                  <a:lnTo>
                    <a:pt x="833754" y="803911"/>
                  </a:lnTo>
                  <a:cubicBezTo>
                    <a:pt x="828674" y="798831"/>
                    <a:pt x="824230" y="796291"/>
                    <a:pt x="817245" y="796291"/>
                  </a:cubicBezTo>
                  <a:close/>
                  <a:moveTo>
                    <a:pt x="1179195" y="794386"/>
                  </a:moveTo>
                  <a:cubicBezTo>
                    <a:pt x="1168400" y="794386"/>
                    <a:pt x="1163954" y="803911"/>
                    <a:pt x="1163320" y="811531"/>
                  </a:cubicBezTo>
                  <a:lnTo>
                    <a:pt x="1163954" y="811531"/>
                  </a:lnTo>
                  <a:lnTo>
                    <a:pt x="1195704" y="811531"/>
                  </a:lnTo>
                  <a:cubicBezTo>
                    <a:pt x="1195070" y="801371"/>
                    <a:pt x="1188720" y="794386"/>
                    <a:pt x="1179195" y="794386"/>
                  </a:cubicBezTo>
                  <a:close/>
                  <a:moveTo>
                    <a:pt x="909320" y="794386"/>
                  </a:moveTo>
                  <a:cubicBezTo>
                    <a:pt x="898525" y="794386"/>
                    <a:pt x="894079" y="803911"/>
                    <a:pt x="893445" y="811531"/>
                  </a:cubicBezTo>
                  <a:lnTo>
                    <a:pt x="894079" y="811531"/>
                  </a:lnTo>
                  <a:lnTo>
                    <a:pt x="925829" y="811531"/>
                  </a:lnTo>
                  <a:cubicBezTo>
                    <a:pt x="925195" y="801371"/>
                    <a:pt x="918845" y="794386"/>
                    <a:pt x="909320" y="794386"/>
                  </a:cubicBezTo>
                  <a:close/>
                  <a:moveTo>
                    <a:pt x="737870" y="775971"/>
                  </a:moveTo>
                  <a:lnTo>
                    <a:pt x="761364" y="775971"/>
                  </a:lnTo>
                  <a:lnTo>
                    <a:pt x="761364" y="866141"/>
                  </a:lnTo>
                  <a:lnTo>
                    <a:pt x="737870" y="866141"/>
                  </a:lnTo>
                  <a:close/>
                  <a:moveTo>
                    <a:pt x="143510" y="775971"/>
                  </a:moveTo>
                  <a:lnTo>
                    <a:pt x="167004" y="775971"/>
                  </a:lnTo>
                  <a:lnTo>
                    <a:pt x="167004" y="866141"/>
                  </a:lnTo>
                  <a:lnTo>
                    <a:pt x="143510" y="866141"/>
                  </a:lnTo>
                  <a:close/>
                  <a:moveTo>
                    <a:pt x="635" y="775971"/>
                  </a:moveTo>
                  <a:lnTo>
                    <a:pt x="26670" y="775971"/>
                  </a:lnTo>
                  <a:lnTo>
                    <a:pt x="40004" y="828041"/>
                  </a:lnTo>
                  <a:lnTo>
                    <a:pt x="55245" y="775971"/>
                  </a:lnTo>
                  <a:lnTo>
                    <a:pt x="76200" y="775971"/>
                  </a:lnTo>
                  <a:lnTo>
                    <a:pt x="91439" y="828041"/>
                  </a:lnTo>
                  <a:lnTo>
                    <a:pt x="105409" y="775971"/>
                  </a:lnTo>
                  <a:lnTo>
                    <a:pt x="130810" y="775971"/>
                  </a:lnTo>
                  <a:lnTo>
                    <a:pt x="102235" y="866141"/>
                  </a:lnTo>
                  <a:lnTo>
                    <a:pt x="80644" y="866141"/>
                  </a:lnTo>
                  <a:lnTo>
                    <a:pt x="65405" y="811531"/>
                  </a:lnTo>
                  <a:lnTo>
                    <a:pt x="50165" y="866141"/>
                  </a:lnTo>
                  <a:lnTo>
                    <a:pt x="28575" y="866141"/>
                  </a:lnTo>
                  <a:close/>
                  <a:moveTo>
                    <a:pt x="1181099" y="774066"/>
                  </a:moveTo>
                  <a:cubicBezTo>
                    <a:pt x="1204595" y="774066"/>
                    <a:pt x="1219200" y="795021"/>
                    <a:pt x="1219200" y="821056"/>
                  </a:cubicBezTo>
                  <a:lnTo>
                    <a:pt x="1218564" y="821056"/>
                  </a:lnTo>
                  <a:cubicBezTo>
                    <a:pt x="1218564" y="821056"/>
                    <a:pt x="1218564" y="827406"/>
                    <a:pt x="1218564" y="828676"/>
                  </a:cubicBezTo>
                  <a:lnTo>
                    <a:pt x="1163954" y="828676"/>
                  </a:lnTo>
                  <a:cubicBezTo>
                    <a:pt x="1165224" y="841376"/>
                    <a:pt x="1173480" y="846456"/>
                    <a:pt x="1183004" y="846456"/>
                  </a:cubicBezTo>
                  <a:cubicBezTo>
                    <a:pt x="1188720" y="846456"/>
                    <a:pt x="1193799" y="844551"/>
                    <a:pt x="1198879" y="840106"/>
                  </a:cubicBezTo>
                  <a:lnTo>
                    <a:pt x="1214754" y="853441"/>
                  </a:lnTo>
                  <a:cubicBezTo>
                    <a:pt x="1206500" y="864236"/>
                    <a:pt x="1193799" y="868046"/>
                    <a:pt x="1182370" y="868046"/>
                  </a:cubicBezTo>
                  <a:cubicBezTo>
                    <a:pt x="1156335" y="868046"/>
                    <a:pt x="1141095" y="847726"/>
                    <a:pt x="1141095" y="821056"/>
                  </a:cubicBezTo>
                  <a:cubicBezTo>
                    <a:pt x="1141095" y="792481"/>
                    <a:pt x="1158875" y="774066"/>
                    <a:pt x="1181099" y="774066"/>
                  </a:cubicBezTo>
                  <a:close/>
                  <a:moveTo>
                    <a:pt x="1097915" y="774066"/>
                  </a:moveTo>
                  <a:cubicBezTo>
                    <a:pt x="1113790" y="774066"/>
                    <a:pt x="1125220" y="781051"/>
                    <a:pt x="1133474" y="793751"/>
                  </a:cubicBezTo>
                  <a:lnTo>
                    <a:pt x="1118235" y="808991"/>
                  </a:lnTo>
                  <a:cubicBezTo>
                    <a:pt x="1113155" y="802006"/>
                    <a:pt x="1107439" y="796291"/>
                    <a:pt x="1097915" y="796291"/>
                  </a:cubicBezTo>
                  <a:cubicBezTo>
                    <a:pt x="1085215" y="796291"/>
                    <a:pt x="1078864" y="807086"/>
                    <a:pt x="1078864" y="820421"/>
                  </a:cubicBezTo>
                  <a:cubicBezTo>
                    <a:pt x="1078864" y="833121"/>
                    <a:pt x="1084579" y="845186"/>
                    <a:pt x="1097915" y="845186"/>
                  </a:cubicBezTo>
                  <a:cubicBezTo>
                    <a:pt x="1106170" y="845186"/>
                    <a:pt x="1113155" y="840741"/>
                    <a:pt x="1118235" y="833756"/>
                  </a:cubicBezTo>
                  <a:lnTo>
                    <a:pt x="1118870" y="834391"/>
                  </a:lnTo>
                  <a:lnTo>
                    <a:pt x="1133474" y="848361"/>
                  </a:lnTo>
                  <a:cubicBezTo>
                    <a:pt x="1125855" y="857886"/>
                    <a:pt x="1115060" y="868046"/>
                    <a:pt x="1097280" y="868046"/>
                  </a:cubicBezTo>
                  <a:cubicBezTo>
                    <a:pt x="1072515" y="868046"/>
                    <a:pt x="1054735" y="848361"/>
                    <a:pt x="1054735" y="821056"/>
                  </a:cubicBezTo>
                  <a:cubicBezTo>
                    <a:pt x="1054735" y="796291"/>
                    <a:pt x="1069974" y="774066"/>
                    <a:pt x="1097915" y="774066"/>
                  </a:cubicBezTo>
                  <a:close/>
                  <a:moveTo>
                    <a:pt x="1009015" y="774066"/>
                  </a:moveTo>
                  <a:cubicBezTo>
                    <a:pt x="1033144" y="774066"/>
                    <a:pt x="1041400" y="793116"/>
                    <a:pt x="1041400" y="815341"/>
                  </a:cubicBezTo>
                  <a:lnTo>
                    <a:pt x="1041400" y="866141"/>
                  </a:lnTo>
                  <a:lnTo>
                    <a:pt x="1017905" y="866141"/>
                  </a:lnTo>
                  <a:lnTo>
                    <a:pt x="1017905" y="817246"/>
                  </a:lnTo>
                  <a:cubicBezTo>
                    <a:pt x="1017905" y="804546"/>
                    <a:pt x="1014730" y="796291"/>
                    <a:pt x="1002665" y="796291"/>
                  </a:cubicBezTo>
                  <a:cubicBezTo>
                    <a:pt x="990599" y="796291"/>
                    <a:pt x="986790" y="803276"/>
                    <a:pt x="986790" y="816611"/>
                  </a:cubicBezTo>
                  <a:lnTo>
                    <a:pt x="986790" y="866141"/>
                  </a:lnTo>
                  <a:lnTo>
                    <a:pt x="963295" y="866141"/>
                  </a:lnTo>
                  <a:lnTo>
                    <a:pt x="963295" y="775971"/>
                  </a:lnTo>
                  <a:lnTo>
                    <a:pt x="986790" y="775971"/>
                  </a:lnTo>
                  <a:lnTo>
                    <a:pt x="986790" y="782321"/>
                  </a:lnTo>
                  <a:cubicBezTo>
                    <a:pt x="991870" y="777241"/>
                    <a:pt x="998855" y="774066"/>
                    <a:pt x="1009015" y="774066"/>
                  </a:cubicBezTo>
                  <a:close/>
                  <a:moveTo>
                    <a:pt x="911224" y="774066"/>
                  </a:moveTo>
                  <a:cubicBezTo>
                    <a:pt x="934720" y="774066"/>
                    <a:pt x="949325" y="795021"/>
                    <a:pt x="949325" y="821056"/>
                  </a:cubicBezTo>
                  <a:lnTo>
                    <a:pt x="948689" y="821056"/>
                  </a:lnTo>
                  <a:cubicBezTo>
                    <a:pt x="948689" y="821056"/>
                    <a:pt x="948689" y="827406"/>
                    <a:pt x="948689" y="828676"/>
                  </a:cubicBezTo>
                  <a:lnTo>
                    <a:pt x="894079" y="828676"/>
                  </a:lnTo>
                  <a:cubicBezTo>
                    <a:pt x="895349" y="841376"/>
                    <a:pt x="903605" y="846456"/>
                    <a:pt x="913129" y="846456"/>
                  </a:cubicBezTo>
                  <a:cubicBezTo>
                    <a:pt x="918845" y="846456"/>
                    <a:pt x="923924" y="844551"/>
                    <a:pt x="929004" y="840106"/>
                  </a:cubicBezTo>
                  <a:lnTo>
                    <a:pt x="944879" y="853441"/>
                  </a:lnTo>
                  <a:cubicBezTo>
                    <a:pt x="936625" y="864236"/>
                    <a:pt x="923924" y="868046"/>
                    <a:pt x="912495" y="868046"/>
                  </a:cubicBezTo>
                  <a:cubicBezTo>
                    <a:pt x="886459" y="868046"/>
                    <a:pt x="871220" y="847726"/>
                    <a:pt x="871220" y="821056"/>
                  </a:cubicBezTo>
                  <a:cubicBezTo>
                    <a:pt x="871220" y="792481"/>
                    <a:pt x="889000" y="774066"/>
                    <a:pt x="911224" y="774066"/>
                  </a:cubicBezTo>
                  <a:close/>
                  <a:moveTo>
                    <a:pt x="623570" y="774066"/>
                  </a:moveTo>
                  <a:cubicBezTo>
                    <a:pt x="647700" y="774066"/>
                    <a:pt x="655954" y="793116"/>
                    <a:pt x="655954" y="815341"/>
                  </a:cubicBezTo>
                  <a:lnTo>
                    <a:pt x="655954" y="866141"/>
                  </a:lnTo>
                  <a:lnTo>
                    <a:pt x="632459" y="866141"/>
                  </a:lnTo>
                  <a:lnTo>
                    <a:pt x="632459" y="817246"/>
                  </a:lnTo>
                  <a:cubicBezTo>
                    <a:pt x="632459" y="804546"/>
                    <a:pt x="629284" y="796291"/>
                    <a:pt x="617220" y="796291"/>
                  </a:cubicBezTo>
                  <a:cubicBezTo>
                    <a:pt x="605155" y="796291"/>
                    <a:pt x="601345" y="803276"/>
                    <a:pt x="601345" y="816611"/>
                  </a:cubicBezTo>
                  <a:lnTo>
                    <a:pt x="601345" y="866141"/>
                  </a:lnTo>
                  <a:lnTo>
                    <a:pt x="577849" y="866141"/>
                  </a:lnTo>
                  <a:lnTo>
                    <a:pt x="577849" y="775971"/>
                  </a:lnTo>
                  <a:lnTo>
                    <a:pt x="601345" y="775971"/>
                  </a:lnTo>
                  <a:lnTo>
                    <a:pt x="601345" y="782321"/>
                  </a:lnTo>
                  <a:cubicBezTo>
                    <a:pt x="606424" y="777241"/>
                    <a:pt x="613409" y="774066"/>
                    <a:pt x="623570" y="774066"/>
                  </a:cubicBezTo>
                  <a:close/>
                  <a:moveTo>
                    <a:pt x="522605" y="774066"/>
                  </a:moveTo>
                  <a:cubicBezTo>
                    <a:pt x="548004" y="774066"/>
                    <a:pt x="564515" y="793116"/>
                    <a:pt x="564515" y="821056"/>
                  </a:cubicBezTo>
                  <a:cubicBezTo>
                    <a:pt x="564515" y="848996"/>
                    <a:pt x="546735" y="868046"/>
                    <a:pt x="522605" y="868046"/>
                  </a:cubicBezTo>
                  <a:cubicBezTo>
                    <a:pt x="498474" y="868046"/>
                    <a:pt x="480695" y="848996"/>
                    <a:pt x="480695" y="821056"/>
                  </a:cubicBezTo>
                  <a:cubicBezTo>
                    <a:pt x="480695" y="794386"/>
                    <a:pt x="496570" y="774066"/>
                    <a:pt x="522605" y="774066"/>
                  </a:cubicBezTo>
                  <a:close/>
                  <a:moveTo>
                    <a:pt x="436879" y="774066"/>
                  </a:moveTo>
                  <a:cubicBezTo>
                    <a:pt x="452754" y="774066"/>
                    <a:pt x="464185" y="781051"/>
                    <a:pt x="472439" y="793751"/>
                  </a:cubicBezTo>
                  <a:lnTo>
                    <a:pt x="457200" y="808991"/>
                  </a:lnTo>
                  <a:cubicBezTo>
                    <a:pt x="452120" y="802006"/>
                    <a:pt x="446405" y="796291"/>
                    <a:pt x="436879" y="796291"/>
                  </a:cubicBezTo>
                  <a:cubicBezTo>
                    <a:pt x="424180" y="796291"/>
                    <a:pt x="417829" y="807086"/>
                    <a:pt x="417829" y="820421"/>
                  </a:cubicBezTo>
                  <a:cubicBezTo>
                    <a:pt x="417829" y="833121"/>
                    <a:pt x="423545" y="845186"/>
                    <a:pt x="436879" y="845186"/>
                  </a:cubicBezTo>
                  <a:cubicBezTo>
                    <a:pt x="445135" y="845186"/>
                    <a:pt x="452120" y="840741"/>
                    <a:pt x="457200" y="833756"/>
                  </a:cubicBezTo>
                  <a:lnTo>
                    <a:pt x="457834" y="834391"/>
                  </a:lnTo>
                  <a:lnTo>
                    <a:pt x="472439" y="848361"/>
                  </a:lnTo>
                  <a:cubicBezTo>
                    <a:pt x="464820" y="857886"/>
                    <a:pt x="454025" y="868046"/>
                    <a:pt x="436245" y="868046"/>
                  </a:cubicBezTo>
                  <a:cubicBezTo>
                    <a:pt x="411480" y="868046"/>
                    <a:pt x="393700" y="848361"/>
                    <a:pt x="393700" y="821056"/>
                  </a:cubicBezTo>
                  <a:cubicBezTo>
                    <a:pt x="393700" y="796291"/>
                    <a:pt x="408939" y="774066"/>
                    <a:pt x="436879" y="774066"/>
                  </a:cubicBezTo>
                  <a:close/>
                  <a:moveTo>
                    <a:pt x="219075" y="742316"/>
                  </a:moveTo>
                  <a:lnTo>
                    <a:pt x="219075" y="777241"/>
                  </a:lnTo>
                  <a:lnTo>
                    <a:pt x="245110" y="777241"/>
                  </a:lnTo>
                  <a:lnTo>
                    <a:pt x="245110" y="798831"/>
                  </a:lnTo>
                  <a:lnTo>
                    <a:pt x="219075" y="798831"/>
                  </a:lnTo>
                  <a:lnTo>
                    <a:pt x="219075" y="835661"/>
                  </a:lnTo>
                  <a:cubicBezTo>
                    <a:pt x="219075" y="843916"/>
                    <a:pt x="222250" y="846456"/>
                    <a:pt x="227965" y="846456"/>
                  </a:cubicBezTo>
                  <a:lnTo>
                    <a:pt x="245041" y="839979"/>
                  </a:lnTo>
                  <a:lnTo>
                    <a:pt x="241935" y="862966"/>
                  </a:lnTo>
                  <a:cubicBezTo>
                    <a:pt x="236855" y="866776"/>
                    <a:pt x="225424" y="868681"/>
                    <a:pt x="219709" y="868681"/>
                  </a:cubicBezTo>
                  <a:cubicBezTo>
                    <a:pt x="205739" y="868681"/>
                    <a:pt x="195579" y="857251"/>
                    <a:pt x="195579" y="842011"/>
                  </a:cubicBezTo>
                  <a:lnTo>
                    <a:pt x="195579" y="798831"/>
                  </a:lnTo>
                  <a:lnTo>
                    <a:pt x="179704" y="798831"/>
                  </a:lnTo>
                  <a:lnTo>
                    <a:pt x="179704" y="777241"/>
                  </a:lnTo>
                  <a:lnTo>
                    <a:pt x="195579" y="777241"/>
                  </a:lnTo>
                  <a:lnTo>
                    <a:pt x="195579" y="753746"/>
                  </a:lnTo>
                  <a:close/>
                  <a:moveTo>
                    <a:pt x="749935" y="741681"/>
                  </a:moveTo>
                  <a:cubicBezTo>
                    <a:pt x="757555" y="741681"/>
                    <a:pt x="763269" y="747396"/>
                    <a:pt x="763269" y="755016"/>
                  </a:cubicBezTo>
                  <a:cubicBezTo>
                    <a:pt x="763269" y="762636"/>
                    <a:pt x="757555" y="768351"/>
                    <a:pt x="749935" y="768351"/>
                  </a:cubicBezTo>
                  <a:cubicBezTo>
                    <a:pt x="742314" y="768351"/>
                    <a:pt x="736599" y="762636"/>
                    <a:pt x="736599" y="755016"/>
                  </a:cubicBezTo>
                  <a:cubicBezTo>
                    <a:pt x="736599" y="747396"/>
                    <a:pt x="742314" y="741681"/>
                    <a:pt x="749935" y="741681"/>
                  </a:cubicBezTo>
                  <a:close/>
                  <a:moveTo>
                    <a:pt x="154939" y="741681"/>
                  </a:moveTo>
                  <a:cubicBezTo>
                    <a:pt x="162560" y="741681"/>
                    <a:pt x="168275" y="747396"/>
                    <a:pt x="168275" y="755016"/>
                  </a:cubicBezTo>
                  <a:cubicBezTo>
                    <a:pt x="168275" y="762636"/>
                    <a:pt x="162560" y="768351"/>
                    <a:pt x="154939" y="768351"/>
                  </a:cubicBezTo>
                  <a:cubicBezTo>
                    <a:pt x="147320" y="768351"/>
                    <a:pt x="141605" y="762636"/>
                    <a:pt x="141605" y="755016"/>
                  </a:cubicBezTo>
                  <a:cubicBezTo>
                    <a:pt x="141605" y="747396"/>
                    <a:pt x="147320" y="741681"/>
                    <a:pt x="154939" y="741681"/>
                  </a:cubicBezTo>
                  <a:close/>
                  <a:moveTo>
                    <a:pt x="856614" y="741046"/>
                  </a:moveTo>
                  <a:lnTo>
                    <a:pt x="856614" y="866141"/>
                  </a:lnTo>
                  <a:lnTo>
                    <a:pt x="833120" y="866141"/>
                  </a:lnTo>
                  <a:lnTo>
                    <a:pt x="833120" y="860426"/>
                  </a:lnTo>
                  <a:cubicBezTo>
                    <a:pt x="825500" y="866141"/>
                    <a:pt x="821055" y="868046"/>
                    <a:pt x="812799" y="868046"/>
                  </a:cubicBezTo>
                  <a:cubicBezTo>
                    <a:pt x="786765" y="868046"/>
                    <a:pt x="775970" y="845821"/>
                    <a:pt x="775970" y="820421"/>
                  </a:cubicBezTo>
                  <a:cubicBezTo>
                    <a:pt x="775970" y="793116"/>
                    <a:pt x="788670" y="774066"/>
                    <a:pt x="812165" y="774066"/>
                  </a:cubicBezTo>
                  <a:cubicBezTo>
                    <a:pt x="819784" y="774066"/>
                    <a:pt x="827405" y="775971"/>
                    <a:pt x="833120" y="781051"/>
                  </a:cubicBezTo>
                  <a:lnTo>
                    <a:pt x="833120" y="752476"/>
                  </a:lnTo>
                  <a:close/>
                  <a:moveTo>
                    <a:pt x="707390" y="741046"/>
                  </a:moveTo>
                  <a:cubicBezTo>
                    <a:pt x="712470" y="741046"/>
                    <a:pt x="719454" y="741046"/>
                    <a:pt x="724534" y="743586"/>
                  </a:cubicBezTo>
                  <a:lnTo>
                    <a:pt x="724534" y="744221"/>
                  </a:lnTo>
                  <a:lnTo>
                    <a:pt x="724534" y="762636"/>
                  </a:lnTo>
                  <a:cubicBezTo>
                    <a:pt x="721360" y="761366"/>
                    <a:pt x="716280" y="760731"/>
                    <a:pt x="713105" y="760731"/>
                  </a:cubicBezTo>
                  <a:cubicBezTo>
                    <a:pt x="706120" y="760731"/>
                    <a:pt x="703579" y="762636"/>
                    <a:pt x="703579" y="768351"/>
                  </a:cubicBezTo>
                  <a:lnTo>
                    <a:pt x="703579" y="775336"/>
                  </a:lnTo>
                  <a:lnTo>
                    <a:pt x="722629" y="775336"/>
                  </a:lnTo>
                  <a:lnTo>
                    <a:pt x="722629" y="796926"/>
                  </a:lnTo>
                  <a:lnTo>
                    <a:pt x="703579" y="796926"/>
                  </a:lnTo>
                  <a:lnTo>
                    <a:pt x="703579" y="865506"/>
                  </a:lnTo>
                  <a:lnTo>
                    <a:pt x="680084" y="865506"/>
                  </a:lnTo>
                  <a:lnTo>
                    <a:pt x="680084" y="796926"/>
                  </a:lnTo>
                  <a:lnTo>
                    <a:pt x="667385" y="796926"/>
                  </a:lnTo>
                  <a:lnTo>
                    <a:pt x="667385" y="775336"/>
                  </a:lnTo>
                  <a:lnTo>
                    <a:pt x="680084" y="775336"/>
                  </a:lnTo>
                  <a:lnTo>
                    <a:pt x="680084" y="764541"/>
                  </a:lnTo>
                  <a:cubicBezTo>
                    <a:pt x="680084" y="748031"/>
                    <a:pt x="690879" y="741046"/>
                    <a:pt x="707390" y="741046"/>
                  </a:cubicBezTo>
                  <a:close/>
                  <a:moveTo>
                    <a:pt x="282575" y="741046"/>
                  </a:moveTo>
                  <a:lnTo>
                    <a:pt x="282575" y="782321"/>
                  </a:lnTo>
                  <a:cubicBezTo>
                    <a:pt x="287019" y="777241"/>
                    <a:pt x="295909" y="774066"/>
                    <a:pt x="304799" y="774066"/>
                  </a:cubicBezTo>
                  <a:cubicBezTo>
                    <a:pt x="328295" y="774066"/>
                    <a:pt x="336549" y="792481"/>
                    <a:pt x="336549" y="815341"/>
                  </a:cubicBezTo>
                  <a:lnTo>
                    <a:pt x="336549" y="866141"/>
                  </a:lnTo>
                  <a:lnTo>
                    <a:pt x="313689" y="866141"/>
                  </a:lnTo>
                  <a:lnTo>
                    <a:pt x="313689" y="817246"/>
                  </a:lnTo>
                  <a:cubicBezTo>
                    <a:pt x="313689" y="804546"/>
                    <a:pt x="310515" y="796291"/>
                    <a:pt x="298450" y="796291"/>
                  </a:cubicBezTo>
                  <a:cubicBezTo>
                    <a:pt x="286385" y="796291"/>
                    <a:pt x="282575" y="803276"/>
                    <a:pt x="282575" y="816611"/>
                  </a:cubicBezTo>
                  <a:lnTo>
                    <a:pt x="282575" y="866141"/>
                  </a:lnTo>
                  <a:lnTo>
                    <a:pt x="259079" y="866141"/>
                  </a:lnTo>
                  <a:lnTo>
                    <a:pt x="259079" y="752476"/>
                  </a:lnTo>
                  <a:close/>
                  <a:moveTo>
                    <a:pt x="92709" y="648336"/>
                  </a:moveTo>
                  <a:lnTo>
                    <a:pt x="92709" y="649606"/>
                  </a:lnTo>
                  <a:lnTo>
                    <a:pt x="92427" y="648959"/>
                  </a:lnTo>
                  <a:close/>
                  <a:moveTo>
                    <a:pt x="230504" y="643256"/>
                  </a:moveTo>
                  <a:cubicBezTo>
                    <a:pt x="220345" y="643256"/>
                    <a:pt x="215900" y="647701"/>
                    <a:pt x="215900" y="654686"/>
                  </a:cubicBezTo>
                  <a:cubicBezTo>
                    <a:pt x="215900" y="661671"/>
                    <a:pt x="220345" y="667386"/>
                    <a:pt x="228599" y="667386"/>
                  </a:cubicBezTo>
                  <a:cubicBezTo>
                    <a:pt x="233045" y="667386"/>
                    <a:pt x="240665" y="666116"/>
                    <a:pt x="245745" y="658496"/>
                  </a:cubicBezTo>
                  <a:lnTo>
                    <a:pt x="245745" y="647066"/>
                  </a:lnTo>
                  <a:cubicBezTo>
                    <a:pt x="241299" y="643891"/>
                    <a:pt x="234950" y="643256"/>
                    <a:pt x="230504" y="643256"/>
                  </a:cubicBezTo>
                  <a:close/>
                  <a:moveTo>
                    <a:pt x="321310" y="614046"/>
                  </a:moveTo>
                  <a:cubicBezTo>
                    <a:pt x="314959" y="614046"/>
                    <a:pt x="309879" y="617221"/>
                    <a:pt x="306704" y="622301"/>
                  </a:cubicBezTo>
                  <a:lnTo>
                    <a:pt x="306704" y="656591"/>
                  </a:lnTo>
                  <a:cubicBezTo>
                    <a:pt x="310515" y="661671"/>
                    <a:pt x="316230" y="664846"/>
                    <a:pt x="323215" y="664846"/>
                  </a:cubicBezTo>
                  <a:cubicBezTo>
                    <a:pt x="335915" y="664846"/>
                    <a:pt x="339090" y="653416"/>
                    <a:pt x="339090" y="640716"/>
                  </a:cubicBezTo>
                  <a:lnTo>
                    <a:pt x="338454" y="640716"/>
                  </a:lnTo>
                  <a:cubicBezTo>
                    <a:pt x="338454" y="627381"/>
                    <a:pt x="335280" y="614046"/>
                    <a:pt x="321310" y="614046"/>
                  </a:cubicBezTo>
                  <a:close/>
                  <a:moveTo>
                    <a:pt x="1179195" y="612776"/>
                  </a:moveTo>
                  <a:cubicBezTo>
                    <a:pt x="1168400" y="612776"/>
                    <a:pt x="1163954" y="622301"/>
                    <a:pt x="1163320" y="629921"/>
                  </a:cubicBezTo>
                  <a:lnTo>
                    <a:pt x="1163954" y="629921"/>
                  </a:lnTo>
                  <a:lnTo>
                    <a:pt x="1195704" y="629921"/>
                  </a:lnTo>
                  <a:cubicBezTo>
                    <a:pt x="1195070" y="619761"/>
                    <a:pt x="1188720" y="612776"/>
                    <a:pt x="1179195" y="612776"/>
                  </a:cubicBezTo>
                  <a:close/>
                  <a:moveTo>
                    <a:pt x="689610" y="612776"/>
                  </a:moveTo>
                  <a:cubicBezTo>
                    <a:pt x="678814" y="612776"/>
                    <a:pt x="674370" y="622301"/>
                    <a:pt x="673735" y="629921"/>
                  </a:cubicBezTo>
                  <a:lnTo>
                    <a:pt x="674370" y="629921"/>
                  </a:lnTo>
                  <a:lnTo>
                    <a:pt x="706120" y="629921"/>
                  </a:lnTo>
                  <a:cubicBezTo>
                    <a:pt x="705485" y="619761"/>
                    <a:pt x="699135" y="612776"/>
                    <a:pt x="689610" y="612776"/>
                  </a:cubicBezTo>
                  <a:close/>
                  <a:moveTo>
                    <a:pt x="410845" y="612776"/>
                  </a:moveTo>
                  <a:cubicBezTo>
                    <a:pt x="400685" y="612776"/>
                    <a:pt x="396239" y="622301"/>
                    <a:pt x="395605" y="629921"/>
                  </a:cubicBezTo>
                  <a:lnTo>
                    <a:pt x="427355" y="629921"/>
                  </a:lnTo>
                  <a:cubicBezTo>
                    <a:pt x="426084" y="619761"/>
                    <a:pt x="420370" y="612776"/>
                    <a:pt x="410845" y="612776"/>
                  </a:cubicBezTo>
                  <a:close/>
                  <a:moveTo>
                    <a:pt x="991870" y="594361"/>
                  </a:moveTo>
                  <a:lnTo>
                    <a:pt x="1014095" y="594361"/>
                  </a:lnTo>
                  <a:lnTo>
                    <a:pt x="1014095" y="643256"/>
                  </a:lnTo>
                  <a:cubicBezTo>
                    <a:pt x="1014095" y="655321"/>
                    <a:pt x="1016635" y="664846"/>
                    <a:pt x="1029334" y="664846"/>
                  </a:cubicBezTo>
                  <a:cubicBezTo>
                    <a:pt x="1042034" y="664846"/>
                    <a:pt x="1044575" y="655321"/>
                    <a:pt x="1044575" y="644526"/>
                  </a:cubicBezTo>
                  <a:lnTo>
                    <a:pt x="1044575" y="594996"/>
                  </a:lnTo>
                  <a:lnTo>
                    <a:pt x="1066799" y="594996"/>
                  </a:lnTo>
                  <a:lnTo>
                    <a:pt x="1066799" y="684531"/>
                  </a:lnTo>
                  <a:lnTo>
                    <a:pt x="1044575" y="684531"/>
                  </a:lnTo>
                  <a:lnTo>
                    <a:pt x="1044575" y="678181"/>
                  </a:lnTo>
                  <a:cubicBezTo>
                    <a:pt x="1039495" y="683896"/>
                    <a:pt x="1031875" y="686436"/>
                    <a:pt x="1023620" y="686436"/>
                  </a:cubicBezTo>
                  <a:cubicBezTo>
                    <a:pt x="1000125" y="686436"/>
                    <a:pt x="991870" y="669926"/>
                    <a:pt x="991870" y="645161"/>
                  </a:cubicBezTo>
                  <a:close/>
                  <a:moveTo>
                    <a:pt x="836295" y="594361"/>
                  </a:moveTo>
                  <a:lnTo>
                    <a:pt x="858519" y="594361"/>
                  </a:lnTo>
                  <a:lnTo>
                    <a:pt x="858519" y="643256"/>
                  </a:lnTo>
                  <a:cubicBezTo>
                    <a:pt x="858519" y="655321"/>
                    <a:pt x="861060" y="664846"/>
                    <a:pt x="873760" y="664846"/>
                  </a:cubicBezTo>
                  <a:cubicBezTo>
                    <a:pt x="886459" y="664846"/>
                    <a:pt x="889000" y="655321"/>
                    <a:pt x="889000" y="644526"/>
                  </a:cubicBezTo>
                  <a:lnTo>
                    <a:pt x="889000" y="594996"/>
                  </a:lnTo>
                  <a:lnTo>
                    <a:pt x="911224" y="594996"/>
                  </a:lnTo>
                  <a:lnTo>
                    <a:pt x="911224" y="684531"/>
                  </a:lnTo>
                  <a:lnTo>
                    <a:pt x="889000" y="684531"/>
                  </a:lnTo>
                  <a:lnTo>
                    <a:pt x="889000" y="678181"/>
                  </a:lnTo>
                  <a:cubicBezTo>
                    <a:pt x="883920" y="683896"/>
                    <a:pt x="876299" y="686436"/>
                    <a:pt x="868045" y="686436"/>
                  </a:cubicBezTo>
                  <a:cubicBezTo>
                    <a:pt x="844549" y="686436"/>
                    <a:pt x="836295" y="669926"/>
                    <a:pt x="836295" y="645161"/>
                  </a:cubicBezTo>
                  <a:close/>
                  <a:moveTo>
                    <a:pt x="1181099" y="592456"/>
                  </a:moveTo>
                  <a:cubicBezTo>
                    <a:pt x="1204595" y="592456"/>
                    <a:pt x="1219200" y="613411"/>
                    <a:pt x="1219200" y="639446"/>
                  </a:cubicBezTo>
                  <a:lnTo>
                    <a:pt x="1218564" y="639446"/>
                  </a:lnTo>
                  <a:cubicBezTo>
                    <a:pt x="1218564" y="639446"/>
                    <a:pt x="1218564" y="645796"/>
                    <a:pt x="1218564" y="647066"/>
                  </a:cubicBezTo>
                  <a:lnTo>
                    <a:pt x="1163954" y="647066"/>
                  </a:lnTo>
                  <a:cubicBezTo>
                    <a:pt x="1165224" y="659766"/>
                    <a:pt x="1173480" y="664846"/>
                    <a:pt x="1183004" y="664846"/>
                  </a:cubicBezTo>
                  <a:cubicBezTo>
                    <a:pt x="1188720" y="664846"/>
                    <a:pt x="1193799" y="662941"/>
                    <a:pt x="1198879" y="658496"/>
                  </a:cubicBezTo>
                  <a:lnTo>
                    <a:pt x="1214754" y="671831"/>
                  </a:lnTo>
                  <a:cubicBezTo>
                    <a:pt x="1206500" y="682626"/>
                    <a:pt x="1193799" y="686436"/>
                    <a:pt x="1182370" y="686436"/>
                  </a:cubicBezTo>
                  <a:cubicBezTo>
                    <a:pt x="1156335" y="686436"/>
                    <a:pt x="1141095" y="666116"/>
                    <a:pt x="1141095" y="639446"/>
                  </a:cubicBezTo>
                  <a:cubicBezTo>
                    <a:pt x="1141095" y="610871"/>
                    <a:pt x="1158875" y="592456"/>
                    <a:pt x="1181099" y="592456"/>
                  </a:cubicBezTo>
                  <a:close/>
                  <a:moveTo>
                    <a:pt x="691515" y="592456"/>
                  </a:moveTo>
                  <a:cubicBezTo>
                    <a:pt x="715010" y="592456"/>
                    <a:pt x="729614" y="613411"/>
                    <a:pt x="729614" y="639446"/>
                  </a:cubicBezTo>
                  <a:lnTo>
                    <a:pt x="728980" y="639446"/>
                  </a:lnTo>
                  <a:cubicBezTo>
                    <a:pt x="728980" y="639446"/>
                    <a:pt x="728980" y="645796"/>
                    <a:pt x="728980" y="647066"/>
                  </a:cubicBezTo>
                  <a:lnTo>
                    <a:pt x="674370" y="647066"/>
                  </a:lnTo>
                  <a:cubicBezTo>
                    <a:pt x="675640" y="659766"/>
                    <a:pt x="683894" y="664846"/>
                    <a:pt x="693420" y="664846"/>
                  </a:cubicBezTo>
                  <a:cubicBezTo>
                    <a:pt x="699135" y="664846"/>
                    <a:pt x="704215" y="662941"/>
                    <a:pt x="709295" y="658496"/>
                  </a:cubicBezTo>
                  <a:lnTo>
                    <a:pt x="725170" y="671831"/>
                  </a:lnTo>
                  <a:cubicBezTo>
                    <a:pt x="716915" y="682626"/>
                    <a:pt x="704215" y="686436"/>
                    <a:pt x="692784" y="686436"/>
                  </a:cubicBezTo>
                  <a:cubicBezTo>
                    <a:pt x="666750" y="686436"/>
                    <a:pt x="651510" y="666116"/>
                    <a:pt x="651510" y="639446"/>
                  </a:cubicBezTo>
                  <a:cubicBezTo>
                    <a:pt x="651510" y="610871"/>
                    <a:pt x="669290" y="592456"/>
                    <a:pt x="691515" y="592456"/>
                  </a:cubicBezTo>
                  <a:close/>
                  <a:moveTo>
                    <a:pt x="412114" y="592456"/>
                  </a:moveTo>
                  <a:cubicBezTo>
                    <a:pt x="437515" y="592456"/>
                    <a:pt x="448310" y="615316"/>
                    <a:pt x="448310" y="639446"/>
                  </a:cubicBezTo>
                  <a:cubicBezTo>
                    <a:pt x="448310" y="639446"/>
                    <a:pt x="448310" y="645796"/>
                    <a:pt x="448310" y="647066"/>
                  </a:cubicBezTo>
                  <a:lnTo>
                    <a:pt x="395605" y="647066"/>
                  </a:lnTo>
                  <a:cubicBezTo>
                    <a:pt x="396875" y="659766"/>
                    <a:pt x="405129" y="664846"/>
                    <a:pt x="415290" y="664846"/>
                  </a:cubicBezTo>
                  <a:cubicBezTo>
                    <a:pt x="421004" y="664846"/>
                    <a:pt x="426084" y="662941"/>
                    <a:pt x="430530" y="658496"/>
                  </a:cubicBezTo>
                  <a:lnTo>
                    <a:pt x="446405" y="671831"/>
                  </a:lnTo>
                  <a:cubicBezTo>
                    <a:pt x="438784" y="681991"/>
                    <a:pt x="425450" y="686436"/>
                    <a:pt x="413385" y="686436"/>
                  </a:cubicBezTo>
                  <a:cubicBezTo>
                    <a:pt x="387349" y="686436"/>
                    <a:pt x="372110" y="666116"/>
                    <a:pt x="372110" y="640081"/>
                  </a:cubicBezTo>
                  <a:cubicBezTo>
                    <a:pt x="372110" y="614046"/>
                    <a:pt x="388620" y="592456"/>
                    <a:pt x="412114" y="592456"/>
                  </a:cubicBezTo>
                  <a:close/>
                  <a:moveTo>
                    <a:pt x="326390" y="592456"/>
                  </a:moveTo>
                  <a:cubicBezTo>
                    <a:pt x="350519" y="592456"/>
                    <a:pt x="361314" y="615316"/>
                    <a:pt x="361314" y="639446"/>
                  </a:cubicBezTo>
                  <a:cubicBezTo>
                    <a:pt x="361314" y="662306"/>
                    <a:pt x="351790" y="686436"/>
                    <a:pt x="326390" y="686436"/>
                  </a:cubicBezTo>
                  <a:cubicBezTo>
                    <a:pt x="316230" y="686436"/>
                    <a:pt x="310515" y="682626"/>
                    <a:pt x="306070" y="678816"/>
                  </a:cubicBezTo>
                  <a:lnTo>
                    <a:pt x="306070" y="706121"/>
                  </a:lnTo>
                  <a:lnTo>
                    <a:pt x="283845" y="717551"/>
                  </a:lnTo>
                  <a:lnTo>
                    <a:pt x="283845" y="594361"/>
                  </a:lnTo>
                  <a:lnTo>
                    <a:pt x="306070" y="594361"/>
                  </a:lnTo>
                  <a:lnTo>
                    <a:pt x="306070" y="600711"/>
                  </a:lnTo>
                  <a:cubicBezTo>
                    <a:pt x="311784" y="595631"/>
                    <a:pt x="318135" y="592456"/>
                    <a:pt x="326390" y="592456"/>
                  </a:cubicBezTo>
                  <a:close/>
                  <a:moveTo>
                    <a:pt x="231775" y="592456"/>
                  </a:moveTo>
                  <a:cubicBezTo>
                    <a:pt x="254635" y="592456"/>
                    <a:pt x="268605" y="603251"/>
                    <a:pt x="268605" y="624206"/>
                  </a:cubicBezTo>
                  <a:lnTo>
                    <a:pt x="268605" y="684531"/>
                  </a:lnTo>
                  <a:lnTo>
                    <a:pt x="267970" y="684531"/>
                  </a:lnTo>
                  <a:lnTo>
                    <a:pt x="245745" y="684531"/>
                  </a:lnTo>
                  <a:lnTo>
                    <a:pt x="245745" y="678181"/>
                  </a:lnTo>
                  <a:cubicBezTo>
                    <a:pt x="240665" y="683261"/>
                    <a:pt x="233680" y="686436"/>
                    <a:pt x="224790" y="686436"/>
                  </a:cubicBezTo>
                  <a:cubicBezTo>
                    <a:pt x="207010" y="686436"/>
                    <a:pt x="193040" y="675006"/>
                    <a:pt x="193040" y="655321"/>
                  </a:cubicBezTo>
                  <a:cubicBezTo>
                    <a:pt x="193040" y="635636"/>
                    <a:pt x="206375" y="624841"/>
                    <a:pt x="227965" y="624841"/>
                  </a:cubicBezTo>
                  <a:cubicBezTo>
                    <a:pt x="233680" y="624841"/>
                    <a:pt x="239394" y="625476"/>
                    <a:pt x="245745" y="628651"/>
                  </a:cubicBezTo>
                  <a:lnTo>
                    <a:pt x="245745" y="623571"/>
                  </a:lnTo>
                  <a:cubicBezTo>
                    <a:pt x="245745" y="615316"/>
                    <a:pt x="240030" y="611506"/>
                    <a:pt x="230504" y="611506"/>
                  </a:cubicBezTo>
                  <a:cubicBezTo>
                    <a:pt x="223519" y="611506"/>
                    <a:pt x="216534" y="613411"/>
                    <a:pt x="209549" y="617221"/>
                  </a:cubicBezTo>
                  <a:lnTo>
                    <a:pt x="200659" y="601346"/>
                  </a:lnTo>
                  <a:cubicBezTo>
                    <a:pt x="210185" y="594996"/>
                    <a:pt x="219709" y="592456"/>
                    <a:pt x="231775" y="592456"/>
                  </a:cubicBezTo>
                  <a:close/>
                  <a:moveTo>
                    <a:pt x="1125855" y="591821"/>
                  </a:moveTo>
                  <a:cubicBezTo>
                    <a:pt x="1132204" y="591821"/>
                    <a:pt x="1137920" y="593726"/>
                    <a:pt x="1142364" y="598171"/>
                  </a:cubicBezTo>
                  <a:lnTo>
                    <a:pt x="1141730" y="598806"/>
                  </a:lnTo>
                  <a:lnTo>
                    <a:pt x="1132840" y="621031"/>
                  </a:lnTo>
                  <a:cubicBezTo>
                    <a:pt x="1129665" y="617856"/>
                    <a:pt x="1125220" y="615316"/>
                    <a:pt x="1120140" y="615316"/>
                  </a:cubicBezTo>
                  <a:cubicBezTo>
                    <a:pt x="1109345" y="615316"/>
                    <a:pt x="1106805" y="624206"/>
                    <a:pt x="1106805" y="635001"/>
                  </a:cubicBezTo>
                  <a:lnTo>
                    <a:pt x="1106805" y="683896"/>
                  </a:lnTo>
                  <a:lnTo>
                    <a:pt x="1084579" y="683896"/>
                  </a:lnTo>
                  <a:lnTo>
                    <a:pt x="1084579" y="593726"/>
                  </a:lnTo>
                  <a:lnTo>
                    <a:pt x="1106805" y="593726"/>
                  </a:lnTo>
                  <a:lnTo>
                    <a:pt x="1106805" y="600076"/>
                  </a:lnTo>
                  <a:cubicBezTo>
                    <a:pt x="1111885" y="594996"/>
                    <a:pt x="1118235" y="591821"/>
                    <a:pt x="1125855" y="591821"/>
                  </a:cubicBezTo>
                  <a:close/>
                  <a:moveTo>
                    <a:pt x="47625" y="563881"/>
                  </a:moveTo>
                  <a:cubicBezTo>
                    <a:pt x="66040" y="563881"/>
                    <a:pt x="79375" y="571501"/>
                    <a:pt x="90170" y="582296"/>
                  </a:cubicBezTo>
                  <a:lnTo>
                    <a:pt x="73659" y="598806"/>
                  </a:lnTo>
                  <a:cubicBezTo>
                    <a:pt x="66040" y="591186"/>
                    <a:pt x="58420" y="586741"/>
                    <a:pt x="46355" y="586741"/>
                  </a:cubicBezTo>
                  <a:cubicBezTo>
                    <a:pt x="36194" y="586741"/>
                    <a:pt x="28575" y="589916"/>
                    <a:pt x="28575" y="598171"/>
                  </a:cubicBezTo>
                  <a:cubicBezTo>
                    <a:pt x="28575" y="601981"/>
                    <a:pt x="29845" y="604521"/>
                    <a:pt x="33655" y="606426"/>
                  </a:cubicBezTo>
                  <a:cubicBezTo>
                    <a:pt x="38099" y="608966"/>
                    <a:pt x="43814" y="610236"/>
                    <a:pt x="52704" y="612776"/>
                  </a:cubicBezTo>
                  <a:cubicBezTo>
                    <a:pt x="63500" y="615951"/>
                    <a:pt x="73659" y="617856"/>
                    <a:pt x="81915" y="624841"/>
                  </a:cubicBezTo>
                  <a:lnTo>
                    <a:pt x="92427" y="648959"/>
                  </a:lnTo>
                  <a:lnTo>
                    <a:pt x="79454" y="677626"/>
                  </a:lnTo>
                  <a:cubicBezTo>
                    <a:pt x="71279" y="683738"/>
                    <a:pt x="60008" y="686436"/>
                    <a:pt x="47625" y="686436"/>
                  </a:cubicBezTo>
                  <a:cubicBezTo>
                    <a:pt x="29845" y="686436"/>
                    <a:pt x="10795" y="680721"/>
                    <a:pt x="0" y="664846"/>
                  </a:cubicBezTo>
                  <a:lnTo>
                    <a:pt x="16510" y="650241"/>
                  </a:lnTo>
                  <a:cubicBezTo>
                    <a:pt x="24129" y="659766"/>
                    <a:pt x="35560" y="664211"/>
                    <a:pt x="46989" y="664211"/>
                  </a:cubicBezTo>
                  <a:cubicBezTo>
                    <a:pt x="60325" y="664211"/>
                    <a:pt x="68579" y="657861"/>
                    <a:pt x="68579" y="649606"/>
                  </a:cubicBezTo>
                  <a:cubicBezTo>
                    <a:pt x="68579" y="646431"/>
                    <a:pt x="67310" y="642621"/>
                    <a:pt x="61595" y="640081"/>
                  </a:cubicBezTo>
                  <a:cubicBezTo>
                    <a:pt x="57150" y="638176"/>
                    <a:pt x="52069" y="636906"/>
                    <a:pt x="41909" y="634366"/>
                  </a:cubicBezTo>
                  <a:cubicBezTo>
                    <a:pt x="35560" y="633096"/>
                    <a:pt x="22860" y="629921"/>
                    <a:pt x="14605" y="623571"/>
                  </a:cubicBezTo>
                  <a:cubicBezTo>
                    <a:pt x="6349" y="617221"/>
                    <a:pt x="4444" y="607696"/>
                    <a:pt x="4444" y="599441"/>
                  </a:cubicBezTo>
                  <a:cubicBezTo>
                    <a:pt x="4444" y="574041"/>
                    <a:pt x="26034" y="563881"/>
                    <a:pt x="47625" y="563881"/>
                  </a:cubicBezTo>
                  <a:close/>
                  <a:moveTo>
                    <a:pt x="814070" y="560071"/>
                  </a:moveTo>
                  <a:cubicBezTo>
                    <a:pt x="820420" y="560071"/>
                    <a:pt x="824864" y="561341"/>
                    <a:pt x="830579" y="562611"/>
                  </a:cubicBezTo>
                  <a:lnTo>
                    <a:pt x="829945" y="562611"/>
                  </a:lnTo>
                  <a:lnTo>
                    <a:pt x="829945" y="581026"/>
                  </a:lnTo>
                  <a:cubicBezTo>
                    <a:pt x="824864" y="579756"/>
                    <a:pt x="821055" y="579121"/>
                    <a:pt x="818515" y="579121"/>
                  </a:cubicBezTo>
                  <a:cubicBezTo>
                    <a:pt x="810260" y="579121"/>
                    <a:pt x="808989" y="582296"/>
                    <a:pt x="808989" y="586741"/>
                  </a:cubicBezTo>
                  <a:lnTo>
                    <a:pt x="808989" y="594361"/>
                  </a:lnTo>
                  <a:lnTo>
                    <a:pt x="824230" y="594361"/>
                  </a:lnTo>
                  <a:lnTo>
                    <a:pt x="824230" y="615951"/>
                  </a:lnTo>
                  <a:lnTo>
                    <a:pt x="808989" y="615951"/>
                  </a:lnTo>
                  <a:lnTo>
                    <a:pt x="808989" y="684531"/>
                  </a:lnTo>
                  <a:lnTo>
                    <a:pt x="786765" y="684531"/>
                  </a:lnTo>
                  <a:lnTo>
                    <a:pt x="786765" y="615951"/>
                  </a:lnTo>
                  <a:lnTo>
                    <a:pt x="775970" y="615951"/>
                  </a:lnTo>
                  <a:lnTo>
                    <a:pt x="775970" y="594361"/>
                  </a:lnTo>
                  <a:lnTo>
                    <a:pt x="786765" y="594361"/>
                  </a:lnTo>
                  <a:lnTo>
                    <a:pt x="786765" y="583566"/>
                  </a:lnTo>
                  <a:cubicBezTo>
                    <a:pt x="786765" y="567691"/>
                    <a:pt x="795019" y="560071"/>
                    <a:pt x="814070" y="560071"/>
                  </a:cubicBezTo>
                  <a:close/>
                  <a:moveTo>
                    <a:pt x="957579" y="559436"/>
                  </a:moveTo>
                  <a:lnTo>
                    <a:pt x="957579" y="594361"/>
                  </a:lnTo>
                  <a:lnTo>
                    <a:pt x="979170" y="594361"/>
                  </a:lnTo>
                  <a:lnTo>
                    <a:pt x="979170" y="615951"/>
                  </a:lnTo>
                  <a:lnTo>
                    <a:pt x="957579" y="615951"/>
                  </a:lnTo>
                  <a:lnTo>
                    <a:pt x="957579" y="654051"/>
                  </a:lnTo>
                  <a:cubicBezTo>
                    <a:pt x="957579" y="661671"/>
                    <a:pt x="960754" y="664846"/>
                    <a:pt x="966470" y="664846"/>
                  </a:cubicBezTo>
                  <a:cubicBezTo>
                    <a:pt x="972185" y="664846"/>
                    <a:pt x="977900" y="661671"/>
                    <a:pt x="981075" y="658496"/>
                  </a:cubicBezTo>
                  <a:lnTo>
                    <a:pt x="977900" y="681356"/>
                  </a:lnTo>
                  <a:cubicBezTo>
                    <a:pt x="973454" y="685166"/>
                    <a:pt x="965200" y="686436"/>
                    <a:pt x="959485" y="686436"/>
                  </a:cubicBezTo>
                  <a:cubicBezTo>
                    <a:pt x="945515" y="686436"/>
                    <a:pt x="935355" y="676276"/>
                    <a:pt x="935355" y="659766"/>
                  </a:cubicBezTo>
                  <a:lnTo>
                    <a:pt x="935355" y="615951"/>
                  </a:lnTo>
                  <a:lnTo>
                    <a:pt x="922655" y="615951"/>
                  </a:lnTo>
                  <a:lnTo>
                    <a:pt x="922655" y="594361"/>
                  </a:lnTo>
                  <a:lnTo>
                    <a:pt x="935355" y="594361"/>
                  </a:lnTo>
                  <a:lnTo>
                    <a:pt x="935355" y="570866"/>
                  </a:lnTo>
                  <a:close/>
                  <a:moveTo>
                    <a:pt x="586739" y="559436"/>
                  </a:moveTo>
                  <a:lnTo>
                    <a:pt x="586739" y="600711"/>
                  </a:lnTo>
                  <a:cubicBezTo>
                    <a:pt x="591820" y="595631"/>
                    <a:pt x="597534" y="592456"/>
                    <a:pt x="607695" y="592456"/>
                  </a:cubicBezTo>
                  <a:cubicBezTo>
                    <a:pt x="631825" y="592456"/>
                    <a:pt x="639445" y="610871"/>
                    <a:pt x="639445" y="633731"/>
                  </a:cubicBezTo>
                  <a:lnTo>
                    <a:pt x="639445" y="684531"/>
                  </a:lnTo>
                  <a:lnTo>
                    <a:pt x="617220" y="684531"/>
                  </a:lnTo>
                  <a:lnTo>
                    <a:pt x="617220" y="635636"/>
                  </a:lnTo>
                  <a:cubicBezTo>
                    <a:pt x="617220" y="623571"/>
                    <a:pt x="614680" y="614681"/>
                    <a:pt x="601980" y="614681"/>
                  </a:cubicBezTo>
                  <a:cubicBezTo>
                    <a:pt x="589280" y="614681"/>
                    <a:pt x="586739" y="622936"/>
                    <a:pt x="586739" y="635001"/>
                  </a:cubicBezTo>
                  <a:lnTo>
                    <a:pt x="586739" y="684531"/>
                  </a:lnTo>
                  <a:lnTo>
                    <a:pt x="564515" y="684531"/>
                  </a:lnTo>
                  <a:lnTo>
                    <a:pt x="564515" y="570866"/>
                  </a:lnTo>
                  <a:close/>
                  <a:moveTo>
                    <a:pt x="529590" y="559436"/>
                  </a:moveTo>
                  <a:lnTo>
                    <a:pt x="529590" y="594361"/>
                  </a:lnTo>
                  <a:lnTo>
                    <a:pt x="550545" y="594361"/>
                  </a:lnTo>
                  <a:lnTo>
                    <a:pt x="550545" y="615951"/>
                  </a:lnTo>
                  <a:lnTo>
                    <a:pt x="529590" y="615951"/>
                  </a:lnTo>
                  <a:lnTo>
                    <a:pt x="529590" y="654051"/>
                  </a:lnTo>
                  <a:cubicBezTo>
                    <a:pt x="529590" y="661671"/>
                    <a:pt x="532765" y="664846"/>
                    <a:pt x="538480" y="664846"/>
                  </a:cubicBezTo>
                  <a:cubicBezTo>
                    <a:pt x="544195" y="664846"/>
                    <a:pt x="549275" y="661671"/>
                    <a:pt x="553084" y="658496"/>
                  </a:cubicBezTo>
                  <a:lnTo>
                    <a:pt x="549909" y="681356"/>
                  </a:lnTo>
                  <a:cubicBezTo>
                    <a:pt x="545465" y="685166"/>
                    <a:pt x="537209" y="686436"/>
                    <a:pt x="531495" y="686436"/>
                  </a:cubicBezTo>
                  <a:cubicBezTo>
                    <a:pt x="517525" y="686436"/>
                    <a:pt x="507364" y="676276"/>
                    <a:pt x="507364" y="659766"/>
                  </a:cubicBezTo>
                  <a:lnTo>
                    <a:pt x="507364" y="615951"/>
                  </a:lnTo>
                  <a:lnTo>
                    <a:pt x="491489" y="615951"/>
                  </a:lnTo>
                  <a:lnTo>
                    <a:pt x="491489" y="594361"/>
                  </a:lnTo>
                  <a:lnTo>
                    <a:pt x="507364" y="594361"/>
                  </a:lnTo>
                  <a:lnTo>
                    <a:pt x="507364" y="570866"/>
                  </a:lnTo>
                  <a:close/>
                  <a:moveTo>
                    <a:pt x="128269" y="559436"/>
                  </a:moveTo>
                  <a:lnTo>
                    <a:pt x="128269" y="600711"/>
                  </a:lnTo>
                  <a:cubicBezTo>
                    <a:pt x="133349" y="595631"/>
                    <a:pt x="139064" y="592456"/>
                    <a:pt x="149224" y="592456"/>
                  </a:cubicBezTo>
                  <a:cubicBezTo>
                    <a:pt x="173355" y="592456"/>
                    <a:pt x="180974" y="610871"/>
                    <a:pt x="180974" y="633731"/>
                  </a:cubicBezTo>
                  <a:lnTo>
                    <a:pt x="180974" y="684531"/>
                  </a:lnTo>
                  <a:lnTo>
                    <a:pt x="158750" y="684531"/>
                  </a:lnTo>
                  <a:lnTo>
                    <a:pt x="158750" y="635636"/>
                  </a:lnTo>
                  <a:cubicBezTo>
                    <a:pt x="158750" y="623571"/>
                    <a:pt x="156209" y="614681"/>
                    <a:pt x="143510" y="614681"/>
                  </a:cubicBezTo>
                  <a:cubicBezTo>
                    <a:pt x="130810" y="614681"/>
                    <a:pt x="128269" y="622936"/>
                    <a:pt x="128269" y="635001"/>
                  </a:cubicBezTo>
                  <a:lnTo>
                    <a:pt x="128269" y="684531"/>
                  </a:lnTo>
                  <a:lnTo>
                    <a:pt x="106045" y="684531"/>
                  </a:lnTo>
                  <a:lnTo>
                    <a:pt x="106045" y="570866"/>
                  </a:lnTo>
                  <a:close/>
                  <a:moveTo>
                    <a:pt x="269875" y="635"/>
                  </a:moveTo>
                  <a:lnTo>
                    <a:pt x="501015" y="635"/>
                  </a:lnTo>
                  <a:lnTo>
                    <a:pt x="554989" y="94615"/>
                  </a:lnTo>
                  <a:lnTo>
                    <a:pt x="391795" y="94615"/>
                  </a:lnTo>
                  <a:lnTo>
                    <a:pt x="391795" y="161925"/>
                  </a:lnTo>
                  <a:lnTo>
                    <a:pt x="539114" y="161925"/>
                  </a:lnTo>
                  <a:lnTo>
                    <a:pt x="539114" y="247650"/>
                  </a:lnTo>
                  <a:lnTo>
                    <a:pt x="391795" y="247650"/>
                  </a:lnTo>
                  <a:lnTo>
                    <a:pt x="391795" y="314325"/>
                  </a:lnTo>
                  <a:lnTo>
                    <a:pt x="595629" y="314325"/>
                  </a:lnTo>
                  <a:lnTo>
                    <a:pt x="595629" y="408305"/>
                  </a:lnTo>
                  <a:lnTo>
                    <a:pt x="269875" y="408305"/>
                  </a:lnTo>
                  <a:close/>
                  <a:moveTo>
                    <a:pt x="539114" y="0"/>
                  </a:moveTo>
                  <a:lnTo>
                    <a:pt x="674370" y="0"/>
                  </a:lnTo>
                  <a:lnTo>
                    <a:pt x="743584" y="132715"/>
                  </a:lnTo>
                  <a:lnTo>
                    <a:pt x="812799" y="0"/>
                  </a:lnTo>
                  <a:lnTo>
                    <a:pt x="946150" y="0"/>
                  </a:lnTo>
                  <a:lnTo>
                    <a:pt x="803275" y="246380"/>
                  </a:lnTo>
                  <a:lnTo>
                    <a:pt x="803275" y="407670"/>
                  </a:lnTo>
                  <a:lnTo>
                    <a:pt x="681355" y="407670"/>
                  </a:lnTo>
                  <a:lnTo>
                    <a:pt x="681355" y="246380"/>
                  </a:lnTo>
                  <a:close/>
                </a:path>
              </a:pathLst>
            </a:custGeom>
            <a:solidFill>
              <a:srgbClr val="FFFFFF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195E5ED2-D1BB-AC6E-BF6A-D4BD239F1FE9}"/>
              </a:ext>
            </a:extLst>
          </p:cNvPr>
          <p:cNvGrpSpPr/>
          <p:nvPr userDrawn="1"/>
        </p:nvGrpSpPr>
        <p:grpSpPr>
          <a:xfrm>
            <a:off x="486029" y="6164633"/>
            <a:ext cx="4943508" cy="318770"/>
            <a:chOff x="485775" y="6164633"/>
            <a:chExt cx="4940935" cy="318770"/>
          </a:xfrm>
        </p:grpSpPr>
        <p:sp>
          <p:nvSpPr>
            <p:cNvPr id="24" name="Freeform 23">
              <a:extLst>
                <a:ext uri="{FF2B5EF4-FFF2-40B4-BE49-F238E27FC236}">
                  <a16:creationId xmlns:a16="http://schemas.microsoft.com/office/drawing/2014/main" id="{BDF3ED9A-57E4-25C5-BC4E-AC1C77798191}"/>
                </a:ext>
              </a:extLst>
            </p:cNvPr>
            <p:cNvSpPr/>
            <p:nvPr userDrawn="1"/>
          </p:nvSpPr>
          <p:spPr>
            <a:xfrm>
              <a:off x="485775" y="6164633"/>
              <a:ext cx="405765" cy="81280"/>
            </a:xfrm>
            <a:custGeom>
              <a:avLst/>
              <a:gdLst>
                <a:gd name="connsiteX0" fmla="*/ 324485 w 405765"/>
                <a:gd name="connsiteY0" fmla="*/ 0 h 81280"/>
                <a:gd name="connsiteX1" fmla="*/ 405765 w 405765"/>
                <a:gd name="connsiteY1" fmla="*/ 0 h 81280"/>
                <a:gd name="connsiteX2" fmla="*/ 405765 w 405765"/>
                <a:gd name="connsiteY2" fmla="*/ 81280 h 81280"/>
                <a:gd name="connsiteX3" fmla="*/ 324485 w 405765"/>
                <a:gd name="connsiteY3" fmla="*/ 81280 h 81280"/>
                <a:gd name="connsiteX4" fmla="*/ 161925 w 405765"/>
                <a:gd name="connsiteY4" fmla="*/ 0 h 81280"/>
                <a:gd name="connsiteX5" fmla="*/ 243205 w 405765"/>
                <a:gd name="connsiteY5" fmla="*/ 0 h 81280"/>
                <a:gd name="connsiteX6" fmla="*/ 243205 w 405765"/>
                <a:gd name="connsiteY6" fmla="*/ 81280 h 81280"/>
                <a:gd name="connsiteX7" fmla="*/ 161925 w 405765"/>
                <a:gd name="connsiteY7" fmla="*/ 81280 h 81280"/>
                <a:gd name="connsiteX8" fmla="*/ 0 w 405765"/>
                <a:gd name="connsiteY8" fmla="*/ 0 h 81280"/>
                <a:gd name="connsiteX9" fmla="*/ 81280 w 405765"/>
                <a:gd name="connsiteY9" fmla="*/ 0 h 81280"/>
                <a:gd name="connsiteX10" fmla="*/ 81280 w 405765"/>
                <a:gd name="connsiteY10" fmla="*/ 81280 h 81280"/>
                <a:gd name="connsiteX11" fmla="*/ 0 w 405765"/>
                <a:gd name="connsiteY11" fmla="*/ 81280 h 812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05765" h="81280">
                  <a:moveTo>
                    <a:pt x="324485" y="0"/>
                  </a:moveTo>
                  <a:lnTo>
                    <a:pt x="405765" y="0"/>
                  </a:lnTo>
                  <a:lnTo>
                    <a:pt x="405765" y="81280"/>
                  </a:lnTo>
                  <a:lnTo>
                    <a:pt x="324485" y="81280"/>
                  </a:lnTo>
                  <a:close/>
                  <a:moveTo>
                    <a:pt x="161925" y="0"/>
                  </a:moveTo>
                  <a:lnTo>
                    <a:pt x="243205" y="0"/>
                  </a:lnTo>
                  <a:lnTo>
                    <a:pt x="243205" y="81280"/>
                  </a:lnTo>
                  <a:lnTo>
                    <a:pt x="161925" y="81280"/>
                  </a:lnTo>
                  <a:close/>
                  <a:moveTo>
                    <a:pt x="0" y="0"/>
                  </a:moveTo>
                  <a:lnTo>
                    <a:pt x="81280" y="0"/>
                  </a:lnTo>
                  <a:lnTo>
                    <a:pt x="81280" y="81280"/>
                  </a:lnTo>
                  <a:lnTo>
                    <a:pt x="0" y="81280"/>
                  </a:lnTo>
                  <a:close/>
                </a:path>
              </a:pathLst>
            </a:custGeom>
            <a:solidFill>
              <a:srgbClr val="FFE600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25" name="Freeform 24">
              <a:extLst>
                <a:ext uri="{FF2B5EF4-FFF2-40B4-BE49-F238E27FC236}">
                  <a16:creationId xmlns:a16="http://schemas.microsoft.com/office/drawing/2014/main" id="{F8AD9B21-63CE-8D03-9802-DB2391C6BC13}"/>
                </a:ext>
              </a:extLst>
            </p:cNvPr>
            <p:cNvSpPr/>
            <p:nvPr userDrawn="1"/>
          </p:nvSpPr>
          <p:spPr bwMode="black">
            <a:xfrm>
              <a:off x="485779" y="6344974"/>
              <a:ext cx="4940931" cy="138429"/>
            </a:xfrm>
            <a:custGeom>
              <a:avLst/>
              <a:gdLst>
                <a:gd name="connsiteX0" fmla="*/ 1032512 w 4940931"/>
                <a:gd name="connsiteY0" fmla="*/ 137477 h 138429"/>
                <a:gd name="connsiteX1" fmla="*/ 1032512 w 4940931"/>
                <a:gd name="connsiteY1" fmla="*/ 137794 h 138429"/>
                <a:gd name="connsiteX2" fmla="*/ 1030607 w 4940931"/>
                <a:gd name="connsiteY2" fmla="*/ 138429 h 138429"/>
                <a:gd name="connsiteX3" fmla="*/ 4929501 w 4940931"/>
                <a:gd name="connsiteY3" fmla="*/ 87629 h 138429"/>
                <a:gd name="connsiteX4" fmla="*/ 4933946 w 4940931"/>
                <a:gd name="connsiteY4" fmla="*/ 88264 h 138429"/>
                <a:gd name="connsiteX5" fmla="*/ 4937756 w 4940931"/>
                <a:gd name="connsiteY5" fmla="*/ 90804 h 138429"/>
                <a:gd name="connsiteX6" fmla="*/ 4940296 w 4940931"/>
                <a:gd name="connsiteY6" fmla="*/ 94614 h 138429"/>
                <a:gd name="connsiteX7" fmla="*/ 4940931 w 4940931"/>
                <a:gd name="connsiteY7" fmla="*/ 99059 h 138429"/>
                <a:gd name="connsiteX8" fmla="*/ 4940296 w 4940931"/>
                <a:gd name="connsiteY8" fmla="*/ 103504 h 138429"/>
                <a:gd name="connsiteX9" fmla="*/ 4937756 w 4940931"/>
                <a:gd name="connsiteY9" fmla="*/ 107314 h 138429"/>
                <a:gd name="connsiteX10" fmla="*/ 4933946 w 4940931"/>
                <a:gd name="connsiteY10" fmla="*/ 109854 h 138429"/>
                <a:gd name="connsiteX11" fmla="*/ 4929501 w 4940931"/>
                <a:gd name="connsiteY11" fmla="*/ 110489 h 138429"/>
                <a:gd name="connsiteX12" fmla="*/ 4925056 w 4940931"/>
                <a:gd name="connsiteY12" fmla="*/ 109854 h 138429"/>
                <a:gd name="connsiteX13" fmla="*/ 4921246 w 4940931"/>
                <a:gd name="connsiteY13" fmla="*/ 107314 h 138429"/>
                <a:gd name="connsiteX14" fmla="*/ 4918706 w 4940931"/>
                <a:gd name="connsiteY14" fmla="*/ 103504 h 138429"/>
                <a:gd name="connsiteX15" fmla="*/ 4918071 w 4940931"/>
                <a:gd name="connsiteY15" fmla="*/ 99059 h 138429"/>
                <a:gd name="connsiteX16" fmla="*/ 4918706 w 4940931"/>
                <a:gd name="connsiteY16" fmla="*/ 94614 h 138429"/>
                <a:gd name="connsiteX17" fmla="*/ 4921246 w 4940931"/>
                <a:gd name="connsiteY17" fmla="*/ 90804 h 138429"/>
                <a:gd name="connsiteX18" fmla="*/ 4925056 w 4940931"/>
                <a:gd name="connsiteY18" fmla="*/ 88264 h 138429"/>
                <a:gd name="connsiteX19" fmla="*/ 4929501 w 4940931"/>
                <a:gd name="connsiteY19" fmla="*/ 87629 h 138429"/>
                <a:gd name="connsiteX20" fmla="*/ 3079110 w 4940931"/>
                <a:gd name="connsiteY20" fmla="*/ 87629 h 138429"/>
                <a:gd name="connsiteX21" fmla="*/ 3083555 w 4940931"/>
                <a:gd name="connsiteY21" fmla="*/ 88264 h 138429"/>
                <a:gd name="connsiteX22" fmla="*/ 3087365 w 4940931"/>
                <a:gd name="connsiteY22" fmla="*/ 90804 h 138429"/>
                <a:gd name="connsiteX23" fmla="*/ 3089905 w 4940931"/>
                <a:gd name="connsiteY23" fmla="*/ 94614 h 138429"/>
                <a:gd name="connsiteX24" fmla="*/ 3090540 w 4940931"/>
                <a:gd name="connsiteY24" fmla="*/ 99059 h 138429"/>
                <a:gd name="connsiteX25" fmla="*/ 3089905 w 4940931"/>
                <a:gd name="connsiteY25" fmla="*/ 103504 h 138429"/>
                <a:gd name="connsiteX26" fmla="*/ 3087365 w 4940931"/>
                <a:gd name="connsiteY26" fmla="*/ 107314 h 138429"/>
                <a:gd name="connsiteX27" fmla="*/ 3083555 w 4940931"/>
                <a:gd name="connsiteY27" fmla="*/ 109854 h 138429"/>
                <a:gd name="connsiteX28" fmla="*/ 3079110 w 4940931"/>
                <a:gd name="connsiteY28" fmla="*/ 110489 h 138429"/>
                <a:gd name="connsiteX29" fmla="*/ 3074665 w 4940931"/>
                <a:gd name="connsiteY29" fmla="*/ 109854 h 138429"/>
                <a:gd name="connsiteX30" fmla="*/ 3070855 w 4940931"/>
                <a:gd name="connsiteY30" fmla="*/ 107314 h 138429"/>
                <a:gd name="connsiteX31" fmla="*/ 3068315 w 4940931"/>
                <a:gd name="connsiteY31" fmla="*/ 103504 h 138429"/>
                <a:gd name="connsiteX32" fmla="*/ 3067680 w 4940931"/>
                <a:gd name="connsiteY32" fmla="*/ 99059 h 138429"/>
                <a:gd name="connsiteX33" fmla="*/ 3068315 w 4940931"/>
                <a:gd name="connsiteY33" fmla="*/ 94614 h 138429"/>
                <a:gd name="connsiteX34" fmla="*/ 3070855 w 4940931"/>
                <a:gd name="connsiteY34" fmla="*/ 90804 h 138429"/>
                <a:gd name="connsiteX35" fmla="*/ 3074665 w 4940931"/>
                <a:gd name="connsiteY35" fmla="*/ 88264 h 138429"/>
                <a:gd name="connsiteX36" fmla="*/ 3079110 w 4940931"/>
                <a:gd name="connsiteY36" fmla="*/ 87629 h 138429"/>
                <a:gd name="connsiteX37" fmla="*/ 1565275 w 4940931"/>
                <a:gd name="connsiteY37" fmla="*/ 87629 h 138429"/>
                <a:gd name="connsiteX38" fmla="*/ 1569720 w 4940931"/>
                <a:gd name="connsiteY38" fmla="*/ 88264 h 138429"/>
                <a:gd name="connsiteX39" fmla="*/ 1573529 w 4940931"/>
                <a:gd name="connsiteY39" fmla="*/ 90804 h 138429"/>
                <a:gd name="connsiteX40" fmla="*/ 1576069 w 4940931"/>
                <a:gd name="connsiteY40" fmla="*/ 94614 h 138429"/>
                <a:gd name="connsiteX41" fmla="*/ 1576705 w 4940931"/>
                <a:gd name="connsiteY41" fmla="*/ 99059 h 138429"/>
                <a:gd name="connsiteX42" fmla="*/ 1576069 w 4940931"/>
                <a:gd name="connsiteY42" fmla="*/ 103504 h 138429"/>
                <a:gd name="connsiteX43" fmla="*/ 1573529 w 4940931"/>
                <a:gd name="connsiteY43" fmla="*/ 107314 h 138429"/>
                <a:gd name="connsiteX44" fmla="*/ 1569720 w 4940931"/>
                <a:gd name="connsiteY44" fmla="*/ 109854 h 138429"/>
                <a:gd name="connsiteX45" fmla="*/ 1565275 w 4940931"/>
                <a:gd name="connsiteY45" fmla="*/ 110489 h 138429"/>
                <a:gd name="connsiteX46" fmla="*/ 1560830 w 4940931"/>
                <a:gd name="connsiteY46" fmla="*/ 109854 h 138429"/>
                <a:gd name="connsiteX47" fmla="*/ 1557020 w 4940931"/>
                <a:gd name="connsiteY47" fmla="*/ 107314 h 138429"/>
                <a:gd name="connsiteX48" fmla="*/ 1554479 w 4940931"/>
                <a:gd name="connsiteY48" fmla="*/ 103504 h 138429"/>
                <a:gd name="connsiteX49" fmla="*/ 1553844 w 4940931"/>
                <a:gd name="connsiteY49" fmla="*/ 99059 h 138429"/>
                <a:gd name="connsiteX50" fmla="*/ 1554479 w 4940931"/>
                <a:gd name="connsiteY50" fmla="*/ 94614 h 138429"/>
                <a:gd name="connsiteX51" fmla="*/ 1557020 w 4940931"/>
                <a:gd name="connsiteY51" fmla="*/ 90804 h 138429"/>
                <a:gd name="connsiteX52" fmla="*/ 1560830 w 4940931"/>
                <a:gd name="connsiteY52" fmla="*/ 88264 h 138429"/>
                <a:gd name="connsiteX53" fmla="*/ 1565275 w 4940931"/>
                <a:gd name="connsiteY53" fmla="*/ 87629 h 138429"/>
                <a:gd name="connsiteX54" fmla="*/ 2642230 w 4940931"/>
                <a:gd name="connsiteY54" fmla="*/ 73024 h 138429"/>
                <a:gd name="connsiteX55" fmla="*/ 2630800 w 4940931"/>
                <a:gd name="connsiteY55" fmla="*/ 76199 h 138429"/>
                <a:gd name="connsiteX56" fmla="*/ 2626355 w 4940931"/>
                <a:gd name="connsiteY56" fmla="*/ 84454 h 138429"/>
                <a:gd name="connsiteX57" fmla="*/ 2627625 w 4940931"/>
                <a:gd name="connsiteY57" fmla="*/ 90169 h 138429"/>
                <a:gd name="connsiteX58" fmla="*/ 2630800 w 4940931"/>
                <a:gd name="connsiteY58" fmla="*/ 93979 h 138429"/>
                <a:gd name="connsiteX59" fmla="*/ 2635245 w 4940931"/>
                <a:gd name="connsiteY59" fmla="*/ 96519 h 138429"/>
                <a:gd name="connsiteX60" fmla="*/ 2641595 w 4940931"/>
                <a:gd name="connsiteY60" fmla="*/ 97154 h 138429"/>
                <a:gd name="connsiteX61" fmla="*/ 2647310 w 4940931"/>
                <a:gd name="connsiteY61" fmla="*/ 96519 h 138429"/>
                <a:gd name="connsiteX62" fmla="*/ 2652390 w 4940931"/>
                <a:gd name="connsiteY62" fmla="*/ 93979 h 138429"/>
                <a:gd name="connsiteX63" fmla="*/ 2656835 w 4940931"/>
                <a:gd name="connsiteY63" fmla="*/ 90804 h 138429"/>
                <a:gd name="connsiteX64" fmla="*/ 2660010 w 4940931"/>
                <a:gd name="connsiteY64" fmla="*/ 86994 h 138429"/>
                <a:gd name="connsiteX65" fmla="*/ 2660010 w 4940931"/>
                <a:gd name="connsiteY65" fmla="*/ 75564 h 138429"/>
                <a:gd name="connsiteX66" fmla="*/ 2656200 w 4940931"/>
                <a:gd name="connsiteY66" fmla="*/ 74294 h 138429"/>
                <a:gd name="connsiteX67" fmla="*/ 2652390 w 4940931"/>
                <a:gd name="connsiteY67" fmla="*/ 73659 h 138429"/>
                <a:gd name="connsiteX68" fmla="*/ 2647945 w 4940931"/>
                <a:gd name="connsiteY68" fmla="*/ 73024 h 138429"/>
                <a:gd name="connsiteX69" fmla="*/ 2642230 w 4940931"/>
                <a:gd name="connsiteY69" fmla="*/ 73024 h 138429"/>
                <a:gd name="connsiteX70" fmla="*/ 4664706 w 4940931"/>
                <a:gd name="connsiteY70" fmla="*/ 43814 h 138429"/>
                <a:gd name="connsiteX71" fmla="*/ 4657086 w 4940931"/>
                <a:gd name="connsiteY71" fmla="*/ 45719 h 138429"/>
                <a:gd name="connsiteX72" fmla="*/ 4651371 w 4940931"/>
                <a:gd name="connsiteY72" fmla="*/ 50799 h 138429"/>
                <a:gd name="connsiteX73" fmla="*/ 4647561 w 4940931"/>
                <a:gd name="connsiteY73" fmla="*/ 59054 h 138429"/>
                <a:gd name="connsiteX74" fmla="*/ 4646291 w 4940931"/>
                <a:gd name="connsiteY74" fmla="*/ 69849 h 138429"/>
                <a:gd name="connsiteX75" fmla="*/ 4647561 w 4940931"/>
                <a:gd name="connsiteY75" fmla="*/ 81279 h 138429"/>
                <a:gd name="connsiteX76" fmla="*/ 4651371 w 4940931"/>
                <a:gd name="connsiteY76" fmla="*/ 89534 h 138429"/>
                <a:gd name="connsiteX77" fmla="*/ 4657721 w 4940931"/>
                <a:gd name="connsiteY77" fmla="*/ 94614 h 138429"/>
                <a:gd name="connsiteX78" fmla="*/ 4665341 w 4940931"/>
                <a:gd name="connsiteY78" fmla="*/ 96519 h 138429"/>
                <a:gd name="connsiteX79" fmla="*/ 4672961 w 4940931"/>
                <a:gd name="connsiteY79" fmla="*/ 94614 h 138429"/>
                <a:gd name="connsiteX80" fmla="*/ 4678676 w 4940931"/>
                <a:gd name="connsiteY80" fmla="*/ 88899 h 138429"/>
                <a:gd name="connsiteX81" fmla="*/ 4682486 w 4940931"/>
                <a:gd name="connsiteY81" fmla="*/ 80644 h 138429"/>
                <a:gd name="connsiteX82" fmla="*/ 4683756 w 4940931"/>
                <a:gd name="connsiteY82" fmla="*/ 70484 h 138429"/>
                <a:gd name="connsiteX83" fmla="*/ 4684391 w 4940931"/>
                <a:gd name="connsiteY83" fmla="*/ 69849 h 138429"/>
                <a:gd name="connsiteX84" fmla="*/ 4683121 w 4940931"/>
                <a:gd name="connsiteY84" fmla="*/ 59054 h 138429"/>
                <a:gd name="connsiteX85" fmla="*/ 4679311 w 4940931"/>
                <a:gd name="connsiteY85" fmla="*/ 50799 h 138429"/>
                <a:gd name="connsiteX86" fmla="*/ 4672961 w 4940931"/>
                <a:gd name="connsiteY86" fmla="*/ 45719 h 138429"/>
                <a:gd name="connsiteX87" fmla="*/ 4664706 w 4940931"/>
                <a:gd name="connsiteY87" fmla="*/ 43814 h 138429"/>
                <a:gd name="connsiteX88" fmla="*/ 4264020 w 4940931"/>
                <a:gd name="connsiteY88" fmla="*/ 43814 h 138429"/>
                <a:gd name="connsiteX89" fmla="*/ 4256400 w 4940931"/>
                <a:gd name="connsiteY89" fmla="*/ 45719 h 138429"/>
                <a:gd name="connsiteX90" fmla="*/ 4250685 w 4940931"/>
                <a:gd name="connsiteY90" fmla="*/ 50799 h 138429"/>
                <a:gd name="connsiteX91" fmla="*/ 4246875 w 4940931"/>
                <a:gd name="connsiteY91" fmla="*/ 59054 h 138429"/>
                <a:gd name="connsiteX92" fmla="*/ 4245605 w 4940931"/>
                <a:gd name="connsiteY92" fmla="*/ 69849 h 138429"/>
                <a:gd name="connsiteX93" fmla="*/ 4246875 w 4940931"/>
                <a:gd name="connsiteY93" fmla="*/ 81279 h 138429"/>
                <a:gd name="connsiteX94" fmla="*/ 4250685 w 4940931"/>
                <a:gd name="connsiteY94" fmla="*/ 89534 h 138429"/>
                <a:gd name="connsiteX95" fmla="*/ 4257035 w 4940931"/>
                <a:gd name="connsiteY95" fmla="*/ 94614 h 138429"/>
                <a:gd name="connsiteX96" fmla="*/ 4264655 w 4940931"/>
                <a:gd name="connsiteY96" fmla="*/ 96519 h 138429"/>
                <a:gd name="connsiteX97" fmla="*/ 4272275 w 4940931"/>
                <a:gd name="connsiteY97" fmla="*/ 94614 h 138429"/>
                <a:gd name="connsiteX98" fmla="*/ 4277990 w 4940931"/>
                <a:gd name="connsiteY98" fmla="*/ 88899 h 138429"/>
                <a:gd name="connsiteX99" fmla="*/ 4281800 w 4940931"/>
                <a:gd name="connsiteY99" fmla="*/ 80644 h 138429"/>
                <a:gd name="connsiteX100" fmla="*/ 4283070 w 4940931"/>
                <a:gd name="connsiteY100" fmla="*/ 70484 h 138429"/>
                <a:gd name="connsiteX101" fmla="*/ 4283705 w 4940931"/>
                <a:gd name="connsiteY101" fmla="*/ 69849 h 138429"/>
                <a:gd name="connsiteX102" fmla="*/ 4282435 w 4940931"/>
                <a:gd name="connsiteY102" fmla="*/ 59054 h 138429"/>
                <a:gd name="connsiteX103" fmla="*/ 4278625 w 4940931"/>
                <a:gd name="connsiteY103" fmla="*/ 50799 h 138429"/>
                <a:gd name="connsiteX104" fmla="*/ 4272275 w 4940931"/>
                <a:gd name="connsiteY104" fmla="*/ 45719 h 138429"/>
                <a:gd name="connsiteX105" fmla="*/ 4264020 w 4940931"/>
                <a:gd name="connsiteY105" fmla="*/ 43814 h 138429"/>
                <a:gd name="connsiteX106" fmla="*/ 1420495 w 4940931"/>
                <a:gd name="connsiteY106" fmla="*/ 43814 h 138429"/>
                <a:gd name="connsiteX107" fmla="*/ 1412875 w 4940931"/>
                <a:gd name="connsiteY107" fmla="*/ 45719 h 138429"/>
                <a:gd name="connsiteX108" fmla="*/ 1407160 w 4940931"/>
                <a:gd name="connsiteY108" fmla="*/ 50799 h 138429"/>
                <a:gd name="connsiteX109" fmla="*/ 1403350 w 4940931"/>
                <a:gd name="connsiteY109" fmla="*/ 59054 h 138429"/>
                <a:gd name="connsiteX110" fmla="*/ 1402080 w 4940931"/>
                <a:gd name="connsiteY110" fmla="*/ 69849 h 138429"/>
                <a:gd name="connsiteX111" fmla="*/ 1403350 w 4940931"/>
                <a:gd name="connsiteY111" fmla="*/ 81279 h 138429"/>
                <a:gd name="connsiteX112" fmla="*/ 1407160 w 4940931"/>
                <a:gd name="connsiteY112" fmla="*/ 89534 h 138429"/>
                <a:gd name="connsiteX113" fmla="*/ 1413510 w 4940931"/>
                <a:gd name="connsiteY113" fmla="*/ 94614 h 138429"/>
                <a:gd name="connsiteX114" fmla="*/ 1421130 w 4940931"/>
                <a:gd name="connsiteY114" fmla="*/ 96519 h 138429"/>
                <a:gd name="connsiteX115" fmla="*/ 1428750 w 4940931"/>
                <a:gd name="connsiteY115" fmla="*/ 94614 h 138429"/>
                <a:gd name="connsiteX116" fmla="*/ 1434465 w 4940931"/>
                <a:gd name="connsiteY116" fmla="*/ 88899 h 138429"/>
                <a:gd name="connsiteX117" fmla="*/ 1438275 w 4940931"/>
                <a:gd name="connsiteY117" fmla="*/ 80644 h 138429"/>
                <a:gd name="connsiteX118" fmla="*/ 1439545 w 4940931"/>
                <a:gd name="connsiteY118" fmla="*/ 70484 h 138429"/>
                <a:gd name="connsiteX119" fmla="*/ 1440180 w 4940931"/>
                <a:gd name="connsiteY119" fmla="*/ 69849 h 138429"/>
                <a:gd name="connsiteX120" fmla="*/ 1438910 w 4940931"/>
                <a:gd name="connsiteY120" fmla="*/ 59054 h 138429"/>
                <a:gd name="connsiteX121" fmla="*/ 1435100 w 4940931"/>
                <a:gd name="connsiteY121" fmla="*/ 50799 h 138429"/>
                <a:gd name="connsiteX122" fmla="*/ 1428750 w 4940931"/>
                <a:gd name="connsiteY122" fmla="*/ 45719 h 138429"/>
                <a:gd name="connsiteX123" fmla="*/ 1420495 w 4940931"/>
                <a:gd name="connsiteY123" fmla="*/ 43814 h 138429"/>
                <a:gd name="connsiteX124" fmla="*/ 4041770 w 4940931"/>
                <a:gd name="connsiteY124" fmla="*/ 43180 h 138429"/>
                <a:gd name="connsiteX125" fmla="*/ 4034785 w 4940931"/>
                <a:gd name="connsiteY125" fmla="*/ 44450 h 138429"/>
                <a:gd name="connsiteX126" fmla="*/ 4029705 w 4940931"/>
                <a:gd name="connsiteY126" fmla="*/ 48260 h 138429"/>
                <a:gd name="connsiteX127" fmla="*/ 4025895 w 4940931"/>
                <a:gd name="connsiteY127" fmla="*/ 54610 h 138429"/>
                <a:gd name="connsiteX128" fmla="*/ 4023990 w 4940931"/>
                <a:gd name="connsiteY128" fmla="*/ 62865 h 138429"/>
                <a:gd name="connsiteX129" fmla="*/ 4060185 w 4940931"/>
                <a:gd name="connsiteY129" fmla="*/ 62865 h 138429"/>
                <a:gd name="connsiteX130" fmla="*/ 4058915 w 4940931"/>
                <a:gd name="connsiteY130" fmla="*/ 55245 h 138429"/>
                <a:gd name="connsiteX131" fmla="*/ 4055740 w 4940931"/>
                <a:gd name="connsiteY131" fmla="*/ 48895 h 138429"/>
                <a:gd name="connsiteX132" fmla="*/ 4050025 w 4940931"/>
                <a:gd name="connsiteY132" fmla="*/ 44450 h 138429"/>
                <a:gd name="connsiteX133" fmla="*/ 4041770 w 4940931"/>
                <a:gd name="connsiteY133" fmla="*/ 43180 h 138429"/>
                <a:gd name="connsiteX134" fmla="*/ 3728081 w 4940931"/>
                <a:gd name="connsiteY134" fmla="*/ 43180 h 138429"/>
                <a:gd name="connsiteX135" fmla="*/ 3721096 w 4940931"/>
                <a:gd name="connsiteY135" fmla="*/ 44450 h 138429"/>
                <a:gd name="connsiteX136" fmla="*/ 3716016 w 4940931"/>
                <a:gd name="connsiteY136" fmla="*/ 48260 h 138429"/>
                <a:gd name="connsiteX137" fmla="*/ 3712206 w 4940931"/>
                <a:gd name="connsiteY137" fmla="*/ 54610 h 138429"/>
                <a:gd name="connsiteX138" fmla="*/ 3710301 w 4940931"/>
                <a:gd name="connsiteY138" fmla="*/ 62865 h 138429"/>
                <a:gd name="connsiteX139" fmla="*/ 3746496 w 4940931"/>
                <a:gd name="connsiteY139" fmla="*/ 62865 h 138429"/>
                <a:gd name="connsiteX140" fmla="*/ 3745226 w 4940931"/>
                <a:gd name="connsiteY140" fmla="*/ 55245 h 138429"/>
                <a:gd name="connsiteX141" fmla="*/ 3742051 w 4940931"/>
                <a:gd name="connsiteY141" fmla="*/ 48895 h 138429"/>
                <a:gd name="connsiteX142" fmla="*/ 3736336 w 4940931"/>
                <a:gd name="connsiteY142" fmla="*/ 44450 h 138429"/>
                <a:gd name="connsiteX143" fmla="*/ 3728081 w 4940931"/>
                <a:gd name="connsiteY143" fmla="*/ 43180 h 138429"/>
                <a:gd name="connsiteX144" fmla="*/ 3541391 w 4940931"/>
                <a:gd name="connsiteY144" fmla="*/ 43180 h 138429"/>
                <a:gd name="connsiteX145" fmla="*/ 3534406 w 4940931"/>
                <a:gd name="connsiteY145" fmla="*/ 44450 h 138429"/>
                <a:gd name="connsiteX146" fmla="*/ 3529326 w 4940931"/>
                <a:gd name="connsiteY146" fmla="*/ 48260 h 138429"/>
                <a:gd name="connsiteX147" fmla="*/ 3525516 w 4940931"/>
                <a:gd name="connsiteY147" fmla="*/ 54610 h 138429"/>
                <a:gd name="connsiteX148" fmla="*/ 3523611 w 4940931"/>
                <a:gd name="connsiteY148" fmla="*/ 62865 h 138429"/>
                <a:gd name="connsiteX149" fmla="*/ 3559806 w 4940931"/>
                <a:gd name="connsiteY149" fmla="*/ 62865 h 138429"/>
                <a:gd name="connsiteX150" fmla="*/ 3558536 w 4940931"/>
                <a:gd name="connsiteY150" fmla="*/ 55245 h 138429"/>
                <a:gd name="connsiteX151" fmla="*/ 3555361 w 4940931"/>
                <a:gd name="connsiteY151" fmla="*/ 48895 h 138429"/>
                <a:gd name="connsiteX152" fmla="*/ 3549646 w 4940931"/>
                <a:gd name="connsiteY152" fmla="*/ 44450 h 138429"/>
                <a:gd name="connsiteX153" fmla="*/ 3541391 w 4940931"/>
                <a:gd name="connsiteY153" fmla="*/ 43180 h 138429"/>
                <a:gd name="connsiteX154" fmla="*/ 3463285 w 4940931"/>
                <a:gd name="connsiteY154" fmla="*/ 43180 h 138429"/>
                <a:gd name="connsiteX155" fmla="*/ 3458205 w 4940931"/>
                <a:gd name="connsiteY155" fmla="*/ 43815 h 138429"/>
                <a:gd name="connsiteX156" fmla="*/ 3453125 w 4940931"/>
                <a:gd name="connsiteY156" fmla="*/ 45720 h 138429"/>
                <a:gd name="connsiteX157" fmla="*/ 3448680 w 4940931"/>
                <a:gd name="connsiteY157" fmla="*/ 48895 h 138429"/>
                <a:gd name="connsiteX158" fmla="*/ 3445505 w 4940931"/>
                <a:gd name="connsiteY158" fmla="*/ 52705 h 138429"/>
                <a:gd name="connsiteX159" fmla="*/ 3445505 w 4940931"/>
                <a:gd name="connsiteY159" fmla="*/ 85725 h 138429"/>
                <a:gd name="connsiteX160" fmla="*/ 3448680 w 4940931"/>
                <a:gd name="connsiteY160" fmla="*/ 89535 h 138429"/>
                <a:gd name="connsiteX161" fmla="*/ 3453125 w 4940931"/>
                <a:gd name="connsiteY161" fmla="*/ 92710 h 138429"/>
                <a:gd name="connsiteX162" fmla="*/ 3458205 w 4940931"/>
                <a:gd name="connsiteY162" fmla="*/ 95250 h 138429"/>
                <a:gd name="connsiteX163" fmla="*/ 3463920 w 4940931"/>
                <a:gd name="connsiteY163" fmla="*/ 95885 h 138429"/>
                <a:gd name="connsiteX164" fmla="*/ 3476620 w 4940931"/>
                <a:gd name="connsiteY164" fmla="*/ 89535 h 138429"/>
                <a:gd name="connsiteX165" fmla="*/ 3481065 w 4940931"/>
                <a:gd name="connsiteY165" fmla="*/ 71120 h 138429"/>
                <a:gd name="connsiteX166" fmla="*/ 3480430 w 4940931"/>
                <a:gd name="connsiteY166" fmla="*/ 71755 h 138429"/>
                <a:gd name="connsiteX167" fmla="*/ 3475985 w 4940931"/>
                <a:gd name="connsiteY167" fmla="*/ 50165 h 138429"/>
                <a:gd name="connsiteX168" fmla="*/ 3463285 w 4940931"/>
                <a:gd name="connsiteY168" fmla="*/ 43180 h 138429"/>
                <a:gd name="connsiteX169" fmla="*/ 3343271 w 4940931"/>
                <a:gd name="connsiteY169" fmla="*/ 43180 h 138429"/>
                <a:gd name="connsiteX170" fmla="*/ 3336286 w 4940931"/>
                <a:gd name="connsiteY170" fmla="*/ 44450 h 138429"/>
                <a:gd name="connsiteX171" fmla="*/ 3331206 w 4940931"/>
                <a:gd name="connsiteY171" fmla="*/ 48260 h 138429"/>
                <a:gd name="connsiteX172" fmla="*/ 3327396 w 4940931"/>
                <a:gd name="connsiteY172" fmla="*/ 54610 h 138429"/>
                <a:gd name="connsiteX173" fmla="*/ 3325491 w 4940931"/>
                <a:gd name="connsiteY173" fmla="*/ 62865 h 138429"/>
                <a:gd name="connsiteX174" fmla="*/ 3361686 w 4940931"/>
                <a:gd name="connsiteY174" fmla="*/ 62865 h 138429"/>
                <a:gd name="connsiteX175" fmla="*/ 3360416 w 4940931"/>
                <a:gd name="connsiteY175" fmla="*/ 55245 h 138429"/>
                <a:gd name="connsiteX176" fmla="*/ 3357241 w 4940931"/>
                <a:gd name="connsiteY176" fmla="*/ 48895 h 138429"/>
                <a:gd name="connsiteX177" fmla="*/ 3351526 w 4940931"/>
                <a:gd name="connsiteY177" fmla="*/ 44450 h 138429"/>
                <a:gd name="connsiteX178" fmla="*/ 3343271 w 4940931"/>
                <a:gd name="connsiteY178" fmla="*/ 43180 h 138429"/>
                <a:gd name="connsiteX179" fmla="*/ 2976876 w 4940931"/>
                <a:gd name="connsiteY179" fmla="*/ 43180 h 138429"/>
                <a:gd name="connsiteX180" fmla="*/ 2969891 w 4940931"/>
                <a:gd name="connsiteY180" fmla="*/ 44450 h 138429"/>
                <a:gd name="connsiteX181" fmla="*/ 2964811 w 4940931"/>
                <a:gd name="connsiteY181" fmla="*/ 48260 h 138429"/>
                <a:gd name="connsiteX182" fmla="*/ 2961001 w 4940931"/>
                <a:gd name="connsiteY182" fmla="*/ 54610 h 138429"/>
                <a:gd name="connsiteX183" fmla="*/ 2959096 w 4940931"/>
                <a:gd name="connsiteY183" fmla="*/ 62865 h 138429"/>
                <a:gd name="connsiteX184" fmla="*/ 2995291 w 4940931"/>
                <a:gd name="connsiteY184" fmla="*/ 62865 h 138429"/>
                <a:gd name="connsiteX185" fmla="*/ 2994021 w 4940931"/>
                <a:gd name="connsiteY185" fmla="*/ 55245 h 138429"/>
                <a:gd name="connsiteX186" fmla="*/ 2990846 w 4940931"/>
                <a:gd name="connsiteY186" fmla="*/ 48895 h 138429"/>
                <a:gd name="connsiteX187" fmla="*/ 2985131 w 4940931"/>
                <a:gd name="connsiteY187" fmla="*/ 44450 h 138429"/>
                <a:gd name="connsiteX188" fmla="*/ 2976876 w 4940931"/>
                <a:gd name="connsiteY188" fmla="*/ 43180 h 138429"/>
                <a:gd name="connsiteX189" fmla="*/ 2527930 w 4940931"/>
                <a:gd name="connsiteY189" fmla="*/ 43180 h 138429"/>
                <a:gd name="connsiteX190" fmla="*/ 2520945 w 4940931"/>
                <a:gd name="connsiteY190" fmla="*/ 44450 h 138429"/>
                <a:gd name="connsiteX191" fmla="*/ 2515865 w 4940931"/>
                <a:gd name="connsiteY191" fmla="*/ 48260 h 138429"/>
                <a:gd name="connsiteX192" fmla="*/ 2512055 w 4940931"/>
                <a:gd name="connsiteY192" fmla="*/ 54610 h 138429"/>
                <a:gd name="connsiteX193" fmla="*/ 2510150 w 4940931"/>
                <a:gd name="connsiteY193" fmla="*/ 62865 h 138429"/>
                <a:gd name="connsiteX194" fmla="*/ 2546345 w 4940931"/>
                <a:gd name="connsiteY194" fmla="*/ 62865 h 138429"/>
                <a:gd name="connsiteX195" fmla="*/ 2545075 w 4940931"/>
                <a:gd name="connsiteY195" fmla="*/ 55245 h 138429"/>
                <a:gd name="connsiteX196" fmla="*/ 2541900 w 4940931"/>
                <a:gd name="connsiteY196" fmla="*/ 48895 h 138429"/>
                <a:gd name="connsiteX197" fmla="*/ 2536185 w 4940931"/>
                <a:gd name="connsiteY197" fmla="*/ 44450 h 138429"/>
                <a:gd name="connsiteX198" fmla="*/ 2527930 w 4940931"/>
                <a:gd name="connsiteY198" fmla="*/ 43180 h 138429"/>
                <a:gd name="connsiteX199" fmla="*/ 2214240 w 4940931"/>
                <a:gd name="connsiteY199" fmla="*/ 43180 h 138429"/>
                <a:gd name="connsiteX200" fmla="*/ 2207255 w 4940931"/>
                <a:gd name="connsiteY200" fmla="*/ 44450 h 138429"/>
                <a:gd name="connsiteX201" fmla="*/ 2202175 w 4940931"/>
                <a:gd name="connsiteY201" fmla="*/ 48260 h 138429"/>
                <a:gd name="connsiteX202" fmla="*/ 2198365 w 4940931"/>
                <a:gd name="connsiteY202" fmla="*/ 54610 h 138429"/>
                <a:gd name="connsiteX203" fmla="*/ 2196460 w 4940931"/>
                <a:gd name="connsiteY203" fmla="*/ 62865 h 138429"/>
                <a:gd name="connsiteX204" fmla="*/ 2232655 w 4940931"/>
                <a:gd name="connsiteY204" fmla="*/ 62865 h 138429"/>
                <a:gd name="connsiteX205" fmla="*/ 2231385 w 4940931"/>
                <a:gd name="connsiteY205" fmla="*/ 55245 h 138429"/>
                <a:gd name="connsiteX206" fmla="*/ 2228210 w 4940931"/>
                <a:gd name="connsiteY206" fmla="*/ 48895 h 138429"/>
                <a:gd name="connsiteX207" fmla="*/ 2222495 w 4940931"/>
                <a:gd name="connsiteY207" fmla="*/ 44450 h 138429"/>
                <a:gd name="connsiteX208" fmla="*/ 2214240 w 4940931"/>
                <a:gd name="connsiteY208" fmla="*/ 43180 h 138429"/>
                <a:gd name="connsiteX209" fmla="*/ 2027551 w 4940931"/>
                <a:gd name="connsiteY209" fmla="*/ 43180 h 138429"/>
                <a:gd name="connsiteX210" fmla="*/ 2020566 w 4940931"/>
                <a:gd name="connsiteY210" fmla="*/ 44450 h 138429"/>
                <a:gd name="connsiteX211" fmla="*/ 2015486 w 4940931"/>
                <a:gd name="connsiteY211" fmla="*/ 48260 h 138429"/>
                <a:gd name="connsiteX212" fmla="*/ 2011676 w 4940931"/>
                <a:gd name="connsiteY212" fmla="*/ 54610 h 138429"/>
                <a:gd name="connsiteX213" fmla="*/ 2009771 w 4940931"/>
                <a:gd name="connsiteY213" fmla="*/ 62865 h 138429"/>
                <a:gd name="connsiteX214" fmla="*/ 2045966 w 4940931"/>
                <a:gd name="connsiteY214" fmla="*/ 62865 h 138429"/>
                <a:gd name="connsiteX215" fmla="*/ 2044696 w 4940931"/>
                <a:gd name="connsiteY215" fmla="*/ 55245 h 138429"/>
                <a:gd name="connsiteX216" fmla="*/ 2041521 w 4940931"/>
                <a:gd name="connsiteY216" fmla="*/ 48895 h 138429"/>
                <a:gd name="connsiteX217" fmla="*/ 2035806 w 4940931"/>
                <a:gd name="connsiteY217" fmla="*/ 44450 h 138429"/>
                <a:gd name="connsiteX218" fmla="*/ 2027551 w 4940931"/>
                <a:gd name="connsiteY218" fmla="*/ 43180 h 138429"/>
                <a:gd name="connsiteX219" fmla="*/ 1949445 w 4940931"/>
                <a:gd name="connsiteY219" fmla="*/ 43180 h 138429"/>
                <a:gd name="connsiteX220" fmla="*/ 1944365 w 4940931"/>
                <a:gd name="connsiteY220" fmla="*/ 43815 h 138429"/>
                <a:gd name="connsiteX221" fmla="*/ 1939285 w 4940931"/>
                <a:gd name="connsiteY221" fmla="*/ 45720 h 138429"/>
                <a:gd name="connsiteX222" fmla="*/ 1934840 w 4940931"/>
                <a:gd name="connsiteY222" fmla="*/ 48895 h 138429"/>
                <a:gd name="connsiteX223" fmla="*/ 1931665 w 4940931"/>
                <a:gd name="connsiteY223" fmla="*/ 52705 h 138429"/>
                <a:gd name="connsiteX224" fmla="*/ 1931665 w 4940931"/>
                <a:gd name="connsiteY224" fmla="*/ 85725 h 138429"/>
                <a:gd name="connsiteX225" fmla="*/ 1934840 w 4940931"/>
                <a:gd name="connsiteY225" fmla="*/ 89535 h 138429"/>
                <a:gd name="connsiteX226" fmla="*/ 1939285 w 4940931"/>
                <a:gd name="connsiteY226" fmla="*/ 92710 h 138429"/>
                <a:gd name="connsiteX227" fmla="*/ 1944365 w 4940931"/>
                <a:gd name="connsiteY227" fmla="*/ 95250 h 138429"/>
                <a:gd name="connsiteX228" fmla="*/ 1950080 w 4940931"/>
                <a:gd name="connsiteY228" fmla="*/ 95885 h 138429"/>
                <a:gd name="connsiteX229" fmla="*/ 1962780 w 4940931"/>
                <a:gd name="connsiteY229" fmla="*/ 89535 h 138429"/>
                <a:gd name="connsiteX230" fmla="*/ 1967225 w 4940931"/>
                <a:gd name="connsiteY230" fmla="*/ 71120 h 138429"/>
                <a:gd name="connsiteX231" fmla="*/ 1966590 w 4940931"/>
                <a:gd name="connsiteY231" fmla="*/ 71755 h 138429"/>
                <a:gd name="connsiteX232" fmla="*/ 1962145 w 4940931"/>
                <a:gd name="connsiteY232" fmla="*/ 50165 h 138429"/>
                <a:gd name="connsiteX233" fmla="*/ 1949445 w 4940931"/>
                <a:gd name="connsiteY233" fmla="*/ 43180 h 138429"/>
                <a:gd name="connsiteX234" fmla="*/ 1829431 w 4940931"/>
                <a:gd name="connsiteY234" fmla="*/ 43180 h 138429"/>
                <a:gd name="connsiteX235" fmla="*/ 1822446 w 4940931"/>
                <a:gd name="connsiteY235" fmla="*/ 44450 h 138429"/>
                <a:gd name="connsiteX236" fmla="*/ 1817366 w 4940931"/>
                <a:gd name="connsiteY236" fmla="*/ 48260 h 138429"/>
                <a:gd name="connsiteX237" fmla="*/ 1813556 w 4940931"/>
                <a:gd name="connsiteY237" fmla="*/ 54610 h 138429"/>
                <a:gd name="connsiteX238" fmla="*/ 1811651 w 4940931"/>
                <a:gd name="connsiteY238" fmla="*/ 62865 h 138429"/>
                <a:gd name="connsiteX239" fmla="*/ 1847846 w 4940931"/>
                <a:gd name="connsiteY239" fmla="*/ 62865 h 138429"/>
                <a:gd name="connsiteX240" fmla="*/ 1846576 w 4940931"/>
                <a:gd name="connsiteY240" fmla="*/ 55245 h 138429"/>
                <a:gd name="connsiteX241" fmla="*/ 1843401 w 4940931"/>
                <a:gd name="connsiteY241" fmla="*/ 48895 h 138429"/>
                <a:gd name="connsiteX242" fmla="*/ 1837686 w 4940931"/>
                <a:gd name="connsiteY242" fmla="*/ 44450 h 138429"/>
                <a:gd name="connsiteX243" fmla="*/ 1829431 w 4940931"/>
                <a:gd name="connsiteY243" fmla="*/ 43180 h 138429"/>
                <a:gd name="connsiteX244" fmla="*/ 1178561 w 4940931"/>
                <a:gd name="connsiteY244" fmla="*/ 43180 h 138429"/>
                <a:gd name="connsiteX245" fmla="*/ 1171576 w 4940931"/>
                <a:gd name="connsiteY245" fmla="*/ 44450 h 138429"/>
                <a:gd name="connsiteX246" fmla="*/ 1166496 w 4940931"/>
                <a:gd name="connsiteY246" fmla="*/ 48260 h 138429"/>
                <a:gd name="connsiteX247" fmla="*/ 1162686 w 4940931"/>
                <a:gd name="connsiteY247" fmla="*/ 54610 h 138429"/>
                <a:gd name="connsiteX248" fmla="*/ 1160781 w 4940931"/>
                <a:gd name="connsiteY248" fmla="*/ 62865 h 138429"/>
                <a:gd name="connsiteX249" fmla="*/ 1196976 w 4940931"/>
                <a:gd name="connsiteY249" fmla="*/ 62865 h 138429"/>
                <a:gd name="connsiteX250" fmla="*/ 1195706 w 4940931"/>
                <a:gd name="connsiteY250" fmla="*/ 55245 h 138429"/>
                <a:gd name="connsiteX251" fmla="*/ 1192531 w 4940931"/>
                <a:gd name="connsiteY251" fmla="*/ 48895 h 138429"/>
                <a:gd name="connsiteX252" fmla="*/ 1186816 w 4940931"/>
                <a:gd name="connsiteY252" fmla="*/ 44450 h 138429"/>
                <a:gd name="connsiteX253" fmla="*/ 1178561 w 4940931"/>
                <a:gd name="connsiteY253" fmla="*/ 43180 h 138429"/>
                <a:gd name="connsiteX254" fmla="*/ 898525 w 4940931"/>
                <a:gd name="connsiteY254" fmla="*/ 43180 h 138429"/>
                <a:gd name="connsiteX255" fmla="*/ 891540 w 4940931"/>
                <a:gd name="connsiteY255" fmla="*/ 44450 h 138429"/>
                <a:gd name="connsiteX256" fmla="*/ 886460 w 4940931"/>
                <a:gd name="connsiteY256" fmla="*/ 48260 h 138429"/>
                <a:gd name="connsiteX257" fmla="*/ 882650 w 4940931"/>
                <a:gd name="connsiteY257" fmla="*/ 54610 h 138429"/>
                <a:gd name="connsiteX258" fmla="*/ 880745 w 4940931"/>
                <a:gd name="connsiteY258" fmla="*/ 62865 h 138429"/>
                <a:gd name="connsiteX259" fmla="*/ 916940 w 4940931"/>
                <a:gd name="connsiteY259" fmla="*/ 62865 h 138429"/>
                <a:gd name="connsiteX260" fmla="*/ 915670 w 4940931"/>
                <a:gd name="connsiteY260" fmla="*/ 55245 h 138429"/>
                <a:gd name="connsiteX261" fmla="*/ 912495 w 4940931"/>
                <a:gd name="connsiteY261" fmla="*/ 48895 h 138429"/>
                <a:gd name="connsiteX262" fmla="*/ 906780 w 4940931"/>
                <a:gd name="connsiteY262" fmla="*/ 44450 h 138429"/>
                <a:gd name="connsiteX263" fmla="*/ 898525 w 4940931"/>
                <a:gd name="connsiteY263" fmla="*/ 43180 h 138429"/>
                <a:gd name="connsiteX264" fmla="*/ 584834 w 4940931"/>
                <a:gd name="connsiteY264" fmla="*/ 43180 h 138429"/>
                <a:gd name="connsiteX265" fmla="*/ 577849 w 4940931"/>
                <a:gd name="connsiteY265" fmla="*/ 44450 h 138429"/>
                <a:gd name="connsiteX266" fmla="*/ 572769 w 4940931"/>
                <a:gd name="connsiteY266" fmla="*/ 48260 h 138429"/>
                <a:gd name="connsiteX267" fmla="*/ 568959 w 4940931"/>
                <a:gd name="connsiteY267" fmla="*/ 54610 h 138429"/>
                <a:gd name="connsiteX268" fmla="*/ 567054 w 4940931"/>
                <a:gd name="connsiteY268" fmla="*/ 62865 h 138429"/>
                <a:gd name="connsiteX269" fmla="*/ 603249 w 4940931"/>
                <a:gd name="connsiteY269" fmla="*/ 62865 h 138429"/>
                <a:gd name="connsiteX270" fmla="*/ 601979 w 4940931"/>
                <a:gd name="connsiteY270" fmla="*/ 55245 h 138429"/>
                <a:gd name="connsiteX271" fmla="*/ 598804 w 4940931"/>
                <a:gd name="connsiteY271" fmla="*/ 48895 h 138429"/>
                <a:gd name="connsiteX272" fmla="*/ 593089 w 4940931"/>
                <a:gd name="connsiteY272" fmla="*/ 44450 h 138429"/>
                <a:gd name="connsiteX273" fmla="*/ 584834 w 4940931"/>
                <a:gd name="connsiteY273" fmla="*/ 43180 h 138429"/>
                <a:gd name="connsiteX274" fmla="*/ 398145 w 4940931"/>
                <a:gd name="connsiteY274" fmla="*/ 43180 h 138429"/>
                <a:gd name="connsiteX275" fmla="*/ 391160 w 4940931"/>
                <a:gd name="connsiteY275" fmla="*/ 44450 h 138429"/>
                <a:gd name="connsiteX276" fmla="*/ 386080 w 4940931"/>
                <a:gd name="connsiteY276" fmla="*/ 48260 h 138429"/>
                <a:gd name="connsiteX277" fmla="*/ 382270 w 4940931"/>
                <a:gd name="connsiteY277" fmla="*/ 54610 h 138429"/>
                <a:gd name="connsiteX278" fmla="*/ 380365 w 4940931"/>
                <a:gd name="connsiteY278" fmla="*/ 62865 h 138429"/>
                <a:gd name="connsiteX279" fmla="*/ 416560 w 4940931"/>
                <a:gd name="connsiteY279" fmla="*/ 62865 h 138429"/>
                <a:gd name="connsiteX280" fmla="*/ 415290 w 4940931"/>
                <a:gd name="connsiteY280" fmla="*/ 55245 h 138429"/>
                <a:gd name="connsiteX281" fmla="*/ 412115 w 4940931"/>
                <a:gd name="connsiteY281" fmla="*/ 48895 h 138429"/>
                <a:gd name="connsiteX282" fmla="*/ 406400 w 4940931"/>
                <a:gd name="connsiteY282" fmla="*/ 44450 h 138429"/>
                <a:gd name="connsiteX283" fmla="*/ 398145 w 4940931"/>
                <a:gd name="connsiteY283" fmla="*/ 43180 h 138429"/>
                <a:gd name="connsiteX284" fmla="*/ 320039 w 4940931"/>
                <a:gd name="connsiteY284" fmla="*/ 43180 h 138429"/>
                <a:gd name="connsiteX285" fmla="*/ 314959 w 4940931"/>
                <a:gd name="connsiteY285" fmla="*/ 43815 h 138429"/>
                <a:gd name="connsiteX286" fmla="*/ 309879 w 4940931"/>
                <a:gd name="connsiteY286" fmla="*/ 45720 h 138429"/>
                <a:gd name="connsiteX287" fmla="*/ 305434 w 4940931"/>
                <a:gd name="connsiteY287" fmla="*/ 48895 h 138429"/>
                <a:gd name="connsiteX288" fmla="*/ 302259 w 4940931"/>
                <a:gd name="connsiteY288" fmla="*/ 52705 h 138429"/>
                <a:gd name="connsiteX289" fmla="*/ 302259 w 4940931"/>
                <a:gd name="connsiteY289" fmla="*/ 85725 h 138429"/>
                <a:gd name="connsiteX290" fmla="*/ 305434 w 4940931"/>
                <a:gd name="connsiteY290" fmla="*/ 89535 h 138429"/>
                <a:gd name="connsiteX291" fmla="*/ 309879 w 4940931"/>
                <a:gd name="connsiteY291" fmla="*/ 92710 h 138429"/>
                <a:gd name="connsiteX292" fmla="*/ 314959 w 4940931"/>
                <a:gd name="connsiteY292" fmla="*/ 95250 h 138429"/>
                <a:gd name="connsiteX293" fmla="*/ 320674 w 4940931"/>
                <a:gd name="connsiteY293" fmla="*/ 95885 h 138429"/>
                <a:gd name="connsiteX294" fmla="*/ 333374 w 4940931"/>
                <a:gd name="connsiteY294" fmla="*/ 89535 h 138429"/>
                <a:gd name="connsiteX295" fmla="*/ 337819 w 4940931"/>
                <a:gd name="connsiteY295" fmla="*/ 71120 h 138429"/>
                <a:gd name="connsiteX296" fmla="*/ 337184 w 4940931"/>
                <a:gd name="connsiteY296" fmla="*/ 71755 h 138429"/>
                <a:gd name="connsiteX297" fmla="*/ 332739 w 4940931"/>
                <a:gd name="connsiteY297" fmla="*/ 50165 h 138429"/>
                <a:gd name="connsiteX298" fmla="*/ 320039 w 4940931"/>
                <a:gd name="connsiteY298" fmla="*/ 43180 h 138429"/>
                <a:gd name="connsiteX299" fmla="*/ 200025 w 4940931"/>
                <a:gd name="connsiteY299" fmla="*/ 43180 h 138429"/>
                <a:gd name="connsiteX300" fmla="*/ 193040 w 4940931"/>
                <a:gd name="connsiteY300" fmla="*/ 44450 h 138429"/>
                <a:gd name="connsiteX301" fmla="*/ 187960 w 4940931"/>
                <a:gd name="connsiteY301" fmla="*/ 48260 h 138429"/>
                <a:gd name="connsiteX302" fmla="*/ 184150 w 4940931"/>
                <a:gd name="connsiteY302" fmla="*/ 54610 h 138429"/>
                <a:gd name="connsiteX303" fmla="*/ 182245 w 4940931"/>
                <a:gd name="connsiteY303" fmla="*/ 62865 h 138429"/>
                <a:gd name="connsiteX304" fmla="*/ 218440 w 4940931"/>
                <a:gd name="connsiteY304" fmla="*/ 62865 h 138429"/>
                <a:gd name="connsiteX305" fmla="*/ 217170 w 4940931"/>
                <a:gd name="connsiteY305" fmla="*/ 55245 h 138429"/>
                <a:gd name="connsiteX306" fmla="*/ 213995 w 4940931"/>
                <a:gd name="connsiteY306" fmla="*/ 48895 h 138429"/>
                <a:gd name="connsiteX307" fmla="*/ 208280 w 4940931"/>
                <a:gd name="connsiteY307" fmla="*/ 44450 h 138429"/>
                <a:gd name="connsiteX308" fmla="*/ 200025 w 4940931"/>
                <a:gd name="connsiteY308" fmla="*/ 43180 h 138429"/>
                <a:gd name="connsiteX309" fmla="*/ 4439281 w 4940931"/>
                <a:gd name="connsiteY309" fmla="*/ 43179 h 138429"/>
                <a:gd name="connsiteX310" fmla="*/ 4426581 w 4940931"/>
                <a:gd name="connsiteY310" fmla="*/ 49529 h 138429"/>
                <a:gd name="connsiteX311" fmla="*/ 4422136 w 4940931"/>
                <a:gd name="connsiteY311" fmla="*/ 67944 h 138429"/>
                <a:gd name="connsiteX312" fmla="*/ 4423406 w 4940931"/>
                <a:gd name="connsiteY312" fmla="*/ 80644 h 138429"/>
                <a:gd name="connsiteX313" fmla="*/ 4426581 w 4940931"/>
                <a:gd name="connsiteY313" fmla="*/ 89534 h 138429"/>
                <a:gd name="connsiteX314" fmla="*/ 4432296 w 4940931"/>
                <a:gd name="connsiteY314" fmla="*/ 94614 h 138429"/>
                <a:gd name="connsiteX315" fmla="*/ 4439916 w 4940931"/>
                <a:gd name="connsiteY315" fmla="*/ 96519 h 138429"/>
                <a:gd name="connsiteX316" fmla="*/ 4444996 w 4940931"/>
                <a:gd name="connsiteY316" fmla="*/ 95884 h 138429"/>
                <a:gd name="connsiteX317" fmla="*/ 4450076 w 4940931"/>
                <a:gd name="connsiteY317" fmla="*/ 93344 h 138429"/>
                <a:gd name="connsiteX318" fmla="*/ 4454521 w 4940931"/>
                <a:gd name="connsiteY318" fmla="*/ 90169 h 138429"/>
                <a:gd name="connsiteX319" fmla="*/ 4457696 w 4940931"/>
                <a:gd name="connsiteY319" fmla="*/ 86359 h 138429"/>
                <a:gd name="connsiteX320" fmla="*/ 4457696 w 4940931"/>
                <a:gd name="connsiteY320" fmla="*/ 53339 h 138429"/>
                <a:gd name="connsiteX321" fmla="*/ 4454521 w 4940931"/>
                <a:gd name="connsiteY321" fmla="*/ 49529 h 138429"/>
                <a:gd name="connsiteX322" fmla="*/ 4450076 w 4940931"/>
                <a:gd name="connsiteY322" fmla="*/ 46354 h 138429"/>
                <a:gd name="connsiteX323" fmla="*/ 4444996 w 4940931"/>
                <a:gd name="connsiteY323" fmla="*/ 43814 h 138429"/>
                <a:gd name="connsiteX324" fmla="*/ 4439281 w 4940931"/>
                <a:gd name="connsiteY324" fmla="*/ 43179 h 138429"/>
                <a:gd name="connsiteX325" fmla="*/ 1014731 w 4940931"/>
                <a:gd name="connsiteY325" fmla="*/ 43179 h 138429"/>
                <a:gd name="connsiteX326" fmla="*/ 1002032 w 4940931"/>
                <a:gd name="connsiteY326" fmla="*/ 49529 h 138429"/>
                <a:gd name="connsiteX327" fmla="*/ 997587 w 4940931"/>
                <a:gd name="connsiteY327" fmla="*/ 67944 h 138429"/>
                <a:gd name="connsiteX328" fmla="*/ 1002032 w 4940931"/>
                <a:gd name="connsiteY328" fmla="*/ 88899 h 138429"/>
                <a:gd name="connsiteX329" fmla="*/ 1015367 w 4940931"/>
                <a:gd name="connsiteY329" fmla="*/ 95884 h 138429"/>
                <a:gd name="connsiteX330" fmla="*/ 1024891 w 4940931"/>
                <a:gd name="connsiteY330" fmla="*/ 93344 h 138429"/>
                <a:gd name="connsiteX331" fmla="*/ 1033147 w 4940931"/>
                <a:gd name="connsiteY331" fmla="*/ 86359 h 138429"/>
                <a:gd name="connsiteX332" fmla="*/ 1033147 w 4940931"/>
                <a:gd name="connsiteY332" fmla="*/ 53339 h 138429"/>
                <a:gd name="connsiteX333" fmla="*/ 1029971 w 4940931"/>
                <a:gd name="connsiteY333" fmla="*/ 49529 h 138429"/>
                <a:gd name="connsiteX334" fmla="*/ 1025526 w 4940931"/>
                <a:gd name="connsiteY334" fmla="*/ 46354 h 138429"/>
                <a:gd name="connsiteX335" fmla="*/ 1020446 w 4940931"/>
                <a:gd name="connsiteY335" fmla="*/ 43814 h 138429"/>
                <a:gd name="connsiteX336" fmla="*/ 1014731 w 4940931"/>
                <a:gd name="connsiteY336" fmla="*/ 43179 h 138429"/>
                <a:gd name="connsiteX337" fmla="*/ 4524370 w 4940931"/>
                <a:gd name="connsiteY337" fmla="*/ 31114 h 138429"/>
                <a:gd name="connsiteX338" fmla="*/ 4538975 w 4940931"/>
                <a:gd name="connsiteY338" fmla="*/ 31114 h 138429"/>
                <a:gd name="connsiteX339" fmla="*/ 4552310 w 4940931"/>
                <a:gd name="connsiteY339" fmla="*/ 84454 h 138429"/>
                <a:gd name="connsiteX340" fmla="*/ 4566915 w 4940931"/>
                <a:gd name="connsiteY340" fmla="*/ 31114 h 138429"/>
                <a:gd name="connsiteX341" fmla="*/ 4579615 w 4940931"/>
                <a:gd name="connsiteY341" fmla="*/ 31114 h 138429"/>
                <a:gd name="connsiteX342" fmla="*/ 4594220 w 4940931"/>
                <a:gd name="connsiteY342" fmla="*/ 84454 h 138429"/>
                <a:gd name="connsiteX343" fmla="*/ 4606920 w 4940931"/>
                <a:gd name="connsiteY343" fmla="*/ 31114 h 138429"/>
                <a:gd name="connsiteX344" fmla="*/ 4622160 w 4940931"/>
                <a:gd name="connsiteY344" fmla="*/ 31114 h 138429"/>
                <a:gd name="connsiteX345" fmla="*/ 4600570 w 4940931"/>
                <a:gd name="connsiteY345" fmla="*/ 108584 h 138429"/>
                <a:gd name="connsiteX346" fmla="*/ 4587235 w 4940931"/>
                <a:gd name="connsiteY346" fmla="*/ 108584 h 138429"/>
                <a:gd name="connsiteX347" fmla="*/ 4572630 w 4940931"/>
                <a:gd name="connsiteY347" fmla="*/ 54609 h 138429"/>
                <a:gd name="connsiteX348" fmla="*/ 4558660 w 4940931"/>
                <a:gd name="connsiteY348" fmla="*/ 108584 h 138429"/>
                <a:gd name="connsiteX349" fmla="*/ 4545325 w 4940931"/>
                <a:gd name="connsiteY349" fmla="*/ 108584 h 138429"/>
                <a:gd name="connsiteX350" fmla="*/ 4123686 w 4940931"/>
                <a:gd name="connsiteY350" fmla="*/ 31114 h 138429"/>
                <a:gd name="connsiteX351" fmla="*/ 4138926 w 4940931"/>
                <a:gd name="connsiteY351" fmla="*/ 31114 h 138429"/>
                <a:gd name="connsiteX352" fmla="*/ 4152261 w 4940931"/>
                <a:gd name="connsiteY352" fmla="*/ 84454 h 138429"/>
                <a:gd name="connsiteX353" fmla="*/ 4166866 w 4940931"/>
                <a:gd name="connsiteY353" fmla="*/ 31114 h 138429"/>
                <a:gd name="connsiteX354" fmla="*/ 4178931 w 4940931"/>
                <a:gd name="connsiteY354" fmla="*/ 31114 h 138429"/>
                <a:gd name="connsiteX355" fmla="*/ 4193536 w 4940931"/>
                <a:gd name="connsiteY355" fmla="*/ 84454 h 138429"/>
                <a:gd name="connsiteX356" fmla="*/ 4206871 w 4940931"/>
                <a:gd name="connsiteY356" fmla="*/ 31114 h 138429"/>
                <a:gd name="connsiteX357" fmla="*/ 4222111 w 4940931"/>
                <a:gd name="connsiteY357" fmla="*/ 31114 h 138429"/>
                <a:gd name="connsiteX358" fmla="*/ 4200521 w 4940931"/>
                <a:gd name="connsiteY358" fmla="*/ 108584 h 138429"/>
                <a:gd name="connsiteX359" fmla="*/ 4187186 w 4940931"/>
                <a:gd name="connsiteY359" fmla="*/ 108584 h 138429"/>
                <a:gd name="connsiteX360" fmla="*/ 4172581 w 4940931"/>
                <a:gd name="connsiteY360" fmla="*/ 54609 h 138429"/>
                <a:gd name="connsiteX361" fmla="*/ 4157976 w 4940931"/>
                <a:gd name="connsiteY361" fmla="*/ 108584 h 138429"/>
                <a:gd name="connsiteX362" fmla="*/ 4145276 w 4940931"/>
                <a:gd name="connsiteY362" fmla="*/ 108584 h 138429"/>
                <a:gd name="connsiteX363" fmla="*/ 2837811 w 4940931"/>
                <a:gd name="connsiteY363" fmla="*/ 31114 h 138429"/>
                <a:gd name="connsiteX364" fmla="*/ 2852416 w 4940931"/>
                <a:gd name="connsiteY364" fmla="*/ 31114 h 138429"/>
                <a:gd name="connsiteX365" fmla="*/ 2865751 w 4940931"/>
                <a:gd name="connsiteY365" fmla="*/ 84454 h 138429"/>
                <a:gd name="connsiteX366" fmla="*/ 2880356 w 4940931"/>
                <a:gd name="connsiteY366" fmla="*/ 31114 h 138429"/>
                <a:gd name="connsiteX367" fmla="*/ 2893056 w 4940931"/>
                <a:gd name="connsiteY367" fmla="*/ 31114 h 138429"/>
                <a:gd name="connsiteX368" fmla="*/ 2907661 w 4940931"/>
                <a:gd name="connsiteY368" fmla="*/ 84454 h 138429"/>
                <a:gd name="connsiteX369" fmla="*/ 2920361 w 4940931"/>
                <a:gd name="connsiteY369" fmla="*/ 31114 h 138429"/>
                <a:gd name="connsiteX370" fmla="*/ 2935601 w 4940931"/>
                <a:gd name="connsiteY370" fmla="*/ 31114 h 138429"/>
                <a:gd name="connsiteX371" fmla="*/ 2914011 w 4940931"/>
                <a:gd name="connsiteY371" fmla="*/ 108584 h 138429"/>
                <a:gd name="connsiteX372" fmla="*/ 2900676 w 4940931"/>
                <a:gd name="connsiteY372" fmla="*/ 108584 h 138429"/>
                <a:gd name="connsiteX373" fmla="*/ 2886706 w 4940931"/>
                <a:gd name="connsiteY373" fmla="*/ 54609 h 138429"/>
                <a:gd name="connsiteX374" fmla="*/ 2872101 w 4940931"/>
                <a:gd name="connsiteY374" fmla="*/ 108584 h 138429"/>
                <a:gd name="connsiteX375" fmla="*/ 2858766 w 4940931"/>
                <a:gd name="connsiteY375" fmla="*/ 108584 h 138429"/>
                <a:gd name="connsiteX376" fmla="*/ 1354455 w 4940931"/>
                <a:gd name="connsiteY376" fmla="*/ 31114 h 138429"/>
                <a:gd name="connsiteX377" fmla="*/ 1369695 w 4940931"/>
                <a:gd name="connsiteY377" fmla="*/ 31114 h 138429"/>
                <a:gd name="connsiteX378" fmla="*/ 1369695 w 4940931"/>
                <a:gd name="connsiteY378" fmla="*/ 109219 h 138429"/>
                <a:gd name="connsiteX379" fmla="*/ 1354455 w 4940931"/>
                <a:gd name="connsiteY379" fmla="*/ 109219 h 138429"/>
                <a:gd name="connsiteX380" fmla="*/ 2646040 w 4940931"/>
                <a:gd name="connsiteY380" fmla="*/ 29844 h 138429"/>
                <a:gd name="connsiteX381" fmla="*/ 2658105 w 4940931"/>
                <a:gd name="connsiteY381" fmla="*/ 31749 h 138429"/>
                <a:gd name="connsiteX382" fmla="*/ 2667630 w 4940931"/>
                <a:gd name="connsiteY382" fmla="*/ 36829 h 138429"/>
                <a:gd name="connsiteX383" fmla="*/ 2673345 w 4940931"/>
                <a:gd name="connsiteY383" fmla="*/ 45084 h 138429"/>
                <a:gd name="connsiteX384" fmla="*/ 2675250 w 4940931"/>
                <a:gd name="connsiteY384" fmla="*/ 56514 h 138429"/>
                <a:gd name="connsiteX385" fmla="*/ 2675250 w 4940931"/>
                <a:gd name="connsiteY385" fmla="*/ 109854 h 138429"/>
                <a:gd name="connsiteX386" fmla="*/ 2660010 w 4940931"/>
                <a:gd name="connsiteY386" fmla="*/ 109854 h 138429"/>
                <a:gd name="connsiteX387" fmla="*/ 2660010 w 4940931"/>
                <a:gd name="connsiteY387" fmla="*/ 108584 h 138429"/>
                <a:gd name="connsiteX388" fmla="*/ 2660010 w 4940931"/>
                <a:gd name="connsiteY388" fmla="*/ 100964 h 138429"/>
                <a:gd name="connsiteX389" fmla="*/ 2654930 w 4940931"/>
                <a:gd name="connsiteY389" fmla="*/ 104774 h 138429"/>
                <a:gd name="connsiteX390" fmla="*/ 2651120 w 4940931"/>
                <a:gd name="connsiteY390" fmla="*/ 107314 h 138429"/>
                <a:gd name="connsiteX391" fmla="*/ 2646040 w 4940931"/>
                <a:gd name="connsiteY391" fmla="*/ 109219 h 138429"/>
                <a:gd name="connsiteX392" fmla="*/ 2639055 w 4940931"/>
                <a:gd name="connsiteY392" fmla="*/ 109854 h 138429"/>
                <a:gd name="connsiteX393" fmla="*/ 2629530 w 4940931"/>
                <a:gd name="connsiteY393" fmla="*/ 108584 h 138429"/>
                <a:gd name="connsiteX394" fmla="*/ 2620640 w 4940931"/>
                <a:gd name="connsiteY394" fmla="*/ 104139 h 138429"/>
                <a:gd name="connsiteX395" fmla="*/ 2614290 w 4940931"/>
                <a:gd name="connsiteY395" fmla="*/ 95884 h 138429"/>
                <a:gd name="connsiteX396" fmla="*/ 2611750 w 4940931"/>
                <a:gd name="connsiteY396" fmla="*/ 83819 h 138429"/>
                <a:gd name="connsiteX397" fmla="*/ 2614290 w 4940931"/>
                <a:gd name="connsiteY397" fmla="*/ 72389 h 138429"/>
                <a:gd name="connsiteX398" fmla="*/ 2620640 w 4940931"/>
                <a:gd name="connsiteY398" fmla="*/ 64769 h 138429"/>
                <a:gd name="connsiteX399" fmla="*/ 2630800 w 4940931"/>
                <a:gd name="connsiteY399" fmla="*/ 60324 h 138429"/>
                <a:gd name="connsiteX400" fmla="*/ 2642865 w 4940931"/>
                <a:gd name="connsiteY400" fmla="*/ 59054 h 138429"/>
                <a:gd name="connsiteX401" fmla="*/ 2653025 w 4940931"/>
                <a:gd name="connsiteY401" fmla="*/ 59689 h 138429"/>
                <a:gd name="connsiteX402" fmla="*/ 2660010 w 4940931"/>
                <a:gd name="connsiteY402" fmla="*/ 61594 h 138429"/>
                <a:gd name="connsiteX403" fmla="*/ 2660010 w 4940931"/>
                <a:gd name="connsiteY403" fmla="*/ 55879 h 138429"/>
                <a:gd name="connsiteX404" fmla="*/ 2656200 w 4940931"/>
                <a:gd name="connsiteY404" fmla="*/ 46354 h 138429"/>
                <a:gd name="connsiteX405" fmla="*/ 2645405 w 4940931"/>
                <a:gd name="connsiteY405" fmla="*/ 43179 h 138429"/>
                <a:gd name="connsiteX406" fmla="*/ 2634610 w 4940931"/>
                <a:gd name="connsiteY406" fmla="*/ 44449 h 138429"/>
                <a:gd name="connsiteX407" fmla="*/ 2625085 w 4940931"/>
                <a:gd name="connsiteY407" fmla="*/ 48259 h 138429"/>
                <a:gd name="connsiteX408" fmla="*/ 2619370 w 4940931"/>
                <a:gd name="connsiteY408" fmla="*/ 36829 h 138429"/>
                <a:gd name="connsiteX409" fmla="*/ 2631435 w 4940931"/>
                <a:gd name="connsiteY409" fmla="*/ 31749 h 138429"/>
                <a:gd name="connsiteX410" fmla="*/ 2646040 w 4940931"/>
                <a:gd name="connsiteY410" fmla="*/ 29844 h 138429"/>
                <a:gd name="connsiteX411" fmla="*/ 1114426 w 4940931"/>
                <a:gd name="connsiteY411" fmla="*/ 29844 h 138429"/>
                <a:gd name="connsiteX412" fmla="*/ 1129666 w 4940931"/>
                <a:gd name="connsiteY412" fmla="*/ 29844 h 138429"/>
                <a:gd name="connsiteX413" fmla="*/ 1129666 w 4940931"/>
                <a:gd name="connsiteY413" fmla="*/ 107949 h 138429"/>
                <a:gd name="connsiteX414" fmla="*/ 1114426 w 4940931"/>
                <a:gd name="connsiteY414" fmla="*/ 107949 h 138429"/>
                <a:gd name="connsiteX415" fmla="*/ 1114426 w 4940931"/>
                <a:gd name="connsiteY415" fmla="*/ 100964 h 138429"/>
                <a:gd name="connsiteX416" fmla="*/ 1106171 w 4940931"/>
                <a:gd name="connsiteY416" fmla="*/ 107314 h 138429"/>
                <a:gd name="connsiteX417" fmla="*/ 1094741 w 4940931"/>
                <a:gd name="connsiteY417" fmla="*/ 109854 h 138429"/>
                <a:gd name="connsiteX418" fmla="*/ 1073786 w 4940931"/>
                <a:gd name="connsiteY418" fmla="*/ 100964 h 138429"/>
                <a:gd name="connsiteX419" fmla="*/ 1066800 w 4940931"/>
                <a:gd name="connsiteY419" fmla="*/ 74929 h 138429"/>
                <a:gd name="connsiteX420" fmla="*/ 1066800 w 4940931"/>
                <a:gd name="connsiteY420" fmla="*/ 30479 h 138429"/>
                <a:gd name="connsiteX421" fmla="*/ 1082040 w 4940931"/>
                <a:gd name="connsiteY421" fmla="*/ 30479 h 138429"/>
                <a:gd name="connsiteX422" fmla="*/ 1082040 w 4940931"/>
                <a:gd name="connsiteY422" fmla="*/ 74294 h 138429"/>
                <a:gd name="connsiteX423" fmla="*/ 1085851 w 4940931"/>
                <a:gd name="connsiteY423" fmla="*/ 90169 h 138429"/>
                <a:gd name="connsiteX424" fmla="*/ 1097916 w 4940931"/>
                <a:gd name="connsiteY424" fmla="*/ 95249 h 138429"/>
                <a:gd name="connsiteX425" fmla="*/ 1109981 w 4940931"/>
                <a:gd name="connsiteY425" fmla="*/ 90169 h 138429"/>
                <a:gd name="connsiteX426" fmla="*/ 1114426 w 4940931"/>
                <a:gd name="connsiteY426" fmla="*/ 75564 h 138429"/>
                <a:gd name="connsiteX427" fmla="*/ 1011556 w 4940931"/>
                <a:gd name="connsiteY427" fmla="*/ 29844 h 138429"/>
                <a:gd name="connsiteX428" fmla="*/ 1017272 w 4940931"/>
                <a:gd name="connsiteY428" fmla="*/ 30479 h 138429"/>
                <a:gd name="connsiteX429" fmla="*/ 1022352 w 4940931"/>
                <a:gd name="connsiteY429" fmla="*/ 32384 h 138429"/>
                <a:gd name="connsiteX430" fmla="*/ 1026797 w 4940931"/>
                <a:gd name="connsiteY430" fmla="*/ 35559 h 138429"/>
                <a:gd name="connsiteX431" fmla="*/ 1030607 w 4940931"/>
                <a:gd name="connsiteY431" fmla="*/ 38734 h 138429"/>
                <a:gd name="connsiteX432" fmla="*/ 1030607 w 4940931"/>
                <a:gd name="connsiteY432" fmla="*/ 31749 h 138429"/>
                <a:gd name="connsiteX433" fmla="*/ 1045847 w 4940931"/>
                <a:gd name="connsiteY433" fmla="*/ 31749 h 138429"/>
                <a:gd name="connsiteX434" fmla="*/ 1045847 w 4940931"/>
                <a:gd name="connsiteY434" fmla="*/ 130809 h 138429"/>
                <a:gd name="connsiteX435" fmla="*/ 1032512 w 4940931"/>
                <a:gd name="connsiteY435" fmla="*/ 137477 h 138429"/>
                <a:gd name="connsiteX436" fmla="*/ 1032512 w 4940931"/>
                <a:gd name="connsiteY436" fmla="*/ 101599 h 138429"/>
                <a:gd name="connsiteX437" fmla="*/ 1022986 w 4940931"/>
                <a:gd name="connsiteY437" fmla="*/ 107949 h 138429"/>
                <a:gd name="connsiteX438" fmla="*/ 1011556 w 4940931"/>
                <a:gd name="connsiteY438" fmla="*/ 110489 h 138429"/>
                <a:gd name="connsiteX439" fmla="*/ 999491 w 4940931"/>
                <a:gd name="connsiteY439" fmla="*/ 107949 h 138429"/>
                <a:gd name="connsiteX440" fmla="*/ 989966 w 4940931"/>
                <a:gd name="connsiteY440" fmla="*/ 100329 h 138429"/>
                <a:gd name="connsiteX441" fmla="*/ 983616 w 4940931"/>
                <a:gd name="connsiteY441" fmla="*/ 87629 h 138429"/>
                <a:gd name="connsiteX442" fmla="*/ 981076 w 4940931"/>
                <a:gd name="connsiteY442" fmla="*/ 68579 h 138429"/>
                <a:gd name="connsiteX443" fmla="*/ 983616 w 4940931"/>
                <a:gd name="connsiteY443" fmla="*/ 51434 h 138429"/>
                <a:gd name="connsiteX444" fmla="*/ 990601 w 4940931"/>
                <a:gd name="connsiteY444" fmla="*/ 39369 h 138429"/>
                <a:gd name="connsiteX445" fmla="*/ 1000126 w 4940931"/>
                <a:gd name="connsiteY445" fmla="*/ 32384 h 138429"/>
                <a:gd name="connsiteX446" fmla="*/ 1011556 w 4940931"/>
                <a:gd name="connsiteY446" fmla="*/ 29844 h 138429"/>
                <a:gd name="connsiteX447" fmla="*/ 4871716 w 4940931"/>
                <a:gd name="connsiteY447" fmla="*/ 29210 h 138429"/>
                <a:gd name="connsiteX448" fmla="*/ 4885686 w 4940931"/>
                <a:gd name="connsiteY448" fmla="*/ 31750 h 138429"/>
                <a:gd name="connsiteX449" fmla="*/ 4897751 w 4940931"/>
                <a:gd name="connsiteY449" fmla="*/ 38100 h 138429"/>
                <a:gd name="connsiteX450" fmla="*/ 4899021 w 4940931"/>
                <a:gd name="connsiteY450" fmla="*/ 38100 h 138429"/>
                <a:gd name="connsiteX451" fmla="*/ 4892036 w 4940931"/>
                <a:gd name="connsiteY451" fmla="*/ 50165 h 138429"/>
                <a:gd name="connsiteX452" fmla="*/ 4882511 w 4940931"/>
                <a:gd name="connsiteY452" fmla="*/ 45085 h 138429"/>
                <a:gd name="connsiteX453" fmla="*/ 4872351 w 4940931"/>
                <a:gd name="connsiteY453" fmla="*/ 43180 h 138429"/>
                <a:gd name="connsiteX454" fmla="*/ 4864096 w 4940931"/>
                <a:gd name="connsiteY454" fmla="*/ 45085 h 138429"/>
                <a:gd name="connsiteX455" fmla="*/ 4861556 w 4940931"/>
                <a:gd name="connsiteY455" fmla="*/ 50165 h 138429"/>
                <a:gd name="connsiteX456" fmla="*/ 4861556 w 4940931"/>
                <a:gd name="connsiteY456" fmla="*/ 52705 h 138429"/>
                <a:gd name="connsiteX457" fmla="*/ 4863461 w 4940931"/>
                <a:gd name="connsiteY457" fmla="*/ 55245 h 138429"/>
                <a:gd name="connsiteX458" fmla="*/ 4867906 w 4940931"/>
                <a:gd name="connsiteY458" fmla="*/ 57785 h 138429"/>
                <a:gd name="connsiteX459" fmla="*/ 4874891 w 4940931"/>
                <a:gd name="connsiteY459" fmla="*/ 60960 h 138429"/>
                <a:gd name="connsiteX460" fmla="*/ 4886321 w 4940931"/>
                <a:gd name="connsiteY460" fmla="*/ 66040 h 138429"/>
                <a:gd name="connsiteX461" fmla="*/ 4894576 w 4940931"/>
                <a:gd name="connsiteY461" fmla="*/ 71120 h 138429"/>
                <a:gd name="connsiteX462" fmla="*/ 4899656 w 4940931"/>
                <a:gd name="connsiteY462" fmla="*/ 78105 h 138429"/>
                <a:gd name="connsiteX463" fmla="*/ 4901561 w 4940931"/>
                <a:gd name="connsiteY463" fmla="*/ 87630 h 138429"/>
                <a:gd name="connsiteX464" fmla="*/ 4899021 w 4940931"/>
                <a:gd name="connsiteY464" fmla="*/ 98425 h 138429"/>
                <a:gd name="connsiteX465" fmla="*/ 4892671 w 4940931"/>
                <a:gd name="connsiteY465" fmla="*/ 105410 h 138429"/>
                <a:gd name="connsiteX466" fmla="*/ 4883146 w 4940931"/>
                <a:gd name="connsiteY466" fmla="*/ 109220 h 138429"/>
                <a:gd name="connsiteX467" fmla="*/ 4872351 w 4940931"/>
                <a:gd name="connsiteY467" fmla="*/ 110490 h 138429"/>
                <a:gd name="connsiteX468" fmla="*/ 4857111 w 4940931"/>
                <a:gd name="connsiteY468" fmla="*/ 107950 h 138429"/>
                <a:gd name="connsiteX469" fmla="*/ 4842506 w 4940931"/>
                <a:gd name="connsiteY469" fmla="*/ 100965 h 138429"/>
                <a:gd name="connsiteX470" fmla="*/ 4849491 w 4940931"/>
                <a:gd name="connsiteY470" fmla="*/ 89535 h 138429"/>
                <a:gd name="connsiteX471" fmla="*/ 4860921 w 4940931"/>
                <a:gd name="connsiteY471" fmla="*/ 95250 h 138429"/>
                <a:gd name="connsiteX472" fmla="*/ 4872351 w 4940931"/>
                <a:gd name="connsiteY472" fmla="*/ 97155 h 138429"/>
                <a:gd name="connsiteX473" fmla="*/ 4883146 w 4940931"/>
                <a:gd name="connsiteY473" fmla="*/ 94615 h 138429"/>
                <a:gd name="connsiteX474" fmla="*/ 4886321 w 4940931"/>
                <a:gd name="connsiteY474" fmla="*/ 88265 h 138429"/>
                <a:gd name="connsiteX475" fmla="*/ 4885051 w 4940931"/>
                <a:gd name="connsiteY475" fmla="*/ 84455 h 138429"/>
                <a:gd name="connsiteX476" fmla="*/ 4881241 w 4940931"/>
                <a:gd name="connsiteY476" fmla="*/ 81280 h 138429"/>
                <a:gd name="connsiteX477" fmla="*/ 4875526 w 4940931"/>
                <a:gd name="connsiteY477" fmla="*/ 78105 h 138429"/>
                <a:gd name="connsiteX478" fmla="*/ 4867906 w 4940931"/>
                <a:gd name="connsiteY478" fmla="*/ 74930 h 138429"/>
                <a:gd name="connsiteX479" fmla="*/ 4857111 w 4940931"/>
                <a:gd name="connsiteY479" fmla="*/ 69850 h 138429"/>
                <a:gd name="connsiteX480" fmla="*/ 4850126 w 4940931"/>
                <a:gd name="connsiteY480" fmla="*/ 64770 h 138429"/>
                <a:gd name="connsiteX481" fmla="*/ 4846316 w 4940931"/>
                <a:gd name="connsiteY481" fmla="*/ 58420 h 138429"/>
                <a:gd name="connsiteX482" fmla="*/ 4845046 w 4940931"/>
                <a:gd name="connsiteY482" fmla="*/ 50165 h 138429"/>
                <a:gd name="connsiteX483" fmla="*/ 4846951 w 4940931"/>
                <a:gd name="connsiteY483" fmla="*/ 40640 h 138429"/>
                <a:gd name="connsiteX484" fmla="*/ 4852666 w 4940931"/>
                <a:gd name="connsiteY484" fmla="*/ 34290 h 138429"/>
                <a:gd name="connsiteX485" fmla="*/ 4860921 w 4940931"/>
                <a:gd name="connsiteY485" fmla="*/ 30480 h 138429"/>
                <a:gd name="connsiteX486" fmla="*/ 4871716 w 4940931"/>
                <a:gd name="connsiteY486" fmla="*/ 29210 h 138429"/>
                <a:gd name="connsiteX487" fmla="*/ 4749796 w 4940931"/>
                <a:gd name="connsiteY487" fmla="*/ 29210 h 138429"/>
                <a:gd name="connsiteX488" fmla="*/ 4757416 w 4940931"/>
                <a:gd name="connsiteY488" fmla="*/ 29845 h 138429"/>
                <a:gd name="connsiteX489" fmla="*/ 4763131 w 4940931"/>
                <a:gd name="connsiteY489" fmla="*/ 32385 h 138429"/>
                <a:gd name="connsiteX490" fmla="*/ 4759321 w 4940931"/>
                <a:gd name="connsiteY490" fmla="*/ 46990 h 138429"/>
                <a:gd name="connsiteX491" fmla="*/ 4758051 w 4940931"/>
                <a:gd name="connsiteY491" fmla="*/ 46990 h 138429"/>
                <a:gd name="connsiteX492" fmla="*/ 4752971 w 4940931"/>
                <a:gd name="connsiteY492" fmla="*/ 45085 h 138429"/>
                <a:gd name="connsiteX493" fmla="*/ 4746621 w 4940931"/>
                <a:gd name="connsiteY493" fmla="*/ 44450 h 138429"/>
                <a:gd name="connsiteX494" fmla="*/ 4735191 w 4940931"/>
                <a:gd name="connsiteY494" fmla="*/ 49530 h 138429"/>
                <a:gd name="connsiteX495" fmla="*/ 4731381 w 4940931"/>
                <a:gd name="connsiteY495" fmla="*/ 64770 h 138429"/>
                <a:gd name="connsiteX496" fmla="*/ 4731381 w 4940931"/>
                <a:gd name="connsiteY496" fmla="*/ 109220 h 138429"/>
                <a:gd name="connsiteX497" fmla="*/ 4716141 w 4940931"/>
                <a:gd name="connsiteY497" fmla="*/ 109220 h 138429"/>
                <a:gd name="connsiteX498" fmla="*/ 4716141 w 4940931"/>
                <a:gd name="connsiteY498" fmla="*/ 31115 h 138429"/>
                <a:gd name="connsiteX499" fmla="*/ 4731381 w 4940931"/>
                <a:gd name="connsiteY499" fmla="*/ 31115 h 138429"/>
                <a:gd name="connsiteX500" fmla="*/ 4731381 w 4940931"/>
                <a:gd name="connsiteY500" fmla="*/ 38735 h 138429"/>
                <a:gd name="connsiteX501" fmla="*/ 4734556 w 4940931"/>
                <a:gd name="connsiteY501" fmla="*/ 34925 h 138429"/>
                <a:gd name="connsiteX502" fmla="*/ 4739001 w 4940931"/>
                <a:gd name="connsiteY502" fmla="*/ 31750 h 138429"/>
                <a:gd name="connsiteX503" fmla="*/ 4744081 w 4940931"/>
                <a:gd name="connsiteY503" fmla="*/ 29845 h 138429"/>
                <a:gd name="connsiteX504" fmla="*/ 4749796 w 4940931"/>
                <a:gd name="connsiteY504" fmla="*/ 29210 h 138429"/>
                <a:gd name="connsiteX505" fmla="*/ 4349110 w 4940931"/>
                <a:gd name="connsiteY505" fmla="*/ 29210 h 138429"/>
                <a:gd name="connsiteX506" fmla="*/ 4356730 w 4940931"/>
                <a:gd name="connsiteY506" fmla="*/ 29845 h 138429"/>
                <a:gd name="connsiteX507" fmla="*/ 4362445 w 4940931"/>
                <a:gd name="connsiteY507" fmla="*/ 32385 h 138429"/>
                <a:gd name="connsiteX508" fmla="*/ 4358635 w 4940931"/>
                <a:gd name="connsiteY508" fmla="*/ 46990 h 138429"/>
                <a:gd name="connsiteX509" fmla="*/ 4357365 w 4940931"/>
                <a:gd name="connsiteY509" fmla="*/ 46990 h 138429"/>
                <a:gd name="connsiteX510" fmla="*/ 4352285 w 4940931"/>
                <a:gd name="connsiteY510" fmla="*/ 45085 h 138429"/>
                <a:gd name="connsiteX511" fmla="*/ 4345935 w 4940931"/>
                <a:gd name="connsiteY511" fmla="*/ 44450 h 138429"/>
                <a:gd name="connsiteX512" fmla="*/ 4334505 w 4940931"/>
                <a:gd name="connsiteY512" fmla="*/ 49530 h 138429"/>
                <a:gd name="connsiteX513" fmla="*/ 4330695 w 4940931"/>
                <a:gd name="connsiteY513" fmla="*/ 64770 h 138429"/>
                <a:gd name="connsiteX514" fmla="*/ 4330695 w 4940931"/>
                <a:gd name="connsiteY514" fmla="*/ 109220 h 138429"/>
                <a:gd name="connsiteX515" fmla="*/ 4315455 w 4940931"/>
                <a:gd name="connsiteY515" fmla="*/ 109220 h 138429"/>
                <a:gd name="connsiteX516" fmla="*/ 4315455 w 4940931"/>
                <a:gd name="connsiteY516" fmla="*/ 31115 h 138429"/>
                <a:gd name="connsiteX517" fmla="*/ 4330695 w 4940931"/>
                <a:gd name="connsiteY517" fmla="*/ 31115 h 138429"/>
                <a:gd name="connsiteX518" fmla="*/ 4330695 w 4940931"/>
                <a:gd name="connsiteY518" fmla="*/ 38735 h 138429"/>
                <a:gd name="connsiteX519" fmla="*/ 4333870 w 4940931"/>
                <a:gd name="connsiteY519" fmla="*/ 34925 h 138429"/>
                <a:gd name="connsiteX520" fmla="*/ 4338315 w 4940931"/>
                <a:gd name="connsiteY520" fmla="*/ 31750 h 138429"/>
                <a:gd name="connsiteX521" fmla="*/ 4343395 w 4940931"/>
                <a:gd name="connsiteY521" fmla="*/ 29845 h 138429"/>
                <a:gd name="connsiteX522" fmla="*/ 4349110 w 4940931"/>
                <a:gd name="connsiteY522" fmla="*/ 29210 h 138429"/>
                <a:gd name="connsiteX523" fmla="*/ 4044310 w 4940931"/>
                <a:gd name="connsiteY523" fmla="*/ 29210 h 138429"/>
                <a:gd name="connsiteX524" fmla="*/ 4058915 w 4940931"/>
                <a:gd name="connsiteY524" fmla="*/ 32385 h 138429"/>
                <a:gd name="connsiteX525" fmla="*/ 4069075 w 4940931"/>
                <a:gd name="connsiteY525" fmla="*/ 40640 h 138429"/>
                <a:gd name="connsiteX526" fmla="*/ 4075425 w 4940931"/>
                <a:gd name="connsiteY526" fmla="*/ 53340 h 138429"/>
                <a:gd name="connsiteX527" fmla="*/ 4077330 w 4940931"/>
                <a:gd name="connsiteY527" fmla="*/ 68580 h 138429"/>
                <a:gd name="connsiteX528" fmla="*/ 4076060 w 4940931"/>
                <a:gd name="connsiteY528" fmla="*/ 68580 h 138429"/>
                <a:gd name="connsiteX529" fmla="*/ 4076060 w 4940931"/>
                <a:gd name="connsiteY529" fmla="*/ 72390 h 138429"/>
                <a:gd name="connsiteX530" fmla="*/ 4076060 w 4940931"/>
                <a:gd name="connsiteY530" fmla="*/ 75565 h 138429"/>
                <a:gd name="connsiteX531" fmla="*/ 4024625 w 4940931"/>
                <a:gd name="connsiteY531" fmla="*/ 75565 h 138429"/>
                <a:gd name="connsiteX532" fmla="*/ 4027165 w 4940931"/>
                <a:gd name="connsiteY532" fmla="*/ 85090 h 138429"/>
                <a:gd name="connsiteX533" fmla="*/ 4031610 w 4940931"/>
                <a:gd name="connsiteY533" fmla="*/ 91440 h 138429"/>
                <a:gd name="connsiteX534" fmla="*/ 4037325 w 4940931"/>
                <a:gd name="connsiteY534" fmla="*/ 95250 h 138429"/>
                <a:gd name="connsiteX535" fmla="*/ 4044310 w 4940931"/>
                <a:gd name="connsiteY535" fmla="*/ 96520 h 138429"/>
                <a:gd name="connsiteX536" fmla="*/ 4049390 w 4940931"/>
                <a:gd name="connsiteY536" fmla="*/ 96520 h 138429"/>
                <a:gd name="connsiteX537" fmla="*/ 4053835 w 4940931"/>
                <a:gd name="connsiteY537" fmla="*/ 95250 h 138429"/>
                <a:gd name="connsiteX538" fmla="*/ 4057645 w 4940931"/>
                <a:gd name="connsiteY538" fmla="*/ 93345 h 138429"/>
                <a:gd name="connsiteX539" fmla="*/ 4062090 w 4940931"/>
                <a:gd name="connsiteY539" fmla="*/ 90805 h 138429"/>
                <a:gd name="connsiteX540" fmla="*/ 4070980 w 4940931"/>
                <a:gd name="connsiteY540" fmla="*/ 100330 h 138429"/>
                <a:gd name="connsiteX541" fmla="*/ 4065265 w 4940931"/>
                <a:gd name="connsiteY541" fmla="*/ 104775 h 138429"/>
                <a:gd name="connsiteX542" fmla="*/ 4059550 w 4940931"/>
                <a:gd name="connsiteY542" fmla="*/ 107950 h 138429"/>
                <a:gd name="connsiteX543" fmla="*/ 4052565 w 4940931"/>
                <a:gd name="connsiteY543" fmla="*/ 109855 h 138429"/>
                <a:gd name="connsiteX544" fmla="*/ 4043675 w 4940931"/>
                <a:gd name="connsiteY544" fmla="*/ 110490 h 138429"/>
                <a:gd name="connsiteX545" fmla="*/ 4034150 w 4940931"/>
                <a:gd name="connsiteY545" fmla="*/ 109220 h 138429"/>
                <a:gd name="connsiteX546" fmla="*/ 4026530 w 4940931"/>
                <a:gd name="connsiteY546" fmla="*/ 105410 h 138429"/>
                <a:gd name="connsiteX547" fmla="*/ 4020180 w 4940931"/>
                <a:gd name="connsiteY547" fmla="*/ 100330 h 138429"/>
                <a:gd name="connsiteX548" fmla="*/ 4015100 w 4940931"/>
                <a:gd name="connsiteY548" fmla="*/ 92710 h 138429"/>
                <a:gd name="connsiteX549" fmla="*/ 4011290 w 4940931"/>
                <a:gd name="connsiteY549" fmla="*/ 82550 h 138429"/>
                <a:gd name="connsiteX550" fmla="*/ 4010020 w 4940931"/>
                <a:gd name="connsiteY550" fmla="*/ 69850 h 138429"/>
                <a:gd name="connsiteX551" fmla="*/ 4012560 w 4940931"/>
                <a:gd name="connsiteY551" fmla="*/ 52070 h 138429"/>
                <a:gd name="connsiteX552" fmla="*/ 4019545 w 4940931"/>
                <a:gd name="connsiteY552" fmla="*/ 39370 h 138429"/>
                <a:gd name="connsiteX553" fmla="*/ 4030340 w 4940931"/>
                <a:gd name="connsiteY553" fmla="*/ 31750 h 138429"/>
                <a:gd name="connsiteX554" fmla="*/ 4044310 w 4940931"/>
                <a:gd name="connsiteY554" fmla="*/ 29210 h 138429"/>
                <a:gd name="connsiteX555" fmla="*/ 3811900 w 4940931"/>
                <a:gd name="connsiteY555" fmla="*/ 29210 h 138429"/>
                <a:gd name="connsiteX556" fmla="*/ 3819520 w 4940931"/>
                <a:gd name="connsiteY556" fmla="*/ 29845 h 138429"/>
                <a:gd name="connsiteX557" fmla="*/ 3825235 w 4940931"/>
                <a:gd name="connsiteY557" fmla="*/ 32385 h 138429"/>
                <a:gd name="connsiteX558" fmla="*/ 3821425 w 4940931"/>
                <a:gd name="connsiteY558" fmla="*/ 46990 h 138429"/>
                <a:gd name="connsiteX559" fmla="*/ 3820155 w 4940931"/>
                <a:gd name="connsiteY559" fmla="*/ 46990 h 138429"/>
                <a:gd name="connsiteX560" fmla="*/ 3815075 w 4940931"/>
                <a:gd name="connsiteY560" fmla="*/ 45085 h 138429"/>
                <a:gd name="connsiteX561" fmla="*/ 3808725 w 4940931"/>
                <a:gd name="connsiteY561" fmla="*/ 44450 h 138429"/>
                <a:gd name="connsiteX562" fmla="*/ 3797295 w 4940931"/>
                <a:gd name="connsiteY562" fmla="*/ 49530 h 138429"/>
                <a:gd name="connsiteX563" fmla="*/ 3793485 w 4940931"/>
                <a:gd name="connsiteY563" fmla="*/ 64770 h 138429"/>
                <a:gd name="connsiteX564" fmla="*/ 3793485 w 4940931"/>
                <a:gd name="connsiteY564" fmla="*/ 109220 h 138429"/>
                <a:gd name="connsiteX565" fmla="*/ 3778245 w 4940931"/>
                <a:gd name="connsiteY565" fmla="*/ 109220 h 138429"/>
                <a:gd name="connsiteX566" fmla="*/ 3778245 w 4940931"/>
                <a:gd name="connsiteY566" fmla="*/ 31115 h 138429"/>
                <a:gd name="connsiteX567" fmla="*/ 3793485 w 4940931"/>
                <a:gd name="connsiteY567" fmla="*/ 31115 h 138429"/>
                <a:gd name="connsiteX568" fmla="*/ 3793485 w 4940931"/>
                <a:gd name="connsiteY568" fmla="*/ 38735 h 138429"/>
                <a:gd name="connsiteX569" fmla="*/ 3796660 w 4940931"/>
                <a:gd name="connsiteY569" fmla="*/ 34925 h 138429"/>
                <a:gd name="connsiteX570" fmla="*/ 3801105 w 4940931"/>
                <a:gd name="connsiteY570" fmla="*/ 31750 h 138429"/>
                <a:gd name="connsiteX571" fmla="*/ 3806185 w 4940931"/>
                <a:gd name="connsiteY571" fmla="*/ 29845 h 138429"/>
                <a:gd name="connsiteX572" fmla="*/ 3811900 w 4940931"/>
                <a:gd name="connsiteY572" fmla="*/ 29210 h 138429"/>
                <a:gd name="connsiteX573" fmla="*/ 3729986 w 4940931"/>
                <a:gd name="connsiteY573" fmla="*/ 29210 h 138429"/>
                <a:gd name="connsiteX574" fmla="*/ 3744591 w 4940931"/>
                <a:gd name="connsiteY574" fmla="*/ 32385 h 138429"/>
                <a:gd name="connsiteX575" fmla="*/ 3754751 w 4940931"/>
                <a:gd name="connsiteY575" fmla="*/ 40640 h 138429"/>
                <a:gd name="connsiteX576" fmla="*/ 3761101 w 4940931"/>
                <a:gd name="connsiteY576" fmla="*/ 53340 h 138429"/>
                <a:gd name="connsiteX577" fmla="*/ 3763006 w 4940931"/>
                <a:gd name="connsiteY577" fmla="*/ 68580 h 138429"/>
                <a:gd name="connsiteX578" fmla="*/ 3761736 w 4940931"/>
                <a:gd name="connsiteY578" fmla="*/ 68580 h 138429"/>
                <a:gd name="connsiteX579" fmla="*/ 3761736 w 4940931"/>
                <a:gd name="connsiteY579" fmla="*/ 72390 h 138429"/>
                <a:gd name="connsiteX580" fmla="*/ 3761736 w 4940931"/>
                <a:gd name="connsiteY580" fmla="*/ 75565 h 138429"/>
                <a:gd name="connsiteX581" fmla="*/ 3710301 w 4940931"/>
                <a:gd name="connsiteY581" fmla="*/ 75565 h 138429"/>
                <a:gd name="connsiteX582" fmla="*/ 3712841 w 4940931"/>
                <a:gd name="connsiteY582" fmla="*/ 85090 h 138429"/>
                <a:gd name="connsiteX583" fmla="*/ 3717286 w 4940931"/>
                <a:gd name="connsiteY583" fmla="*/ 91440 h 138429"/>
                <a:gd name="connsiteX584" fmla="*/ 3723001 w 4940931"/>
                <a:gd name="connsiteY584" fmla="*/ 95250 h 138429"/>
                <a:gd name="connsiteX585" fmla="*/ 3729986 w 4940931"/>
                <a:gd name="connsiteY585" fmla="*/ 96520 h 138429"/>
                <a:gd name="connsiteX586" fmla="*/ 3735066 w 4940931"/>
                <a:gd name="connsiteY586" fmla="*/ 96520 h 138429"/>
                <a:gd name="connsiteX587" fmla="*/ 3739511 w 4940931"/>
                <a:gd name="connsiteY587" fmla="*/ 95250 h 138429"/>
                <a:gd name="connsiteX588" fmla="*/ 3743321 w 4940931"/>
                <a:gd name="connsiteY588" fmla="*/ 93345 h 138429"/>
                <a:gd name="connsiteX589" fmla="*/ 3747766 w 4940931"/>
                <a:gd name="connsiteY589" fmla="*/ 90805 h 138429"/>
                <a:gd name="connsiteX590" fmla="*/ 3756656 w 4940931"/>
                <a:gd name="connsiteY590" fmla="*/ 100330 h 138429"/>
                <a:gd name="connsiteX591" fmla="*/ 3750941 w 4940931"/>
                <a:gd name="connsiteY591" fmla="*/ 104775 h 138429"/>
                <a:gd name="connsiteX592" fmla="*/ 3745226 w 4940931"/>
                <a:gd name="connsiteY592" fmla="*/ 107950 h 138429"/>
                <a:gd name="connsiteX593" fmla="*/ 3738241 w 4940931"/>
                <a:gd name="connsiteY593" fmla="*/ 109855 h 138429"/>
                <a:gd name="connsiteX594" fmla="*/ 3729351 w 4940931"/>
                <a:gd name="connsiteY594" fmla="*/ 110490 h 138429"/>
                <a:gd name="connsiteX595" fmla="*/ 3719826 w 4940931"/>
                <a:gd name="connsiteY595" fmla="*/ 109220 h 138429"/>
                <a:gd name="connsiteX596" fmla="*/ 3712206 w 4940931"/>
                <a:gd name="connsiteY596" fmla="*/ 105410 h 138429"/>
                <a:gd name="connsiteX597" fmla="*/ 3705856 w 4940931"/>
                <a:gd name="connsiteY597" fmla="*/ 100330 h 138429"/>
                <a:gd name="connsiteX598" fmla="*/ 3700776 w 4940931"/>
                <a:gd name="connsiteY598" fmla="*/ 92710 h 138429"/>
                <a:gd name="connsiteX599" fmla="*/ 3696966 w 4940931"/>
                <a:gd name="connsiteY599" fmla="*/ 82550 h 138429"/>
                <a:gd name="connsiteX600" fmla="*/ 3695696 w 4940931"/>
                <a:gd name="connsiteY600" fmla="*/ 69850 h 138429"/>
                <a:gd name="connsiteX601" fmla="*/ 3698236 w 4940931"/>
                <a:gd name="connsiteY601" fmla="*/ 52070 h 138429"/>
                <a:gd name="connsiteX602" fmla="*/ 3705221 w 4940931"/>
                <a:gd name="connsiteY602" fmla="*/ 39370 h 138429"/>
                <a:gd name="connsiteX603" fmla="*/ 3716016 w 4940931"/>
                <a:gd name="connsiteY603" fmla="*/ 31750 h 138429"/>
                <a:gd name="connsiteX604" fmla="*/ 3729986 w 4940931"/>
                <a:gd name="connsiteY604" fmla="*/ 29210 h 138429"/>
                <a:gd name="connsiteX605" fmla="*/ 3543296 w 4940931"/>
                <a:gd name="connsiteY605" fmla="*/ 29210 h 138429"/>
                <a:gd name="connsiteX606" fmla="*/ 3557901 w 4940931"/>
                <a:gd name="connsiteY606" fmla="*/ 32385 h 138429"/>
                <a:gd name="connsiteX607" fmla="*/ 3568061 w 4940931"/>
                <a:gd name="connsiteY607" fmla="*/ 40640 h 138429"/>
                <a:gd name="connsiteX608" fmla="*/ 3574411 w 4940931"/>
                <a:gd name="connsiteY608" fmla="*/ 53340 h 138429"/>
                <a:gd name="connsiteX609" fmla="*/ 3576316 w 4940931"/>
                <a:gd name="connsiteY609" fmla="*/ 68580 h 138429"/>
                <a:gd name="connsiteX610" fmla="*/ 3575046 w 4940931"/>
                <a:gd name="connsiteY610" fmla="*/ 68580 h 138429"/>
                <a:gd name="connsiteX611" fmla="*/ 3575046 w 4940931"/>
                <a:gd name="connsiteY611" fmla="*/ 72390 h 138429"/>
                <a:gd name="connsiteX612" fmla="*/ 3575046 w 4940931"/>
                <a:gd name="connsiteY612" fmla="*/ 75565 h 138429"/>
                <a:gd name="connsiteX613" fmla="*/ 3523611 w 4940931"/>
                <a:gd name="connsiteY613" fmla="*/ 75565 h 138429"/>
                <a:gd name="connsiteX614" fmla="*/ 3526151 w 4940931"/>
                <a:gd name="connsiteY614" fmla="*/ 85090 h 138429"/>
                <a:gd name="connsiteX615" fmla="*/ 3530596 w 4940931"/>
                <a:gd name="connsiteY615" fmla="*/ 91440 h 138429"/>
                <a:gd name="connsiteX616" fmla="*/ 3536311 w 4940931"/>
                <a:gd name="connsiteY616" fmla="*/ 95250 h 138429"/>
                <a:gd name="connsiteX617" fmla="*/ 3543296 w 4940931"/>
                <a:gd name="connsiteY617" fmla="*/ 96520 h 138429"/>
                <a:gd name="connsiteX618" fmla="*/ 3548376 w 4940931"/>
                <a:gd name="connsiteY618" fmla="*/ 96520 h 138429"/>
                <a:gd name="connsiteX619" fmla="*/ 3552821 w 4940931"/>
                <a:gd name="connsiteY619" fmla="*/ 95250 h 138429"/>
                <a:gd name="connsiteX620" fmla="*/ 3556631 w 4940931"/>
                <a:gd name="connsiteY620" fmla="*/ 93345 h 138429"/>
                <a:gd name="connsiteX621" fmla="*/ 3561076 w 4940931"/>
                <a:gd name="connsiteY621" fmla="*/ 90805 h 138429"/>
                <a:gd name="connsiteX622" fmla="*/ 3569966 w 4940931"/>
                <a:gd name="connsiteY622" fmla="*/ 100330 h 138429"/>
                <a:gd name="connsiteX623" fmla="*/ 3564251 w 4940931"/>
                <a:gd name="connsiteY623" fmla="*/ 104775 h 138429"/>
                <a:gd name="connsiteX624" fmla="*/ 3558536 w 4940931"/>
                <a:gd name="connsiteY624" fmla="*/ 107950 h 138429"/>
                <a:gd name="connsiteX625" fmla="*/ 3551551 w 4940931"/>
                <a:gd name="connsiteY625" fmla="*/ 109855 h 138429"/>
                <a:gd name="connsiteX626" fmla="*/ 3542661 w 4940931"/>
                <a:gd name="connsiteY626" fmla="*/ 110490 h 138429"/>
                <a:gd name="connsiteX627" fmla="*/ 3533136 w 4940931"/>
                <a:gd name="connsiteY627" fmla="*/ 109220 h 138429"/>
                <a:gd name="connsiteX628" fmla="*/ 3525516 w 4940931"/>
                <a:gd name="connsiteY628" fmla="*/ 105410 h 138429"/>
                <a:gd name="connsiteX629" fmla="*/ 3519166 w 4940931"/>
                <a:gd name="connsiteY629" fmla="*/ 100330 h 138429"/>
                <a:gd name="connsiteX630" fmla="*/ 3514086 w 4940931"/>
                <a:gd name="connsiteY630" fmla="*/ 92710 h 138429"/>
                <a:gd name="connsiteX631" fmla="*/ 3510276 w 4940931"/>
                <a:gd name="connsiteY631" fmla="*/ 82550 h 138429"/>
                <a:gd name="connsiteX632" fmla="*/ 3509006 w 4940931"/>
                <a:gd name="connsiteY632" fmla="*/ 69850 h 138429"/>
                <a:gd name="connsiteX633" fmla="*/ 3511546 w 4940931"/>
                <a:gd name="connsiteY633" fmla="*/ 52070 h 138429"/>
                <a:gd name="connsiteX634" fmla="*/ 3518531 w 4940931"/>
                <a:gd name="connsiteY634" fmla="*/ 39370 h 138429"/>
                <a:gd name="connsiteX635" fmla="*/ 3529326 w 4940931"/>
                <a:gd name="connsiteY635" fmla="*/ 31750 h 138429"/>
                <a:gd name="connsiteX636" fmla="*/ 3543296 w 4940931"/>
                <a:gd name="connsiteY636" fmla="*/ 29210 h 138429"/>
                <a:gd name="connsiteX637" fmla="*/ 3345176 w 4940931"/>
                <a:gd name="connsiteY637" fmla="*/ 29210 h 138429"/>
                <a:gd name="connsiteX638" fmla="*/ 3359781 w 4940931"/>
                <a:gd name="connsiteY638" fmla="*/ 32385 h 138429"/>
                <a:gd name="connsiteX639" fmla="*/ 3369941 w 4940931"/>
                <a:gd name="connsiteY639" fmla="*/ 40640 h 138429"/>
                <a:gd name="connsiteX640" fmla="*/ 3376291 w 4940931"/>
                <a:gd name="connsiteY640" fmla="*/ 53340 h 138429"/>
                <a:gd name="connsiteX641" fmla="*/ 3378196 w 4940931"/>
                <a:gd name="connsiteY641" fmla="*/ 68580 h 138429"/>
                <a:gd name="connsiteX642" fmla="*/ 3376926 w 4940931"/>
                <a:gd name="connsiteY642" fmla="*/ 68580 h 138429"/>
                <a:gd name="connsiteX643" fmla="*/ 3376926 w 4940931"/>
                <a:gd name="connsiteY643" fmla="*/ 72390 h 138429"/>
                <a:gd name="connsiteX644" fmla="*/ 3376926 w 4940931"/>
                <a:gd name="connsiteY644" fmla="*/ 75565 h 138429"/>
                <a:gd name="connsiteX645" fmla="*/ 3325491 w 4940931"/>
                <a:gd name="connsiteY645" fmla="*/ 75565 h 138429"/>
                <a:gd name="connsiteX646" fmla="*/ 3328031 w 4940931"/>
                <a:gd name="connsiteY646" fmla="*/ 85090 h 138429"/>
                <a:gd name="connsiteX647" fmla="*/ 3332476 w 4940931"/>
                <a:gd name="connsiteY647" fmla="*/ 91440 h 138429"/>
                <a:gd name="connsiteX648" fmla="*/ 3338191 w 4940931"/>
                <a:gd name="connsiteY648" fmla="*/ 95250 h 138429"/>
                <a:gd name="connsiteX649" fmla="*/ 3345176 w 4940931"/>
                <a:gd name="connsiteY649" fmla="*/ 96520 h 138429"/>
                <a:gd name="connsiteX650" fmla="*/ 3350256 w 4940931"/>
                <a:gd name="connsiteY650" fmla="*/ 96520 h 138429"/>
                <a:gd name="connsiteX651" fmla="*/ 3354701 w 4940931"/>
                <a:gd name="connsiteY651" fmla="*/ 95250 h 138429"/>
                <a:gd name="connsiteX652" fmla="*/ 3358511 w 4940931"/>
                <a:gd name="connsiteY652" fmla="*/ 93345 h 138429"/>
                <a:gd name="connsiteX653" fmla="*/ 3362956 w 4940931"/>
                <a:gd name="connsiteY653" fmla="*/ 90805 h 138429"/>
                <a:gd name="connsiteX654" fmla="*/ 3371846 w 4940931"/>
                <a:gd name="connsiteY654" fmla="*/ 100330 h 138429"/>
                <a:gd name="connsiteX655" fmla="*/ 3366131 w 4940931"/>
                <a:gd name="connsiteY655" fmla="*/ 104775 h 138429"/>
                <a:gd name="connsiteX656" fmla="*/ 3360416 w 4940931"/>
                <a:gd name="connsiteY656" fmla="*/ 107950 h 138429"/>
                <a:gd name="connsiteX657" fmla="*/ 3353431 w 4940931"/>
                <a:gd name="connsiteY657" fmla="*/ 109855 h 138429"/>
                <a:gd name="connsiteX658" fmla="*/ 3344541 w 4940931"/>
                <a:gd name="connsiteY658" fmla="*/ 110490 h 138429"/>
                <a:gd name="connsiteX659" fmla="*/ 3335016 w 4940931"/>
                <a:gd name="connsiteY659" fmla="*/ 109220 h 138429"/>
                <a:gd name="connsiteX660" fmla="*/ 3327396 w 4940931"/>
                <a:gd name="connsiteY660" fmla="*/ 105410 h 138429"/>
                <a:gd name="connsiteX661" fmla="*/ 3321046 w 4940931"/>
                <a:gd name="connsiteY661" fmla="*/ 100330 h 138429"/>
                <a:gd name="connsiteX662" fmla="*/ 3315966 w 4940931"/>
                <a:gd name="connsiteY662" fmla="*/ 92710 h 138429"/>
                <a:gd name="connsiteX663" fmla="*/ 3312156 w 4940931"/>
                <a:gd name="connsiteY663" fmla="*/ 82550 h 138429"/>
                <a:gd name="connsiteX664" fmla="*/ 3310886 w 4940931"/>
                <a:gd name="connsiteY664" fmla="*/ 69850 h 138429"/>
                <a:gd name="connsiteX665" fmla="*/ 3313426 w 4940931"/>
                <a:gd name="connsiteY665" fmla="*/ 52070 h 138429"/>
                <a:gd name="connsiteX666" fmla="*/ 3320411 w 4940931"/>
                <a:gd name="connsiteY666" fmla="*/ 39370 h 138429"/>
                <a:gd name="connsiteX667" fmla="*/ 3331206 w 4940931"/>
                <a:gd name="connsiteY667" fmla="*/ 31750 h 138429"/>
                <a:gd name="connsiteX668" fmla="*/ 3345176 w 4940931"/>
                <a:gd name="connsiteY668" fmla="*/ 29210 h 138429"/>
                <a:gd name="connsiteX669" fmla="*/ 3060696 w 4940931"/>
                <a:gd name="connsiteY669" fmla="*/ 29210 h 138429"/>
                <a:gd name="connsiteX670" fmla="*/ 3068316 w 4940931"/>
                <a:gd name="connsiteY670" fmla="*/ 29845 h 138429"/>
                <a:gd name="connsiteX671" fmla="*/ 3074031 w 4940931"/>
                <a:gd name="connsiteY671" fmla="*/ 32385 h 138429"/>
                <a:gd name="connsiteX672" fmla="*/ 3070221 w 4940931"/>
                <a:gd name="connsiteY672" fmla="*/ 46990 h 138429"/>
                <a:gd name="connsiteX673" fmla="*/ 3068951 w 4940931"/>
                <a:gd name="connsiteY673" fmla="*/ 46990 h 138429"/>
                <a:gd name="connsiteX674" fmla="*/ 3063871 w 4940931"/>
                <a:gd name="connsiteY674" fmla="*/ 45085 h 138429"/>
                <a:gd name="connsiteX675" fmla="*/ 3057521 w 4940931"/>
                <a:gd name="connsiteY675" fmla="*/ 44450 h 138429"/>
                <a:gd name="connsiteX676" fmla="*/ 3046091 w 4940931"/>
                <a:gd name="connsiteY676" fmla="*/ 49530 h 138429"/>
                <a:gd name="connsiteX677" fmla="*/ 3042281 w 4940931"/>
                <a:gd name="connsiteY677" fmla="*/ 64770 h 138429"/>
                <a:gd name="connsiteX678" fmla="*/ 3042281 w 4940931"/>
                <a:gd name="connsiteY678" fmla="*/ 109220 h 138429"/>
                <a:gd name="connsiteX679" fmla="*/ 3027041 w 4940931"/>
                <a:gd name="connsiteY679" fmla="*/ 109220 h 138429"/>
                <a:gd name="connsiteX680" fmla="*/ 3027041 w 4940931"/>
                <a:gd name="connsiteY680" fmla="*/ 31115 h 138429"/>
                <a:gd name="connsiteX681" fmla="*/ 3042281 w 4940931"/>
                <a:gd name="connsiteY681" fmla="*/ 31115 h 138429"/>
                <a:gd name="connsiteX682" fmla="*/ 3042281 w 4940931"/>
                <a:gd name="connsiteY682" fmla="*/ 38735 h 138429"/>
                <a:gd name="connsiteX683" fmla="*/ 3045456 w 4940931"/>
                <a:gd name="connsiteY683" fmla="*/ 34925 h 138429"/>
                <a:gd name="connsiteX684" fmla="*/ 3049901 w 4940931"/>
                <a:gd name="connsiteY684" fmla="*/ 31750 h 138429"/>
                <a:gd name="connsiteX685" fmla="*/ 3054981 w 4940931"/>
                <a:gd name="connsiteY685" fmla="*/ 29845 h 138429"/>
                <a:gd name="connsiteX686" fmla="*/ 3060696 w 4940931"/>
                <a:gd name="connsiteY686" fmla="*/ 29210 h 138429"/>
                <a:gd name="connsiteX687" fmla="*/ 2978781 w 4940931"/>
                <a:gd name="connsiteY687" fmla="*/ 29210 h 138429"/>
                <a:gd name="connsiteX688" fmla="*/ 2993386 w 4940931"/>
                <a:gd name="connsiteY688" fmla="*/ 32385 h 138429"/>
                <a:gd name="connsiteX689" fmla="*/ 3003546 w 4940931"/>
                <a:gd name="connsiteY689" fmla="*/ 40640 h 138429"/>
                <a:gd name="connsiteX690" fmla="*/ 3009896 w 4940931"/>
                <a:gd name="connsiteY690" fmla="*/ 53340 h 138429"/>
                <a:gd name="connsiteX691" fmla="*/ 3011801 w 4940931"/>
                <a:gd name="connsiteY691" fmla="*/ 68580 h 138429"/>
                <a:gd name="connsiteX692" fmla="*/ 3010531 w 4940931"/>
                <a:gd name="connsiteY692" fmla="*/ 68580 h 138429"/>
                <a:gd name="connsiteX693" fmla="*/ 3010531 w 4940931"/>
                <a:gd name="connsiteY693" fmla="*/ 72390 h 138429"/>
                <a:gd name="connsiteX694" fmla="*/ 3010531 w 4940931"/>
                <a:gd name="connsiteY694" fmla="*/ 75565 h 138429"/>
                <a:gd name="connsiteX695" fmla="*/ 2959096 w 4940931"/>
                <a:gd name="connsiteY695" fmla="*/ 75565 h 138429"/>
                <a:gd name="connsiteX696" fmla="*/ 2961636 w 4940931"/>
                <a:gd name="connsiteY696" fmla="*/ 85090 h 138429"/>
                <a:gd name="connsiteX697" fmla="*/ 2966081 w 4940931"/>
                <a:gd name="connsiteY697" fmla="*/ 91440 h 138429"/>
                <a:gd name="connsiteX698" fmla="*/ 2971796 w 4940931"/>
                <a:gd name="connsiteY698" fmla="*/ 95250 h 138429"/>
                <a:gd name="connsiteX699" fmla="*/ 2978781 w 4940931"/>
                <a:gd name="connsiteY699" fmla="*/ 96520 h 138429"/>
                <a:gd name="connsiteX700" fmla="*/ 2983861 w 4940931"/>
                <a:gd name="connsiteY700" fmla="*/ 96520 h 138429"/>
                <a:gd name="connsiteX701" fmla="*/ 2988306 w 4940931"/>
                <a:gd name="connsiteY701" fmla="*/ 95250 h 138429"/>
                <a:gd name="connsiteX702" fmla="*/ 2992116 w 4940931"/>
                <a:gd name="connsiteY702" fmla="*/ 93345 h 138429"/>
                <a:gd name="connsiteX703" fmla="*/ 2996561 w 4940931"/>
                <a:gd name="connsiteY703" fmla="*/ 90805 h 138429"/>
                <a:gd name="connsiteX704" fmla="*/ 3005451 w 4940931"/>
                <a:gd name="connsiteY704" fmla="*/ 100330 h 138429"/>
                <a:gd name="connsiteX705" fmla="*/ 2999736 w 4940931"/>
                <a:gd name="connsiteY705" fmla="*/ 104775 h 138429"/>
                <a:gd name="connsiteX706" fmla="*/ 2994021 w 4940931"/>
                <a:gd name="connsiteY706" fmla="*/ 107950 h 138429"/>
                <a:gd name="connsiteX707" fmla="*/ 2987036 w 4940931"/>
                <a:gd name="connsiteY707" fmla="*/ 109855 h 138429"/>
                <a:gd name="connsiteX708" fmla="*/ 2978146 w 4940931"/>
                <a:gd name="connsiteY708" fmla="*/ 110490 h 138429"/>
                <a:gd name="connsiteX709" fmla="*/ 2968621 w 4940931"/>
                <a:gd name="connsiteY709" fmla="*/ 109220 h 138429"/>
                <a:gd name="connsiteX710" fmla="*/ 2961001 w 4940931"/>
                <a:gd name="connsiteY710" fmla="*/ 105410 h 138429"/>
                <a:gd name="connsiteX711" fmla="*/ 2954651 w 4940931"/>
                <a:gd name="connsiteY711" fmla="*/ 100330 h 138429"/>
                <a:gd name="connsiteX712" fmla="*/ 2949571 w 4940931"/>
                <a:gd name="connsiteY712" fmla="*/ 92710 h 138429"/>
                <a:gd name="connsiteX713" fmla="*/ 2945761 w 4940931"/>
                <a:gd name="connsiteY713" fmla="*/ 82550 h 138429"/>
                <a:gd name="connsiteX714" fmla="*/ 2944491 w 4940931"/>
                <a:gd name="connsiteY714" fmla="*/ 69850 h 138429"/>
                <a:gd name="connsiteX715" fmla="*/ 2947031 w 4940931"/>
                <a:gd name="connsiteY715" fmla="*/ 52070 h 138429"/>
                <a:gd name="connsiteX716" fmla="*/ 2954016 w 4940931"/>
                <a:gd name="connsiteY716" fmla="*/ 39370 h 138429"/>
                <a:gd name="connsiteX717" fmla="*/ 2964811 w 4940931"/>
                <a:gd name="connsiteY717" fmla="*/ 31750 h 138429"/>
                <a:gd name="connsiteX718" fmla="*/ 2978781 w 4940931"/>
                <a:gd name="connsiteY718" fmla="*/ 29210 h 138429"/>
                <a:gd name="connsiteX719" fmla="*/ 2798440 w 4940931"/>
                <a:gd name="connsiteY719" fmla="*/ 29210 h 138429"/>
                <a:gd name="connsiteX720" fmla="*/ 2813045 w 4940931"/>
                <a:gd name="connsiteY720" fmla="*/ 31750 h 138429"/>
                <a:gd name="connsiteX721" fmla="*/ 2825110 w 4940931"/>
                <a:gd name="connsiteY721" fmla="*/ 38100 h 138429"/>
                <a:gd name="connsiteX722" fmla="*/ 2827015 w 4940931"/>
                <a:gd name="connsiteY722" fmla="*/ 38100 h 138429"/>
                <a:gd name="connsiteX723" fmla="*/ 2820030 w 4940931"/>
                <a:gd name="connsiteY723" fmla="*/ 50165 h 138429"/>
                <a:gd name="connsiteX724" fmla="*/ 2810505 w 4940931"/>
                <a:gd name="connsiteY724" fmla="*/ 45085 h 138429"/>
                <a:gd name="connsiteX725" fmla="*/ 2799710 w 4940931"/>
                <a:gd name="connsiteY725" fmla="*/ 43180 h 138429"/>
                <a:gd name="connsiteX726" fmla="*/ 2791455 w 4940931"/>
                <a:gd name="connsiteY726" fmla="*/ 45085 h 138429"/>
                <a:gd name="connsiteX727" fmla="*/ 2788915 w 4940931"/>
                <a:gd name="connsiteY727" fmla="*/ 50165 h 138429"/>
                <a:gd name="connsiteX728" fmla="*/ 2788915 w 4940931"/>
                <a:gd name="connsiteY728" fmla="*/ 52705 h 138429"/>
                <a:gd name="connsiteX729" fmla="*/ 2790820 w 4940931"/>
                <a:gd name="connsiteY729" fmla="*/ 55245 h 138429"/>
                <a:gd name="connsiteX730" fmla="*/ 2795265 w 4940931"/>
                <a:gd name="connsiteY730" fmla="*/ 57785 h 138429"/>
                <a:gd name="connsiteX731" fmla="*/ 2802250 w 4940931"/>
                <a:gd name="connsiteY731" fmla="*/ 60960 h 138429"/>
                <a:gd name="connsiteX732" fmla="*/ 2813680 w 4940931"/>
                <a:gd name="connsiteY732" fmla="*/ 66040 h 138429"/>
                <a:gd name="connsiteX733" fmla="*/ 2821935 w 4940931"/>
                <a:gd name="connsiteY733" fmla="*/ 71120 h 138429"/>
                <a:gd name="connsiteX734" fmla="*/ 2827015 w 4940931"/>
                <a:gd name="connsiteY734" fmla="*/ 78105 h 138429"/>
                <a:gd name="connsiteX735" fmla="*/ 2828920 w 4940931"/>
                <a:gd name="connsiteY735" fmla="*/ 87630 h 138429"/>
                <a:gd name="connsiteX736" fmla="*/ 2826380 w 4940931"/>
                <a:gd name="connsiteY736" fmla="*/ 98425 h 138429"/>
                <a:gd name="connsiteX737" fmla="*/ 2820030 w 4940931"/>
                <a:gd name="connsiteY737" fmla="*/ 105410 h 138429"/>
                <a:gd name="connsiteX738" fmla="*/ 2810505 w 4940931"/>
                <a:gd name="connsiteY738" fmla="*/ 109220 h 138429"/>
                <a:gd name="connsiteX739" fmla="*/ 2799710 w 4940931"/>
                <a:gd name="connsiteY739" fmla="*/ 110490 h 138429"/>
                <a:gd name="connsiteX740" fmla="*/ 2783835 w 4940931"/>
                <a:gd name="connsiteY740" fmla="*/ 107950 h 138429"/>
                <a:gd name="connsiteX741" fmla="*/ 2769230 w 4940931"/>
                <a:gd name="connsiteY741" fmla="*/ 100965 h 138429"/>
                <a:gd name="connsiteX742" fmla="*/ 2776215 w 4940931"/>
                <a:gd name="connsiteY742" fmla="*/ 89535 h 138429"/>
                <a:gd name="connsiteX743" fmla="*/ 2787645 w 4940931"/>
                <a:gd name="connsiteY743" fmla="*/ 95250 h 138429"/>
                <a:gd name="connsiteX744" fmla="*/ 2799075 w 4940931"/>
                <a:gd name="connsiteY744" fmla="*/ 97155 h 138429"/>
                <a:gd name="connsiteX745" fmla="*/ 2809870 w 4940931"/>
                <a:gd name="connsiteY745" fmla="*/ 94615 h 138429"/>
                <a:gd name="connsiteX746" fmla="*/ 2813045 w 4940931"/>
                <a:gd name="connsiteY746" fmla="*/ 88265 h 138429"/>
                <a:gd name="connsiteX747" fmla="*/ 2811775 w 4940931"/>
                <a:gd name="connsiteY747" fmla="*/ 84455 h 138429"/>
                <a:gd name="connsiteX748" fmla="*/ 2807965 w 4940931"/>
                <a:gd name="connsiteY748" fmla="*/ 81280 h 138429"/>
                <a:gd name="connsiteX749" fmla="*/ 2802250 w 4940931"/>
                <a:gd name="connsiteY749" fmla="*/ 78105 h 138429"/>
                <a:gd name="connsiteX750" fmla="*/ 2794630 w 4940931"/>
                <a:gd name="connsiteY750" fmla="*/ 74930 h 138429"/>
                <a:gd name="connsiteX751" fmla="*/ 2783835 w 4940931"/>
                <a:gd name="connsiteY751" fmla="*/ 69850 h 138429"/>
                <a:gd name="connsiteX752" fmla="*/ 2776850 w 4940931"/>
                <a:gd name="connsiteY752" fmla="*/ 64770 h 138429"/>
                <a:gd name="connsiteX753" fmla="*/ 2773040 w 4940931"/>
                <a:gd name="connsiteY753" fmla="*/ 58420 h 138429"/>
                <a:gd name="connsiteX754" fmla="*/ 2771770 w 4940931"/>
                <a:gd name="connsiteY754" fmla="*/ 50165 h 138429"/>
                <a:gd name="connsiteX755" fmla="*/ 2773675 w 4940931"/>
                <a:gd name="connsiteY755" fmla="*/ 40640 h 138429"/>
                <a:gd name="connsiteX756" fmla="*/ 2779390 w 4940931"/>
                <a:gd name="connsiteY756" fmla="*/ 34290 h 138429"/>
                <a:gd name="connsiteX757" fmla="*/ 2787645 w 4940931"/>
                <a:gd name="connsiteY757" fmla="*/ 30480 h 138429"/>
                <a:gd name="connsiteX758" fmla="*/ 2798440 w 4940931"/>
                <a:gd name="connsiteY758" fmla="*/ 29210 h 138429"/>
                <a:gd name="connsiteX759" fmla="*/ 2723510 w 4940931"/>
                <a:gd name="connsiteY759" fmla="*/ 29210 h 138429"/>
                <a:gd name="connsiteX760" fmla="*/ 2729225 w 4940931"/>
                <a:gd name="connsiteY760" fmla="*/ 29210 h 138429"/>
                <a:gd name="connsiteX761" fmla="*/ 2741290 w 4940931"/>
                <a:gd name="connsiteY761" fmla="*/ 31750 h 138429"/>
                <a:gd name="connsiteX762" fmla="*/ 2750180 w 4940931"/>
                <a:gd name="connsiteY762" fmla="*/ 38100 h 138429"/>
                <a:gd name="connsiteX763" fmla="*/ 2755260 w 4940931"/>
                <a:gd name="connsiteY763" fmla="*/ 48895 h 138429"/>
                <a:gd name="connsiteX764" fmla="*/ 2757165 w 4940931"/>
                <a:gd name="connsiteY764" fmla="*/ 64135 h 138429"/>
                <a:gd name="connsiteX765" fmla="*/ 2757165 w 4940931"/>
                <a:gd name="connsiteY765" fmla="*/ 108585 h 138429"/>
                <a:gd name="connsiteX766" fmla="*/ 2741925 w 4940931"/>
                <a:gd name="connsiteY766" fmla="*/ 108585 h 138429"/>
                <a:gd name="connsiteX767" fmla="*/ 2741290 w 4940931"/>
                <a:gd name="connsiteY767" fmla="*/ 108585 h 138429"/>
                <a:gd name="connsiteX768" fmla="*/ 2741290 w 4940931"/>
                <a:gd name="connsiteY768" fmla="*/ 64770 h 138429"/>
                <a:gd name="connsiteX769" fmla="*/ 2737480 w 4940931"/>
                <a:gd name="connsiteY769" fmla="*/ 48895 h 138429"/>
                <a:gd name="connsiteX770" fmla="*/ 2725415 w 4940931"/>
                <a:gd name="connsiteY770" fmla="*/ 43180 h 138429"/>
                <a:gd name="connsiteX771" fmla="*/ 2718430 w 4940931"/>
                <a:gd name="connsiteY771" fmla="*/ 44450 h 138429"/>
                <a:gd name="connsiteX772" fmla="*/ 2713350 w 4940931"/>
                <a:gd name="connsiteY772" fmla="*/ 48260 h 138429"/>
                <a:gd name="connsiteX773" fmla="*/ 2710175 w 4940931"/>
                <a:gd name="connsiteY773" fmla="*/ 54610 h 138429"/>
                <a:gd name="connsiteX774" fmla="*/ 2709540 w 4940931"/>
                <a:gd name="connsiteY774" fmla="*/ 62865 h 138429"/>
                <a:gd name="connsiteX775" fmla="*/ 2709540 w 4940931"/>
                <a:gd name="connsiteY775" fmla="*/ 108585 h 138429"/>
                <a:gd name="connsiteX776" fmla="*/ 2694300 w 4940931"/>
                <a:gd name="connsiteY776" fmla="*/ 108585 h 138429"/>
                <a:gd name="connsiteX777" fmla="*/ 2694300 w 4940931"/>
                <a:gd name="connsiteY777" fmla="*/ 30480 h 138429"/>
                <a:gd name="connsiteX778" fmla="*/ 2709540 w 4940931"/>
                <a:gd name="connsiteY778" fmla="*/ 30480 h 138429"/>
                <a:gd name="connsiteX779" fmla="*/ 2709540 w 4940931"/>
                <a:gd name="connsiteY779" fmla="*/ 38100 h 138429"/>
                <a:gd name="connsiteX780" fmla="*/ 2713350 w 4940931"/>
                <a:gd name="connsiteY780" fmla="*/ 34290 h 138429"/>
                <a:gd name="connsiteX781" fmla="*/ 2717795 w 4940931"/>
                <a:gd name="connsiteY781" fmla="*/ 31115 h 138429"/>
                <a:gd name="connsiteX782" fmla="*/ 2723510 w 4940931"/>
                <a:gd name="connsiteY782" fmla="*/ 29210 h 138429"/>
                <a:gd name="connsiteX783" fmla="*/ 2530470 w 4940931"/>
                <a:gd name="connsiteY783" fmla="*/ 29210 h 138429"/>
                <a:gd name="connsiteX784" fmla="*/ 2545075 w 4940931"/>
                <a:gd name="connsiteY784" fmla="*/ 32385 h 138429"/>
                <a:gd name="connsiteX785" fmla="*/ 2555235 w 4940931"/>
                <a:gd name="connsiteY785" fmla="*/ 40640 h 138429"/>
                <a:gd name="connsiteX786" fmla="*/ 2561585 w 4940931"/>
                <a:gd name="connsiteY786" fmla="*/ 53340 h 138429"/>
                <a:gd name="connsiteX787" fmla="*/ 2563490 w 4940931"/>
                <a:gd name="connsiteY787" fmla="*/ 68580 h 138429"/>
                <a:gd name="connsiteX788" fmla="*/ 2562220 w 4940931"/>
                <a:gd name="connsiteY788" fmla="*/ 68580 h 138429"/>
                <a:gd name="connsiteX789" fmla="*/ 2562220 w 4940931"/>
                <a:gd name="connsiteY789" fmla="*/ 72390 h 138429"/>
                <a:gd name="connsiteX790" fmla="*/ 2562220 w 4940931"/>
                <a:gd name="connsiteY790" fmla="*/ 75565 h 138429"/>
                <a:gd name="connsiteX791" fmla="*/ 2510785 w 4940931"/>
                <a:gd name="connsiteY791" fmla="*/ 75565 h 138429"/>
                <a:gd name="connsiteX792" fmla="*/ 2513325 w 4940931"/>
                <a:gd name="connsiteY792" fmla="*/ 85090 h 138429"/>
                <a:gd name="connsiteX793" fmla="*/ 2517770 w 4940931"/>
                <a:gd name="connsiteY793" fmla="*/ 91440 h 138429"/>
                <a:gd name="connsiteX794" fmla="*/ 2523485 w 4940931"/>
                <a:gd name="connsiteY794" fmla="*/ 95250 h 138429"/>
                <a:gd name="connsiteX795" fmla="*/ 2530470 w 4940931"/>
                <a:gd name="connsiteY795" fmla="*/ 96520 h 138429"/>
                <a:gd name="connsiteX796" fmla="*/ 2535550 w 4940931"/>
                <a:gd name="connsiteY796" fmla="*/ 96520 h 138429"/>
                <a:gd name="connsiteX797" fmla="*/ 2539995 w 4940931"/>
                <a:gd name="connsiteY797" fmla="*/ 95250 h 138429"/>
                <a:gd name="connsiteX798" fmla="*/ 2543805 w 4940931"/>
                <a:gd name="connsiteY798" fmla="*/ 93345 h 138429"/>
                <a:gd name="connsiteX799" fmla="*/ 2548250 w 4940931"/>
                <a:gd name="connsiteY799" fmla="*/ 90805 h 138429"/>
                <a:gd name="connsiteX800" fmla="*/ 2557140 w 4940931"/>
                <a:gd name="connsiteY800" fmla="*/ 100330 h 138429"/>
                <a:gd name="connsiteX801" fmla="*/ 2551425 w 4940931"/>
                <a:gd name="connsiteY801" fmla="*/ 104775 h 138429"/>
                <a:gd name="connsiteX802" fmla="*/ 2545710 w 4940931"/>
                <a:gd name="connsiteY802" fmla="*/ 107950 h 138429"/>
                <a:gd name="connsiteX803" fmla="*/ 2538725 w 4940931"/>
                <a:gd name="connsiteY803" fmla="*/ 109855 h 138429"/>
                <a:gd name="connsiteX804" fmla="*/ 2529835 w 4940931"/>
                <a:gd name="connsiteY804" fmla="*/ 110490 h 138429"/>
                <a:gd name="connsiteX805" fmla="*/ 2520310 w 4940931"/>
                <a:gd name="connsiteY805" fmla="*/ 109220 h 138429"/>
                <a:gd name="connsiteX806" fmla="*/ 2512690 w 4940931"/>
                <a:gd name="connsiteY806" fmla="*/ 105410 h 138429"/>
                <a:gd name="connsiteX807" fmla="*/ 2506340 w 4940931"/>
                <a:gd name="connsiteY807" fmla="*/ 100330 h 138429"/>
                <a:gd name="connsiteX808" fmla="*/ 2501260 w 4940931"/>
                <a:gd name="connsiteY808" fmla="*/ 92710 h 138429"/>
                <a:gd name="connsiteX809" fmla="*/ 2497450 w 4940931"/>
                <a:gd name="connsiteY809" fmla="*/ 82550 h 138429"/>
                <a:gd name="connsiteX810" fmla="*/ 2496180 w 4940931"/>
                <a:gd name="connsiteY810" fmla="*/ 69850 h 138429"/>
                <a:gd name="connsiteX811" fmla="*/ 2498720 w 4940931"/>
                <a:gd name="connsiteY811" fmla="*/ 52070 h 138429"/>
                <a:gd name="connsiteX812" fmla="*/ 2505705 w 4940931"/>
                <a:gd name="connsiteY812" fmla="*/ 39370 h 138429"/>
                <a:gd name="connsiteX813" fmla="*/ 2516500 w 4940931"/>
                <a:gd name="connsiteY813" fmla="*/ 31750 h 138429"/>
                <a:gd name="connsiteX814" fmla="*/ 2530470 w 4940931"/>
                <a:gd name="connsiteY814" fmla="*/ 29210 h 138429"/>
                <a:gd name="connsiteX815" fmla="*/ 2298061 w 4940931"/>
                <a:gd name="connsiteY815" fmla="*/ 29210 h 138429"/>
                <a:gd name="connsiteX816" fmla="*/ 2305681 w 4940931"/>
                <a:gd name="connsiteY816" fmla="*/ 29845 h 138429"/>
                <a:gd name="connsiteX817" fmla="*/ 2311396 w 4940931"/>
                <a:gd name="connsiteY817" fmla="*/ 32385 h 138429"/>
                <a:gd name="connsiteX818" fmla="*/ 2307586 w 4940931"/>
                <a:gd name="connsiteY818" fmla="*/ 46990 h 138429"/>
                <a:gd name="connsiteX819" fmla="*/ 2306316 w 4940931"/>
                <a:gd name="connsiteY819" fmla="*/ 46990 h 138429"/>
                <a:gd name="connsiteX820" fmla="*/ 2301236 w 4940931"/>
                <a:gd name="connsiteY820" fmla="*/ 45085 h 138429"/>
                <a:gd name="connsiteX821" fmla="*/ 2294886 w 4940931"/>
                <a:gd name="connsiteY821" fmla="*/ 44450 h 138429"/>
                <a:gd name="connsiteX822" fmla="*/ 2283456 w 4940931"/>
                <a:gd name="connsiteY822" fmla="*/ 49530 h 138429"/>
                <a:gd name="connsiteX823" fmla="*/ 2279646 w 4940931"/>
                <a:gd name="connsiteY823" fmla="*/ 64770 h 138429"/>
                <a:gd name="connsiteX824" fmla="*/ 2279646 w 4940931"/>
                <a:gd name="connsiteY824" fmla="*/ 109220 h 138429"/>
                <a:gd name="connsiteX825" fmla="*/ 2264406 w 4940931"/>
                <a:gd name="connsiteY825" fmla="*/ 109220 h 138429"/>
                <a:gd name="connsiteX826" fmla="*/ 2264406 w 4940931"/>
                <a:gd name="connsiteY826" fmla="*/ 31115 h 138429"/>
                <a:gd name="connsiteX827" fmla="*/ 2279646 w 4940931"/>
                <a:gd name="connsiteY827" fmla="*/ 31115 h 138429"/>
                <a:gd name="connsiteX828" fmla="*/ 2279646 w 4940931"/>
                <a:gd name="connsiteY828" fmla="*/ 38735 h 138429"/>
                <a:gd name="connsiteX829" fmla="*/ 2282821 w 4940931"/>
                <a:gd name="connsiteY829" fmla="*/ 34925 h 138429"/>
                <a:gd name="connsiteX830" fmla="*/ 2287266 w 4940931"/>
                <a:gd name="connsiteY830" fmla="*/ 31750 h 138429"/>
                <a:gd name="connsiteX831" fmla="*/ 2292346 w 4940931"/>
                <a:gd name="connsiteY831" fmla="*/ 29845 h 138429"/>
                <a:gd name="connsiteX832" fmla="*/ 2298061 w 4940931"/>
                <a:gd name="connsiteY832" fmla="*/ 29210 h 138429"/>
                <a:gd name="connsiteX833" fmla="*/ 2216145 w 4940931"/>
                <a:gd name="connsiteY833" fmla="*/ 29210 h 138429"/>
                <a:gd name="connsiteX834" fmla="*/ 2230750 w 4940931"/>
                <a:gd name="connsiteY834" fmla="*/ 32385 h 138429"/>
                <a:gd name="connsiteX835" fmla="*/ 2240910 w 4940931"/>
                <a:gd name="connsiteY835" fmla="*/ 40640 h 138429"/>
                <a:gd name="connsiteX836" fmla="*/ 2247260 w 4940931"/>
                <a:gd name="connsiteY836" fmla="*/ 53340 h 138429"/>
                <a:gd name="connsiteX837" fmla="*/ 2249165 w 4940931"/>
                <a:gd name="connsiteY837" fmla="*/ 68580 h 138429"/>
                <a:gd name="connsiteX838" fmla="*/ 2247895 w 4940931"/>
                <a:gd name="connsiteY838" fmla="*/ 68580 h 138429"/>
                <a:gd name="connsiteX839" fmla="*/ 2247895 w 4940931"/>
                <a:gd name="connsiteY839" fmla="*/ 72390 h 138429"/>
                <a:gd name="connsiteX840" fmla="*/ 2247895 w 4940931"/>
                <a:gd name="connsiteY840" fmla="*/ 75565 h 138429"/>
                <a:gd name="connsiteX841" fmla="*/ 2196460 w 4940931"/>
                <a:gd name="connsiteY841" fmla="*/ 75565 h 138429"/>
                <a:gd name="connsiteX842" fmla="*/ 2199000 w 4940931"/>
                <a:gd name="connsiteY842" fmla="*/ 85090 h 138429"/>
                <a:gd name="connsiteX843" fmla="*/ 2203445 w 4940931"/>
                <a:gd name="connsiteY843" fmla="*/ 91440 h 138429"/>
                <a:gd name="connsiteX844" fmla="*/ 2209160 w 4940931"/>
                <a:gd name="connsiteY844" fmla="*/ 95250 h 138429"/>
                <a:gd name="connsiteX845" fmla="*/ 2216145 w 4940931"/>
                <a:gd name="connsiteY845" fmla="*/ 96520 h 138429"/>
                <a:gd name="connsiteX846" fmla="*/ 2221225 w 4940931"/>
                <a:gd name="connsiteY846" fmla="*/ 96520 h 138429"/>
                <a:gd name="connsiteX847" fmla="*/ 2225670 w 4940931"/>
                <a:gd name="connsiteY847" fmla="*/ 95250 h 138429"/>
                <a:gd name="connsiteX848" fmla="*/ 2229480 w 4940931"/>
                <a:gd name="connsiteY848" fmla="*/ 93345 h 138429"/>
                <a:gd name="connsiteX849" fmla="*/ 2233925 w 4940931"/>
                <a:gd name="connsiteY849" fmla="*/ 90805 h 138429"/>
                <a:gd name="connsiteX850" fmla="*/ 2242815 w 4940931"/>
                <a:gd name="connsiteY850" fmla="*/ 100330 h 138429"/>
                <a:gd name="connsiteX851" fmla="*/ 2237100 w 4940931"/>
                <a:gd name="connsiteY851" fmla="*/ 104775 h 138429"/>
                <a:gd name="connsiteX852" fmla="*/ 2231385 w 4940931"/>
                <a:gd name="connsiteY852" fmla="*/ 107950 h 138429"/>
                <a:gd name="connsiteX853" fmla="*/ 2224400 w 4940931"/>
                <a:gd name="connsiteY853" fmla="*/ 109855 h 138429"/>
                <a:gd name="connsiteX854" fmla="*/ 2215510 w 4940931"/>
                <a:gd name="connsiteY854" fmla="*/ 110490 h 138429"/>
                <a:gd name="connsiteX855" fmla="*/ 2205985 w 4940931"/>
                <a:gd name="connsiteY855" fmla="*/ 109220 h 138429"/>
                <a:gd name="connsiteX856" fmla="*/ 2198365 w 4940931"/>
                <a:gd name="connsiteY856" fmla="*/ 105410 h 138429"/>
                <a:gd name="connsiteX857" fmla="*/ 2192015 w 4940931"/>
                <a:gd name="connsiteY857" fmla="*/ 100330 h 138429"/>
                <a:gd name="connsiteX858" fmla="*/ 2186935 w 4940931"/>
                <a:gd name="connsiteY858" fmla="*/ 92710 h 138429"/>
                <a:gd name="connsiteX859" fmla="*/ 2183125 w 4940931"/>
                <a:gd name="connsiteY859" fmla="*/ 82550 h 138429"/>
                <a:gd name="connsiteX860" fmla="*/ 2181855 w 4940931"/>
                <a:gd name="connsiteY860" fmla="*/ 69850 h 138429"/>
                <a:gd name="connsiteX861" fmla="*/ 2184395 w 4940931"/>
                <a:gd name="connsiteY861" fmla="*/ 52070 h 138429"/>
                <a:gd name="connsiteX862" fmla="*/ 2191380 w 4940931"/>
                <a:gd name="connsiteY862" fmla="*/ 39370 h 138429"/>
                <a:gd name="connsiteX863" fmla="*/ 2202175 w 4940931"/>
                <a:gd name="connsiteY863" fmla="*/ 31750 h 138429"/>
                <a:gd name="connsiteX864" fmla="*/ 2216145 w 4940931"/>
                <a:gd name="connsiteY864" fmla="*/ 29210 h 138429"/>
                <a:gd name="connsiteX865" fmla="*/ 2029456 w 4940931"/>
                <a:gd name="connsiteY865" fmla="*/ 29210 h 138429"/>
                <a:gd name="connsiteX866" fmla="*/ 2044061 w 4940931"/>
                <a:gd name="connsiteY866" fmla="*/ 32385 h 138429"/>
                <a:gd name="connsiteX867" fmla="*/ 2054221 w 4940931"/>
                <a:gd name="connsiteY867" fmla="*/ 40640 h 138429"/>
                <a:gd name="connsiteX868" fmla="*/ 2060571 w 4940931"/>
                <a:gd name="connsiteY868" fmla="*/ 53340 h 138429"/>
                <a:gd name="connsiteX869" fmla="*/ 2062476 w 4940931"/>
                <a:gd name="connsiteY869" fmla="*/ 68580 h 138429"/>
                <a:gd name="connsiteX870" fmla="*/ 2061206 w 4940931"/>
                <a:gd name="connsiteY870" fmla="*/ 68580 h 138429"/>
                <a:gd name="connsiteX871" fmla="*/ 2061206 w 4940931"/>
                <a:gd name="connsiteY871" fmla="*/ 72390 h 138429"/>
                <a:gd name="connsiteX872" fmla="*/ 2061206 w 4940931"/>
                <a:gd name="connsiteY872" fmla="*/ 75565 h 138429"/>
                <a:gd name="connsiteX873" fmla="*/ 2009771 w 4940931"/>
                <a:gd name="connsiteY873" fmla="*/ 75565 h 138429"/>
                <a:gd name="connsiteX874" fmla="*/ 2012311 w 4940931"/>
                <a:gd name="connsiteY874" fmla="*/ 85090 h 138429"/>
                <a:gd name="connsiteX875" fmla="*/ 2016756 w 4940931"/>
                <a:gd name="connsiteY875" fmla="*/ 91440 h 138429"/>
                <a:gd name="connsiteX876" fmla="*/ 2022471 w 4940931"/>
                <a:gd name="connsiteY876" fmla="*/ 95250 h 138429"/>
                <a:gd name="connsiteX877" fmla="*/ 2029456 w 4940931"/>
                <a:gd name="connsiteY877" fmla="*/ 96520 h 138429"/>
                <a:gd name="connsiteX878" fmla="*/ 2034536 w 4940931"/>
                <a:gd name="connsiteY878" fmla="*/ 96520 h 138429"/>
                <a:gd name="connsiteX879" fmla="*/ 2038981 w 4940931"/>
                <a:gd name="connsiteY879" fmla="*/ 95250 h 138429"/>
                <a:gd name="connsiteX880" fmla="*/ 2042791 w 4940931"/>
                <a:gd name="connsiteY880" fmla="*/ 93345 h 138429"/>
                <a:gd name="connsiteX881" fmla="*/ 2047236 w 4940931"/>
                <a:gd name="connsiteY881" fmla="*/ 90805 h 138429"/>
                <a:gd name="connsiteX882" fmla="*/ 2056126 w 4940931"/>
                <a:gd name="connsiteY882" fmla="*/ 100330 h 138429"/>
                <a:gd name="connsiteX883" fmla="*/ 2050411 w 4940931"/>
                <a:gd name="connsiteY883" fmla="*/ 104775 h 138429"/>
                <a:gd name="connsiteX884" fmla="*/ 2044696 w 4940931"/>
                <a:gd name="connsiteY884" fmla="*/ 107950 h 138429"/>
                <a:gd name="connsiteX885" fmla="*/ 2037711 w 4940931"/>
                <a:gd name="connsiteY885" fmla="*/ 109855 h 138429"/>
                <a:gd name="connsiteX886" fmla="*/ 2028821 w 4940931"/>
                <a:gd name="connsiteY886" fmla="*/ 110490 h 138429"/>
                <a:gd name="connsiteX887" fmla="*/ 2019296 w 4940931"/>
                <a:gd name="connsiteY887" fmla="*/ 109220 h 138429"/>
                <a:gd name="connsiteX888" fmla="*/ 2011676 w 4940931"/>
                <a:gd name="connsiteY888" fmla="*/ 105410 h 138429"/>
                <a:gd name="connsiteX889" fmla="*/ 2005326 w 4940931"/>
                <a:gd name="connsiteY889" fmla="*/ 100330 h 138429"/>
                <a:gd name="connsiteX890" fmla="*/ 2000246 w 4940931"/>
                <a:gd name="connsiteY890" fmla="*/ 92710 h 138429"/>
                <a:gd name="connsiteX891" fmla="*/ 1996436 w 4940931"/>
                <a:gd name="connsiteY891" fmla="*/ 82550 h 138429"/>
                <a:gd name="connsiteX892" fmla="*/ 1995166 w 4940931"/>
                <a:gd name="connsiteY892" fmla="*/ 69850 h 138429"/>
                <a:gd name="connsiteX893" fmla="*/ 1997706 w 4940931"/>
                <a:gd name="connsiteY893" fmla="*/ 52070 h 138429"/>
                <a:gd name="connsiteX894" fmla="*/ 2004691 w 4940931"/>
                <a:gd name="connsiteY894" fmla="*/ 39370 h 138429"/>
                <a:gd name="connsiteX895" fmla="*/ 2015486 w 4940931"/>
                <a:gd name="connsiteY895" fmla="*/ 31750 h 138429"/>
                <a:gd name="connsiteX896" fmla="*/ 2029456 w 4940931"/>
                <a:gd name="connsiteY896" fmla="*/ 29210 h 138429"/>
                <a:gd name="connsiteX897" fmla="*/ 1831336 w 4940931"/>
                <a:gd name="connsiteY897" fmla="*/ 29210 h 138429"/>
                <a:gd name="connsiteX898" fmla="*/ 1845941 w 4940931"/>
                <a:gd name="connsiteY898" fmla="*/ 32385 h 138429"/>
                <a:gd name="connsiteX899" fmla="*/ 1856101 w 4940931"/>
                <a:gd name="connsiteY899" fmla="*/ 40640 h 138429"/>
                <a:gd name="connsiteX900" fmla="*/ 1862451 w 4940931"/>
                <a:gd name="connsiteY900" fmla="*/ 53340 h 138429"/>
                <a:gd name="connsiteX901" fmla="*/ 1864356 w 4940931"/>
                <a:gd name="connsiteY901" fmla="*/ 68580 h 138429"/>
                <a:gd name="connsiteX902" fmla="*/ 1863086 w 4940931"/>
                <a:gd name="connsiteY902" fmla="*/ 68580 h 138429"/>
                <a:gd name="connsiteX903" fmla="*/ 1863086 w 4940931"/>
                <a:gd name="connsiteY903" fmla="*/ 72390 h 138429"/>
                <a:gd name="connsiteX904" fmla="*/ 1863086 w 4940931"/>
                <a:gd name="connsiteY904" fmla="*/ 75565 h 138429"/>
                <a:gd name="connsiteX905" fmla="*/ 1811651 w 4940931"/>
                <a:gd name="connsiteY905" fmla="*/ 75565 h 138429"/>
                <a:gd name="connsiteX906" fmla="*/ 1814191 w 4940931"/>
                <a:gd name="connsiteY906" fmla="*/ 85090 h 138429"/>
                <a:gd name="connsiteX907" fmla="*/ 1818636 w 4940931"/>
                <a:gd name="connsiteY907" fmla="*/ 91440 h 138429"/>
                <a:gd name="connsiteX908" fmla="*/ 1824351 w 4940931"/>
                <a:gd name="connsiteY908" fmla="*/ 95250 h 138429"/>
                <a:gd name="connsiteX909" fmla="*/ 1831336 w 4940931"/>
                <a:gd name="connsiteY909" fmla="*/ 96520 h 138429"/>
                <a:gd name="connsiteX910" fmla="*/ 1836416 w 4940931"/>
                <a:gd name="connsiteY910" fmla="*/ 96520 h 138429"/>
                <a:gd name="connsiteX911" fmla="*/ 1840861 w 4940931"/>
                <a:gd name="connsiteY911" fmla="*/ 95250 h 138429"/>
                <a:gd name="connsiteX912" fmla="*/ 1844671 w 4940931"/>
                <a:gd name="connsiteY912" fmla="*/ 93345 h 138429"/>
                <a:gd name="connsiteX913" fmla="*/ 1849116 w 4940931"/>
                <a:gd name="connsiteY913" fmla="*/ 90805 h 138429"/>
                <a:gd name="connsiteX914" fmla="*/ 1858006 w 4940931"/>
                <a:gd name="connsiteY914" fmla="*/ 100330 h 138429"/>
                <a:gd name="connsiteX915" fmla="*/ 1852291 w 4940931"/>
                <a:gd name="connsiteY915" fmla="*/ 104775 h 138429"/>
                <a:gd name="connsiteX916" fmla="*/ 1846576 w 4940931"/>
                <a:gd name="connsiteY916" fmla="*/ 107950 h 138429"/>
                <a:gd name="connsiteX917" fmla="*/ 1839591 w 4940931"/>
                <a:gd name="connsiteY917" fmla="*/ 109855 h 138429"/>
                <a:gd name="connsiteX918" fmla="*/ 1830701 w 4940931"/>
                <a:gd name="connsiteY918" fmla="*/ 110490 h 138429"/>
                <a:gd name="connsiteX919" fmla="*/ 1821176 w 4940931"/>
                <a:gd name="connsiteY919" fmla="*/ 109220 h 138429"/>
                <a:gd name="connsiteX920" fmla="*/ 1813556 w 4940931"/>
                <a:gd name="connsiteY920" fmla="*/ 105410 h 138429"/>
                <a:gd name="connsiteX921" fmla="*/ 1807206 w 4940931"/>
                <a:gd name="connsiteY921" fmla="*/ 100330 h 138429"/>
                <a:gd name="connsiteX922" fmla="*/ 1802126 w 4940931"/>
                <a:gd name="connsiteY922" fmla="*/ 92710 h 138429"/>
                <a:gd name="connsiteX923" fmla="*/ 1798316 w 4940931"/>
                <a:gd name="connsiteY923" fmla="*/ 82550 h 138429"/>
                <a:gd name="connsiteX924" fmla="*/ 1797046 w 4940931"/>
                <a:gd name="connsiteY924" fmla="*/ 69850 h 138429"/>
                <a:gd name="connsiteX925" fmla="*/ 1799586 w 4940931"/>
                <a:gd name="connsiteY925" fmla="*/ 52070 h 138429"/>
                <a:gd name="connsiteX926" fmla="*/ 1806571 w 4940931"/>
                <a:gd name="connsiteY926" fmla="*/ 39370 h 138429"/>
                <a:gd name="connsiteX927" fmla="*/ 1817366 w 4940931"/>
                <a:gd name="connsiteY927" fmla="*/ 31750 h 138429"/>
                <a:gd name="connsiteX928" fmla="*/ 1831336 w 4940931"/>
                <a:gd name="connsiteY928" fmla="*/ 29210 h 138429"/>
                <a:gd name="connsiteX929" fmla="*/ 1501140 w 4940931"/>
                <a:gd name="connsiteY929" fmla="*/ 29210 h 138429"/>
                <a:gd name="connsiteX930" fmla="*/ 1506856 w 4940931"/>
                <a:gd name="connsiteY930" fmla="*/ 29210 h 138429"/>
                <a:gd name="connsiteX931" fmla="*/ 1518920 w 4940931"/>
                <a:gd name="connsiteY931" fmla="*/ 31750 h 138429"/>
                <a:gd name="connsiteX932" fmla="*/ 1527811 w 4940931"/>
                <a:gd name="connsiteY932" fmla="*/ 38100 h 138429"/>
                <a:gd name="connsiteX933" fmla="*/ 1532891 w 4940931"/>
                <a:gd name="connsiteY933" fmla="*/ 48895 h 138429"/>
                <a:gd name="connsiteX934" fmla="*/ 1534796 w 4940931"/>
                <a:gd name="connsiteY934" fmla="*/ 64135 h 138429"/>
                <a:gd name="connsiteX935" fmla="*/ 1534796 w 4940931"/>
                <a:gd name="connsiteY935" fmla="*/ 108585 h 138429"/>
                <a:gd name="connsiteX936" fmla="*/ 1519556 w 4940931"/>
                <a:gd name="connsiteY936" fmla="*/ 108585 h 138429"/>
                <a:gd name="connsiteX937" fmla="*/ 1518920 w 4940931"/>
                <a:gd name="connsiteY937" fmla="*/ 108585 h 138429"/>
                <a:gd name="connsiteX938" fmla="*/ 1518920 w 4940931"/>
                <a:gd name="connsiteY938" fmla="*/ 64770 h 138429"/>
                <a:gd name="connsiteX939" fmla="*/ 1515111 w 4940931"/>
                <a:gd name="connsiteY939" fmla="*/ 48895 h 138429"/>
                <a:gd name="connsiteX940" fmla="*/ 1503046 w 4940931"/>
                <a:gd name="connsiteY940" fmla="*/ 43180 h 138429"/>
                <a:gd name="connsiteX941" fmla="*/ 1496061 w 4940931"/>
                <a:gd name="connsiteY941" fmla="*/ 44450 h 138429"/>
                <a:gd name="connsiteX942" fmla="*/ 1490981 w 4940931"/>
                <a:gd name="connsiteY942" fmla="*/ 48260 h 138429"/>
                <a:gd name="connsiteX943" fmla="*/ 1487806 w 4940931"/>
                <a:gd name="connsiteY943" fmla="*/ 54610 h 138429"/>
                <a:gd name="connsiteX944" fmla="*/ 1487170 w 4940931"/>
                <a:gd name="connsiteY944" fmla="*/ 62865 h 138429"/>
                <a:gd name="connsiteX945" fmla="*/ 1487170 w 4940931"/>
                <a:gd name="connsiteY945" fmla="*/ 108585 h 138429"/>
                <a:gd name="connsiteX946" fmla="*/ 1471931 w 4940931"/>
                <a:gd name="connsiteY946" fmla="*/ 108585 h 138429"/>
                <a:gd name="connsiteX947" fmla="*/ 1471931 w 4940931"/>
                <a:gd name="connsiteY947" fmla="*/ 30480 h 138429"/>
                <a:gd name="connsiteX948" fmla="*/ 1487170 w 4940931"/>
                <a:gd name="connsiteY948" fmla="*/ 30480 h 138429"/>
                <a:gd name="connsiteX949" fmla="*/ 1487170 w 4940931"/>
                <a:gd name="connsiteY949" fmla="*/ 38100 h 138429"/>
                <a:gd name="connsiteX950" fmla="*/ 1490981 w 4940931"/>
                <a:gd name="connsiteY950" fmla="*/ 34290 h 138429"/>
                <a:gd name="connsiteX951" fmla="*/ 1495426 w 4940931"/>
                <a:gd name="connsiteY951" fmla="*/ 31115 h 138429"/>
                <a:gd name="connsiteX952" fmla="*/ 1501140 w 4940931"/>
                <a:gd name="connsiteY952" fmla="*/ 29210 h 138429"/>
                <a:gd name="connsiteX953" fmla="*/ 1250316 w 4940931"/>
                <a:gd name="connsiteY953" fmla="*/ 29210 h 138429"/>
                <a:gd name="connsiteX954" fmla="*/ 1264286 w 4940931"/>
                <a:gd name="connsiteY954" fmla="*/ 31750 h 138429"/>
                <a:gd name="connsiteX955" fmla="*/ 1276350 w 4940931"/>
                <a:gd name="connsiteY955" fmla="*/ 38100 h 138429"/>
                <a:gd name="connsiteX956" fmla="*/ 1278256 w 4940931"/>
                <a:gd name="connsiteY956" fmla="*/ 38100 h 138429"/>
                <a:gd name="connsiteX957" fmla="*/ 1271271 w 4940931"/>
                <a:gd name="connsiteY957" fmla="*/ 50165 h 138429"/>
                <a:gd name="connsiteX958" fmla="*/ 1261746 w 4940931"/>
                <a:gd name="connsiteY958" fmla="*/ 45085 h 138429"/>
                <a:gd name="connsiteX959" fmla="*/ 1250951 w 4940931"/>
                <a:gd name="connsiteY959" fmla="*/ 43180 h 138429"/>
                <a:gd name="connsiteX960" fmla="*/ 1242696 w 4940931"/>
                <a:gd name="connsiteY960" fmla="*/ 45085 h 138429"/>
                <a:gd name="connsiteX961" fmla="*/ 1240156 w 4940931"/>
                <a:gd name="connsiteY961" fmla="*/ 50165 h 138429"/>
                <a:gd name="connsiteX962" fmla="*/ 1240156 w 4940931"/>
                <a:gd name="connsiteY962" fmla="*/ 52705 h 138429"/>
                <a:gd name="connsiteX963" fmla="*/ 1242061 w 4940931"/>
                <a:gd name="connsiteY963" fmla="*/ 55245 h 138429"/>
                <a:gd name="connsiteX964" fmla="*/ 1246506 w 4940931"/>
                <a:gd name="connsiteY964" fmla="*/ 57785 h 138429"/>
                <a:gd name="connsiteX965" fmla="*/ 1253491 w 4940931"/>
                <a:gd name="connsiteY965" fmla="*/ 60960 h 138429"/>
                <a:gd name="connsiteX966" fmla="*/ 1264921 w 4940931"/>
                <a:gd name="connsiteY966" fmla="*/ 66040 h 138429"/>
                <a:gd name="connsiteX967" fmla="*/ 1273176 w 4940931"/>
                <a:gd name="connsiteY967" fmla="*/ 71120 h 138429"/>
                <a:gd name="connsiteX968" fmla="*/ 1278256 w 4940931"/>
                <a:gd name="connsiteY968" fmla="*/ 78105 h 138429"/>
                <a:gd name="connsiteX969" fmla="*/ 1280161 w 4940931"/>
                <a:gd name="connsiteY969" fmla="*/ 87630 h 138429"/>
                <a:gd name="connsiteX970" fmla="*/ 1277621 w 4940931"/>
                <a:gd name="connsiteY970" fmla="*/ 98425 h 138429"/>
                <a:gd name="connsiteX971" fmla="*/ 1271271 w 4940931"/>
                <a:gd name="connsiteY971" fmla="*/ 105410 h 138429"/>
                <a:gd name="connsiteX972" fmla="*/ 1261746 w 4940931"/>
                <a:gd name="connsiteY972" fmla="*/ 109220 h 138429"/>
                <a:gd name="connsiteX973" fmla="*/ 1250951 w 4940931"/>
                <a:gd name="connsiteY973" fmla="*/ 110490 h 138429"/>
                <a:gd name="connsiteX974" fmla="*/ 1235711 w 4940931"/>
                <a:gd name="connsiteY974" fmla="*/ 107950 h 138429"/>
                <a:gd name="connsiteX975" fmla="*/ 1221106 w 4940931"/>
                <a:gd name="connsiteY975" fmla="*/ 100965 h 138429"/>
                <a:gd name="connsiteX976" fmla="*/ 1228091 w 4940931"/>
                <a:gd name="connsiteY976" fmla="*/ 89535 h 138429"/>
                <a:gd name="connsiteX977" fmla="*/ 1239521 w 4940931"/>
                <a:gd name="connsiteY977" fmla="*/ 95250 h 138429"/>
                <a:gd name="connsiteX978" fmla="*/ 1250951 w 4940931"/>
                <a:gd name="connsiteY978" fmla="*/ 97155 h 138429"/>
                <a:gd name="connsiteX979" fmla="*/ 1261746 w 4940931"/>
                <a:gd name="connsiteY979" fmla="*/ 94615 h 138429"/>
                <a:gd name="connsiteX980" fmla="*/ 1264921 w 4940931"/>
                <a:gd name="connsiteY980" fmla="*/ 88265 h 138429"/>
                <a:gd name="connsiteX981" fmla="*/ 1263650 w 4940931"/>
                <a:gd name="connsiteY981" fmla="*/ 84455 h 138429"/>
                <a:gd name="connsiteX982" fmla="*/ 1259841 w 4940931"/>
                <a:gd name="connsiteY982" fmla="*/ 81280 h 138429"/>
                <a:gd name="connsiteX983" fmla="*/ 1254125 w 4940931"/>
                <a:gd name="connsiteY983" fmla="*/ 78105 h 138429"/>
                <a:gd name="connsiteX984" fmla="*/ 1246506 w 4940931"/>
                <a:gd name="connsiteY984" fmla="*/ 74930 h 138429"/>
                <a:gd name="connsiteX985" fmla="*/ 1235711 w 4940931"/>
                <a:gd name="connsiteY985" fmla="*/ 69850 h 138429"/>
                <a:gd name="connsiteX986" fmla="*/ 1228726 w 4940931"/>
                <a:gd name="connsiteY986" fmla="*/ 64770 h 138429"/>
                <a:gd name="connsiteX987" fmla="*/ 1224916 w 4940931"/>
                <a:gd name="connsiteY987" fmla="*/ 58420 h 138429"/>
                <a:gd name="connsiteX988" fmla="*/ 1223646 w 4940931"/>
                <a:gd name="connsiteY988" fmla="*/ 50165 h 138429"/>
                <a:gd name="connsiteX989" fmla="*/ 1225551 w 4940931"/>
                <a:gd name="connsiteY989" fmla="*/ 40640 h 138429"/>
                <a:gd name="connsiteX990" fmla="*/ 1231266 w 4940931"/>
                <a:gd name="connsiteY990" fmla="*/ 34290 h 138429"/>
                <a:gd name="connsiteX991" fmla="*/ 1239521 w 4940931"/>
                <a:gd name="connsiteY991" fmla="*/ 30480 h 138429"/>
                <a:gd name="connsiteX992" fmla="*/ 1250316 w 4940931"/>
                <a:gd name="connsiteY992" fmla="*/ 29210 h 138429"/>
                <a:gd name="connsiteX993" fmla="*/ 1180466 w 4940931"/>
                <a:gd name="connsiteY993" fmla="*/ 29210 h 138429"/>
                <a:gd name="connsiteX994" fmla="*/ 1195071 w 4940931"/>
                <a:gd name="connsiteY994" fmla="*/ 32385 h 138429"/>
                <a:gd name="connsiteX995" fmla="*/ 1205231 w 4940931"/>
                <a:gd name="connsiteY995" fmla="*/ 40640 h 138429"/>
                <a:gd name="connsiteX996" fmla="*/ 1211581 w 4940931"/>
                <a:gd name="connsiteY996" fmla="*/ 53340 h 138429"/>
                <a:gd name="connsiteX997" fmla="*/ 1213486 w 4940931"/>
                <a:gd name="connsiteY997" fmla="*/ 68580 h 138429"/>
                <a:gd name="connsiteX998" fmla="*/ 1212216 w 4940931"/>
                <a:gd name="connsiteY998" fmla="*/ 68580 h 138429"/>
                <a:gd name="connsiteX999" fmla="*/ 1212216 w 4940931"/>
                <a:gd name="connsiteY999" fmla="*/ 72390 h 138429"/>
                <a:gd name="connsiteX1000" fmla="*/ 1212216 w 4940931"/>
                <a:gd name="connsiteY1000" fmla="*/ 75565 h 138429"/>
                <a:gd name="connsiteX1001" fmla="*/ 1160781 w 4940931"/>
                <a:gd name="connsiteY1001" fmla="*/ 75565 h 138429"/>
                <a:gd name="connsiteX1002" fmla="*/ 1163321 w 4940931"/>
                <a:gd name="connsiteY1002" fmla="*/ 85090 h 138429"/>
                <a:gd name="connsiteX1003" fmla="*/ 1167766 w 4940931"/>
                <a:gd name="connsiteY1003" fmla="*/ 91440 h 138429"/>
                <a:gd name="connsiteX1004" fmla="*/ 1173481 w 4940931"/>
                <a:gd name="connsiteY1004" fmla="*/ 95250 h 138429"/>
                <a:gd name="connsiteX1005" fmla="*/ 1180466 w 4940931"/>
                <a:gd name="connsiteY1005" fmla="*/ 96520 h 138429"/>
                <a:gd name="connsiteX1006" fmla="*/ 1185546 w 4940931"/>
                <a:gd name="connsiteY1006" fmla="*/ 96520 h 138429"/>
                <a:gd name="connsiteX1007" fmla="*/ 1189991 w 4940931"/>
                <a:gd name="connsiteY1007" fmla="*/ 95250 h 138429"/>
                <a:gd name="connsiteX1008" fmla="*/ 1193801 w 4940931"/>
                <a:gd name="connsiteY1008" fmla="*/ 93345 h 138429"/>
                <a:gd name="connsiteX1009" fmla="*/ 1198246 w 4940931"/>
                <a:gd name="connsiteY1009" fmla="*/ 90805 h 138429"/>
                <a:gd name="connsiteX1010" fmla="*/ 1207136 w 4940931"/>
                <a:gd name="connsiteY1010" fmla="*/ 100330 h 138429"/>
                <a:gd name="connsiteX1011" fmla="*/ 1201421 w 4940931"/>
                <a:gd name="connsiteY1011" fmla="*/ 104775 h 138429"/>
                <a:gd name="connsiteX1012" fmla="*/ 1195706 w 4940931"/>
                <a:gd name="connsiteY1012" fmla="*/ 107950 h 138429"/>
                <a:gd name="connsiteX1013" fmla="*/ 1188721 w 4940931"/>
                <a:gd name="connsiteY1013" fmla="*/ 109855 h 138429"/>
                <a:gd name="connsiteX1014" fmla="*/ 1179831 w 4940931"/>
                <a:gd name="connsiteY1014" fmla="*/ 110490 h 138429"/>
                <a:gd name="connsiteX1015" fmla="*/ 1170306 w 4940931"/>
                <a:gd name="connsiteY1015" fmla="*/ 109220 h 138429"/>
                <a:gd name="connsiteX1016" fmla="*/ 1162686 w 4940931"/>
                <a:gd name="connsiteY1016" fmla="*/ 105410 h 138429"/>
                <a:gd name="connsiteX1017" fmla="*/ 1156336 w 4940931"/>
                <a:gd name="connsiteY1017" fmla="*/ 100330 h 138429"/>
                <a:gd name="connsiteX1018" fmla="*/ 1151256 w 4940931"/>
                <a:gd name="connsiteY1018" fmla="*/ 92710 h 138429"/>
                <a:gd name="connsiteX1019" fmla="*/ 1147446 w 4940931"/>
                <a:gd name="connsiteY1019" fmla="*/ 82550 h 138429"/>
                <a:gd name="connsiteX1020" fmla="*/ 1146176 w 4940931"/>
                <a:gd name="connsiteY1020" fmla="*/ 69850 h 138429"/>
                <a:gd name="connsiteX1021" fmla="*/ 1148716 w 4940931"/>
                <a:gd name="connsiteY1021" fmla="*/ 52070 h 138429"/>
                <a:gd name="connsiteX1022" fmla="*/ 1155701 w 4940931"/>
                <a:gd name="connsiteY1022" fmla="*/ 39370 h 138429"/>
                <a:gd name="connsiteX1023" fmla="*/ 1166496 w 4940931"/>
                <a:gd name="connsiteY1023" fmla="*/ 31750 h 138429"/>
                <a:gd name="connsiteX1024" fmla="*/ 1180466 w 4940931"/>
                <a:gd name="connsiteY1024" fmla="*/ 29210 h 138429"/>
                <a:gd name="connsiteX1025" fmla="*/ 901065 w 4940931"/>
                <a:gd name="connsiteY1025" fmla="*/ 29210 h 138429"/>
                <a:gd name="connsiteX1026" fmla="*/ 915670 w 4940931"/>
                <a:gd name="connsiteY1026" fmla="*/ 32385 h 138429"/>
                <a:gd name="connsiteX1027" fmla="*/ 925830 w 4940931"/>
                <a:gd name="connsiteY1027" fmla="*/ 40640 h 138429"/>
                <a:gd name="connsiteX1028" fmla="*/ 932180 w 4940931"/>
                <a:gd name="connsiteY1028" fmla="*/ 53340 h 138429"/>
                <a:gd name="connsiteX1029" fmla="*/ 934085 w 4940931"/>
                <a:gd name="connsiteY1029" fmla="*/ 68580 h 138429"/>
                <a:gd name="connsiteX1030" fmla="*/ 932815 w 4940931"/>
                <a:gd name="connsiteY1030" fmla="*/ 68580 h 138429"/>
                <a:gd name="connsiteX1031" fmla="*/ 932815 w 4940931"/>
                <a:gd name="connsiteY1031" fmla="*/ 72390 h 138429"/>
                <a:gd name="connsiteX1032" fmla="*/ 932815 w 4940931"/>
                <a:gd name="connsiteY1032" fmla="*/ 75565 h 138429"/>
                <a:gd name="connsiteX1033" fmla="*/ 881380 w 4940931"/>
                <a:gd name="connsiteY1033" fmla="*/ 75565 h 138429"/>
                <a:gd name="connsiteX1034" fmla="*/ 883920 w 4940931"/>
                <a:gd name="connsiteY1034" fmla="*/ 85090 h 138429"/>
                <a:gd name="connsiteX1035" fmla="*/ 888365 w 4940931"/>
                <a:gd name="connsiteY1035" fmla="*/ 91440 h 138429"/>
                <a:gd name="connsiteX1036" fmla="*/ 894080 w 4940931"/>
                <a:gd name="connsiteY1036" fmla="*/ 95250 h 138429"/>
                <a:gd name="connsiteX1037" fmla="*/ 901065 w 4940931"/>
                <a:gd name="connsiteY1037" fmla="*/ 96520 h 138429"/>
                <a:gd name="connsiteX1038" fmla="*/ 906145 w 4940931"/>
                <a:gd name="connsiteY1038" fmla="*/ 96520 h 138429"/>
                <a:gd name="connsiteX1039" fmla="*/ 910590 w 4940931"/>
                <a:gd name="connsiteY1039" fmla="*/ 95250 h 138429"/>
                <a:gd name="connsiteX1040" fmla="*/ 914400 w 4940931"/>
                <a:gd name="connsiteY1040" fmla="*/ 93345 h 138429"/>
                <a:gd name="connsiteX1041" fmla="*/ 918845 w 4940931"/>
                <a:gd name="connsiteY1041" fmla="*/ 90805 h 138429"/>
                <a:gd name="connsiteX1042" fmla="*/ 927735 w 4940931"/>
                <a:gd name="connsiteY1042" fmla="*/ 100330 h 138429"/>
                <a:gd name="connsiteX1043" fmla="*/ 922020 w 4940931"/>
                <a:gd name="connsiteY1043" fmla="*/ 104775 h 138429"/>
                <a:gd name="connsiteX1044" fmla="*/ 916305 w 4940931"/>
                <a:gd name="connsiteY1044" fmla="*/ 107950 h 138429"/>
                <a:gd name="connsiteX1045" fmla="*/ 909320 w 4940931"/>
                <a:gd name="connsiteY1045" fmla="*/ 109855 h 138429"/>
                <a:gd name="connsiteX1046" fmla="*/ 900430 w 4940931"/>
                <a:gd name="connsiteY1046" fmla="*/ 110490 h 138429"/>
                <a:gd name="connsiteX1047" fmla="*/ 890905 w 4940931"/>
                <a:gd name="connsiteY1047" fmla="*/ 109220 h 138429"/>
                <a:gd name="connsiteX1048" fmla="*/ 883285 w 4940931"/>
                <a:gd name="connsiteY1048" fmla="*/ 105410 h 138429"/>
                <a:gd name="connsiteX1049" fmla="*/ 876935 w 4940931"/>
                <a:gd name="connsiteY1049" fmla="*/ 100330 h 138429"/>
                <a:gd name="connsiteX1050" fmla="*/ 871855 w 4940931"/>
                <a:gd name="connsiteY1050" fmla="*/ 92710 h 138429"/>
                <a:gd name="connsiteX1051" fmla="*/ 868045 w 4940931"/>
                <a:gd name="connsiteY1051" fmla="*/ 82550 h 138429"/>
                <a:gd name="connsiteX1052" fmla="*/ 866775 w 4940931"/>
                <a:gd name="connsiteY1052" fmla="*/ 69850 h 138429"/>
                <a:gd name="connsiteX1053" fmla="*/ 869315 w 4940931"/>
                <a:gd name="connsiteY1053" fmla="*/ 52070 h 138429"/>
                <a:gd name="connsiteX1054" fmla="*/ 876300 w 4940931"/>
                <a:gd name="connsiteY1054" fmla="*/ 39370 h 138429"/>
                <a:gd name="connsiteX1055" fmla="*/ 887095 w 4940931"/>
                <a:gd name="connsiteY1055" fmla="*/ 31750 h 138429"/>
                <a:gd name="connsiteX1056" fmla="*/ 901065 w 4940931"/>
                <a:gd name="connsiteY1056" fmla="*/ 29210 h 138429"/>
                <a:gd name="connsiteX1057" fmla="*/ 668656 w 4940931"/>
                <a:gd name="connsiteY1057" fmla="*/ 29210 h 138429"/>
                <a:gd name="connsiteX1058" fmla="*/ 676275 w 4940931"/>
                <a:gd name="connsiteY1058" fmla="*/ 29845 h 138429"/>
                <a:gd name="connsiteX1059" fmla="*/ 681991 w 4940931"/>
                <a:gd name="connsiteY1059" fmla="*/ 32385 h 138429"/>
                <a:gd name="connsiteX1060" fmla="*/ 678181 w 4940931"/>
                <a:gd name="connsiteY1060" fmla="*/ 46990 h 138429"/>
                <a:gd name="connsiteX1061" fmla="*/ 676910 w 4940931"/>
                <a:gd name="connsiteY1061" fmla="*/ 46990 h 138429"/>
                <a:gd name="connsiteX1062" fmla="*/ 671830 w 4940931"/>
                <a:gd name="connsiteY1062" fmla="*/ 45085 h 138429"/>
                <a:gd name="connsiteX1063" fmla="*/ 665480 w 4940931"/>
                <a:gd name="connsiteY1063" fmla="*/ 44450 h 138429"/>
                <a:gd name="connsiteX1064" fmla="*/ 654050 w 4940931"/>
                <a:gd name="connsiteY1064" fmla="*/ 49530 h 138429"/>
                <a:gd name="connsiteX1065" fmla="*/ 650240 w 4940931"/>
                <a:gd name="connsiteY1065" fmla="*/ 64770 h 138429"/>
                <a:gd name="connsiteX1066" fmla="*/ 650240 w 4940931"/>
                <a:gd name="connsiteY1066" fmla="*/ 109220 h 138429"/>
                <a:gd name="connsiteX1067" fmla="*/ 635000 w 4940931"/>
                <a:gd name="connsiteY1067" fmla="*/ 109220 h 138429"/>
                <a:gd name="connsiteX1068" fmla="*/ 635000 w 4940931"/>
                <a:gd name="connsiteY1068" fmla="*/ 31115 h 138429"/>
                <a:gd name="connsiteX1069" fmla="*/ 650240 w 4940931"/>
                <a:gd name="connsiteY1069" fmla="*/ 31115 h 138429"/>
                <a:gd name="connsiteX1070" fmla="*/ 650240 w 4940931"/>
                <a:gd name="connsiteY1070" fmla="*/ 38735 h 138429"/>
                <a:gd name="connsiteX1071" fmla="*/ 653416 w 4940931"/>
                <a:gd name="connsiteY1071" fmla="*/ 34925 h 138429"/>
                <a:gd name="connsiteX1072" fmla="*/ 657861 w 4940931"/>
                <a:gd name="connsiteY1072" fmla="*/ 31750 h 138429"/>
                <a:gd name="connsiteX1073" fmla="*/ 662940 w 4940931"/>
                <a:gd name="connsiteY1073" fmla="*/ 29845 h 138429"/>
                <a:gd name="connsiteX1074" fmla="*/ 668656 w 4940931"/>
                <a:gd name="connsiteY1074" fmla="*/ 29210 h 138429"/>
                <a:gd name="connsiteX1075" fmla="*/ 586739 w 4940931"/>
                <a:gd name="connsiteY1075" fmla="*/ 29210 h 138429"/>
                <a:gd name="connsiteX1076" fmla="*/ 601344 w 4940931"/>
                <a:gd name="connsiteY1076" fmla="*/ 32385 h 138429"/>
                <a:gd name="connsiteX1077" fmla="*/ 611504 w 4940931"/>
                <a:gd name="connsiteY1077" fmla="*/ 40640 h 138429"/>
                <a:gd name="connsiteX1078" fmla="*/ 617854 w 4940931"/>
                <a:gd name="connsiteY1078" fmla="*/ 53340 h 138429"/>
                <a:gd name="connsiteX1079" fmla="*/ 619759 w 4940931"/>
                <a:gd name="connsiteY1079" fmla="*/ 68580 h 138429"/>
                <a:gd name="connsiteX1080" fmla="*/ 618489 w 4940931"/>
                <a:gd name="connsiteY1080" fmla="*/ 68580 h 138429"/>
                <a:gd name="connsiteX1081" fmla="*/ 618489 w 4940931"/>
                <a:gd name="connsiteY1081" fmla="*/ 72390 h 138429"/>
                <a:gd name="connsiteX1082" fmla="*/ 618489 w 4940931"/>
                <a:gd name="connsiteY1082" fmla="*/ 75565 h 138429"/>
                <a:gd name="connsiteX1083" fmla="*/ 567054 w 4940931"/>
                <a:gd name="connsiteY1083" fmla="*/ 75565 h 138429"/>
                <a:gd name="connsiteX1084" fmla="*/ 569594 w 4940931"/>
                <a:gd name="connsiteY1084" fmla="*/ 85090 h 138429"/>
                <a:gd name="connsiteX1085" fmla="*/ 574039 w 4940931"/>
                <a:gd name="connsiteY1085" fmla="*/ 91440 h 138429"/>
                <a:gd name="connsiteX1086" fmla="*/ 579754 w 4940931"/>
                <a:gd name="connsiteY1086" fmla="*/ 95250 h 138429"/>
                <a:gd name="connsiteX1087" fmla="*/ 586739 w 4940931"/>
                <a:gd name="connsiteY1087" fmla="*/ 96520 h 138429"/>
                <a:gd name="connsiteX1088" fmla="*/ 591819 w 4940931"/>
                <a:gd name="connsiteY1088" fmla="*/ 96520 h 138429"/>
                <a:gd name="connsiteX1089" fmla="*/ 596264 w 4940931"/>
                <a:gd name="connsiteY1089" fmla="*/ 95250 h 138429"/>
                <a:gd name="connsiteX1090" fmla="*/ 600074 w 4940931"/>
                <a:gd name="connsiteY1090" fmla="*/ 93345 h 138429"/>
                <a:gd name="connsiteX1091" fmla="*/ 604519 w 4940931"/>
                <a:gd name="connsiteY1091" fmla="*/ 90805 h 138429"/>
                <a:gd name="connsiteX1092" fmla="*/ 613409 w 4940931"/>
                <a:gd name="connsiteY1092" fmla="*/ 100330 h 138429"/>
                <a:gd name="connsiteX1093" fmla="*/ 607694 w 4940931"/>
                <a:gd name="connsiteY1093" fmla="*/ 104775 h 138429"/>
                <a:gd name="connsiteX1094" fmla="*/ 601979 w 4940931"/>
                <a:gd name="connsiteY1094" fmla="*/ 107950 h 138429"/>
                <a:gd name="connsiteX1095" fmla="*/ 594994 w 4940931"/>
                <a:gd name="connsiteY1095" fmla="*/ 109855 h 138429"/>
                <a:gd name="connsiteX1096" fmla="*/ 586104 w 4940931"/>
                <a:gd name="connsiteY1096" fmla="*/ 110490 h 138429"/>
                <a:gd name="connsiteX1097" fmla="*/ 576579 w 4940931"/>
                <a:gd name="connsiteY1097" fmla="*/ 109220 h 138429"/>
                <a:gd name="connsiteX1098" fmla="*/ 568959 w 4940931"/>
                <a:gd name="connsiteY1098" fmla="*/ 105410 h 138429"/>
                <a:gd name="connsiteX1099" fmla="*/ 562609 w 4940931"/>
                <a:gd name="connsiteY1099" fmla="*/ 100330 h 138429"/>
                <a:gd name="connsiteX1100" fmla="*/ 557529 w 4940931"/>
                <a:gd name="connsiteY1100" fmla="*/ 92710 h 138429"/>
                <a:gd name="connsiteX1101" fmla="*/ 553719 w 4940931"/>
                <a:gd name="connsiteY1101" fmla="*/ 82550 h 138429"/>
                <a:gd name="connsiteX1102" fmla="*/ 552449 w 4940931"/>
                <a:gd name="connsiteY1102" fmla="*/ 69850 h 138429"/>
                <a:gd name="connsiteX1103" fmla="*/ 554989 w 4940931"/>
                <a:gd name="connsiteY1103" fmla="*/ 52070 h 138429"/>
                <a:gd name="connsiteX1104" fmla="*/ 561974 w 4940931"/>
                <a:gd name="connsiteY1104" fmla="*/ 39370 h 138429"/>
                <a:gd name="connsiteX1105" fmla="*/ 572769 w 4940931"/>
                <a:gd name="connsiteY1105" fmla="*/ 31750 h 138429"/>
                <a:gd name="connsiteX1106" fmla="*/ 586739 w 4940931"/>
                <a:gd name="connsiteY1106" fmla="*/ 29210 h 138429"/>
                <a:gd name="connsiteX1107" fmla="*/ 400050 w 4940931"/>
                <a:gd name="connsiteY1107" fmla="*/ 29210 h 138429"/>
                <a:gd name="connsiteX1108" fmla="*/ 414655 w 4940931"/>
                <a:gd name="connsiteY1108" fmla="*/ 32385 h 138429"/>
                <a:gd name="connsiteX1109" fmla="*/ 424815 w 4940931"/>
                <a:gd name="connsiteY1109" fmla="*/ 40640 h 138429"/>
                <a:gd name="connsiteX1110" fmla="*/ 431165 w 4940931"/>
                <a:gd name="connsiteY1110" fmla="*/ 53340 h 138429"/>
                <a:gd name="connsiteX1111" fmla="*/ 433070 w 4940931"/>
                <a:gd name="connsiteY1111" fmla="*/ 68580 h 138429"/>
                <a:gd name="connsiteX1112" fmla="*/ 431800 w 4940931"/>
                <a:gd name="connsiteY1112" fmla="*/ 68580 h 138429"/>
                <a:gd name="connsiteX1113" fmla="*/ 431800 w 4940931"/>
                <a:gd name="connsiteY1113" fmla="*/ 72390 h 138429"/>
                <a:gd name="connsiteX1114" fmla="*/ 431800 w 4940931"/>
                <a:gd name="connsiteY1114" fmla="*/ 75565 h 138429"/>
                <a:gd name="connsiteX1115" fmla="*/ 380365 w 4940931"/>
                <a:gd name="connsiteY1115" fmla="*/ 75565 h 138429"/>
                <a:gd name="connsiteX1116" fmla="*/ 382905 w 4940931"/>
                <a:gd name="connsiteY1116" fmla="*/ 85090 h 138429"/>
                <a:gd name="connsiteX1117" fmla="*/ 387350 w 4940931"/>
                <a:gd name="connsiteY1117" fmla="*/ 91440 h 138429"/>
                <a:gd name="connsiteX1118" fmla="*/ 393065 w 4940931"/>
                <a:gd name="connsiteY1118" fmla="*/ 95250 h 138429"/>
                <a:gd name="connsiteX1119" fmla="*/ 400050 w 4940931"/>
                <a:gd name="connsiteY1119" fmla="*/ 96520 h 138429"/>
                <a:gd name="connsiteX1120" fmla="*/ 405130 w 4940931"/>
                <a:gd name="connsiteY1120" fmla="*/ 96520 h 138429"/>
                <a:gd name="connsiteX1121" fmla="*/ 409575 w 4940931"/>
                <a:gd name="connsiteY1121" fmla="*/ 95250 h 138429"/>
                <a:gd name="connsiteX1122" fmla="*/ 413385 w 4940931"/>
                <a:gd name="connsiteY1122" fmla="*/ 93345 h 138429"/>
                <a:gd name="connsiteX1123" fmla="*/ 417830 w 4940931"/>
                <a:gd name="connsiteY1123" fmla="*/ 90805 h 138429"/>
                <a:gd name="connsiteX1124" fmla="*/ 426720 w 4940931"/>
                <a:gd name="connsiteY1124" fmla="*/ 100330 h 138429"/>
                <a:gd name="connsiteX1125" fmla="*/ 421005 w 4940931"/>
                <a:gd name="connsiteY1125" fmla="*/ 104775 h 138429"/>
                <a:gd name="connsiteX1126" fmla="*/ 415290 w 4940931"/>
                <a:gd name="connsiteY1126" fmla="*/ 107950 h 138429"/>
                <a:gd name="connsiteX1127" fmla="*/ 408305 w 4940931"/>
                <a:gd name="connsiteY1127" fmla="*/ 109855 h 138429"/>
                <a:gd name="connsiteX1128" fmla="*/ 399415 w 4940931"/>
                <a:gd name="connsiteY1128" fmla="*/ 110490 h 138429"/>
                <a:gd name="connsiteX1129" fmla="*/ 389890 w 4940931"/>
                <a:gd name="connsiteY1129" fmla="*/ 109220 h 138429"/>
                <a:gd name="connsiteX1130" fmla="*/ 382270 w 4940931"/>
                <a:gd name="connsiteY1130" fmla="*/ 105410 h 138429"/>
                <a:gd name="connsiteX1131" fmla="*/ 375920 w 4940931"/>
                <a:gd name="connsiteY1131" fmla="*/ 100330 h 138429"/>
                <a:gd name="connsiteX1132" fmla="*/ 370840 w 4940931"/>
                <a:gd name="connsiteY1132" fmla="*/ 92710 h 138429"/>
                <a:gd name="connsiteX1133" fmla="*/ 367030 w 4940931"/>
                <a:gd name="connsiteY1133" fmla="*/ 82550 h 138429"/>
                <a:gd name="connsiteX1134" fmla="*/ 365760 w 4940931"/>
                <a:gd name="connsiteY1134" fmla="*/ 69850 h 138429"/>
                <a:gd name="connsiteX1135" fmla="*/ 368300 w 4940931"/>
                <a:gd name="connsiteY1135" fmla="*/ 52070 h 138429"/>
                <a:gd name="connsiteX1136" fmla="*/ 375285 w 4940931"/>
                <a:gd name="connsiteY1136" fmla="*/ 39370 h 138429"/>
                <a:gd name="connsiteX1137" fmla="*/ 386080 w 4940931"/>
                <a:gd name="connsiteY1137" fmla="*/ 31750 h 138429"/>
                <a:gd name="connsiteX1138" fmla="*/ 400050 w 4940931"/>
                <a:gd name="connsiteY1138" fmla="*/ 29210 h 138429"/>
                <a:gd name="connsiteX1139" fmla="*/ 201930 w 4940931"/>
                <a:gd name="connsiteY1139" fmla="*/ 29210 h 138429"/>
                <a:gd name="connsiteX1140" fmla="*/ 216535 w 4940931"/>
                <a:gd name="connsiteY1140" fmla="*/ 32385 h 138429"/>
                <a:gd name="connsiteX1141" fmla="*/ 226695 w 4940931"/>
                <a:gd name="connsiteY1141" fmla="*/ 40640 h 138429"/>
                <a:gd name="connsiteX1142" fmla="*/ 233045 w 4940931"/>
                <a:gd name="connsiteY1142" fmla="*/ 53340 h 138429"/>
                <a:gd name="connsiteX1143" fmla="*/ 234950 w 4940931"/>
                <a:gd name="connsiteY1143" fmla="*/ 68580 h 138429"/>
                <a:gd name="connsiteX1144" fmla="*/ 233680 w 4940931"/>
                <a:gd name="connsiteY1144" fmla="*/ 68580 h 138429"/>
                <a:gd name="connsiteX1145" fmla="*/ 233680 w 4940931"/>
                <a:gd name="connsiteY1145" fmla="*/ 72390 h 138429"/>
                <a:gd name="connsiteX1146" fmla="*/ 233680 w 4940931"/>
                <a:gd name="connsiteY1146" fmla="*/ 75565 h 138429"/>
                <a:gd name="connsiteX1147" fmla="*/ 182245 w 4940931"/>
                <a:gd name="connsiteY1147" fmla="*/ 75565 h 138429"/>
                <a:gd name="connsiteX1148" fmla="*/ 184785 w 4940931"/>
                <a:gd name="connsiteY1148" fmla="*/ 85090 h 138429"/>
                <a:gd name="connsiteX1149" fmla="*/ 189230 w 4940931"/>
                <a:gd name="connsiteY1149" fmla="*/ 91440 h 138429"/>
                <a:gd name="connsiteX1150" fmla="*/ 194945 w 4940931"/>
                <a:gd name="connsiteY1150" fmla="*/ 95250 h 138429"/>
                <a:gd name="connsiteX1151" fmla="*/ 201930 w 4940931"/>
                <a:gd name="connsiteY1151" fmla="*/ 96520 h 138429"/>
                <a:gd name="connsiteX1152" fmla="*/ 207010 w 4940931"/>
                <a:gd name="connsiteY1152" fmla="*/ 96520 h 138429"/>
                <a:gd name="connsiteX1153" fmla="*/ 211455 w 4940931"/>
                <a:gd name="connsiteY1153" fmla="*/ 95250 h 138429"/>
                <a:gd name="connsiteX1154" fmla="*/ 215265 w 4940931"/>
                <a:gd name="connsiteY1154" fmla="*/ 93345 h 138429"/>
                <a:gd name="connsiteX1155" fmla="*/ 219710 w 4940931"/>
                <a:gd name="connsiteY1155" fmla="*/ 90805 h 138429"/>
                <a:gd name="connsiteX1156" fmla="*/ 228600 w 4940931"/>
                <a:gd name="connsiteY1156" fmla="*/ 100330 h 138429"/>
                <a:gd name="connsiteX1157" fmla="*/ 222885 w 4940931"/>
                <a:gd name="connsiteY1157" fmla="*/ 104775 h 138429"/>
                <a:gd name="connsiteX1158" fmla="*/ 217170 w 4940931"/>
                <a:gd name="connsiteY1158" fmla="*/ 107950 h 138429"/>
                <a:gd name="connsiteX1159" fmla="*/ 210185 w 4940931"/>
                <a:gd name="connsiteY1159" fmla="*/ 109855 h 138429"/>
                <a:gd name="connsiteX1160" fmla="*/ 201295 w 4940931"/>
                <a:gd name="connsiteY1160" fmla="*/ 110490 h 138429"/>
                <a:gd name="connsiteX1161" fmla="*/ 191770 w 4940931"/>
                <a:gd name="connsiteY1161" fmla="*/ 109220 h 138429"/>
                <a:gd name="connsiteX1162" fmla="*/ 184150 w 4940931"/>
                <a:gd name="connsiteY1162" fmla="*/ 105410 h 138429"/>
                <a:gd name="connsiteX1163" fmla="*/ 177800 w 4940931"/>
                <a:gd name="connsiteY1163" fmla="*/ 100330 h 138429"/>
                <a:gd name="connsiteX1164" fmla="*/ 172720 w 4940931"/>
                <a:gd name="connsiteY1164" fmla="*/ 92710 h 138429"/>
                <a:gd name="connsiteX1165" fmla="*/ 168910 w 4940931"/>
                <a:gd name="connsiteY1165" fmla="*/ 82550 h 138429"/>
                <a:gd name="connsiteX1166" fmla="*/ 167640 w 4940931"/>
                <a:gd name="connsiteY1166" fmla="*/ 69850 h 138429"/>
                <a:gd name="connsiteX1167" fmla="*/ 170180 w 4940931"/>
                <a:gd name="connsiteY1167" fmla="*/ 52070 h 138429"/>
                <a:gd name="connsiteX1168" fmla="*/ 177165 w 4940931"/>
                <a:gd name="connsiteY1168" fmla="*/ 39370 h 138429"/>
                <a:gd name="connsiteX1169" fmla="*/ 187960 w 4940931"/>
                <a:gd name="connsiteY1169" fmla="*/ 31750 h 138429"/>
                <a:gd name="connsiteX1170" fmla="*/ 201930 w 4940931"/>
                <a:gd name="connsiteY1170" fmla="*/ 29210 h 138429"/>
                <a:gd name="connsiteX1171" fmla="*/ 4664706 w 4940931"/>
                <a:gd name="connsiteY1171" fmla="*/ 28574 h 138429"/>
                <a:gd name="connsiteX1172" fmla="*/ 4678676 w 4940931"/>
                <a:gd name="connsiteY1172" fmla="*/ 31749 h 138429"/>
                <a:gd name="connsiteX1173" fmla="*/ 4689471 w 4940931"/>
                <a:gd name="connsiteY1173" fmla="*/ 40004 h 138429"/>
                <a:gd name="connsiteX1174" fmla="*/ 4696456 w 4940931"/>
                <a:gd name="connsiteY1174" fmla="*/ 52704 h 138429"/>
                <a:gd name="connsiteX1175" fmla="*/ 4698996 w 4940931"/>
                <a:gd name="connsiteY1175" fmla="*/ 69214 h 138429"/>
                <a:gd name="connsiteX1176" fmla="*/ 4699631 w 4940931"/>
                <a:gd name="connsiteY1176" fmla="*/ 69214 h 138429"/>
                <a:gd name="connsiteX1177" fmla="*/ 4697091 w 4940931"/>
                <a:gd name="connsiteY1177" fmla="*/ 86359 h 138429"/>
                <a:gd name="connsiteX1178" fmla="*/ 4689471 w 4940931"/>
                <a:gd name="connsiteY1178" fmla="*/ 99059 h 138429"/>
                <a:gd name="connsiteX1179" fmla="*/ 4678041 w 4940931"/>
                <a:gd name="connsiteY1179" fmla="*/ 107314 h 138429"/>
                <a:gd name="connsiteX1180" fmla="*/ 4664071 w 4940931"/>
                <a:gd name="connsiteY1180" fmla="*/ 109854 h 138429"/>
                <a:gd name="connsiteX1181" fmla="*/ 4650101 w 4940931"/>
                <a:gd name="connsiteY1181" fmla="*/ 106679 h 138429"/>
                <a:gd name="connsiteX1182" fmla="*/ 4639306 w 4940931"/>
                <a:gd name="connsiteY1182" fmla="*/ 98424 h 138429"/>
                <a:gd name="connsiteX1183" fmla="*/ 4632321 w 4940931"/>
                <a:gd name="connsiteY1183" fmla="*/ 85724 h 138429"/>
                <a:gd name="connsiteX1184" fmla="*/ 4629781 w 4940931"/>
                <a:gd name="connsiteY1184" fmla="*/ 69214 h 138429"/>
                <a:gd name="connsiteX1185" fmla="*/ 4632321 w 4940931"/>
                <a:gd name="connsiteY1185" fmla="*/ 52069 h 138429"/>
                <a:gd name="connsiteX1186" fmla="*/ 4639941 w 4940931"/>
                <a:gd name="connsiteY1186" fmla="*/ 39369 h 138429"/>
                <a:gd name="connsiteX1187" fmla="*/ 4650736 w 4940931"/>
                <a:gd name="connsiteY1187" fmla="*/ 31114 h 138429"/>
                <a:gd name="connsiteX1188" fmla="*/ 4664706 w 4940931"/>
                <a:gd name="connsiteY1188" fmla="*/ 28574 h 138429"/>
                <a:gd name="connsiteX1189" fmla="*/ 4264655 w 4940931"/>
                <a:gd name="connsiteY1189" fmla="*/ 28574 h 138429"/>
                <a:gd name="connsiteX1190" fmla="*/ 4278625 w 4940931"/>
                <a:gd name="connsiteY1190" fmla="*/ 31749 h 138429"/>
                <a:gd name="connsiteX1191" fmla="*/ 4289420 w 4940931"/>
                <a:gd name="connsiteY1191" fmla="*/ 40004 h 138429"/>
                <a:gd name="connsiteX1192" fmla="*/ 4296405 w 4940931"/>
                <a:gd name="connsiteY1192" fmla="*/ 52704 h 138429"/>
                <a:gd name="connsiteX1193" fmla="*/ 4298945 w 4940931"/>
                <a:gd name="connsiteY1193" fmla="*/ 69214 h 138429"/>
                <a:gd name="connsiteX1194" fmla="*/ 4299580 w 4940931"/>
                <a:gd name="connsiteY1194" fmla="*/ 69214 h 138429"/>
                <a:gd name="connsiteX1195" fmla="*/ 4297040 w 4940931"/>
                <a:gd name="connsiteY1195" fmla="*/ 86359 h 138429"/>
                <a:gd name="connsiteX1196" fmla="*/ 4289420 w 4940931"/>
                <a:gd name="connsiteY1196" fmla="*/ 99059 h 138429"/>
                <a:gd name="connsiteX1197" fmla="*/ 4277990 w 4940931"/>
                <a:gd name="connsiteY1197" fmla="*/ 107314 h 138429"/>
                <a:gd name="connsiteX1198" fmla="*/ 4264020 w 4940931"/>
                <a:gd name="connsiteY1198" fmla="*/ 109854 h 138429"/>
                <a:gd name="connsiteX1199" fmla="*/ 4250050 w 4940931"/>
                <a:gd name="connsiteY1199" fmla="*/ 106679 h 138429"/>
                <a:gd name="connsiteX1200" fmla="*/ 4239255 w 4940931"/>
                <a:gd name="connsiteY1200" fmla="*/ 98424 h 138429"/>
                <a:gd name="connsiteX1201" fmla="*/ 4232270 w 4940931"/>
                <a:gd name="connsiteY1201" fmla="*/ 85724 h 138429"/>
                <a:gd name="connsiteX1202" fmla="*/ 4229730 w 4940931"/>
                <a:gd name="connsiteY1202" fmla="*/ 69214 h 138429"/>
                <a:gd name="connsiteX1203" fmla="*/ 4232270 w 4940931"/>
                <a:gd name="connsiteY1203" fmla="*/ 52069 h 138429"/>
                <a:gd name="connsiteX1204" fmla="*/ 4239890 w 4940931"/>
                <a:gd name="connsiteY1204" fmla="*/ 39369 h 138429"/>
                <a:gd name="connsiteX1205" fmla="*/ 4250685 w 4940931"/>
                <a:gd name="connsiteY1205" fmla="*/ 31114 h 138429"/>
                <a:gd name="connsiteX1206" fmla="*/ 4264655 w 4940931"/>
                <a:gd name="connsiteY1206" fmla="*/ 28574 h 138429"/>
                <a:gd name="connsiteX1207" fmla="*/ 1420495 w 4940931"/>
                <a:gd name="connsiteY1207" fmla="*/ 28574 h 138429"/>
                <a:gd name="connsiteX1208" fmla="*/ 1434465 w 4940931"/>
                <a:gd name="connsiteY1208" fmla="*/ 31749 h 138429"/>
                <a:gd name="connsiteX1209" fmla="*/ 1445260 w 4940931"/>
                <a:gd name="connsiteY1209" fmla="*/ 40004 h 138429"/>
                <a:gd name="connsiteX1210" fmla="*/ 1452245 w 4940931"/>
                <a:gd name="connsiteY1210" fmla="*/ 52704 h 138429"/>
                <a:gd name="connsiteX1211" fmla="*/ 1454785 w 4940931"/>
                <a:gd name="connsiteY1211" fmla="*/ 69214 h 138429"/>
                <a:gd name="connsiteX1212" fmla="*/ 1455420 w 4940931"/>
                <a:gd name="connsiteY1212" fmla="*/ 69214 h 138429"/>
                <a:gd name="connsiteX1213" fmla="*/ 1452880 w 4940931"/>
                <a:gd name="connsiteY1213" fmla="*/ 86359 h 138429"/>
                <a:gd name="connsiteX1214" fmla="*/ 1445260 w 4940931"/>
                <a:gd name="connsiteY1214" fmla="*/ 99059 h 138429"/>
                <a:gd name="connsiteX1215" fmla="*/ 1433830 w 4940931"/>
                <a:gd name="connsiteY1215" fmla="*/ 107314 h 138429"/>
                <a:gd name="connsiteX1216" fmla="*/ 1419860 w 4940931"/>
                <a:gd name="connsiteY1216" fmla="*/ 109854 h 138429"/>
                <a:gd name="connsiteX1217" fmla="*/ 1405890 w 4940931"/>
                <a:gd name="connsiteY1217" fmla="*/ 106679 h 138429"/>
                <a:gd name="connsiteX1218" fmla="*/ 1395095 w 4940931"/>
                <a:gd name="connsiteY1218" fmla="*/ 98424 h 138429"/>
                <a:gd name="connsiteX1219" fmla="*/ 1388110 w 4940931"/>
                <a:gd name="connsiteY1219" fmla="*/ 85724 h 138429"/>
                <a:gd name="connsiteX1220" fmla="*/ 1385570 w 4940931"/>
                <a:gd name="connsiteY1220" fmla="*/ 69214 h 138429"/>
                <a:gd name="connsiteX1221" fmla="*/ 1388110 w 4940931"/>
                <a:gd name="connsiteY1221" fmla="*/ 52069 h 138429"/>
                <a:gd name="connsiteX1222" fmla="*/ 1395730 w 4940931"/>
                <a:gd name="connsiteY1222" fmla="*/ 39369 h 138429"/>
                <a:gd name="connsiteX1223" fmla="*/ 1406525 w 4940931"/>
                <a:gd name="connsiteY1223" fmla="*/ 31114 h 138429"/>
                <a:gd name="connsiteX1224" fmla="*/ 1420495 w 4940931"/>
                <a:gd name="connsiteY1224" fmla="*/ 28574 h 138429"/>
                <a:gd name="connsiteX1225" fmla="*/ 3143245 w 4940931"/>
                <a:gd name="connsiteY1225" fmla="*/ 5079 h 138429"/>
                <a:gd name="connsiteX1226" fmla="*/ 3219445 w 4940931"/>
                <a:gd name="connsiteY1226" fmla="*/ 5079 h 138429"/>
                <a:gd name="connsiteX1227" fmla="*/ 3219445 w 4940931"/>
                <a:gd name="connsiteY1227" fmla="*/ 20319 h 138429"/>
                <a:gd name="connsiteX1228" fmla="*/ 3188965 w 4940931"/>
                <a:gd name="connsiteY1228" fmla="*/ 20319 h 138429"/>
                <a:gd name="connsiteX1229" fmla="*/ 3188965 w 4940931"/>
                <a:gd name="connsiteY1229" fmla="*/ 108584 h 138429"/>
                <a:gd name="connsiteX1230" fmla="*/ 3173090 w 4940931"/>
                <a:gd name="connsiteY1230" fmla="*/ 108584 h 138429"/>
                <a:gd name="connsiteX1231" fmla="*/ 3173090 w 4940931"/>
                <a:gd name="connsiteY1231" fmla="*/ 20319 h 138429"/>
                <a:gd name="connsiteX1232" fmla="*/ 3143245 w 4940931"/>
                <a:gd name="connsiteY1232" fmla="*/ 20319 h 138429"/>
                <a:gd name="connsiteX1233" fmla="*/ 1628774 w 4940931"/>
                <a:gd name="connsiteY1233" fmla="*/ 5079 h 138429"/>
                <a:gd name="connsiteX1234" fmla="*/ 1704970 w 4940931"/>
                <a:gd name="connsiteY1234" fmla="*/ 5079 h 138429"/>
                <a:gd name="connsiteX1235" fmla="*/ 1704970 w 4940931"/>
                <a:gd name="connsiteY1235" fmla="*/ 20319 h 138429"/>
                <a:gd name="connsiteX1236" fmla="*/ 1675129 w 4940931"/>
                <a:gd name="connsiteY1236" fmla="*/ 20319 h 138429"/>
                <a:gd name="connsiteX1237" fmla="*/ 1675129 w 4940931"/>
                <a:gd name="connsiteY1237" fmla="*/ 108584 h 138429"/>
                <a:gd name="connsiteX1238" fmla="*/ 1659255 w 4940931"/>
                <a:gd name="connsiteY1238" fmla="*/ 108584 h 138429"/>
                <a:gd name="connsiteX1239" fmla="*/ 1659255 w 4940931"/>
                <a:gd name="connsiteY1239" fmla="*/ 20319 h 138429"/>
                <a:gd name="connsiteX1240" fmla="*/ 1628774 w 4940931"/>
                <a:gd name="connsiteY1240" fmla="*/ 20319 h 138429"/>
                <a:gd name="connsiteX1241" fmla="*/ 0 w 4940931"/>
                <a:gd name="connsiteY1241" fmla="*/ 5079 h 138429"/>
                <a:gd name="connsiteX1242" fmla="*/ 76200 w 4940931"/>
                <a:gd name="connsiteY1242" fmla="*/ 5079 h 138429"/>
                <a:gd name="connsiteX1243" fmla="*/ 76200 w 4940931"/>
                <a:gd name="connsiteY1243" fmla="*/ 20319 h 138429"/>
                <a:gd name="connsiteX1244" fmla="*/ 45720 w 4940931"/>
                <a:gd name="connsiteY1244" fmla="*/ 20319 h 138429"/>
                <a:gd name="connsiteX1245" fmla="*/ 45720 w 4940931"/>
                <a:gd name="connsiteY1245" fmla="*/ 108584 h 138429"/>
                <a:gd name="connsiteX1246" fmla="*/ 29845 w 4940931"/>
                <a:gd name="connsiteY1246" fmla="*/ 108584 h 138429"/>
                <a:gd name="connsiteX1247" fmla="*/ 29845 w 4940931"/>
                <a:gd name="connsiteY1247" fmla="*/ 20319 h 138429"/>
                <a:gd name="connsiteX1248" fmla="*/ 0 w 4940931"/>
                <a:gd name="connsiteY1248" fmla="*/ 20319 h 138429"/>
                <a:gd name="connsiteX1249" fmla="*/ 1362075 w 4940931"/>
                <a:gd name="connsiteY1249" fmla="*/ 1269 h 138429"/>
                <a:gd name="connsiteX1250" fmla="*/ 1365885 w 4940931"/>
                <a:gd name="connsiteY1250" fmla="*/ 1904 h 138429"/>
                <a:gd name="connsiteX1251" fmla="*/ 1369060 w 4940931"/>
                <a:gd name="connsiteY1251" fmla="*/ 3809 h 138429"/>
                <a:gd name="connsiteX1252" fmla="*/ 1370965 w 4940931"/>
                <a:gd name="connsiteY1252" fmla="*/ 6984 h 138429"/>
                <a:gd name="connsiteX1253" fmla="*/ 1371600 w 4940931"/>
                <a:gd name="connsiteY1253" fmla="*/ 10794 h 138429"/>
                <a:gd name="connsiteX1254" fmla="*/ 1370965 w 4940931"/>
                <a:gd name="connsiteY1254" fmla="*/ 14604 h 138429"/>
                <a:gd name="connsiteX1255" fmla="*/ 1369060 w 4940931"/>
                <a:gd name="connsiteY1255" fmla="*/ 17779 h 138429"/>
                <a:gd name="connsiteX1256" fmla="*/ 1365885 w 4940931"/>
                <a:gd name="connsiteY1256" fmla="*/ 19684 h 138429"/>
                <a:gd name="connsiteX1257" fmla="*/ 1362075 w 4940931"/>
                <a:gd name="connsiteY1257" fmla="*/ 20319 h 138429"/>
                <a:gd name="connsiteX1258" fmla="*/ 1358265 w 4940931"/>
                <a:gd name="connsiteY1258" fmla="*/ 19684 h 138429"/>
                <a:gd name="connsiteX1259" fmla="*/ 1355090 w 4940931"/>
                <a:gd name="connsiteY1259" fmla="*/ 17779 h 138429"/>
                <a:gd name="connsiteX1260" fmla="*/ 1353185 w 4940931"/>
                <a:gd name="connsiteY1260" fmla="*/ 14604 h 138429"/>
                <a:gd name="connsiteX1261" fmla="*/ 1352550 w 4940931"/>
                <a:gd name="connsiteY1261" fmla="*/ 10794 h 138429"/>
                <a:gd name="connsiteX1262" fmla="*/ 1353185 w 4940931"/>
                <a:gd name="connsiteY1262" fmla="*/ 6984 h 138429"/>
                <a:gd name="connsiteX1263" fmla="*/ 1355090 w 4940931"/>
                <a:gd name="connsiteY1263" fmla="*/ 3809 h 138429"/>
                <a:gd name="connsiteX1264" fmla="*/ 1358265 w 4940931"/>
                <a:gd name="connsiteY1264" fmla="*/ 1904 h 138429"/>
                <a:gd name="connsiteX1265" fmla="*/ 1362075 w 4940931"/>
                <a:gd name="connsiteY1265" fmla="*/ 1269 h 138429"/>
                <a:gd name="connsiteX1266" fmla="*/ 4789801 w 4940931"/>
                <a:gd name="connsiteY1266" fmla="*/ 634 h 138429"/>
                <a:gd name="connsiteX1267" fmla="*/ 4789801 w 4940931"/>
                <a:gd name="connsiteY1267" fmla="*/ 65404 h 138429"/>
                <a:gd name="connsiteX1268" fmla="*/ 4814566 w 4940931"/>
                <a:gd name="connsiteY1268" fmla="*/ 31114 h 138429"/>
                <a:gd name="connsiteX1269" fmla="*/ 4831711 w 4940931"/>
                <a:gd name="connsiteY1269" fmla="*/ 31114 h 138429"/>
                <a:gd name="connsiteX1270" fmla="*/ 4812026 w 4940931"/>
                <a:gd name="connsiteY1270" fmla="*/ 57149 h 138429"/>
                <a:gd name="connsiteX1271" fmla="*/ 4835521 w 4940931"/>
                <a:gd name="connsiteY1271" fmla="*/ 108584 h 138429"/>
                <a:gd name="connsiteX1272" fmla="*/ 4819011 w 4940931"/>
                <a:gd name="connsiteY1272" fmla="*/ 108584 h 138429"/>
                <a:gd name="connsiteX1273" fmla="*/ 4801866 w 4940931"/>
                <a:gd name="connsiteY1273" fmla="*/ 69849 h 138429"/>
                <a:gd name="connsiteX1274" fmla="*/ 4789801 w 4940931"/>
                <a:gd name="connsiteY1274" fmla="*/ 85724 h 138429"/>
                <a:gd name="connsiteX1275" fmla="*/ 4789801 w 4940931"/>
                <a:gd name="connsiteY1275" fmla="*/ 108584 h 138429"/>
                <a:gd name="connsiteX1276" fmla="*/ 4774561 w 4940931"/>
                <a:gd name="connsiteY1276" fmla="*/ 108584 h 138429"/>
                <a:gd name="connsiteX1277" fmla="*/ 4774561 w 4940931"/>
                <a:gd name="connsiteY1277" fmla="*/ 8889 h 138429"/>
                <a:gd name="connsiteX1278" fmla="*/ 4472301 w 4940931"/>
                <a:gd name="connsiteY1278" fmla="*/ 634 h 138429"/>
                <a:gd name="connsiteX1279" fmla="*/ 4472301 w 4940931"/>
                <a:gd name="connsiteY1279" fmla="*/ 109219 h 138429"/>
                <a:gd name="connsiteX1280" fmla="*/ 4457061 w 4940931"/>
                <a:gd name="connsiteY1280" fmla="*/ 109219 h 138429"/>
                <a:gd name="connsiteX1281" fmla="*/ 4457696 w 4940931"/>
                <a:gd name="connsiteY1281" fmla="*/ 108584 h 138429"/>
                <a:gd name="connsiteX1282" fmla="*/ 4457696 w 4940931"/>
                <a:gd name="connsiteY1282" fmla="*/ 100964 h 138429"/>
                <a:gd name="connsiteX1283" fmla="*/ 4453251 w 4940931"/>
                <a:gd name="connsiteY1283" fmla="*/ 104774 h 138429"/>
                <a:gd name="connsiteX1284" fmla="*/ 4448171 w 4940931"/>
                <a:gd name="connsiteY1284" fmla="*/ 107949 h 138429"/>
                <a:gd name="connsiteX1285" fmla="*/ 4443091 w 4940931"/>
                <a:gd name="connsiteY1285" fmla="*/ 109854 h 138429"/>
                <a:gd name="connsiteX1286" fmla="*/ 4437376 w 4940931"/>
                <a:gd name="connsiteY1286" fmla="*/ 109854 h 138429"/>
                <a:gd name="connsiteX1287" fmla="*/ 4425946 w 4940931"/>
                <a:gd name="connsiteY1287" fmla="*/ 107314 h 138429"/>
                <a:gd name="connsiteX1288" fmla="*/ 4416421 w 4940931"/>
                <a:gd name="connsiteY1288" fmla="*/ 99694 h 138429"/>
                <a:gd name="connsiteX1289" fmla="*/ 4410071 w 4940931"/>
                <a:gd name="connsiteY1289" fmla="*/ 86994 h 138429"/>
                <a:gd name="connsiteX1290" fmla="*/ 4407531 w 4940931"/>
                <a:gd name="connsiteY1290" fmla="*/ 67944 h 138429"/>
                <a:gd name="connsiteX1291" fmla="*/ 4410071 w 4940931"/>
                <a:gd name="connsiteY1291" fmla="*/ 50799 h 138429"/>
                <a:gd name="connsiteX1292" fmla="*/ 4417056 w 4940931"/>
                <a:gd name="connsiteY1292" fmla="*/ 38734 h 138429"/>
                <a:gd name="connsiteX1293" fmla="*/ 4426581 w 4940931"/>
                <a:gd name="connsiteY1293" fmla="*/ 31749 h 138429"/>
                <a:gd name="connsiteX1294" fmla="*/ 4438011 w 4940931"/>
                <a:gd name="connsiteY1294" fmla="*/ 29209 h 138429"/>
                <a:gd name="connsiteX1295" fmla="*/ 4443726 w 4940931"/>
                <a:gd name="connsiteY1295" fmla="*/ 29844 h 138429"/>
                <a:gd name="connsiteX1296" fmla="*/ 4448806 w 4940931"/>
                <a:gd name="connsiteY1296" fmla="*/ 31749 h 138429"/>
                <a:gd name="connsiteX1297" fmla="*/ 4453251 w 4940931"/>
                <a:gd name="connsiteY1297" fmla="*/ 34924 h 138429"/>
                <a:gd name="connsiteX1298" fmla="*/ 4457061 w 4940931"/>
                <a:gd name="connsiteY1298" fmla="*/ 38099 h 138429"/>
                <a:gd name="connsiteX1299" fmla="*/ 4457061 w 4940931"/>
                <a:gd name="connsiteY1299" fmla="*/ 8254 h 138429"/>
                <a:gd name="connsiteX1300" fmla="*/ 4390385 w 4940931"/>
                <a:gd name="connsiteY1300" fmla="*/ 634 h 138429"/>
                <a:gd name="connsiteX1301" fmla="*/ 4390385 w 4940931"/>
                <a:gd name="connsiteY1301" fmla="*/ 108584 h 138429"/>
                <a:gd name="connsiteX1302" fmla="*/ 4375145 w 4940931"/>
                <a:gd name="connsiteY1302" fmla="*/ 108584 h 138429"/>
                <a:gd name="connsiteX1303" fmla="*/ 4375145 w 4940931"/>
                <a:gd name="connsiteY1303" fmla="*/ 8889 h 138429"/>
                <a:gd name="connsiteX1304" fmla="*/ 3946521 w 4940931"/>
                <a:gd name="connsiteY1304" fmla="*/ 634 h 138429"/>
                <a:gd name="connsiteX1305" fmla="*/ 3946521 w 4940931"/>
                <a:gd name="connsiteY1305" fmla="*/ 38099 h 138429"/>
                <a:gd name="connsiteX1306" fmla="*/ 3950331 w 4940931"/>
                <a:gd name="connsiteY1306" fmla="*/ 34289 h 138429"/>
                <a:gd name="connsiteX1307" fmla="*/ 3954776 w 4940931"/>
                <a:gd name="connsiteY1307" fmla="*/ 31114 h 138429"/>
                <a:gd name="connsiteX1308" fmla="*/ 3960491 w 4940931"/>
                <a:gd name="connsiteY1308" fmla="*/ 29209 h 138429"/>
                <a:gd name="connsiteX1309" fmla="*/ 3966206 w 4940931"/>
                <a:gd name="connsiteY1309" fmla="*/ 29209 h 138429"/>
                <a:gd name="connsiteX1310" fmla="*/ 3978271 w 4940931"/>
                <a:gd name="connsiteY1310" fmla="*/ 31749 h 138429"/>
                <a:gd name="connsiteX1311" fmla="*/ 3987161 w 4940931"/>
                <a:gd name="connsiteY1311" fmla="*/ 38099 h 138429"/>
                <a:gd name="connsiteX1312" fmla="*/ 3992241 w 4940931"/>
                <a:gd name="connsiteY1312" fmla="*/ 49529 h 138429"/>
                <a:gd name="connsiteX1313" fmla="*/ 3994146 w 4940931"/>
                <a:gd name="connsiteY1313" fmla="*/ 64134 h 138429"/>
                <a:gd name="connsiteX1314" fmla="*/ 3994146 w 4940931"/>
                <a:gd name="connsiteY1314" fmla="*/ 108584 h 138429"/>
                <a:gd name="connsiteX1315" fmla="*/ 3978906 w 4940931"/>
                <a:gd name="connsiteY1315" fmla="*/ 108584 h 138429"/>
                <a:gd name="connsiteX1316" fmla="*/ 3978271 w 4940931"/>
                <a:gd name="connsiteY1316" fmla="*/ 108584 h 138429"/>
                <a:gd name="connsiteX1317" fmla="*/ 3978271 w 4940931"/>
                <a:gd name="connsiteY1317" fmla="*/ 64769 h 138429"/>
                <a:gd name="connsiteX1318" fmla="*/ 3974461 w 4940931"/>
                <a:gd name="connsiteY1318" fmla="*/ 48894 h 138429"/>
                <a:gd name="connsiteX1319" fmla="*/ 3962396 w 4940931"/>
                <a:gd name="connsiteY1319" fmla="*/ 43814 h 138429"/>
                <a:gd name="connsiteX1320" fmla="*/ 3956046 w 4940931"/>
                <a:gd name="connsiteY1320" fmla="*/ 45084 h 138429"/>
                <a:gd name="connsiteX1321" fmla="*/ 3950966 w 4940931"/>
                <a:gd name="connsiteY1321" fmla="*/ 48894 h 138429"/>
                <a:gd name="connsiteX1322" fmla="*/ 3947791 w 4940931"/>
                <a:gd name="connsiteY1322" fmla="*/ 55244 h 138429"/>
                <a:gd name="connsiteX1323" fmla="*/ 3946521 w 4940931"/>
                <a:gd name="connsiteY1323" fmla="*/ 63499 h 138429"/>
                <a:gd name="connsiteX1324" fmla="*/ 3946521 w 4940931"/>
                <a:gd name="connsiteY1324" fmla="*/ 109219 h 138429"/>
                <a:gd name="connsiteX1325" fmla="*/ 3931281 w 4940931"/>
                <a:gd name="connsiteY1325" fmla="*/ 109219 h 138429"/>
                <a:gd name="connsiteX1326" fmla="*/ 3931281 w 4940931"/>
                <a:gd name="connsiteY1326" fmla="*/ 8889 h 138429"/>
                <a:gd name="connsiteX1327" fmla="*/ 3248021 w 4940931"/>
                <a:gd name="connsiteY1327" fmla="*/ 634 h 138429"/>
                <a:gd name="connsiteX1328" fmla="*/ 3248021 w 4940931"/>
                <a:gd name="connsiteY1328" fmla="*/ 38099 h 138429"/>
                <a:gd name="connsiteX1329" fmla="*/ 3251831 w 4940931"/>
                <a:gd name="connsiteY1329" fmla="*/ 34289 h 138429"/>
                <a:gd name="connsiteX1330" fmla="*/ 3256276 w 4940931"/>
                <a:gd name="connsiteY1330" fmla="*/ 31114 h 138429"/>
                <a:gd name="connsiteX1331" fmla="*/ 3261991 w 4940931"/>
                <a:gd name="connsiteY1331" fmla="*/ 29209 h 138429"/>
                <a:gd name="connsiteX1332" fmla="*/ 3267706 w 4940931"/>
                <a:gd name="connsiteY1332" fmla="*/ 29209 h 138429"/>
                <a:gd name="connsiteX1333" fmla="*/ 3279771 w 4940931"/>
                <a:gd name="connsiteY1333" fmla="*/ 31749 h 138429"/>
                <a:gd name="connsiteX1334" fmla="*/ 3288661 w 4940931"/>
                <a:gd name="connsiteY1334" fmla="*/ 38099 h 138429"/>
                <a:gd name="connsiteX1335" fmla="*/ 3293741 w 4940931"/>
                <a:gd name="connsiteY1335" fmla="*/ 49529 h 138429"/>
                <a:gd name="connsiteX1336" fmla="*/ 3295646 w 4940931"/>
                <a:gd name="connsiteY1336" fmla="*/ 64134 h 138429"/>
                <a:gd name="connsiteX1337" fmla="*/ 3295646 w 4940931"/>
                <a:gd name="connsiteY1337" fmla="*/ 108584 h 138429"/>
                <a:gd name="connsiteX1338" fmla="*/ 3280406 w 4940931"/>
                <a:gd name="connsiteY1338" fmla="*/ 108584 h 138429"/>
                <a:gd name="connsiteX1339" fmla="*/ 3279771 w 4940931"/>
                <a:gd name="connsiteY1339" fmla="*/ 108584 h 138429"/>
                <a:gd name="connsiteX1340" fmla="*/ 3279771 w 4940931"/>
                <a:gd name="connsiteY1340" fmla="*/ 64769 h 138429"/>
                <a:gd name="connsiteX1341" fmla="*/ 3275961 w 4940931"/>
                <a:gd name="connsiteY1341" fmla="*/ 48894 h 138429"/>
                <a:gd name="connsiteX1342" fmla="*/ 3263896 w 4940931"/>
                <a:gd name="connsiteY1342" fmla="*/ 43814 h 138429"/>
                <a:gd name="connsiteX1343" fmla="*/ 3257546 w 4940931"/>
                <a:gd name="connsiteY1343" fmla="*/ 45084 h 138429"/>
                <a:gd name="connsiteX1344" fmla="*/ 3252466 w 4940931"/>
                <a:gd name="connsiteY1344" fmla="*/ 48894 h 138429"/>
                <a:gd name="connsiteX1345" fmla="*/ 3249291 w 4940931"/>
                <a:gd name="connsiteY1345" fmla="*/ 55244 h 138429"/>
                <a:gd name="connsiteX1346" fmla="*/ 3248021 w 4940931"/>
                <a:gd name="connsiteY1346" fmla="*/ 63499 h 138429"/>
                <a:gd name="connsiteX1347" fmla="*/ 3248021 w 4940931"/>
                <a:gd name="connsiteY1347" fmla="*/ 109219 h 138429"/>
                <a:gd name="connsiteX1348" fmla="*/ 3232781 w 4940931"/>
                <a:gd name="connsiteY1348" fmla="*/ 109219 h 138429"/>
                <a:gd name="connsiteX1349" fmla="*/ 3232781 w 4940931"/>
                <a:gd name="connsiteY1349" fmla="*/ 8889 h 138429"/>
                <a:gd name="connsiteX1350" fmla="*/ 2432681 w 4940931"/>
                <a:gd name="connsiteY1350" fmla="*/ 634 h 138429"/>
                <a:gd name="connsiteX1351" fmla="*/ 2432681 w 4940931"/>
                <a:gd name="connsiteY1351" fmla="*/ 38099 h 138429"/>
                <a:gd name="connsiteX1352" fmla="*/ 2436491 w 4940931"/>
                <a:gd name="connsiteY1352" fmla="*/ 34289 h 138429"/>
                <a:gd name="connsiteX1353" fmla="*/ 2440936 w 4940931"/>
                <a:gd name="connsiteY1353" fmla="*/ 31114 h 138429"/>
                <a:gd name="connsiteX1354" fmla="*/ 2446651 w 4940931"/>
                <a:gd name="connsiteY1354" fmla="*/ 29209 h 138429"/>
                <a:gd name="connsiteX1355" fmla="*/ 2452366 w 4940931"/>
                <a:gd name="connsiteY1355" fmla="*/ 29209 h 138429"/>
                <a:gd name="connsiteX1356" fmla="*/ 2464431 w 4940931"/>
                <a:gd name="connsiteY1356" fmla="*/ 31749 h 138429"/>
                <a:gd name="connsiteX1357" fmla="*/ 2473321 w 4940931"/>
                <a:gd name="connsiteY1357" fmla="*/ 38099 h 138429"/>
                <a:gd name="connsiteX1358" fmla="*/ 2478401 w 4940931"/>
                <a:gd name="connsiteY1358" fmla="*/ 49529 h 138429"/>
                <a:gd name="connsiteX1359" fmla="*/ 2480306 w 4940931"/>
                <a:gd name="connsiteY1359" fmla="*/ 64134 h 138429"/>
                <a:gd name="connsiteX1360" fmla="*/ 2480306 w 4940931"/>
                <a:gd name="connsiteY1360" fmla="*/ 108584 h 138429"/>
                <a:gd name="connsiteX1361" fmla="*/ 2465066 w 4940931"/>
                <a:gd name="connsiteY1361" fmla="*/ 108584 h 138429"/>
                <a:gd name="connsiteX1362" fmla="*/ 2464431 w 4940931"/>
                <a:gd name="connsiteY1362" fmla="*/ 108584 h 138429"/>
                <a:gd name="connsiteX1363" fmla="*/ 2464431 w 4940931"/>
                <a:gd name="connsiteY1363" fmla="*/ 64769 h 138429"/>
                <a:gd name="connsiteX1364" fmla="*/ 2460621 w 4940931"/>
                <a:gd name="connsiteY1364" fmla="*/ 48894 h 138429"/>
                <a:gd name="connsiteX1365" fmla="*/ 2448556 w 4940931"/>
                <a:gd name="connsiteY1365" fmla="*/ 43814 h 138429"/>
                <a:gd name="connsiteX1366" fmla="*/ 2442206 w 4940931"/>
                <a:gd name="connsiteY1366" fmla="*/ 45084 h 138429"/>
                <a:gd name="connsiteX1367" fmla="*/ 2437126 w 4940931"/>
                <a:gd name="connsiteY1367" fmla="*/ 48894 h 138429"/>
                <a:gd name="connsiteX1368" fmla="*/ 2433951 w 4940931"/>
                <a:gd name="connsiteY1368" fmla="*/ 55244 h 138429"/>
                <a:gd name="connsiteX1369" fmla="*/ 2432681 w 4940931"/>
                <a:gd name="connsiteY1369" fmla="*/ 63499 h 138429"/>
                <a:gd name="connsiteX1370" fmla="*/ 2432681 w 4940931"/>
                <a:gd name="connsiteY1370" fmla="*/ 109219 h 138429"/>
                <a:gd name="connsiteX1371" fmla="*/ 2417441 w 4940931"/>
                <a:gd name="connsiteY1371" fmla="*/ 109219 h 138429"/>
                <a:gd name="connsiteX1372" fmla="*/ 2417441 w 4940931"/>
                <a:gd name="connsiteY1372" fmla="*/ 8889 h 138429"/>
                <a:gd name="connsiteX1373" fmla="*/ 1734181 w 4940931"/>
                <a:gd name="connsiteY1373" fmla="*/ 634 h 138429"/>
                <a:gd name="connsiteX1374" fmla="*/ 1734181 w 4940931"/>
                <a:gd name="connsiteY1374" fmla="*/ 38099 h 138429"/>
                <a:gd name="connsiteX1375" fmla="*/ 1737991 w 4940931"/>
                <a:gd name="connsiteY1375" fmla="*/ 34289 h 138429"/>
                <a:gd name="connsiteX1376" fmla="*/ 1742436 w 4940931"/>
                <a:gd name="connsiteY1376" fmla="*/ 31114 h 138429"/>
                <a:gd name="connsiteX1377" fmla="*/ 1748151 w 4940931"/>
                <a:gd name="connsiteY1377" fmla="*/ 29209 h 138429"/>
                <a:gd name="connsiteX1378" fmla="*/ 1753866 w 4940931"/>
                <a:gd name="connsiteY1378" fmla="*/ 29209 h 138429"/>
                <a:gd name="connsiteX1379" fmla="*/ 1765931 w 4940931"/>
                <a:gd name="connsiteY1379" fmla="*/ 31749 h 138429"/>
                <a:gd name="connsiteX1380" fmla="*/ 1774821 w 4940931"/>
                <a:gd name="connsiteY1380" fmla="*/ 38099 h 138429"/>
                <a:gd name="connsiteX1381" fmla="*/ 1779901 w 4940931"/>
                <a:gd name="connsiteY1381" fmla="*/ 49529 h 138429"/>
                <a:gd name="connsiteX1382" fmla="*/ 1781806 w 4940931"/>
                <a:gd name="connsiteY1382" fmla="*/ 64134 h 138429"/>
                <a:gd name="connsiteX1383" fmla="*/ 1781806 w 4940931"/>
                <a:gd name="connsiteY1383" fmla="*/ 108584 h 138429"/>
                <a:gd name="connsiteX1384" fmla="*/ 1766566 w 4940931"/>
                <a:gd name="connsiteY1384" fmla="*/ 108584 h 138429"/>
                <a:gd name="connsiteX1385" fmla="*/ 1765931 w 4940931"/>
                <a:gd name="connsiteY1385" fmla="*/ 108584 h 138429"/>
                <a:gd name="connsiteX1386" fmla="*/ 1765931 w 4940931"/>
                <a:gd name="connsiteY1386" fmla="*/ 64769 h 138429"/>
                <a:gd name="connsiteX1387" fmla="*/ 1762121 w 4940931"/>
                <a:gd name="connsiteY1387" fmla="*/ 48894 h 138429"/>
                <a:gd name="connsiteX1388" fmla="*/ 1750056 w 4940931"/>
                <a:gd name="connsiteY1388" fmla="*/ 43814 h 138429"/>
                <a:gd name="connsiteX1389" fmla="*/ 1743706 w 4940931"/>
                <a:gd name="connsiteY1389" fmla="*/ 45084 h 138429"/>
                <a:gd name="connsiteX1390" fmla="*/ 1738626 w 4940931"/>
                <a:gd name="connsiteY1390" fmla="*/ 48894 h 138429"/>
                <a:gd name="connsiteX1391" fmla="*/ 1735451 w 4940931"/>
                <a:gd name="connsiteY1391" fmla="*/ 55244 h 138429"/>
                <a:gd name="connsiteX1392" fmla="*/ 1734181 w 4940931"/>
                <a:gd name="connsiteY1392" fmla="*/ 63499 h 138429"/>
                <a:gd name="connsiteX1393" fmla="*/ 1734181 w 4940931"/>
                <a:gd name="connsiteY1393" fmla="*/ 109219 h 138429"/>
                <a:gd name="connsiteX1394" fmla="*/ 1718941 w 4940931"/>
                <a:gd name="connsiteY1394" fmla="*/ 109219 h 138429"/>
                <a:gd name="connsiteX1395" fmla="*/ 1718941 w 4940931"/>
                <a:gd name="connsiteY1395" fmla="*/ 8889 h 138429"/>
                <a:gd name="connsiteX1396" fmla="*/ 803275 w 4940931"/>
                <a:gd name="connsiteY1396" fmla="*/ 634 h 138429"/>
                <a:gd name="connsiteX1397" fmla="*/ 803275 w 4940931"/>
                <a:gd name="connsiteY1397" fmla="*/ 38099 h 138429"/>
                <a:gd name="connsiteX1398" fmla="*/ 807085 w 4940931"/>
                <a:gd name="connsiteY1398" fmla="*/ 34289 h 138429"/>
                <a:gd name="connsiteX1399" fmla="*/ 811530 w 4940931"/>
                <a:gd name="connsiteY1399" fmla="*/ 31114 h 138429"/>
                <a:gd name="connsiteX1400" fmla="*/ 817245 w 4940931"/>
                <a:gd name="connsiteY1400" fmla="*/ 29209 h 138429"/>
                <a:gd name="connsiteX1401" fmla="*/ 822960 w 4940931"/>
                <a:gd name="connsiteY1401" fmla="*/ 29209 h 138429"/>
                <a:gd name="connsiteX1402" fmla="*/ 835025 w 4940931"/>
                <a:gd name="connsiteY1402" fmla="*/ 31749 h 138429"/>
                <a:gd name="connsiteX1403" fmla="*/ 843915 w 4940931"/>
                <a:gd name="connsiteY1403" fmla="*/ 38099 h 138429"/>
                <a:gd name="connsiteX1404" fmla="*/ 848995 w 4940931"/>
                <a:gd name="connsiteY1404" fmla="*/ 49529 h 138429"/>
                <a:gd name="connsiteX1405" fmla="*/ 850900 w 4940931"/>
                <a:gd name="connsiteY1405" fmla="*/ 64134 h 138429"/>
                <a:gd name="connsiteX1406" fmla="*/ 850900 w 4940931"/>
                <a:gd name="connsiteY1406" fmla="*/ 108584 h 138429"/>
                <a:gd name="connsiteX1407" fmla="*/ 835660 w 4940931"/>
                <a:gd name="connsiteY1407" fmla="*/ 108584 h 138429"/>
                <a:gd name="connsiteX1408" fmla="*/ 835025 w 4940931"/>
                <a:gd name="connsiteY1408" fmla="*/ 108584 h 138429"/>
                <a:gd name="connsiteX1409" fmla="*/ 835025 w 4940931"/>
                <a:gd name="connsiteY1409" fmla="*/ 64769 h 138429"/>
                <a:gd name="connsiteX1410" fmla="*/ 831215 w 4940931"/>
                <a:gd name="connsiteY1410" fmla="*/ 48894 h 138429"/>
                <a:gd name="connsiteX1411" fmla="*/ 819150 w 4940931"/>
                <a:gd name="connsiteY1411" fmla="*/ 43814 h 138429"/>
                <a:gd name="connsiteX1412" fmla="*/ 812800 w 4940931"/>
                <a:gd name="connsiteY1412" fmla="*/ 45084 h 138429"/>
                <a:gd name="connsiteX1413" fmla="*/ 807720 w 4940931"/>
                <a:gd name="connsiteY1413" fmla="*/ 48894 h 138429"/>
                <a:gd name="connsiteX1414" fmla="*/ 804545 w 4940931"/>
                <a:gd name="connsiteY1414" fmla="*/ 55244 h 138429"/>
                <a:gd name="connsiteX1415" fmla="*/ 803275 w 4940931"/>
                <a:gd name="connsiteY1415" fmla="*/ 63499 h 138429"/>
                <a:gd name="connsiteX1416" fmla="*/ 803275 w 4940931"/>
                <a:gd name="connsiteY1416" fmla="*/ 109219 h 138429"/>
                <a:gd name="connsiteX1417" fmla="*/ 788035 w 4940931"/>
                <a:gd name="connsiteY1417" fmla="*/ 109219 h 138429"/>
                <a:gd name="connsiteX1418" fmla="*/ 788035 w 4940931"/>
                <a:gd name="connsiteY1418" fmla="*/ 8889 h 138429"/>
                <a:gd name="connsiteX1419" fmla="*/ 104774 w 4940931"/>
                <a:gd name="connsiteY1419" fmla="*/ 634 h 138429"/>
                <a:gd name="connsiteX1420" fmla="*/ 104774 w 4940931"/>
                <a:gd name="connsiteY1420" fmla="*/ 38099 h 138429"/>
                <a:gd name="connsiteX1421" fmla="*/ 108584 w 4940931"/>
                <a:gd name="connsiteY1421" fmla="*/ 34289 h 138429"/>
                <a:gd name="connsiteX1422" fmla="*/ 113029 w 4940931"/>
                <a:gd name="connsiteY1422" fmla="*/ 31114 h 138429"/>
                <a:gd name="connsiteX1423" fmla="*/ 118744 w 4940931"/>
                <a:gd name="connsiteY1423" fmla="*/ 29209 h 138429"/>
                <a:gd name="connsiteX1424" fmla="*/ 124459 w 4940931"/>
                <a:gd name="connsiteY1424" fmla="*/ 29209 h 138429"/>
                <a:gd name="connsiteX1425" fmla="*/ 136524 w 4940931"/>
                <a:gd name="connsiteY1425" fmla="*/ 31749 h 138429"/>
                <a:gd name="connsiteX1426" fmla="*/ 145414 w 4940931"/>
                <a:gd name="connsiteY1426" fmla="*/ 38099 h 138429"/>
                <a:gd name="connsiteX1427" fmla="*/ 150494 w 4940931"/>
                <a:gd name="connsiteY1427" fmla="*/ 49529 h 138429"/>
                <a:gd name="connsiteX1428" fmla="*/ 152399 w 4940931"/>
                <a:gd name="connsiteY1428" fmla="*/ 64134 h 138429"/>
                <a:gd name="connsiteX1429" fmla="*/ 152399 w 4940931"/>
                <a:gd name="connsiteY1429" fmla="*/ 108584 h 138429"/>
                <a:gd name="connsiteX1430" fmla="*/ 137159 w 4940931"/>
                <a:gd name="connsiteY1430" fmla="*/ 108584 h 138429"/>
                <a:gd name="connsiteX1431" fmla="*/ 136524 w 4940931"/>
                <a:gd name="connsiteY1431" fmla="*/ 108584 h 138429"/>
                <a:gd name="connsiteX1432" fmla="*/ 136524 w 4940931"/>
                <a:gd name="connsiteY1432" fmla="*/ 64769 h 138429"/>
                <a:gd name="connsiteX1433" fmla="*/ 132714 w 4940931"/>
                <a:gd name="connsiteY1433" fmla="*/ 48894 h 138429"/>
                <a:gd name="connsiteX1434" fmla="*/ 120649 w 4940931"/>
                <a:gd name="connsiteY1434" fmla="*/ 43814 h 138429"/>
                <a:gd name="connsiteX1435" fmla="*/ 114299 w 4940931"/>
                <a:gd name="connsiteY1435" fmla="*/ 45084 h 138429"/>
                <a:gd name="connsiteX1436" fmla="*/ 109219 w 4940931"/>
                <a:gd name="connsiteY1436" fmla="*/ 48894 h 138429"/>
                <a:gd name="connsiteX1437" fmla="*/ 106044 w 4940931"/>
                <a:gd name="connsiteY1437" fmla="*/ 55244 h 138429"/>
                <a:gd name="connsiteX1438" fmla="*/ 104774 w 4940931"/>
                <a:gd name="connsiteY1438" fmla="*/ 63499 h 138429"/>
                <a:gd name="connsiteX1439" fmla="*/ 104774 w 4940931"/>
                <a:gd name="connsiteY1439" fmla="*/ 109219 h 138429"/>
                <a:gd name="connsiteX1440" fmla="*/ 89534 w 4940931"/>
                <a:gd name="connsiteY1440" fmla="*/ 109219 h 138429"/>
                <a:gd name="connsiteX1441" fmla="*/ 89534 w 4940931"/>
                <a:gd name="connsiteY1441" fmla="*/ 8889 h 138429"/>
                <a:gd name="connsiteX1442" fmla="*/ 3894450 w 4940931"/>
                <a:gd name="connsiteY1442" fmla="*/ 0 h 138429"/>
                <a:gd name="connsiteX1443" fmla="*/ 3894450 w 4940931"/>
                <a:gd name="connsiteY1443" fmla="*/ 30480 h 138429"/>
                <a:gd name="connsiteX1444" fmla="*/ 3913500 w 4940931"/>
                <a:gd name="connsiteY1444" fmla="*/ 30480 h 138429"/>
                <a:gd name="connsiteX1445" fmla="*/ 3913500 w 4940931"/>
                <a:gd name="connsiteY1445" fmla="*/ 44450 h 138429"/>
                <a:gd name="connsiteX1446" fmla="*/ 3894450 w 4940931"/>
                <a:gd name="connsiteY1446" fmla="*/ 44450 h 138429"/>
                <a:gd name="connsiteX1447" fmla="*/ 3894450 w 4940931"/>
                <a:gd name="connsiteY1447" fmla="*/ 86995 h 138429"/>
                <a:gd name="connsiteX1448" fmla="*/ 3894450 w 4940931"/>
                <a:gd name="connsiteY1448" fmla="*/ 91440 h 138429"/>
                <a:gd name="connsiteX1449" fmla="*/ 3895720 w 4940931"/>
                <a:gd name="connsiteY1449" fmla="*/ 94615 h 138429"/>
                <a:gd name="connsiteX1450" fmla="*/ 3898260 w 4940931"/>
                <a:gd name="connsiteY1450" fmla="*/ 95885 h 138429"/>
                <a:gd name="connsiteX1451" fmla="*/ 3902070 w 4940931"/>
                <a:gd name="connsiteY1451" fmla="*/ 95885 h 138429"/>
                <a:gd name="connsiteX1452" fmla="*/ 3908420 w 4940931"/>
                <a:gd name="connsiteY1452" fmla="*/ 95250 h 138429"/>
                <a:gd name="connsiteX1453" fmla="*/ 3913500 w 4940931"/>
                <a:gd name="connsiteY1453" fmla="*/ 93345 h 138429"/>
                <a:gd name="connsiteX1454" fmla="*/ 3911595 w 4940931"/>
                <a:gd name="connsiteY1454" fmla="*/ 106680 h 138429"/>
                <a:gd name="connsiteX1455" fmla="*/ 3905245 w 4940931"/>
                <a:gd name="connsiteY1455" fmla="*/ 109220 h 138429"/>
                <a:gd name="connsiteX1456" fmla="*/ 3896990 w 4940931"/>
                <a:gd name="connsiteY1456" fmla="*/ 110490 h 138429"/>
                <a:gd name="connsiteX1457" fmla="*/ 3890005 w 4940931"/>
                <a:gd name="connsiteY1457" fmla="*/ 109220 h 138429"/>
                <a:gd name="connsiteX1458" fmla="*/ 3884290 w 4940931"/>
                <a:gd name="connsiteY1458" fmla="*/ 105410 h 138429"/>
                <a:gd name="connsiteX1459" fmla="*/ 3880480 w 4940931"/>
                <a:gd name="connsiteY1459" fmla="*/ 99060 h 138429"/>
                <a:gd name="connsiteX1460" fmla="*/ 3879210 w 4940931"/>
                <a:gd name="connsiteY1460" fmla="*/ 89535 h 138429"/>
                <a:gd name="connsiteX1461" fmla="*/ 3879210 w 4940931"/>
                <a:gd name="connsiteY1461" fmla="*/ 44450 h 138429"/>
                <a:gd name="connsiteX1462" fmla="*/ 3868415 w 4940931"/>
                <a:gd name="connsiteY1462" fmla="*/ 44450 h 138429"/>
                <a:gd name="connsiteX1463" fmla="*/ 3868415 w 4940931"/>
                <a:gd name="connsiteY1463" fmla="*/ 30480 h 138429"/>
                <a:gd name="connsiteX1464" fmla="*/ 3879210 w 4940931"/>
                <a:gd name="connsiteY1464" fmla="*/ 30480 h 138429"/>
                <a:gd name="connsiteX1465" fmla="*/ 3879210 w 4940931"/>
                <a:gd name="connsiteY1465" fmla="*/ 8255 h 138429"/>
                <a:gd name="connsiteX1466" fmla="*/ 3664581 w 4940931"/>
                <a:gd name="connsiteY1466" fmla="*/ 0 h 138429"/>
                <a:gd name="connsiteX1467" fmla="*/ 3664581 w 4940931"/>
                <a:gd name="connsiteY1467" fmla="*/ 30480 h 138429"/>
                <a:gd name="connsiteX1468" fmla="*/ 3683631 w 4940931"/>
                <a:gd name="connsiteY1468" fmla="*/ 30480 h 138429"/>
                <a:gd name="connsiteX1469" fmla="*/ 3683631 w 4940931"/>
                <a:gd name="connsiteY1469" fmla="*/ 44450 h 138429"/>
                <a:gd name="connsiteX1470" fmla="*/ 3664581 w 4940931"/>
                <a:gd name="connsiteY1470" fmla="*/ 44450 h 138429"/>
                <a:gd name="connsiteX1471" fmla="*/ 3664581 w 4940931"/>
                <a:gd name="connsiteY1471" fmla="*/ 86995 h 138429"/>
                <a:gd name="connsiteX1472" fmla="*/ 3664581 w 4940931"/>
                <a:gd name="connsiteY1472" fmla="*/ 91440 h 138429"/>
                <a:gd name="connsiteX1473" fmla="*/ 3665851 w 4940931"/>
                <a:gd name="connsiteY1473" fmla="*/ 94615 h 138429"/>
                <a:gd name="connsiteX1474" fmla="*/ 3668391 w 4940931"/>
                <a:gd name="connsiteY1474" fmla="*/ 95885 h 138429"/>
                <a:gd name="connsiteX1475" fmla="*/ 3672201 w 4940931"/>
                <a:gd name="connsiteY1475" fmla="*/ 95885 h 138429"/>
                <a:gd name="connsiteX1476" fmla="*/ 3678551 w 4940931"/>
                <a:gd name="connsiteY1476" fmla="*/ 95250 h 138429"/>
                <a:gd name="connsiteX1477" fmla="*/ 3683631 w 4940931"/>
                <a:gd name="connsiteY1477" fmla="*/ 93345 h 138429"/>
                <a:gd name="connsiteX1478" fmla="*/ 3681726 w 4940931"/>
                <a:gd name="connsiteY1478" fmla="*/ 106680 h 138429"/>
                <a:gd name="connsiteX1479" fmla="*/ 3675376 w 4940931"/>
                <a:gd name="connsiteY1479" fmla="*/ 109220 h 138429"/>
                <a:gd name="connsiteX1480" fmla="*/ 3667121 w 4940931"/>
                <a:gd name="connsiteY1480" fmla="*/ 110490 h 138429"/>
                <a:gd name="connsiteX1481" fmla="*/ 3660136 w 4940931"/>
                <a:gd name="connsiteY1481" fmla="*/ 109220 h 138429"/>
                <a:gd name="connsiteX1482" fmla="*/ 3654421 w 4940931"/>
                <a:gd name="connsiteY1482" fmla="*/ 105410 h 138429"/>
                <a:gd name="connsiteX1483" fmla="*/ 3650611 w 4940931"/>
                <a:gd name="connsiteY1483" fmla="*/ 99060 h 138429"/>
                <a:gd name="connsiteX1484" fmla="*/ 3649341 w 4940931"/>
                <a:gd name="connsiteY1484" fmla="*/ 89535 h 138429"/>
                <a:gd name="connsiteX1485" fmla="*/ 3649341 w 4940931"/>
                <a:gd name="connsiteY1485" fmla="*/ 44450 h 138429"/>
                <a:gd name="connsiteX1486" fmla="*/ 3638546 w 4940931"/>
                <a:gd name="connsiteY1486" fmla="*/ 44450 h 138429"/>
                <a:gd name="connsiteX1487" fmla="*/ 3638546 w 4940931"/>
                <a:gd name="connsiteY1487" fmla="*/ 30480 h 138429"/>
                <a:gd name="connsiteX1488" fmla="*/ 3649341 w 4940931"/>
                <a:gd name="connsiteY1488" fmla="*/ 30480 h 138429"/>
                <a:gd name="connsiteX1489" fmla="*/ 3649341 w 4940931"/>
                <a:gd name="connsiteY1489" fmla="*/ 8255 h 138429"/>
                <a:gd name="connsiteX1490" fmla="*/ 3610605 w 4940931"/>
                <a:gd name="connsiteY1490" fmla="*/ 0 h 138429"/>
                <a:gd name="connsiteX1491" fmla="*/ 3610605 w 4940931"/>
                <a:gd name="connsiteY1491" fmla="*/ 30480 h 138429"/>
                <a:gd name="connsiteX1492" fmla="*/ 3629655 w 4940931"/>
                <a:gd name="connsiteY1492" fmla="*/ 30480 h 138429"/>
                <a:gd name="connsiteX1493" fmla="*/ 3629655 w 4940931"/>
                <a:gd name="connsiteY1493" fmla="*/ 44450 h 138429"/>
                <a:gd name="connsiteX1494" fmla="*/ 3610605 w 4940931"/>
                <a:gd name="connsiteY1494" fmla="*/ 44450 h 138429"/>
                <a:gd name="connsiteX1495" fmla="*/ 3610605 w 4940931"/>
                <a:gd name="connsiteY1495" fmla="*/ 86995 h 138429"/>
                <a:gd name="connsiteX1496" fmla="*/ 3610605 w 4940931"/>
                <a:gd name="connsiteY1496" fmla="*/ 91440 h 138429"/>
                <a:gd name="connsiteX1497" fmla="*/ 3611875 w 4940931"/>
                <a:gd name="connsiteY1497" fmla="*/ 94615 h 138429"/>
                <a:gd name="connsiteX1498" fmla="*/ 3614415 w 4940931"/>
                <a:gd name="connsiteY1498" fmla="*/ 95885 h 138429"/>
                <a:gd name="connsiteX1499" fmla="*/ 3618225 w 4940931"/>
                <a:gd name="connsiteY1499" fmla="*/ 95885 h 138429"/>
                <a:gd name="connsiteX1500" fmla="*/ 3624575 w 4940931"/>
                <a:gd name="connsiteY1500" fmla="*/ 95250 h 138429"/>
                <a:gd name="connsiteX1501" fmla="*/ 3629655 w 4940931"/>
                <a:gd name="connsiteY1501" fmla="*/ 93345 h 138429"/>
                <a:gd name="connsiteX1502" fmla="*/ 3627750 w 4940931"/>
                <a:gd name="connsiteY1502" fmla="*/ 106680 h 138429"/>
                <a:gd name="connsiteX1503" fmla="*/ 3621400 w 4940931"/>
                <a:gd name="connsiteY1503" fmla="*/ 109220 h 138429"/>
                <a:gd name="connsiteX1504" fmla="*/ 3613145 w 4940931"/>
                <a:gd name="connsiteY1504" fmla="*/ 110490 h 138429"/>
                <a:gd name="connsiteX1505" fmla="*/ 3606160 w 4940931"/>
                <a:gd name="connsiteY1505" fmla="*/ 109220 h 138429"/>
                <a:gd name="connsiteX1506" fmla="*/ 3600445 w 4940931"/>
                <a:gd name="connsiteY1506" fmla="*/ 105410 h 138429"/>
                <a:gd name="connsiteX1507" fmla="*/ 3596635 w 4940931"/>
                <a:gd name="connsiteY1507" fmla="*/ 99060 h 138429"/>
                <a:gd name="connsiteX1508" fmla="*/ 3595365 w 4940931"/>
                <a:gd name="connsiteY1508" fmla="*/ 89535 h 138429"/>
                <a:gd name="connsiteX1509" fmla="*/ 3595365 w 4940931"/>
                <a:gd name="connsiteY1509" fmla="*/ 44450 h 138429"/>
                <a:gd name="connsiteX1510" fmla="*/ 3584570 w 4940931"/>
                <a:gd name="connsiteY1510" fmla="*/ 44450 h 138429"/>
                <a:gd name="connsiteX1511" fmla="*/ 3584570 w 4940931"/>
                <a:gd name="connsiteY1511" fmla="*/ 30480 h 138429"/>
                <a:gd name="connsiteX1512" fmla="*/ 3595365 w 4940931"/>
                <a:gd name="connsiteY1512" fmla="*/ 30480 h 138429"/>
                <a:gd name="connsiteX1513" fmla="*/ 3595365 w 4940931"/>
                <a:gd name="connsiteY1513" fmla="*/ 8255 h 138429"/>
                <a:gd name="connsiteX1514" fmla="*/ 3445505 w 4940931"/>
                <a:gd name="connsiteY1514" fmla="*/ 0 h 138429"/>
                <a:gd name="connsiteX1515" fmla="*/ 3445505 w 4940931"/>
                <a:gd name="connsiteY1515" fmla="*/ 37465 h 138429"/>
                <a:gd name="connsiteX1516" fmla="*/ 3449950 w 4940931"/>
                <a:gd name="connsiteY1516" fmla="*/ 33655 h 138429"/>
                <a:gd name="connsiteX1517" fmla="*/ 3453760 w 4940931"/>
                <a:gd name="connsiteY1517" fmla="*/ 31115 h 138429"/>
                <a:gd name="connsiteX1518" fmla="*/ 3458840 w 4940931"/>
                <a:gd name="connsiteY1518" fmla="*/ 29210 h 138429"/>
                <a:gd name="connsiteX1519" fmla="*/ 3465825 w 4940931"/>
                <a:gd name="connsiteY1519" fmla="*/ 28575 h 138429"/>
                <a:gd name="connsiteX1520" fmla="*/ 3477890 w 4940931"/>
                <a:gd name="connsiteY1520" fmla="*/ 31115 h 138429"/>
                <a:gd name="connsiteX1521" fmla="*/ 3487415 w 4940931"/>
                <a:gd name="connsiteY1521" fmla="*/ 38735 h 138429"/>
                <a:gd name="connsiteX1522" fmla="*/ 3493765 w 4940931"/>
                <a:gd name="connsiteY1522" fmla="*/ 51435 h 138429"/>
                <a:gd name="connsiteX1523" fmla="*/ 3496305 w 4940931"/>
                <a:gd name="connsiteY1523" fmla="*/ 70485 h 138429"/>
                <a:gd name="connsiteX1524" fmla="*/ 3495670 w 4940931"/>
                <a:gd name="connsiteY1524" fmla="*/ 71120 h 138429"/>
                <a:gd name="connsiteX1525" fmla="*/ 3493130 w 4940931"/>
                <a:gd name="connsiteY1525" fmla="*/ 88265 h 138429"/>
                <a:gd name="connsiteX1526" fmla="*/ 3486145 w 4940931"/>
                <a:gd name="connsiteY1526" fmla="*/ 100330 h 138429"/>
                <a:gd name="connsiteX1527" fmla="*/ 3476620 w 4940931"/>
                <a:gd name="connsiteY1527" fmla="*/ 107315 h 138429"/>
                <a:gd name="connsiteX1528" fmla="*/ 3465190 w 4940931"/>
                <a:gd name="connsiteY1528" fmla="*/ 109855 h 138429"/>
                <a:gd name="connsiteX1529" fmla="*/ 3454395 w 4940931"/>
                <a:gd name="connsiteY1529" fmla="*/ 107315 h 138429"/>
                <a:gd name="connsiteX1530" fmla="*/ 3445505 w 4940931"/>
                <a:gd name="connsiteY1530" fmla="*/ 100965 h 138429"/>
                <a:gd name="connsiteX1531" fmla="*/ 3445505 w 4940931"/>
                <a:gd name="connsiteY1531" fmla="*/ 107950 h 138429"/>
                <a:gd name="connsiteX1532" fmla="*/ 3430265 w 4940931"/>
                <a:gd name="connsiteY1532" fmla="*/ 107950 h 138429"/>
                <a:gd name="connsiteX1533" fmla="*/ 3430265 w 4940931"/>
                <a:gd name="connsiteY1533" fmla="*/ 7620 h 138429"/>
                <a:gd name="connsiteX1534" fmla="*/ 2380611 w 4940931"/>
                <a:gd name="connsiteY1534" fmla="*/ 0 h 138429"/>
                <a:gd name="connsiteX1535" fmla="*/ 2380611 w 4940931"/>
                <a:gd name="connsiteY1535" fmla="*/ 30480 h 138429"/>
                <a:gd name="connsiteX1536" fmla="*/ 2399661 w 4940931"/>
                <a:gd name="connsiteY1536" fmla="*/ 30480 h 138429"/>
                <a:gd name="connsiteX1537" fmla="*/ 2399661 w 4940931"/>
                <a:gd name="connsiteY1537" fmla="*/ 44450 h 138429"/>
                <a:gd name="connsiteX1538" fmla="*/ 2380611 w 4940931"/>
                <a:gd name="connsiteY1538" fmla="*/ 44450 h 138429"/>
                <a:gd name="connsiteX1539" fmla="*/ 2380611 w 4940931"/>
                <a:gd name="connsiteY1539" fmla="*/ 86995 h 138429"/>
                <a:gd name="connsiteX1540" fmla="*/ 2380611 w 4940931"/>
                <a:gd name="connsiteY1540" fmla="*/ 91440 h 138429"/>
                <a:gd name="connsiteX1541" fmla="*/ 2381881 w 4940931"/>
                <a:gd name="connsiteY1541" fmla="*/ 94615 h 138429"/>
                <a:gd name="connsiteX1542" fmla="*/ 2384421 w 4940931"/>
                <a:gd name="connsiteY1542" fmla="*/ 95885 h 138429"/>
                <a:gd name="connsiteX1543" fmla="*/ 2388231 w 4940931"/>
                <a:gd name="connsiteY1543" fmla="*/ 95885 h 138429"/>
                <a:gd name="connsiteX1544" fmla="*/ 2394581 w 4940931"/>
                <a:gd name="connsiteY1544" fmla="*/ 95250 h 138429"/>
                <a:gd name="connsiteX1545" fmla="*/ 2399661 w 4940931"/>
                <a:gd name="connsiteY1545" fmla="*/ 93345 h 138429"/>
                <a:gd name="connsiteX1546" fmla="*/ 2397756 w 4940931"/>
                <a:gd name="connsiteY1546" fmla="*/ 106680 h 138429"/>
                <a:gd name="connsiteX1547" fmla="*/ 2391406 w 4940931"/>
                <a:gd name="connsiteY1547" fmla="*/ 109220 h 138429"/>
                <a:gd name="connsiteX1548" fmla="*/ 2383151 w 4940931"/>
                <a:gd name="connsiteY1548" fmla="*/ 110490 h 138429"/>
                <a:gd name="connsiteX1549" fmla="*/ 2376166 w 4940931"/>
                <a:gd name="connsiteY1549" fmla="*/ 109220 h 138429"/>
                <a:gd name="connsiteX1550" fmla="*/ 2370451 w 4940931"/>
                <a:gd name="connsiteY1550" fmla="*/ 105410 h 138429"/>
                <a:gd name="connsiteX1551" fmla="*/ 2366641 w 4940931"/>
                <a:gd name="connsiteY1551" fmla="*/ 99060 h 138429"/>
                <a:gd name="connsiteX1552" fmla="*/ 2365371 w 4940931"/>
                <a:gd name="connsiteY1552" fmla="*/ 89535 h 138429"/>
                <a:gd name="connsiteX1553" fmla="*/ 2365371 w 4940931"/>
                <a:gd name="connsiteY1553" fmla="*/ 44450 h 138429"/>
                <a:gd name="connsiteX1554" fmla="*/ 2354576 w 4940931"/>
                <a:gd name="connsiteY1554" fmla="*/ 44450 h 138429"/>
                <a:gd name="connsiteX1555" fmla="*/ 2354576 w 4940931"/>
                <a:gd name="connsiteY1555" fmla="*/ 30480 h 138429"/>
                <a:gd name="connsiteX1556" fmla="*/ 2365371 w 4940931"/>
                <a:gd name="connsiteY1556" fmla="*/ 30480 h 138429"/>
                <a:gd name="connsiteX1557" fmla="*/ 2365371 w 4940931"/>
                <a:gd name="connsiteY1557" fmla="*/ 8255 h 138429"/>
                <a:gd name="connsiteX1558" fmla="*/ 2150741 w 4940931"/>
                <a:gd name="connsiteY1558" fmla="*/ 0 h 138429"/>
                <a:gd name="connsiteX1559" fmla="*/ 2150741 w 4940931"/>
                <a:gd name="connsiteY1559" fmla="*/ 30480 h 138429"/>
                <a:gd name="connsiteX1560" fmla="*/ 2169791 w 4940931"/>
                <a:gd name="connsiteY1560" fmla="*/ 30480 h 138429"/>
                <a:gd name="connsiteX1561" fmla="*/ 2169791 w 4940931"/>
                <a:gd name="connsiteY1561" fmla="*/ 44450 h 138429"/>
                <a:gd name="connsiteX1562" fmla="*/ 2150741 w 4940931"/>
                <a:gd name="connsiteY1562" fmla="*/ 44450 h 138429"/>
                <a:gd name="connsiteX1563" fmla="*/ 2150741 w 4940931"/>
                <a:gd name="connsiteY1563" fmla="*/ 86995 h 138429"/>
                <a:gd name="connsiteX1564" fmla="*/ 2150741 w 4940931"/>
                <a:gd name="connsiteY1564" fmla="*/ 91440 h 138429"/>
                <a:gd name="connsiteX1565" fmla="*/ 2152011 w 4940931"/>
                <a:gd name="connsiteY1565" fmla="*/ 94615 h 138429"/>
                <a:gd name="connsiteX1566" fmla="*/ 2154551 w 4940931"/>
                <a:gd name="connsiteY1566" fmla="*/ 95885 h 138429"/>
                <a:gd name="connsiteX1567" fmla="*/ 2158361 w 4940931"/>
                <a:gd name="connsiteY1567" fmla="*/ 95885 h 138429"/>
                <a:gd name="connsiteX1568" fmla="*/ 2164711 w 4940931"/>
                <a:gd name="connsiteY1568" fmla="*/ 95250 h 138429"/>
                <a:gd name="connsiteX1569" fmla="*/ 2169791 w 4940931"/>
                <a:gd name="connsiteY1569" fmla="*/ 93345 h 138429"/>
                <a:gd name="connsiteX1570" fmla="*/ 2167886 w 4940931"/>
                <a:gd name="connsiteY1570" fmla="*/ 106680 h 138429"/>
                <a:gd name="connsiteX1571" fmla="*/ 2161536 w 4940931"/>
                <a:gd name="connsiteY1571" fmla="*/ 109220 h 138429"/>
                <a:gd name="connsiteX1572" fmla="*/ 2153281 w 4940931"/>
                <a:gd name="connsiteY1572" fmla="*/ 110490 h 138429"/>
                <a:gd name="connsiteX1573" fmla="*/ 2146296 w 4940931"/>
                <a:gd name="connsiteY1573" fmla="*/ 109220 h 138429"/>
                <a:gd name="connsiteX1574" fmla="*/ 2140581 w 4940931"/>
                <a:gd name="connsiteY1574" fmla="*/ 105410 h 138429"/>
                <a:gd name="connsiteX1575" fmla="*/ 2136771 w 4940931"/>
                <a:gd name="connsiteY1575" fmla="*/ 99060 h 138429"/>
                <a:gd name="connsiteX1576" fmla="*/ 2135501 w 4940931"/>
                <a:gd name="connsiteY1576" fmla="*/ 89535 h 138429"/>
                <a:gd name="connsiteX1577" fmla="*/ 2135501 w 4940931"/>
                <a:gd name="connsiteY1577" fmla="*/ 44450 h 138429"/>
                <a:gd name="connsiteX1578" fmla="*/ 2124706 w 4940931"/>
                <a:gd name="connsiteY1578" fmla="*/ 44450 h 138429"/>
                <a:gd name="connsiteX1579" fmla="*/ 2124706 w 4940931"/>
                <a:gd name="connsiteY1579" fmla="*/ 30480 h 138429"/>
                <a:gd name="connsiteX1580" fmla="*/ 2135501 w 4940931"/>
                <a:gd name="connsiteY1580" fmla="*/ 30480 h 138429"/>
                <a:gd name="connsiteX1581" fmla="*/ 2135501 w 4940931"/>
                <a:gd name="connsiteY1581" fmla="*/ 8255 h 138429"/>
                <a:gd name="connsiteX1582" fmla="*/ 2096131 w 4940931"/>
                <a:gd name="connsiteY1582" fmla="*/ 0 h 138429"/>
                <a:gd name="connsiteX1583" fmla="*/ 2096131 w 4940931"/>
                <a:gd name="connsiteY1583" fmla="*/ 30480 h 138429"/>
                <a:gd name="connsiteX1584" fmla="*/ 2115181 w 4940931"/>
                <a:gd name="connsiteY1584" fmla="*/ 30480 h 138429"/>
                <a:gd name="connsiteX1585" fmla="*/ 2115181 w 4940931"/>
                <a:gd name="connsiteY1585" fmla="*/ 44450 h 138429"/>
                <a:gd name="connsiteX1586" fmla="*/ 2096131 w 4940931"/>
                <a:gd name="connsiteY1586" fmla="*/ 44450 h 138429"/>
                <a:gd name="connsiteX1587" fmla="*/ 2096131 w 4940931"/>
                <a:gd name="connsiteY1587" fmla="*/ 86995 h 138429"/>
                <a:gd name="connsiteX1588" fmla="*/ 2096131 w 4940931"/>
                <a:gd name="connsiteY1588" fmla="*/ 91440 h 138429"/>
                <a:gd name="connsiteX1589" fmla="*/ 2097401 w 4940931"/>
                <a:gd name="connsiteY1589" fmla="*/ 94615 h 138429"/>
                <a:gd name="connsiteX1590" fmla="*/ 2099941 w 4940931"/>
                <a:gd name="connsiteY1590" fmla="*/ 95885 h 138429"/>
                <a:gd name="connsiteX1591" fmla="*/ 2103751 w 4940931"/>
                <a:gd name="connsiteY1591" fmla="*/ 95885 h 138429"/>
                <a:gd name="connsiteX1592" fmla="*/ 2110101 w 4940931"/>
                <a:gd name="connsiteY1592" fmla="*/ 95250 h 138429"/>
                <a:gd name="connsiteX1593" fmla="*/ 2115181 w 4940931"/>
                <a:gd name="connsiteY1593" fmla="*/ 93345 h 138429"/>
                <a:gd name="connsiteX1594" fmla="*/ 2113276 w 4940931"/>
                <a:gd name="connsiteY1594" fmla="*/ 106680 h 138429"/>
                <a:gd name="connsiteX1595" fmla="*/ 2106926 w 4940931"/>
                <a:gd name="connsiteY1595" fmla="*/ 109220 h 138429"/>
                <a:gd name="connsiteX1596" fmla="*/ 2098671 w 4940931"/>
                <a:gd name="connsiteY1596" fmla="*/ 110490 h 138429"/>
                <a:gd name="connsiteX1597" fmla="*/ 2091686 w 4940931"/>
                <a:gd name="connsiteY1597" fmla="*/ 109220 h 138429"/>
                <a:gd name="connsiteX1598" fmla="*/ 2085971 w 4940931"/>
                <a:gd name="connsiteY1598" fmla="*/ 105410 h 138429"/>
                <a:gd name="connsiteX1599" fmla="*/ 2082161 w 4940931"/>
                <a:gd name="connsiteY1599" fmla="*/ 99060 h 138429"/>
                <a:gd name="connsiteX1600" fmla="*/ 2080891 w 4940931"/>
                <a:gd name="connsiteY1600" fmla="*/ 89535 h 138429"/>
                <a:gd name="connsiteX1601" fmla="*/ 2080891 w 4940931"/>
                <a:gd name="connsiteY1601" fmla="*/ 44450 h 138429"/>
                <a:gd name="connsiteX1602" fmla="*/ 2070096 w 4940931"/>
                <a:gd name="connsiteY1602" fmla="*/ 44450 h 138429"/>
                <a:gd name="connsiteX1603" fmla="*/ 2070096 w 4940931"/>
                <a:gd name="connsiteY1603" fmla="*/ 30480 h 138429"/>
                <a:gd name="connsiteX1604" fmla="*/ 2080891 w 4940931"/>
                <a:gd name="connsiteY1604" fmla="*/ 30480 h 138429"/>
                <a:gd name="connsiteX1605" fmla="*/ 2080891 w 4940931"/>
                <a:gd name="connsiteY1605" fmla="*/ 8255 h 138429"/>
                <a:gd name="connsiteX1606" fmla="*/ 1931665 w 4940931"/>
                <a:gd name="connsiteY1606" fmla="*/ 0 h 138429"/>
                <a:gd name="connsiteX1607" fmla="*/ 1931665 w 4940931"/>
                <a:gd name="connsiteY1607" fmla="*/ 37465 h 138429"/>
                <a:gd name="connsiteX1608" fmla="*/ 1936110 w 4940931"/>
                <a:gd name="connsiteY1608" fmla="*/ 33655 h 138429"/>
                <a:gd name="connsiteX1609" fmla="*/ 1939920 w 4940931"/>
                <a:gd name="connsiteY1609" fmla="*/ 31115 h 138429"/>
                <a:gd name="connsiteX1610" fmla="*/ 1945000 w 4940931"/>
                <a:gd name="connsiteY1610" fmla="*/ 29210 h 138429"/>
                <a:gd name="connsiteX1611" fmla="*/ 1951985 w 4940931"/>
                <a:gd name="connsiteY1611" fmla="*/ 28575 h 138429"/>
                <a:gd name="connsiteX1612" fmla="*/ 1964050 w 4940931"/>
                <a:gd name="connsiteY1612" fmla="*/ 31115 h 138429"/>
                <a:gd name="connsiteX1613" fmla="*/ 1973575 w 4940931"/>
                <a:gd name="connsiteY1613" fmla="*/ 38735 h 138429"/>
                <a:gd name="connsiteX1614" fmla="*/ 1979925 w 4940931"/>
                <a:gd name="connsiteY1614" fmla="*/ 51435 h 138429"/>
                <a:gd name="connsiteX1615" fmla="*/ 1982465 w 4940931"/>
                <a:gd name="connsiteY1615" fmla="*/ 70485 h 138429"/>
                <a:gd name="connsiteX1616" fmla="*/ 1981830 w 4940931"/>
                <a:gd name="connsiteY1616" fmla="*/ 71120 h 138429"/>
                <a:gd name="connsiteX1617" fmla="*/ 1979290 w 4940931"/>
                <a:gd name="connsiteY1617" fmla="*/ 88265 h 138429"/>
                <a:gd name="connsiteX1618" fmla="*/ 1972305 w 4940931"/>
                <a:gd name="connsiteY1618" fmla="*/ 100330 h 138429"/>
                <a:gd name="connsiteX1619" fmla="*/ 1962780 w 4940931"/>
                <a:gd name="connsiteY1619" fmla="*/ 107315 h 138429"/>
                <a:gd name="connsiteX1620" fmla="*/ 1951350 w 4940931"/>
                <a:gd name="connsiteY1620" fmla="*/ 109855 h 138429"/>
                <a:gd name="connsiteX1621" fmla="*/ 1940555 w 4940931"/>
                <a:gd name="connsiteY1621" fmla="*/ 107315 h 138429"/>
                <a:gd name="connsiteX1622" fmla="*/ 1931665 w 4940931"/>
                <a:gd name="connsiteY1622" fmla="*/ 100965 h 138429"/>
                <a:gd name="connsiteX1623" fmla="*/ 1931665 w 4940931"/>
                <a:gd name="connsiteY1623" fmla="*/ 107950 h 138429"/>
                <a:gd name="connsiteX1624" fmla="*/ 1916425 w 4940931"/>
                <a:gd name="connsiteY1624" fmla="*/ 107950 h 138429"/>
                <a:gd name="connsiteX1625" fmla="*/ 1916425 w 4940931"/>
                <a:gd name="connsiteY1625" fmla="*/ 7620 h 138429"/>
                <a:gd name="connsiteX1626" fmla="*/ 1316991 w 4940931"/>
                <a:gd name="connsiteY1626" fmla="*/ 0 h 138429"/>
                <a:gd name="connsiteX1627" fmla="*/ 1316991 w 4940931"/>
                <a:gd name="connsiteY1627" fmla="*/ 30480 h 138429"/>
                <a:gd name="connsiteX1628" fmla="*/ 1336041 w 4940931"/>
                <a:gd name="connsiteY1628" fmla="*/ 30480 h 138429"/>
                <a:gd name="connsiteX1629" fmla="*/ 1336041 w 4940931"/>
                <a:gd name="connsiteY1629" fmla="*/ 44450 h 138429"/>
                <a:gd name="connsiteX1630" fmla="*/ 1316991 w 4940931"/>
                <a:gd name="connsiteY1630" fmla="*/ 44450 h 138429"/>
                <a:gd name="connsiteX1631" fmla="*/ 1316991 w 4940931"/>
                <a:gd name="connsiteY1631" fmla="*/ 86995 h 138429"/>
                <a:gd name="connsiteX1632" fmla="*/ 1316991 w 4940931"/>
                <a:gd name="connsiteY1632" fmla="*/ 91440 h 138429"/>
                <a:gd name="connsiteX1633" fmla="*/ 1318261 w 4940931"/>
                <a:gd name="connsiteY1633" fmla="*/ 94615 h 138429"/>
                <a:gd name="connsiteX1634" fmla="*/ 1320801 w 4940931"/>
                <a:gd name="connsiteY1634" fmla="*/ 95885 h 138429"/>
                <a:gd name="connsiteX1635" fmla="*/ 1324611 w 4940931"/>
                <a:gd name="connsiteY1635" fmla="*/ 95885 h 138429"/>
                <a:gd name="connsiteX1636" fmla="*/ 1330961 w 4940931"/>
                <a:gd name="connsiteY1636" fmla="*/ 95250 h 138429"/>
                <a:gd name="connsiteX1637" fmla="*/ 1336041 w 4940931"/>
                <a:gd name="connsiteY1637" fmla="*/ 93345 h 138429"/>
                <a:gd name="connsiteX1638" fmla="*/ 1334136 w 4940931"/>
                <a:gd name="connsiteY1638" fmla="*/ 106680 h 138429"/>
                <a:gd name="connsiteX1639" fmla="*/ 1327786 w 4940931"/>
                <a:gd name="connsiteY1639" fmla="*/ 109220 h 138429"/>
                <a:gd name="connsiteX1640" fmla="*/ 1319531 w 4940931"/>
                <a:gd name="connsiteY1640" fmla="*/ 110490 h 138429"/>
                <a:gd name="connsiteX1641" fmla="*/ 1312546 w 4940931"/>
                <a:gd name="connsiteY1641" fmla="*/ 109220 h 138429"/>
                <a:gd name="connsiteX1642" fmla="*/ 1306831 w 4940931"/>
                <a:gd name="connsiteY1642" fmla="*/ 105410 h 138429"/>
                <a:gd name="connsiteX1643" fmla="*/ 1303021 w 4940931"/>
                <a:gd name="connsiteY1643" fmla="*/ 99060 h 138429"/>
                <a:gd name="connsiteX1644" fmla="*/ 1301751 w 4940931"/>
                <a:gd name="connsiteY1644" fmla="*/ 89535 h 138429"/>
                <a:gd name="connsiteX1645" fmla="*/ 1301751 w 4940931"/>
                <a:gd name="connsiteY1645" fmla="*/ 44450 h 138429"/>
                <a:gd name="connsiteX1646" fmla="*/ 1290956 w 4940931"/>
                <a:gd name="connsiteY1646" fmla="*/ 44450 h 138429"/>
                <a:gd name="connsiteX1647" fmla="*/ 1290956 w 4940931"/>
                <a:gd name="connsiteY1647" fmla="*/ 30480 h 138429"/>
                <a:gd name="connsiteX1648" fmla="*/ 1301751 w 4940931"/>
                <a:gd name="connsiteY1648" fmla="*/ 30480 h 138429"/>
                <a:gd name="connsiteX1649" fmla="*/ 1301751 w 4940931"/>
                <a:gd name="connsiteY1649" fmla="*/ 8255 h 138429"/>
                <a:gd name="connsiteX1650" fmla="*/ 751206 w 4940931"/>
                <a:gd name="connsiteY1650" fmla="*/ 0 h 138429"/>
                <a:gd name="connsiteX1651" fmla="*/ 751206 w 4940931"/>
                <a:gd name="connsiteY1651" fmla="*/ 30480 h 138429"/>
                <a:gd name="connsiteX1652" fmla="*/ 770256 w 4940931"/>
                <a:gd name="connsiteY1652" fmla="*/ 30480 h 138429"/>
                <a:gd name="connsiteX1653" fmla="*/ 770256 w 4940931"/>
                <a:gd name="connsiteY1653" fmla="*/ 44450 h 138429"/>
                <a:gd name="connsiteX1654" fmla="*/ 751206 w 4940931"/>
                <a:gd name="connsiteY1654" fmla="*/ 44450 h 138429"/>
                <a:gd name="connsiteX1655" fmla="*/ 751206 w 4940931"/>
                <a:gd name="connsiteY1655" fmla="*/ 86995 h 138429"/>
                <a:gd name="connsiteX1656" fmla="*/ 751206 w 4940931"/>
                <a:gd name="connsiteY1656" fmla="*/ 91440 h 138429"/>
                <a:gd name="connsiteX1657" fmla="*/ 752476 w 4940931"/>
                <a:gd name="connsiteY1657" fmla="*/ 94615 h 138429"/>
                <a:gd name="connsiteX1658" fmla="*/ 755016 w 4940931"/>
                <a:gd name="connsiteY1658" fmla="*/ 95885 h 138429"/>
                <a:gd name="connsiteX1659" fmla="*/ 758826 w 4940931"/>
                <a:gd name="connsiteY1659" fmla="*/ 95885 h 138429"/>
                <a:gd name="connsiteX1660" fmla="*/ 765176 w 4940931"/>
                <a:gd name="connsiteY1660" fmla="*/ 95250 h 138429"/>
                <a:gd name="connsiteX1661" fmla="*/ 770256 w 4940931"/>
                <a:gd name="connsiteY1661" fmla="*/ 93345 h 138429"/>
                <a:gd name="connsiteX1662" fmla="*/ 768351 w 4940931"/>
                <a:gd name="connsiteY1662" fmla="*/ 106680 h 138429"/>
                <a:gd name="connsiteX1663" fmla="*/ 762001 w 4940931"/>
                <a:gd name="connsiteY1663" fmla="*/ 109220 h 138429"/>
                <a:gd name="connsiteX1664" fmla="*/ 753746 w 4940931"/>
                <a:gd name="connsiteY1664" fmla="*/ 110490 h 138429"/>
                <a:gd name="connsiteX1665" fmla="*/ 746761 w 4940931"/>
                <a:gd name="connsiteY1665" fmla="*/ 109220 h 138429"/>
                <a:gd name="connsiteX1666" fmla="*/ 741045 w 4940931"/>
                <a:gd name="connsiteY1666" fmla="*/ 105410 h 138429"/>
                <a:gd name="connsiteX1667" fmla="*/ 737236 w 4940931"/>
                <a:gd name="connsiteY1667" fmla="*/ 99060 h 138429"/>
                <a:gd name="connsiteX1668" fmla="*/ 735966 w 4940931"/>
                <a:gd name="connsiteY1668" fmla="*/ 89535 h 138429"/>
                <a:gd name="connsiteX1669" fmla="*/ 735966 w 4940931"/>
                <a:gd name="connsiteY1669" fmla="*/ 44450 h 138429"/>
                <a:gd name="connsiteX1670" fmla="*/ 725171 w 4940931"/>
                <a:gd name="connsiteY1670" fmla="*/ 44450 h 138429"/>
                <a:gd name="connsiteX1671" fmla="*/ 725171 w 4940931"/>
                <a:gd name="connsiteY1671" fmla="*/ 30480 h 138429"/>
                <a:gd name="connsiteX1672" fmla="*/ 735966 w 4940931"/>
                <a:gd name="connsiteY1672" fmla="*/ 30480 h 138429"/>
                <a:gd name="connsiteX1673" fmla="*/ 735966 w 4940931"/>
                <a:gd name="connsiteY1673" fmla="*/ 8255 h 138429"/>
                <a:gd name="connsiteX1674" fmla="*/ 521335 w 4940931"/>
                <a:gd name="connsiteY1674" fmla="*/ 0 h 138429"/>
                <a:gd name="connsiteX1675" fmla="*/ 521335 w 4940931"/>
                <a:gd name="connsiteY1675" fmla="*/ 30480 h 138429"/>
                <a:gd name="connsiteX1676" fmla="*/ 540385 w 4940931"/>
                <a:gd name="connsiteY1676" fmla="*/ 30480 h 138429"/>
                <a:gd name="connsiteX1677" fmla="*/ 540385 w 4940931"/>
                <a:gd name="connsiteY1677" fmla="*/ 44450 h 138429"/>
                <a:gd name="connsiteX1678" fmla="*/ 521335 w 4940931"/>
                <a:gd name="connsiteY1678" fmla="*/ 44450 h 138429"/>
                <a:gd name="connsiteX1679" fmla="*/ 521335 w 4940931"/>
                <a:gd name="connsiteY1679" fmla="*/ 86995 h 138429"/>
                <a:gd name="connsiteX1680" fmla="*/ 521335 w 4940931"/>
                <a:gd name="connsiteY1680" fmla="*/ 91440 h 138429"/>
                <a:gd name="connsiteX1681" fmla="*/ 522605 w 4940931"/>
                <a:gd name="connsiteY1681" fmla="*/ 94615 h 138429"/>
                <a:gd name="connsiteX1682" fmla="*/ 525145 w 4940931"/>
                <a:gd name="connsiteY1682" fmla="*/ 95885 h 138429"/>
                <a:gd name="connsiteX1683" fmla="*/ 528955 w 4940931"/>
                <a:gd name="connsiteY1683" fmla="*/ 95885 h 138429"/>
                <a:gd name="connsiteX1684" fmla="*/ 535305 w 4940931"/>
                <a:gd name="connsiteY1684" fmla="*/ 95250 h 138429"/>
                <a:gd name="connsiteX1685" fmla="*/ 540385 w 4940931"/>
                <a:gd name="connsiteY1685" fmla="*/ 93345 h 138429"/>
                <a:gd name="connsiteX1686" fmla="*/ 538480 w 4940931"/>
                <a:gd name="connsiteY1686" fmla="*/ 106680 h 138429"/>
                <a:gd name="connsiteX1687" fmla="*/ 532130 w 4940931"/>
                <a:gd name="connsiteY1687" fmla="*/ 109220 h 138429"/>
                <a:gd name="connsiteX1688" fmla="*/ 523875 w 4940931"/>
                <a:gd name="connsiteY1688" fmla="*/ 110490 h 138429"/>
                <a:gd name="connsiteX1689" fmla="*/ 516890 w 4940931"/>
                <a:gd name="connsiteY1689" fmla="*/ 109220 h 138429"/>
                <a:gd name="connsiteX1690" fmla="*/ 511175 w 4940931"/>
                <a:gd name="connsiteY1690" fmla="*/ 105410 h 138429"/>
                <a:gd name="connsiteX1691" fmla="*/ 507365 w 4940931"/>
                <a:gd name="connsiteY1691" fmla="*/ 99060 h 138429"/>
                <a:gd name="connsiteX1692" fmla="*/ 506095 w 4940931"/>
                <a:gd name="connsiteY1692" fmla="*/ 89535 h 138429"/>
                <a:gd name="connsiteX1693" fmla="*/ 506095 w 4940931"/>
                <a:gd name="connsiteY1693" fmla="*/ 44450 h 138429"/>
                <a:gd name="connsiteX1694" fmla="*/ 495300 w 4940931"/>
                <a:gd name="connsiteY1694" fmla="*/ 44450 h 138429"/>
                <a:gd name="connsiteX1695" fmla="*/ 495300 w 4940931"/>
                <a:gd name="connsiteY1695" fmla="*/ 30480 h 138429"/>
                <a:gd name="connsiteX1696" fmla="*/ 506095 w 4940931"/>
                <a:gd name="connsiteY1696" fmla="*/ 30480 h 138429"/>
                <a:gd name="connsiteX1697" fmla="*/ 506095 w 4940931"/>
                <a:gd name="connsiteY1697" fmla="*/ 8255 h 138429"/>
                <a:gd name="connsiteX1698" fmla="*/ 466724 w 4940931"/>
                <a:gd name="connsiteY1698" fmla="*/ 0 h 138429"/>
                <a:gd name="connsiteX1699" fmla="*/ 466724 w 4940931"/>
                <a:gd name="connsiteY1699" fmla="*/ 30480 h 138429"/>
                <a:gd name="connsiteX1700" fmla="*/ 485774 w 4940931"/>
                <a:gd name="connsiteY1700" fmla="*/ 30480 h 138429"/>
                <a:gd name="connsiteX1701" fmla="*/ 485774 w 4940931"/>
                <a:gd name="connsiteY1701" fmla="*/ 44450 h 138429"/>
                <a:gd name="connsiteX1702" fmla="*/ 466724 w 4940931"/>
                <a:gd name="connsiteY1702" fmla="*/ 44450 h 138429"/>
                <a:gd name="connsiteX1703" fmla="*/ 466724 w 4940931"/>
                <a:gd name="connsiteY1703" fmla="*/ 86995 h 138429"/>
                <a:gd name="connsiteX1704" fmla="*/ 466724 w 4940931"/>
                <a:gd name="connsiteY1704" fmla="*/ 91440 h 138429"/>
                <a:gd name="connsiteX1705" fmla="*/ 467994 w 4940931"/>
                <a:gd name="connsiteY1705" fmla="*/ 94615 h 138429"/>
                <a:gd name="connsiteX1706" fmla="*/ 470534 w 4940931"/>
                <a:gd name="connsiteY1706" fmla="*/ 95885 h 138429"/>
                <a:gd name="connsiteX1707" fmla="*/ 474344 w 4940931"/>
                <a:gd name="connsiteY1707" fmla="*/ 95885 h 138429"/>
                <a:gd name="connsiteX1708" fmla="*/ 480694 w 4940931"/>
                <a:gd name="connsiteY1708" fmla="*/ 95250 h 138429"/>
                <a:gd name="connsiteX1709" fmla="*/ 485774 w 4940931"/>
                <a:gd name="connsiteY1709" fmla="*/ 93345 h 138429"/>
                <a:gd name="connsiteX1710" fmla="*/ 483869 w 4940931"/>
                <a:gd name="connsiteY1710" fmla="*/ 106680 h 138429"/>
                <a:gd name="connsiteX1711" fmla="*/ 477519 w 4940931"/>
                <a:gd name="connsiteY1711" fmla="*/ 109220 h 138429"/>
                <a:gd name="connsiteX1712" fmla="*/ 469264 w 4940931"/>
                <a:gd name="connsiteY1712" fmla="*/ 110490 h 138429"/>
                <a:gd name="connsiteX1713" fmla="*/ 462279 w 4940931"/>
                <a:gd name="connsiteY1713" fmla="*/ 109220 h 138429"/>
                <a:gd name="connsiteX1714" fmla="*/ 456564 w 4940931"/>
                <a:gd name="connsiteY1714" fmla="*/ 105410 h 138429"/>
                <a:gd name="connsiteX1715" fmla="*/ 452754 w 4940931"/>
                <a:gd name="connsiteY1715" fmla="*/ 99060 h 138429"/>
                <a:gd name="connsiteX1716" fmla="*/ 451484 w 4940931"/>
                <a:gd name="connsiteY1716" fmla="*/ 89535 h 138429"/>
                <a:gd name="connsiteX1717" fmla="*/ 451484 w 4940931"/>
                <a:gd name="connsiteY1717" fmla="*/ 44450 h 138429"/>
                <a:gd name="connsiteX1718" fmla="*/ 440689 w 4940931"/>
                <a:gd name="connsiteY1718" fmla="*/ 44450 h 138429"/>
                <a:gd name="connsiteX1719" fmla="*/ 440689 w 4940931"/>
                <a:gd name="connsiteY1719" fmla="*/ 30480 h 138429"/>
                <a:gd name="connsiteX1720" fmla="*/ 451484 w 4940931"/>
                <a:gd name="connsiteY1720" fmla="*/ 30480 h 138429"/>
                <a:gd name="connsiteX1721" fmla="*/ 451484 w 4940931"/>
                <a:gd name="connsiteY1721" fmla="*/ 8255 h 138429"/>
                <a:gd name="connsiteX1722" fmla="*/ 302259 w 4940931"/>
                <a:gd name="connsiteY1722" fmla="*/ 0 h 138429"/>
                <a:gd name="connsiteX1723" fmla="*/ 302259 w 4940931"/>
                <a:gd name="connsiteY1723" fmla="*/ 37465 h 138429"/>
                <a:gd name="connsiteX1724" fmla="*/ 306704 w 4940931"/>
                <a:gd name="connsiteY1724" fmla="*/ 33655 h 138429"/>
                <a:gd name="connsiteX1725" fmla="*/ 310514 w 4940931"/>
                <a:gd name="connsiteY1725" fmla="*/ 31115 h 138429"/>
                <a:gd name="connsiteX1726" fmla="*/ 315594 w 4940931"/>
                <a:gd name="connsiteY1726" fmla="*/ 29210 h 138429"/>
                <a:gd name="connsiteX1727" fmla="*/ 322579 w 4940931"/>
                <a:gd name="connsiteY1727" fmla="*/ 28575 h 138429"/>
                <a:gd name="connsiteX1728" fmla="*/ 334644 w 4940931"/>
                <a:gd name="connsiteY1728" fmla="*/ 31115 h 138429"/>
                <a:gd name="connsiteX1729" fmla="*/ 344169 w 4940931"/>
                <a:gd name="connsiteY1729" fmla="*/ 38735 h 138429"/>
                <a:gd name="connsiteX1730" fmla="*/ 350519 w 4940931"/>
                <a:gd name="connsiteY1730" fmla="*/ 51435 h 138429"/>
                <a:gd name="connsiteX1731" fmla="*/ 353059 w 4940931"/>
                <a:gd name="connsiteY1731" fmla="*/ 70485 h 138429"/>
                <a:gd name="connsiteX1732" fmla="*/ 352424 w 4940931"/>
                <a:gd name="connsiteY1732" fmla="*/ 71120 h 138429"/>
                <a:gd name="connsiteX1733" fmla="*/ 349884 w 4940931"/>
                <a:gd name="connsiteY1733" fmla="*/ 88265 h 138429"/>
                <a:gd name="connsiteX1734" fmla="*/ 342899 w 4940931"/>
                <a:gd name="connsiteY1734" fmla="*/ 100330 h 138429"/>
                <a:gd name="connsiteX1735" fmla="*/ 333374 w 4940931"/>
                <a:gd name="connsiteY1735" fmla="*/ 107315 h 138429"/>
                <a:gd name="connsiteX1736" fmla="*/ 321944 w 4940931"/>
                <a:gd name="connsiteY1736" fmla="*/ 109855 h 138429"/>
                <a:gd name="connsiteX1737" fmla="*/ 311149 w 4940931"/>
                <a:gd name="connsiteY1737" fmla="*/ 107315 h 138429"/>
                <a:gd name="connsiteX1738" fmla="*/ 302259 w 4940931"/>
                <a:gd name="connsiteY1738" fmla="*/ 100965 h 138429"/>
                <a:gd name="connsiteX1739" fmla="*/ 302259 w 4940931"/>
                <a:gd name="connsiteY1739" fmla="*/ 107950 h 138429"/>
                <a:gd name="connsiteX1740" fmla="*/ 287019 w 4940931"/>
                <a:gd name="connsiteY1740" fmla="*/ 107950 h 138429"/>
                <a:gd name="connsiteX1741" fmla="*/ 287019 w 4940931"/>
                <a:gd name="connsiteY1741" fmla="*/ 7620 h 138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  <a:cxn ang="0">
                  <a:pos x="connsiteX1535" y="connsiteY1535"/>
                </a:cxn>
                <a:cxn ang="0">
                  <a:pos x="connsiteX1536" y="connsiteY1536"/>
                </a:cxn>
                <a:cxn ang="0">
                  <a:pos x="connsiteX1537" y="connsiteY1537"/>
                </a:cxn>
                <a:cxn ang="0">
                  <a:pos x="connsiteX1538" y="connsiteY1538"/>
                </a:cxn>
                <a:cxn ang="0">
                  <a:pos x="connsiteX1539" y="connsiteY1539"/>
                </a:cxn>
                <a:cxn ang="0">
                  <a:pos x="connsiteX1540" y="connsiteY1540"/>
                </a:cxn>
                <a:cxn ang="0">
                  <a:pos x="connsiteX1541" y="connsiteY1541"/>
                </a:cxn>
                <a:cxn ang="0">
                  <a:pos x="connsiteX1542" y="connsiteY1542"/>
                </a:cxn>
                <a:cxn ang="0">
                  <a:pos x="connsiteX1543" y="connsiteY1543"/>
                </a:cxn>
                <a:cxn ang="0">
                  <a:pos x="connsiteX1544" y="connsiteY1544"/>
                </a:cxn>
                <a:cxn ang="0">
                  <a:pos x="connsiteX1545" y="connsiteY1545"/>
                </a:cxn>
                <a:cxn ang="0">
                  <a:pos x="connsiteX1546" y="connsiteY1546"/>
                </a:cxn>
                <a:cxn ang="0">
                  <a:pos x="connsiteX1547" y="connsiteY1547"/>
                </a:cxn>
                <a:cxn ang="0">
                  <a:pos x="connsiteX1548" y="connsiteY1548"/>
                </a:cxn>
                <a:cxn ang="0">
                  <a:pos x="connsiteX1549" y="connsiteY1549"/>
                </a:cxn>
                <a:cxn ang="0">
                  <a:pos x="connsiteX1550" y="connsiteY1550"/>
                </a:cxn>
                <a:cxn ang="0">
                  <a:pos x="connsiteX1551" y="connsiteY1551"/>
                </a:cxn>
                <a:cxn ang="0">
                  <a:pos x="connsiteX1552" y="connsiteY1552"/>
                </a:cxn>
                <a:cxn ang="0">
                  <a:pos x="connsiteX1553" y="connsiteY1553"/>
                </a:cxn>
                <a:cxn ang="0">
                  <a:pos x="connsiteX1554" y="connsiteY1554"/>
                </a:cxn>
                <a:cxn ang="0">
                  <a:pos x="connsiteX1555" y="connsiteY1555"/>
                </a:cxn>
                <a:cxn ang="0">
                  <a:pos x="connsiteX1556" y="connsiteY1556"/>
                </a:cxn>
                <a:cxn ang="0">
                  <a:pos x="connsiteX1557" y="connsiteY1557"/>
                </a:cxn>
                <a:cxn ang="0">
                  <a:pos x="connsiteX1558" y="connsiteY1558"/>
                </a:cxn>
                <a:cxn ang="0">
                  <a:pos x="connsiteX1559" y="connsiteY1559"/>
                </a:cxn>
                <a:cxn ang="0">
                  <a:pos x="connsiteX1560" y="connsiteY1560"/>
                </a:cxn>
                <a:cxn ang="0">
                  <a:pos x="connsiteX1561" y="connsiteY1561"/>
                </a:cxn>
                <a:cxn ang="0">
                  <a:pos x="connsiteX1562" y="connsiteY1562"/>
                </a:cxn>
                <a:cxn ang="0">
                  <a:pos x="connsiteX1563" y="connsiteY1563"/>
                </a:cxn>
                <a:cxn ang="0">
                  <a:pos x="connsiteX1564" y="connsiteY1564"/>
                </a:cxn>
                <a:cxn ang="0">
                  <a:pos x="connsiteX1565" y="connsiteY1565"/>
                </a:cxn>
                <a:cxn ang="0">
                  <a:pos x="connsiteX1566" y="connsiteY1566"/>
                </a:cxn>
                <a:cxn ang="0">
                  <a:pos x="connsiteX1567" y="connsiteY1567"/>
                </a:cxn>
                <a:cxn ang="0">
                  <a:pos x="connsiteX1568" y="connsiteY1568"/>
                </a:cxn>
                <a:cxn ang="0">
                  <a:pos x="connsiteX1569" y="connsiteY1569"/>
                </a:cxn>
                <a:cxn ang="0">
                  <a:pos x="connsiteX1570" y="connsiteY1570"/>
                </a:cxn>
                <a:cxn ang="0">
                  <a:pos x="connsiteX1571" y="connsiteY1571"/>
                </a:cxn>
                <a:cxn ang="0">
                  <a:pos x="connsiteX1572" y="connsiteY1572"/>
                </a:cxn>
                <a:cxn ang="0">
                  <a:pos x="connsiteX1573" y="connsiteY1573"/>
                </a:cxn>
                <a:cxn ang="0">
                  <a:pos x="connsiteX1574" y="connsiteY1574"/>
                </a:cxn>
                <a:cxn ang="0">
                  <a:pos x="connsiteX1575" y="connsiteY1575"/>
                </a:cxn>
                <a:cxn ang="0">
                  <a:pos x="connsiteX1576" y="connsiteY1576"/>
                </a:cxn>
                <a:cxn ang="0">
                  <a:pos x="connsiteX1577" y="connsiteY1577"/>
                </a:cxn>
                <a:cxn ang="0">
                  <a:pos x="connsiteX1578" y="connsiteY1578"/>
                </a:cxn>
                <a:cxn ang="0">
                  <a:pos x="connsiteX1579" y="connsiteY1579"/>
                </a:cxn>
                <a:cxn ang="0">
                  <a:pos x="connsiteX1580" y="connsiteY1580"/>
                </a:cxn>
                <a:cxn ang="0">
                  <a:pos x="connsiteX1581" y="connsiteY1581"/>
                </a:cxn>
                <a:cxn ang="0">
                  <a:pos x="connsiteX1582" y="connsiteY1582"/>
                </a:cxn>
                <a:cxn ang="0">
                  <a:pos x="connsiteX1583" y="connsiteY1583"/>
                </a:cxn>
                <a:cxn ang="0">
                  <a:pos x="connsiteX1584" y="connsiteY1584"/>
                </a:cxn>
                <a:cxn ang="0">
                  <a:pos x="connsiteX1585" y="connsiteY1585"/>
                </a:cxn>
                <a:cxn ang="0">
                  <a:pos x="connsiteX1586" y="connsiteY1586"/>
                </a:cxn>
                <a:cxn ang="0">
                  <a:pos x="connsiteX1587" y="connsiteY1587"/>
                </a:cxn>
                <a:cxn ang="0">
                  <a:pos x="connsiteX1588" y="connsiteY1588"/>
                </a:cxn>
                <a:cxn ang="0">
                  <a:pos x="connsiteX1589" y="connsiteY1589"/>
                </a:cxn>
                <a:cxn ang="0">
                  <a:pos x="connsiteX1590" y="connsiteY1590"/>
                </a:cxn>
                <a:cxn ang="0">
                  <a:pos x="connsiteX1591" y="connsiteY1591"/>
                </a:cxn>
                <a:cxn ang="0">
                  <a:pos x="connsiteX1592" y="connsiteY1592"/>
                </a:cxn>
                <a:cxn ang="0">
                  <a:pos x="connsiteX1593" y="connsiteY1593"/>
                </a:cxn>
                <a:cxn ang="0">
                  <a:pos x="connsiteX1594" y="connsiteY1594"/>
                </a:cxn>
                <a:cxn ang="0">
                  <a:pos x="connsiteX1595" y="connsiteY1595"/>
                </a:cxn>
                <a:cxn ang="0">
                  <a:pos x="connsiteX1596" y="connsiteY1596"/>
                </a:cxn>
                <a:cxn ang="0">
                  <a:pos x="connsiteX1597" y="connsiteY1597"/>
                </a:cxn>
                <a:cxn ang="0">
                  <a:pos x="connsiteX1598" y="connsiteY1598"/>
                </a:cxn>
                <a:cxn ang="0">
                  <a:pos x="connsiteX1599" y="connsiteY1599"/>
                </a:cxn>
                <a:cxn ang="0">
                  <a:pos x="connsiteX1600" y="connsiteY1600"/>
                </a:cxn>
                <a:cxn ang="0">
                  <a:pos x="connsiteX1601" y="connsiteY1601"/>
                </a:cxn>
                <a:cxn ang="0">
                  <a:pos x="connsiteX1602" y="connsiteY1602"/>
                </a:cxn>
                <a:cxn ang="0">
                  <a:pos x="connsiteX1603" y="connsiteY1603"/>
                </a:cxn>
                <a:cxn ang="0">
                  <a:pos x="connsiteX1604" y="connsiteY1604"/>
                </a:cxn>
                <a:cxn ang="0">
                  <a:pos x="connsiteX1605" y="connsiteY1605"/>
                </a:cxn>
                <a:cxn ang="0">
                  <a:pos x="connsiteX1606" y="connsiteY1606"/>
                </a:cxn>
                <a:cxn ang="0">
                  <a:pos x="connsiteX1607" y="connsiteY1607"/>
                </a:cxn>
                <a:cxn ang="0">
                  <a:pos x="connsiteX1608" y="connsiteY1608"/>
                </a:cxn>
                <a:cxn ang="0">
                  <a:pos x="connsiteX1609" y="connsiteY1609"/>
                </a:cxn>
                <a:cxn ang="0">
                  <a:pos x="connsiteX1610" y="connsiteY1610"/>
                </a:cxn>
                <a:cxn ang="0">
                  <a:pos x="connsiteX1611" y="connsiteY1611"/>
                </a:cxn>
                <a:cxn ang="0">
                  <a:pos x="connsiteX1612" y="connsiteY1612"/>
                </a:cxn>
                <a:cxn ang="0">
                  <a:pos x="connsiteX1613" y="connsiteY1613"/>
                </a:cxn>
                <a:cxn ang="0">
                  <a:pos x="connsiteX1614" y="connsiteY1614"/>
                </a:cxn>
                <a:cxn ang="0">
                  <a:pos x="connsiteX1615" y="connsiteY1615"/>
                </a:cxn>
                <a:cxn ang="0">
                  <a:pos x="connsiteX1616" y="connsiteY1616"/>
                </a:cxn>
                <a:cxn ang="0">
                  <a:pos x="connsiteX1617" y="connsiteY1617"/>
                </a:cxn>
                <a:cxn ang="0">
                  <a:pos x="connsiteX1618" y="connsiteY1618"/>
                </a:cxn>
                <a:cxn ang="0">
                  <a:pos x="connsiteX1619" y="connsiteY1619"/>
                </a:cxn>
                <a:cxn ang="0">
                  <a:pos x="connsiteX1620" y="connsiteY1620"/>
                </a:cxn>
                <a:cxn ang="0">
                  <a:pos x="connsiteX1621" y="connsiteY1621"/>
                </a:cxn>
                <a:cxn ang="0">
                  <a:pos x="connsiteX1622" y="connsiteY1622"/>
                </a:cxn>
                <a:cxn ang="0">
                  <a:pos x="connsiteX1623" y="connsiteY1623"/>
                </a:cxn>
                <a:cxn ang="0">
                  <a:pos x="connsiteX1624" y="connsiteY1624"/>
                </a:cxn>
                <a:cxn ang="0">
                  <a:pos x="connsiteX1625" y="connsiteY1625"/>
                </a:cxn>
                <a:cxn ang="0">
                  <a:pos x="connsiteX1626" y="connsiteY1626"/>
                </a:cxn>
                <a:cxn ang="0">
                  <a:pos x="connsiteX1627" y="connsiteY1627"/>
                </a:cxn>
                <a:cxn ang="0">
                  <a:pos x="connsiteX1628" y="connsiteY1628"/>
                </a:cxn>
                <a:cxn ang="0">
                  <a:pos x="connsiteX1629" y="connsiteY1629"/>
                </a:cxn>
                <a:cxn ang="0">
                  <a:pos x="connsiteX1630" y="connsiteY1630"/>
                </a:cxn>
                <a:cxn ang="0">
                  <a:pos x="connsiteX1631" y="connsiteY1631"/>
                </a:cxn>
                <a:cxn ang="0">
                  <a:pos x="connsiteX1632" y="connsiteY1632"/>
                </a:cxn>
                <a:cxn ang="0">
                  <a:pos x="connsiteX1633" y="connsiteY1633"/>
                </a:cxn>
                <a:cxn ang="0">
                  <a:pos x="connsiteX1634" y="connsiteY1634"/>
                </a:cxn>
                <a:cxn ang="0">
                  <a:pos x="connsiteX1635" y="connsiteY1635"/>
                </a:cxn>
                <a:cxn ang="0">
                  <a:pos x="connsiteX1636" y="connsiteY1636"/>
                </a:cxn>
                <a:cxn ang="0">
                  <a:pos x="connsiteX1637" y="connsiteY1637"/>
                </a:cxn>
                <a:cxn ang="0">
                  <a:pos x="connsiteX1638" y="connsiteY1638"/>
                </a:cxn>
                <a:cxn ang="0">
                  <a:pos x="connsiteX1639" y="connsiteY1639"/>
                </a:cxn>
                <a:cxn ang="0">
                  <a:pos x="connsiteX1640" y="connsiteY1640"/>
                </a:cxn>
                <a:cxn ang="0">
                  <a:pos x="connsiteX1641" y="connsiteY1641"/>
                </a:cxn>
                <a:cxn ang="0">
                  <a:pos x="connsiteX1642" y="connsiteY1642"/>
                </a:cxn>
                <a:cxn ang="0">
                  <a:pos x="connsiteX1643" y="connsiteY1643"/>
                </a:cxn>
                <a:cxn ang="0">
                  <a:pos x="connsiteX1644" y="connsiteY1644"/>
                </a:cxn>
                <a:cxn ang="0">
                  <a:pos x="connsiteX1645" y="connsiteY1645"/>
                </a:cxn>
                <a:cxn ang="0">
                  <a:pos x="connsiteX1646" y="connsiteY1646"/>
                </a:cxn>
                <a:cxn ang="0">
                  <a:pos x="connsiteX1647" y="connsiteY1647"/>
                </a:cxn>
                <a:cxn ang="0">
                  <a:pos x="connsiteX1648" y="connsiteY1648"/>
                </a:cxn>
                <a:cxn ang="0">
                  <a:pos x="connsiteX1649" y="connsiteY1649"/>
                </a:cxn>
                <a:cxn ang="0">
                  <a:pos x="connsiteX1650" y="connsiteY1650"/>
                </a:cxn>
                <a:cxn ang="0">
                  <a:pos x="connsiteX1651" y="connsiteY1651"/>
                </a:cxn>
                <a:cxn ang="0">
                  <a:pos x="connsiteX1652" y="connsiteY1652"/>
                </a:cxn>
                <a:cxn ang="0">
                  <a:pos x="connsiteX1653" y="connsiteY1653"/>
                </a:cxn>
                <a:cxn ang="0">
                  <a:pos x="connsiteX1654" y="connsiteY1654"/>
                </a:cxn>
                <a:cxn ang="0">
                  <a:pos x="connsiteX1655" y="connsiteY1655"/>
                </a:cxn>
                <a:cxn ang="0">
                  <a:pos x="connsiteX1656" y="connsiteY1656"/>
                </a:cxn>
                <a:cxn ang="0">
                  <a:pos x="connsiteX1657" y="connsiteY1657"/>
                </a:cxn>
                <a:cxn ang="0">
                  <a:pos x="connsiteX1658" y="connsiteY1658"/>
                </a:cxn>
                <a:cxn ang="0">
                  <a:pos x="connsiteX1659" y="connsiteY1659"/>
                </a:cxn>
                <a:cxn ang="0">
                  <a:pos x="connsiteX1660" y="connsiteY1660"/>
                </a:cxn>
                <a:cxn ang="0">
                  <a:pos x="connsiteX1661" y="connsiteY1661"/>
                </a:cxn>
                <a:cxn ang="0">
                  <a:pos x="connsiteX1662" y="connsiteY1662"/>
                </a:cxn>
                <a:cxn ang="0">
                  <a:pos x="connsiteX1663" y="connsiteY1663"/>
                </a:cxn>
                <a:cxn ang="0">
                  <a:pos x="connsiteX1664" y="connsiteY1664"/>
                </a:cxn>
                <a:cxn ang="0">
                  <a:pos x="connsiteX1665" y="connsiteY1665"/>
                </a:cxn>
                <a:cxn ang="0">
                  <a:pos x="connsiteX1666" y="connsiteY1666"/>
                </a:cxn>
                <a:cxn ang="0">
                  <a:pos x="connsiteX1667" y="connsiteY1667"/>
                </a:cxn>
                <a:cxn ang="0">
                  <a:pos x="connsiteX1668" y="connsiteY1668"/>
                </a:cxn>
                <a:cxn ang="0">
                  <a:pos x="connsiteX1669" y="connsiteY1669"/>
                </a:cxn>
                <a:cxn ang="0">
                  <a:pos x="connsiteX1670" y="connsiteY1670"/>
                </a:cxn>
                <a:cxn ang="0">
                  <a:pos x="connsiteX1671" y="connsiteY1671"/>
                </a:cxn>
                <a:cxn ang="0">
                  <a:pos x="connsiteX1672" y="connsiteY1672"/>
                </a:cxn>
                <a:cxn ang="0">
                  <a:pos x="connsiteX1673" y="connsiteY1673"/>
                </a:cxn>
                <a:cxn ang="0">
                  <a:pos x="connsiteX1674" y="connsiteY1674"/>
                </a:cxn>
                <a:cxn ang="0">
                  <a:pos x="connsiteX1675" y="connsiteY1675"/>
                </a:cxn>
                <a:cxn ang="0">
                  <a:pos x="connsiteX1676" y="connsiteY1676"/>
                </a:cxn>
                <a:cxn ang="0">
                  <a:pos x="connsiteX1677" y="connsiteY1677"/>
                </a:cxn>
                <a:cxn ang="0">
                  <a:pos x="connsiteX1678" y="connsiteY1678"/>
                </a:cxn>
                <a:cxn ang="0">
                  <a:pos x="connsiteX1679" y="connsiteY1679"/>
                </a:cxn>
                <a:cxn ang="0">
                  <a:pos x="connsiteX1680" y="connsiteY1680"/>
                </a:cxn>
                <a:cxn ang="0">
                  <a:pos x="connsiteX1681" y="connsiteY1681"/>
                </a:cxn>
                <a:cxn ang="0">
                  <a:pos x="connsiteX1682" y="connsiteY1682"/>
                </a:cxn>
                <a:cxn ang="0">
                  <a:pos x="connsiteX1683" y="connsiteY1683"/>
                </a:cxn>
                <a:cxn ang="0">
                  <a:pos x="connsiteX1684" y="connsiteY1684"/>
                </a:cxn>
                <a:cxn ang="0">
                  <a:pos x="connsiteX1685" y="connsiteY1685"/>
                </a:cxn>
                <a:cxn ang="0">
                  <a:pos x="connsiteX1686" y="connsiteY1686"/>
                </a:cxn>
                <a:cxn ang="0">
                  <a:pos x="connsiteX1687" y="connsiteY1687"/>
                </a:cxn>
                <a:cxn ang="0">
                  <a:pos x="connsiteX1688" y="connsiteY1688"/>
                </a:cxn>
                <a:cxn ang="0">
                  <a:pos x="connsiteX1689" y="connsiteY1689"/>
                </a:cxn>
                <a:cxn ang="0">
                  <a:pos x="connsiteX1690" y="connsiteY1690"/>
                </a:cxn>
                <a:cxn ang="0">
                  <a:pos x="connsiteX1691" y="connsiteY1691"/>
                </a:cxn>
                <a:cxn ang="0">
                  <a:pos x="connsiteX1692" y="connsiteY1692"/>
                </a:cxn>
                <a:cxn ang="0">
                  <a:pos x="connsiteX1693" y="connsiteY1693"/>
                </a:cxn>
                <a:cxn ang="0">
                  <a:pos x="connsiteX1694" y="connsiteY1694"/>
                </a:cxn>
                <a:cxn ang="0">
                  <a:pos x="connsiteX1695" y="connsiteY1695"/>
                </a:cxn>
                <a:cxn ang="0">
                  <a:pos x="connsiteX1696" y="connsiteY1696"/>
                </a:cxn>
                <a:cxn ang="0">
                  <a:pos x="connsiteX1697" y="connsiteY1697"/>
                </a:cxn>
                <a:cxn ang="0">
                  <a:pos x="connsiteX1698" y="connsiteY1698"/>
                </a:cxn>
                <a:cxn ang="0">
                  <a:pos x="connsiteX1699" y="connsiteY1699"/>
                </a:cxn>
                <a:cxn ang="0">
                  <a:pos x="connsiteX1700" y="connsiteY1700"/>
                </a:cxn>
                <a:cxn ang="0">
                  <a:pos x="connsiteX1701" y="connsiteY1701"/>
                </a:cxn>
                <a:cxn ang="0">
                  <a:pos x="connsiteX1702" y="connsiteY1702"/>
                </a:cxn>
                <a:cxn ang="0">
                  <a:pos x="connsiteX1703" y="connsiteY1703"/>
                </a:cxn>
                <a:cxn ang="0">
                  <a:pos x="connsiteX1704" y="connsiteY1704"/>
                </a:cxn>
                <a:cxn ang="0">
                  <a:pos x="connsiteX1705" y="connsiteY1705"/>
                </a:cxn>
                <a:cxn ang="0">
                  <a:pos x="connsiteX1706" y="connsiteY1706"/>
                </a:cxn>
                <a:cxn ang="0">
                  <a:pos x="connsiteX1707" y="connsiteY1707"/>
                </a:cxn>
                <a:cxn ang="0">
                  <a:pos x="connsiteX1708" y="connsiteY1708"/>
                </a:cxn>
                <a:cxn ang="0">
                  <a:pos x="connsiteX1709" y="connsiteY1709"/>
                </a:cxn>
                <a:cxn ang="0">
                  <a:pos x="connsiteX1710" y="connsiteY1710"/>
                </a:cxn>
                <a:cxn ang="0">
                  <a:pos x="connsiteX1711" y="connsiteY1711"/>
                </a:cxn>
                <a:cxn ang="0">
                  <a:pos x="connsiteX1712" y="connsiteY1712"/>
                </a:cxn>
                <a:cxn ang="0">
                  <a:pos x="connsiteX1713" y="connsiteY1713"/>
                </a:cxn>
                <a:cxn ang="0">
                  <a:pos x="connsiteX1714" y="connsiteY1714"/>
                </a:cxn>
                <a:cxn ang="0">
                  <a:pos x="connsiteX1715" y="connsiteY1715"/>
                </a:cxn>
                <a:cxn ang="0">
                  <a:pos x="connsiteX1716" y="connsiteY1716"/>
                </a:cxn>
                <a:cxn ang="0">
                  <a:pos x="connsiteX1717" y="connsiteY1717"/>
                </a:cxn>
                <a:cxn ang="0">
                  <a:pos x="connsiteX1718" y="connsiteY1718"/>
                </a:cxn>
                <a:cxn ang="0">
                  <a:pos x="connsiteX1719" y="connsiteY1719"/>
                </a:cxn>
                <a:cxn ang="0">
                  <a:pos x="connsiteX1720" y="connsiteY1720"/>
                </a:cxn>
                <a:cxn ang="0">
                  <a:pos x="connsiteX1721" y="connsiteY1721"/>
                </a:cxn>
                <a:cxn ang="0">
                  <a:pos x="connsiteX1722" y="connsiteY1722"/>
                </a:cxn>
                <a:cxn ang="0">
                  <a:pos x="connsiteX1723" y="connsiteY1723"/>
                </a:cxn>
                <a:cxn ang="0">
                  <a:pos x="connsiteX1724" y="connsiteY1724"/>
                </a:cxn>
                <a:cxn ang="0">
                  <a:pos x="connsiteX1725" y="connsiteY1725"/>
                </a:cxn>
                <a:cxn ang="0">
                  <a:pos x="connsiteX1726" y="connsiteY1726"/>
                </a:cxn>
                <a:cxn ang="0">
                  <a:pos x="connsiteX1727" y="connsiteY1727"/>
                </a:cxn>
                <a:cxn ang="0">
                  <a:pos x="connsiteX1728" y="connsiteY1728"/>
                </a:cxn>
                <a:cxn ang="0">
                  <a:pos x="connsiteX1729" y="connsiteY1729"/>
                </a:cxn>
                <a:cxn ang="0">
                  <a:pos x="connsiteX1730" y="connsiteY1730"/>
                </a:cxn>
                <a:cxn ang="0">
                  <a:pos x="connsiteX1731" y="connsiteY1731"/>
                </a:cxn>
                <a:cxn ang="0">
                  <a:pos x="connsiteX1732" y="connsiteY1732"/>
                </a:cxn>
                <a:cxn ang="0">
                  <a:pos x="connsiteX1733" y="connsiteY1733"/>
                </a:cxn>
                <a:cxn ang="0">
                  <a:pos x="connsiteX1734" y="connsiteY1734"/>
                </a:cxn>
                <a:cxn ang="0">
                  <a:pos x="connsiteX1735" y="connsiteY1735"/>
                </a:cxn>
                <a:cxn ang="0">
                  <a:pos x="connsiteX1736" y="connsiteY1736"/>
                </a:cxn>
                <a:cxn ang="0">
                  <a:pos x="connsiteX1737" y="connsiteY1737"/>
                </a:cxn>
                <a:cxn ang="0">
                  <a:pos x="connsiteX1738" y="connsiteY1738"/>
                </a:cxn>
                <a:cxn ang="0">
                  <a:pos x="connsiteX1739" y="connsiteY1739"/>
                </a:cxn>
                <a:cxn ang="0">
                  <a:pos x="connsiteX1740" y="connsiteY1740"/>
                </a:cxn>
                <a:cxn ang="0">
                  <a:pos x="connsiteX1741" y="connsiteY1741"/>
                </a:cxn>
              </a:cxnLst>
              <a:rect l="l" t="t" r="r" b="b"/>
              <a:pathLst>
                <a:path w="4940931" h="138429">
                  <a:moveTo>
                    <a:pt x="1032512" y="137477"/>
                  </a:moveTo>
                  <a:lnTo>
                    <a:pt x="1032512" y="137794"/>
                  </a:lnTo>
                  <a:lnTo>
                    <a:pt x="1030607" y="138429"/>
                  </a:lnTo>
                  <a:close/>
                  <a:moveTo>
                    <a:pt x="4929501" y="87629"/>
                  </a:moveTo>
                  <a:cubicBezTo>
                    <a:pt x="4930771" y="87629"/>
                    <a:pt x="4932676" y="87629"/>
                    <a:pt x="4933946" y="88264"/>
                  </a:cubicBezTo>
                  <a:cubicBezTo>
                    <a:pt x="4935216" y="88264"/>
                    <a:pt x="4936486" y="89534"/>
                    <a:pt x="4937756" y="90804"/>
                  </a:cubicBezTo>
                  <a:cubicBezTo>
                    <a:pt x="4939026" y="92074"/>
                    <a:pt x="4939661" y="93344"/>
                    <a:pt x="4940296" y="94614"/>
                  </a:cubicBezTo>
                  <a:cubicBezTo>
                    <a:pt x="4940296" y="95884"/>
                    <a:pt x="4940931" y="97789"/>
                    <a:pt x="4940931" y="99059"/>
                  </a:cubicBezTo>
                  <a:cubicBezTo>
                    <a:pt x="4940931" y="99059"/>
                    <a:pt x="4940931" y="102234"/>
                    <a:pt x="4940296" y="103504"/>
                  </a:cubicBezTo>
                  <a:cubicBezTo>
                    <a:pt x="4940296" y="104774"/>
                    <a:pt x="4939026" y="106044"/>
                    <a:pt x="4937756" y="107314"/>
                  </a:cubicBezTo>
                  <a:cubicBezTo>
                    <a:pt x="4936486" y="108584"/>
                    <a:pt x="4935216" y="109219"/>
                    <a:pt x="4933946" y="109854"/>
                  </a:cubicBezTo>
                  <a:cubicBezTo>
                    <a:pt x="4932676" y="109854"/>
                    <a:pt x="4930771" y="110489"/>
                    <a:pt x="4929501" y="110489"/>
                  </a:cubicBezTo>
                  <a:cubicBezTo>
                    <a:pt x="4928231" y="110489"/>
                    <a:pt x="4926326" y="110489"/>
                    <a:pt x="4925056" y="109854"/>
                  </a:cubicBezTo>
                  <a:cubicBezTo>
                    <a:pt x="4923786" y="109854"/>
                    <a:pt x="4922516" y="108584"/>
                    <a:pt x="4921246" y="107314"/>
                  </a:cubicBezTo>
                  <a:cubicBezTo>
                    <a:pt x="4919976" y="106044"/>
                    <a:pt x="4919341" y="104774"/>
                    <a:pt x="4918706" y="103504"/>
                  </a:cubicBezTo>
                  <a:cubicBezTo>
                    <a:pt x="4918706" y="102234"/>
                    <a:pt x="4918071" y="100329"/>
                    <a:pt x="4918071" y="99059"/>
                  </a:cubicBezTo>
                  <a:cubicBezTo>
                    <a:pt x="4918071" y="97789"/>
                    <a:pt x="4918071" y="95884"/>
                    <a:pt x="4918706" y="94614"/>
                  </a:cubicBezTo>
                  <a:cubicBezTo>
                    <a:pt x="4918706" y="93344"/>
                    <a:pt x="4919976" y="92074"/>
                    <a:pt x="4921246" y="90804"/>
                  </a:cubicBezTo>
                  <a:cubicBezTo>
                    <a:pt x="4922516" y="89534"/>
                    <a:pt x="4923786" y="88899"/>
                    <a:pt x="4925056" y="88264"/>
                  </a:cubicBezTo>
                  <a:cubicBezTo>
                    <a:pt x="4926326" y="88264"/>
                    <a:pt x="4928231" y="87629"/>
                    <a:pt x="4929501" y="87629"/>
                  </a:cubicBezTo>
                  <a:close/>
                  <a:moveTo>
                    <a:pt x="3079110" y="87629"/>
                  </a:moveTo>
                  <a:cubicBezTo>
                    <a:pt x="3080380" y="87629"/>
                    <a:pt x="3082285" y="87629"/>
                    <a:pt x="3083555" y="88264"/>
                  </a:cubicBezTo>
                  <a:cubicBezTo>
                    <a:pt x="3084825" y="88264"/>
                    <a:pt x="3086095" y="89534"/>
                    <a:pt x="3087365" y="90804"/>
                  </a:cubicBezTo>
                  <a:cubicBezTo>
                    <a:pt x="3088635" y="92074"/>
                    <a:pt x="3089270" y="93344"/>
                    <a:pt x="3089905" y="94614"/>
                  </a:cubicBezTo>
                  <a:cubicBezTo>
                    <a:pt x="3089905" y="95884"/>
                    <a:pt x="3090540" y="97789"/>
                    <a:pt x="3090540" y="99059"/>
                  </a:cubicBezTo>
                  <a:cubicBezTo>
                    <a:pt x="3090540" y="99059"/>
                    <a:pt x="3090540" y="102234"/>
                    <a:pt x="3089905" y="103504"/>
                  </a:cubicBezTo>
                  <a:cubicBezTo>
                    <a:pt x="3089905" y="104774"/>
                    <a:pt x="3088635" y="106044"/>
                    <a:pt x="3087365" y="107314"/>
                  </a:cubicBezTo>
                  <a:cubicBezTo>
                    <a:pt x="3086095" y="108584"/>
                    <a:pt x="3084825" y="109219"/>
                    <a:pt x="3083555" y="109854"/>
                  </a:cubicBezTo>
                  <a:cubicBezTo>
                    <a:pt x="3082285" y="109854"/>
                    <a:pt x="3080380" y="110489"/>
                    <a:pt x="3079110" y="110489"/>
                  </a:cubicBezTo>
                  <a:cubicBezTo>
                    <a:pt x="3077840" y="110489"/>
                    <a:pt x="3075935" y="110489"/>
                    <a:pt x="3074665" y="109854"/>
                  </a:cubicBezTo>
                  <a:cubicBezTo>
                    <a:pt x="3073395" y="109854"/>
                    <a:pt x="3072125" y="108584"/>
                    <a:pt x="3070855" y="107314"/>
                  </a:cubicBezTo>
                  <a:cubicBezTo>
                    <a:pt x="3069585" y="106044"/>
                    <a:pt x="3068950" y="104774"/>
                    <a:pt x="3068315" y="103504"/>
                  </a:cubicBezTo>
                  <a:cubicBezTo>
                    <a:pt x="3068315" y="102234"/>
                    <a:pt x="3067680" y="100329"/>
                    <a:pt x="3067680" y="99059"/>
                  </a:cubicBezTo>
                  <a:cubicBezTo>
                    <a:pt x="3067680" y="97789"/>
                    <a:pt x="3067680" y="95884"/>
                    <a:pt x="3068315" y="94614"/>
                  </a:cubicBezTo>
                  <a:cubicBezTo>
                    <a:pt x="3068315" y="93344"/>
                    <a:pt x="3069585" y="92074"/>
                    <a:pt x="3070855" y="90804"/>
                  </a:cubicBezTo>
                  <a:cubicBezTo>
                    <a:pt x="3072125" y="89534"/>
                    <a:pt x="3073395" y="88899"/>
                    <a:pt x="3074665" y="88264"/>
                  </a:cubicBezTo>
                  <a:cubicBezTo>
                    <a:pt x="3075935" y="88264"/>
                    <a:pt x="3077840" y="87629"/>
                    <a:pt x="3079110" y="87629"/>
                  </a:cubicBezTo>
                  <a:close/>
                  <a:moveTo>
                    <a:pt x="1565275" y="87629"/>
                  </a:moveTo>
                  <a:cubicBezTo>
                    <a:pt x="1566545" y="87629"/>
                    <a:pt x="1568450" y="87629"/>
                    <a:pt x="1569720" y="88264"/>
                  </a:cubicBezTo>
                  <a:cubicBezTo>
                    <a:pt x="1570990" y="88264"/>
                    <a:pt x="1572260" y="89534"/>
                    <a:pt x="1573529" y="90804"/>
                  </a:cubicBezTo>
                  <a:cubicBezTo>
                    <a:pt x="1574800" y="92074"/>
                    <a:pt x="1575435" y="93344"/>
                    <a:pt x="1576069" y="94614"/>
                  </a:cubicBezTo>
                  <a:cubicBezTo>
                    <a:pt x="1576069" y="95884"/>
                    <a:pt x="1576705" y="97789"/>
                    <a:pt x="1576705" y="99059"/>
                  </a:cubicBezTo>
                  <a:cubicBezTo>
                    <a:pt x="1576705" y="99059"/>
                    <a:pt x="1576705" y="102234"/>
                    <a:pt x="1576069" y="103504"/>
                  </a:cubicBezTo>
                  <a:cubicBezTo>
                    <a:pt x="1576069" y="104774"/>
                    <a:pt x="1574800" y="106044"/>
                    <a:pt x="1573529" y="107314"/>
                  </a:cubicBezTo>
                  <a:cubicBezTo>
                    <a:pt x="1572260" y="108584"/>
                    <a:pt x="1570990" y="109219"/>
                    <a:pt x="1569720" y="109854"/>
                  </a:cubicBezTo>
                  <a:cubicBezTo>
                    <a:pt x="1568450" y="109854"/>
                    <a:pt x="1566545" y="110489"/>
                    <a:pt x="1565275" y="110489"/>
                  </a:cubicBezTo>
                  <a:cubicBezTo>
                    <a:pt x="1564005" y="110489"/>
                    <a:pt x="1562099" y="110489"/>
                    <a:pt x="1560830" y="109854"/>
                  </a:cubicBezTo>
                  <a:cubicBezTo>
                    <a:pt x="1559559" y="109854"/>
                    <a:pt x="1558289" y="108584"/>
                    <a:pt x="1557020" y="107314"/>
                  </a:cubicBezTo>
                  <a:cubicBezTo>
                    <a:pt x="1555750" y="106044"/>
                    <a:pt x="1555114" y="104774"/>
                    <a:pt x="1554479" y="103504"/>
                  </a:cubicBezTo>
                  <a:cubicBezTo>
                    <a:pt x="1554479" y="102234"/>
                    <a:pt x="1553844" y="100329"/>
                    <a:pt x="1553844" y="99059"/>
                  </a:cubicBezTo>
                  <a:cubicBezTo>
                    <a:pt x="1553844" y="97789"/>
                    <a:pt x="1553844" y="95884"/>
                    <a:pt x="1554479" y="94614"/>
                  </a:cubicBezTo>
                  <a:cubicBezTo>
                    <a:pt x="1554479" y="93344"/>
                    <a:pt x="1555750" y="92074"/>
                    <a:pt x="1557020" y="90804"/>
                  </a:cubicBezTo>
                  <a:cubicBezTo>
                    <a:pt x="1558289" y="89534"/>
                    <a:pt x="1559559" y="88899"/>
                    <a:pt x="1560830" y="88264"/>
                  </a:cubicBezTo>
                  <a:cubicBezTo>
                    <a:pt x="1562099" y="88264"/>
                    <a:pt x="1564005" y="87629"/>
                    <a:pt x="1565275" y="87629"/>
                  </a:cubicBezTo>
                  <a:close/>
                  <a:moveTo>
                    <a:pt x="2642230" y="73024"/>
                  </a:moveTo>
                  <a:cubicBezTo>
                    <a:pt x="2637150" y="73024"/>
                    <a:pt x="2633340" y="74294"/>
                    <a:pt x="2630800" y="76199"/>
                  </a:cubicBezTo>
                  <a:cubicBezTo>
                    <a:pt x="2627625" y="78104"/>
                    <a:pt x="2626355" y="81279"/>
                    <a:pt x="2626355" y="84454"/>
                  </a:cubicBezTo>
                  <a:cubicBezTo>
                    <a:pt x="2626355" y="86994"/>
                    <a:pt x="2626355" y="88899"/>
                    <a:pt x="2627625" y="90169"/>
                  </a:cubicBezTo>
                  <a:cubicBezTo>
                    <a:pt x="2628260" y="92074"/>
                    <a:pt x="2629530" y="93344"/>
                    <a:pt x="2630800" y="93979"/>
                  </a:cubicBezTo>
                  <a:cubicBezTo>
                    <a:pt x="2632070" y="95249"/>
                    <a:pt x="2633340" y="95884"/>
                    <a:pt x="2635245" y="96519"/>
                  </a:cubicBezTo>
                  <a:cubicBezTo>
                    <a:pt x="2637150" y="96519"/>
                    <a:pt x="2639055" y="97154"/>
                    <a:pt x="2641595" y="97154"/>
                  </a:cubicBezTo>
                  <a:cubicBezTo>
                    <a:pt x="2643500" y="97154"/>
                    <a:pt x="2645405" y="97154"/>
                    <a:pt x="2647310" y="96519"/>
                  </a:cubicBezTo>
                  <a:cubicBezTo>
                    <a:pt x="2649215" y="96519"/>
                    <a:pt x="2651120" y="95249"/>
                    <a:pt x="2652390" y="93979"/>
                  </a:cubicBezTo>
                  <a:cubicBezTo>
                    <a:pt x="2654295" y="93344"/>
                    <a:pt x="2655565" y="92074"/>
                    <a:pt x="2656835" y="90804"/>
                  </a:cubicBezTo>
                  <a:cubicBezTo>
                    <a:pt x="2658105" y="89534"/>
                    <a:pt x="2659375" y="88264"/>
                    <a:pt x="2660010" y="86994"/>
                  </a:cubicBezTo>
                  <a:lnTo>
                    <a:pt x="2660010" y="75564"/>
                  </a:lnTo>
                  <a:cubicBezTo>
                    <a:pt x="2660010" y="75564"/>
                    <a:pt x="2657470" y="74294"/>
                    <a:pt x="2656200" y="74294"/>
                  </a:cubicBezTo>
                  <a:cubicBezTo>
                    <a:pt x="2654930" y="74294"/>
                    <a:pt x="2653660" y="73659"/>
                    <a:pt x="2652390" y="73659"/>
                  </a:cubicBezTo>
                  <a:cubicBezTo>
                    <a:pt x="2651120" y="73659"/>
                    <a:pt x="2649850" y="73659"/>
                    <a:pt x="2647945" y="73024"/>
                  </a:cubicBezTo>
                  <a:cubicBezTo>
                    <a:pt x="2646040" y="73024"/>
                    <a:pt x="2644135" y="73024"/>
                    <a:pt x="2642230" y="73024"/>
                  </a:cubicBezTo>
                  <a:close/>
                  <a:moveTo>
                    <a:pt x="4664706" y="43814"/>
                  </a:moveTo>
                  <a:cubicBezTo>
                    <a:pt x="4661531" y="43814"/>
                    <a:pt x="4658991" y="43814"/>
                    <a:pt x="4657086" y="45719"/>
                  </a:cubicBezTo>
                  <a:cubicBezTo>
                    <a:pt x="4654546" y="46989"/>
                    <a:pt x="4652641" y="48894"/>
                    <a:pt x="4651371" y="50799"/>
                  </a:cubicBezTo>
                  <a:cubicBezTo>
                    <a:pt x="4649466" y="53339"/>
                    <a:pt x="4648831" y="55879"/>
                    <a:pt x="4647561" y="59054"/>
                  </a:cubicBezTo>
                  <a:cubicBezTo>
                    <a:pt x="4646926" y="62229"/>
                    <a:pt x="4646291" y="65404"/>
                    <a:pt x="4646291" y="69849"/>
                  </a:cubicBezTo>
                  <a:cubicBezTo>
                    <a:pt x="4646291" y="74294"/>
                    <a:pt x="4646291" y="78104"/>
                    <a:pt x="4647561" y="81279"/>
                  </a:cubicBezTo>
                  <a:cubicBezTo>
                    <a:pt x="4648196" y="84454"/>
                    <a:pt x="4650101" y="87629"/>
                    <a:pt x="4651371" y="89534"/>
                  </a:cubicBezTo>
                  <a:cubicBezTo>
                    <a:pt x="4653276" y="92074"/>
                    <a:pt x="4655181" y="93344"/>
                    <a:pt x="4657721" y="94614"/>
                  </a:cubicBezTo>
                  <a:cubicBezTo>
                    <a:pt x="4660261" y="95884"/>
                    <a:pt x="4662801" y="96519"/>
                    <a:pt x="4665341" y="96519"/>
                  </a:cubicBezTo>
                  <a:cubicBezTo>
                    <a:pt x="4667881" y="96519"/>
                    <a:pt x="4671056" y="95884"/>
                    <a:pt x="4672961" y="94614"/>
                  </a:cubicBezTo>
                  <a:cubicBezTo>
                    <a:pt x="4675501" y="93344"/>
                    <a:pt x="4677406" y="91439"/>
                    <a:pt x="4678676" y="88899"/>
                  </a:cubicBezTo>
                  <a:cubicBezTo>
                    <a:pt x="4680581" y="86359"/>
                    <a:pt x="4681851" y="83819"/>
                    <a:pt x="4682486" y="80644"/>
                  </a:cubicBezTo>
                  <a:cubicBezTo>
                    <a:pt x="4683121" y="77469"/>
                    <a:pt x="4683756" y="74294"/>
                    <a:pt x="4683756" y="70484"/>
                  </a:cubicBezTo>
                  <a:lnTo>
                    <a:pt x="4684391" y="69849"/>
                  </a:lnTo>
                  <a:cubicBezTo>
                    <a:pt x="4684391" y="66039"/>
                    <a:pt x="4684391" y="62229"/>
                    <a:pt x="4683121" y="59054"/>
                  </a:cubicBezTo>
                  <a:cubicBezTo>
                    <a:pt x="4682486" y="55879"/>
                    <a:pt x="4680581" y="53339"/>
                    <a:pt x="4679311" y="50799"/>
                  </a:cubicBezTo>
                  <a:cubicBezTo>
                    <a:pt x="4677406" y="48259"/>
                    <a:pt x="4675501" y="46989"/>
                    <a:pt x="4672961" y="45719"/>
                  </a:cubicBezTo>
                  <a:cubicBezTo>
                    <a:pt x="4670421" y="44449"/>
                    <a:pt x="4667881" y="43814"/>
                    <a:pt x="4664706" y="43814"/>
                  </a:cubicBezTo>
                  <a:close/>
                  <a:moveTo>
                    <a:pt x="4264020" y="43814"/>
                  </a:moveTo>
                  <a:cubicBezTo>
                    <a:pt x="4260845" y="43814"/>
                    <a:pt x="4258305" y="43814"/>
                    <a:pt x="4256400" y="45719"/>
                  </a:cubicBezTo>
                  <a:cubicBezTo>
                    <a:pt x="4253860" y="46989"/>
                    <a:pt x="4251955" y="48894"/>
                    <a:pt x="4250685" y="50799"/>
                  </a:cubicBezTo>
                  <a:cubicBezTo>
                    <a:pt x="4248780" y="53339"/>
                    <a:pt x="4247510" y="55879"/>
                    <a:pt x="4246875" y="59054"/>
                  </a:cubicBezTo>
                  <a:cubicBezTo>
                    <a:pt x="4246240" y="62229"/>
                    <a:pt x="4245605" y="65404"/>
                    <a:pt x="4245605" y="69849"/>
                  </a:cubicBezTo>
                  <a:cubicBezTo>
                    <a:pt x="4245605" y="74294"/>
                    <a:pt x="4245605" y="78104"/>
                    <a:pt x="4246875" y="81279"/>
                  </a:cubicBezTo>
                  <a:cubicBezTo>
                    <a:pt x="4247510" y="84454"/>
                    <a:pt x="4249415" y="87629"/>
                    <a:pt x="4250685" y="89534"/>
                  </a:cubicBezTo>
                  <a:cubicBezTo>
                    <a:pt x="4252590" y="92074"/>
                    <a:pt x="4254495" y="93344"/>
                    <a:pt x="4257035" y="94614"/>
                  </a:cubicBezTo>
                  <a:cubicBezTo>
                    <a:pt x="4259575" y="95884"/>
                    <a:pt x="4262115" y="96519"/>
                    <a:pt x="4264655" y="96519"/>
                  </a:cubicBezTo>
                  <a:cubicBezTo>
                    <a:pt x="4267195" y="96519"/>
                    <a:pt x="4270370" y="95884"/>
                    <a:pt x="4272275" y="94614"/>
                  </a:cubicBezTo>
                  <a:cubicBezTo>
                    <a:pt x="4274815" y="93344"/>
                    <a:pt x="4276720" y="91439"/>
                    <a:pt x="4277990" y="88899"/>
                  </a:cubicBezTo>
                  <a:cubicBezTo>
                    <a:pt x="4279895" y="86359"/>
                    <a:pt x="4281165" y="83819"/>
                    <a:pt x="4281800" y="80644"/>
                  </a:cubicBezTo>
                  <a:cubicBezTo>
                    <a:pt x="4282435" y="77469"/>
                    <a:pt x="4283070" y="74294"/>
                    <a:pt x="4283070" y="70484"/>
                  </a:cubicBezTo>
                  <a:lnTo>
                    <a:pt x="4283705" y="69849"/>
                  </a:lnTo>
                  <a:cubicBezTo>
                    <a:pt x="4283705" y="66039"/>
                    <a:pt x="4283705" y="62229"/>
                    <a:pt x="4282435" y="59054"/>
                  </a:cubicBezTo>
                  <a:cubicBezTo>
                    <a:pt x="4281800" y="55879"/>
                    <a:pt x="4279895" y="53339"/>
                    <a:pt x="4278625" y="50799"/>
                  </a:cubicBezTo>
                  <a:cubicBezTo>
                    <a:pt x="4276720" y="48259"/>
                    <a:pt x="4274815" y="46989"/>
                    <a:pt x="4272275" y="45719"/>
                  </a:cubicBezTo>
                  <a:cubicBezTo>
                    <a:pt x="4269735" y="44449"/>
                    <a:pt x="4267195" y="43814"/>
                    <a:pt x="4264020" y="43814"/>
                  </a:cubicBezTo>
                  <a:close/>
                  <a:moveTo>
                    <a:pt x="1420495" y="43814"/>
                  </a:moveTo>
                  <a:cubicBezTo>
                    <a:pt x="1417320" y="43814"/>
                    <a:pt x="1414780" y="43814"/>
                    <a:pt x="1412875" y="45719"/>
                  </a:cubicBezTo>
                  <a:cubicBezTo>
                    <a:pt x="1410335" y="46989"/>
                    <a:pt x="1408430" y="48894"/>
                    <a:pt x="1407160" y="50799"/>
                  </a:cubicBezTo>
                  <a:cubicBezTo>
                    <a:pt x="1405255" y="53339"/>
                    <a:pt x="1403985" y="55879"/>
                    <a:pt x="1403350" y="59054"/>
                  </a:cubicBezTo>
                  <a:cubicBezTo>
                    <a:pt x="1402715" y="62229"/>
                    <a:pt x="1402080" y="65404"/>
                    <a:pt x="1402080" y="69849"/>
                  </a:cubicBezTo>
                  <a:cubicBezTo>
                    <a:pt x="1402080" y="74294"/>
                    <a:pt x="1402080" y="78104"/>
                    <a:pt x="1403350" y="81279"/>
                  </a:cubicBezTo>
                  <a:cubicBezTo>
                    <a:pt x="1403985" y="84454"/>
                    <a:pt x="1405890" y="87629"/>
                    <a:pt x="1407160" y="89534"/>
                  </a:cubicBezTo>
                  <a:cubicBezTo>
                    <a:pt x="1409065" y="92074"/>
                    <a:pt x="1410970" y="93344"/>
                    <a:pt x="1413510" y="94614"/>
                  </a:cubicBezTo>
                  <a:cubicBezTo>
                    <a:pt x="1416050" y="95884"/>
                    <a:pt x="1418590" y="96519"/>
                    <a:pt x="1421130" y="96519"/>
                  </a:cubicBezTo>
                  <a:cubicBezTo>
                    <a:pt x="1423670" y="96519"/>
                    <a:pt x="1426845" y="95884"/>
                    <a:pt x="1428750" y="94614"/>
                  </a:cubicBezTo>
                  <a:cubicBezTo>
                    <a:pt x="1431290" y="93344"/>
                    <a:pt x="1433195" y="91439"/>
                    <a:pt x="1434465" y="88899"/>
                  </a:cubicBezTo>
                  <a:cubicBezTo>
                    <a:pt x="1436370" y="86359"/>
                    <a:pt x="1437640" y="83819"/>
                    <a:pt x="1438275" y="80644"/>
                  </a:cubicBezTo>
                  <a:cubicBezTo>
                    <a:pt x="1438910" y="77469"/>
                    <a:pt x="1439545" y="74294"/>
                    <a:pt x="1439545" y="70484"/>
                  </a:cubicBezTo>
                  <a:lnTo>
                    <a:pt x="1440180" y="69849"/>
                  </a:lnTo>
                  <a:cubicBezTo>
                    <a:pt x="1440180" y="66039"/>
                    <a:pt x="1440180" y="62229"/>
                    <a:pt x="1438910" y="59054"/>
                  </a:cubicBezTo>
                  <a:cubicBezTo>
                    <a:pt x="1438275" y="55879"/>
                    <a:pt x="1436370" y="53339"/>
                    <a:pt x="1435100" y="50799"/>
                  </a:cubicBezTo>
                  <a:cubicBezTo>
                    <a:pt x="1433195" y="48259"/>
                    <a:pt x="1431290" y="46989"/>
                    <a:pt x="1428750" y="45719"/>
                  </a:cubicBezTo>
                  <a:cubicBezTo>
                    <a:pt x="1426210" y="44449"/>
                    <a:pt x="1423670" y="43814"/>
                    <a:pt x="1420495" y="43814"/>
                  </a:cubicBezTo>
                  <a:close/>
                  <a:moveTo>
                    <a:pt x="4041770" y="43180"/>
                  </a:moveTo>
                  <a:cubicBezTo>
                    <a:pt x="4039230" y="43180"/>
                    <a:pt x="4036690" y="43180"/>
                    <a:pt x="4034785" y="44450"/>
                  </a:cubicBezTo>
                  <a:cubicBezTo>
                    <a:pt x="4032880" y="45085"/>
                    <a:pt x="4030975" y="46355"/>
                    <a:pt x="4029705" y="48260"/>
                  </a:cubicBezTo>
                  <a:cubicBezTo>
                    <a:pt x="4028435" y="50165"/>
                    <a:pt x="4027165" y="52070"/>
                    <a:pt x="4025895" y="54610"/>
                  </a:cubicBezTo>
                  <a:cubicBezTo>
                    <a:pt x="4025260" y="57150"/>
                    <a:pt x="4023990" y="59690"/>
                    <a:pt x="4023990" y="62865"/>
                  </a:cubicBezTo>
                  <a:lnTo>
                    <a:pt x="4060185" y="62865"/>
                  </a:lnTo>
                  <a:cubicBezTo>
                    <a:pt x="4060185" y="62865"/>
                    <a:pt x="4059550" y="57785"/>
                    <a:pt x="4058915" y="55245"/>
                  </a:cubicBezTo>
                  <a:cubicBezTo>
                    <a:pt x="4058280" y="52705"/>
                    <a:pt x="4057010" y="50800"/>
                    <a:pt x="4055740" y="48895"/>
                  </a:cubicBezTo>
                  <a:cubicBezTo>
                    <a:pt x="4054470" y="46990"/>
                    <a:pt x="4052565" y="45720"/>
                    <a:pt x="4050025" y="44450"/>
                  </a:cubicBezTo>
                  <a:cubicBezTo>
                    <a:pt x="4047485" y="43180"/>
                    <a:pt x="4044945" y="43180"/>
                    <a:pt x="4041770" y="43180"/>
                  </a:cubicBezTo>
                  <a:close/>
                  <a:moveTo>
                    <a:pt x="3728081" y="43180"/>
                  </a:moveTo>
                  <a:cubicBezTo>
                    <a:pt x="3725541" y="43180"/>
                    <a:pt x="3723001" y="43180"/>
                    <a:pt x="3721096" y="44450"/>
                  </a:cubicBezTo>
                  <a:cubicBezTo>
                    <a:pt x="3719191" y="45085"/>
                    <a:pt x="3717286" y="46355"/>
                    <a:pt x="3716016" y="48260"/>
                  </a:cubicBezTo>
                  <a:cubicBezTo>
                    <a:pt x="3714746" y="50165"/>
                    <a:pt x="3713476" y="52070"/>
                    <a:pt x="3712206" y="54610"/>
                  </a:cubicBezTo>
                  <a:cubicBezTo>
                    <a:pt x="3711571" y="57150"/>
                    <a:pt x="3710301" y="59690"/>
                    <a:pt x="3710301" y="62865"/>
                  </a:cubicBezTo>
                  <a:lnTo>
                    <a:pt x="3746496" y="62865"/>
                  </a:lnTo>
                  <a:cubicBezTo>
                    <a:pt x="3746496" y="62865"/>
                    <a:pt x="3745861" y="57785"/>
                    <a:pt x="3745226" y="55245"/>
                  </a:cubicBezTo>
                  <a:cubicBezTo>
                    <a:pt x="3744591" y="52705"/>
                    <a:pt x="3743321" y="50800"/>
                    <a:pt x="3742051" y="48895"/>
                  </a:cubicBezTo>
                  <a:cubicBezTo>
                    <a:pt x="3740781" y="46990"/>
                    <a:pt x="3738876" y="45720"/>
                    <a:pt x="3736336" y="44450"/>
                  </a:cubicBezTo>
                  <a:cubicBezTo>
                    <a:pt x="3733796" y="43180"/>
                    <a:pt x="3731256" y="43180"/>
                    <a:pt x="3728081" y="43180"/>
                  </a:cubicBezTo>
                  <a:close/>
                  <a:moveTo>
                    <a:pt x="3541391" y="43180"/>
                  </a:moveTo>
                  <a:cubicBezTo>
                    <a:pt x="3538851" y="43180"/>
                    <a:pt x="3536311" y="43180"/>
                    <a:pt x="3534406" y="44450"/>
                  </a:cubicBezTo>
                  <a:cubicBezTo>
                    <a:pt x="3532501" y="45085"/>
                    <a:pt x="3530596" y="46355"/>
                    <a:pt x="3529326" y="48260"/>
                  </a:cubicBezTo>
                  <a:cubicBezTo>
                    <a:pt x="3528056" y="50165"/>
                    <a:pt x="3526786" y="52070"/>
                    <a:pt x="3525516" y="54610"/>
                  </a:cubicBezTo>
                  <a:cubicBezTo>
                    <a:pt x="3524881" y="57150"/>
                    <a:pt x="3524246" y="59690"/>
                    <a:pt x="3523611" y="62865"/>
                  </a:cubicBezTo>
                  <a:lnTo>
                    <a:pt x="3559806" y="62865"/>
                  </a:lnTo>
                  <a:cubicBezTo>
                    <a:pt x="3559806" y="62865"/>
                    <a:pt x="3559171" y="57785"/>
                    <a:pt x="3558536" y="55245"/>
                  </a:cubicBezTo>
                  <a:cubicBezTo>
                    <a:pt x="3557901" y="52705"/>
                    <a:pt x="3556631" y="50800"/>
                    <a:pt x="3555361" y="48895"/>
                  </a:cubicBezTo>
                  <a:cubicBezTo>
                    <a:pt x="3554091" y="46990"/>
                    <a:pt x="3552186" y="45720"/>
                    <a:pt x="3549646" y="44450"/>
                  </a:cubicBezTo>
                  <a:cubicBezTo>
                    <a:pt x="3547106" y="43180"/>
                    <a:pt x="3544566" y="43180"/>
                    <a:pt x="3541391" y="43180"/>
                  </a:cubicBezTo>
                  <a:close/>
                  <a:moveTo>
                    <a:pt x="3463285" y="43180"/>
                  </a:moveTo>
                  <a:cubicBezTo>
                    <a:pt x="3461380" y="43180"/>
                    <a:pt x="3459475" y="43180"/>
                    <a:pt x="3458205" y="43815"/>
                  </a:cubicBezTo>
                  <a:cubicBezTo>
                    <a:pt x="3456300" y="43815"/>
                    <a:pt x="3455030" y="45085"/>
                    <a:pt x="3453125" y="45720"/>
                  </a:cubicBezTo>
                  <a:cubicBezTo>
                    <a:pt x="3451855" y="46355"/>
                    <a:pt x="3449950" y="47625"/>
                    <a:pt x="3448680" y="48895"/>
                  </a:cubicBezTo>
                  <a:cubicBezTo>
                    <a:pt x="3447410" y="50165"/>
                    <a:pt x="3446140" y="51435"/>
                    <a:pt x="3445505" y="52705"/>
                  </a:cubicBezTo>
                  <a:lnTo>
                    <a:pt x="3445505" y="85725"/>
                  </a:lnTo>
                  <a:cubicBezTo>
                    <a:pt x="3445505" y="85725"/>
                    <a:pt x="3447410" y="88265"/>
                    <a:pt x="3448680" y="89535"/>
                  </a:cubicBezTo>
                  <a:cubicBezTo>
                    <a:pt x="3449950" y="90805"/>
                    <a:pt x="3451220" y="92075"/>
                    <a:pt x="3453125" y="92710"/>
                  </a:cubicBezTo>
                  <a:cubicBezTo>
                    <a:pt x="3455030" y="93980"/>
                    <a:pt x="3456300" y="94615"/>
                    <a:pt x="3458205" y="95250"/>
                  </a:cubicBezTo>
                  <a:cubicBezTo>
                    <a:pt x="3460110" y="95250"/>
                    <a:pt x="3462015" y="95885"/>
                    <a:pt x="3463920" y="95885"/>
                  </a:cubicBezTo>
                  <a:cubicBezTo>
                    <a:pt x="3469635" y="95885"/>
                    <a:pt x="3473445" y="93980"/>
                    <a:pt x="3476620" y="89535"/>
                  </a:cubicBezTo>
                  <a:cubicBezTo>
                    <a:pt x="3479795" y="85090"/>
                    <a:pt x="3481065" y="79375"/>
                    <a:pt x="3481065" y="71120"/>
                  </a:cubicBezTo>
                  <a:lnTo>
                    <a:pt x="3480430" y="71755"/>
                  </a:lnTo>
                  <a:cubicBezTo>
                    <a:pt x="3480430" y="62230"/>
                    <a:pt x="3479160" y="54610"/>
                    <a:pt x="3475985" y="50165"/>
                  </a:cubicBezTo>
                  <a:cubicBezTo>
                    <a:pt x="3472810" y="45720"/>
                    <a:pt x="3468365" y="43180"/>
                    <a:pt x="3463285" y="43180"/>
                  </a:cubicBezTo>
                  <a:close/>
                  <a:moveTo>
                    <a:pt x="3343271" y="43180"/>
                  </a:moveTo>
                  <a:cubicBezTo>
                    <a:pt x="3340731" y="43180"/>
                    <a:pt x="3338191" y="43180"/>
                    <a:pt x="3336286" y="44450"/>
                  </a:cubicBezTo>
                  <a:cubicBezTo>
                    <a:pt x="3334381" y="45085"/>
                    <a:pt x="3332476" y="46355"/>
                    <a:pt x="3331206" y="48260"/>
                  </a:cubicBezTo>
                  <a:cubicBezTo>
                    <a:pt x="3329936" y="50165"/>
                    <a:pt x="3328666" y="52070"/>
                    <a:pt x="3327396" y="54610"/>
                  </a:cubicBezTo>
                  <a:cubicBezTo>
                    <a:pt x="3326761" y="57150"/>
                    <a:pt x="3326126" y="59690"/>
                    <a:pt x="3325491" y="62865"/>
                  </a:cubicBezTo>
                  <a:lnTo>
                    <a:pt x="3361686" y="62865"/>
                  </a:lnTo>
                  <a:cubicBezTo>
                    <a:pt x="3361686" y="62865"/>
                    <a:pt x="3361051" y="57785"/>
                    <a:pt x="3360416" y="55245"/>
                  </a:cubicBezTo>
                  <a:cubicBezTo>
                    <a:pt x="3359781" y="52705"/>
                    <a:pt x="3358511" y="50800"/>
                    <a:pt x="3357241" y="48895"/>
                  </a:cubicBezTo>
                  <a:cubicBezTo>
                    <a:pt x="3355971" y="46990"/>
                    <a:pt x="3354066" y="45720"/>
                    <a:pt x="3351526" y="44450"/>
                  </a:cubicBezTo>
                  <a:cubicBezTo>
                    <a:pt x="3348986" y="43180"/>
                    <a:pt x="3346446" y="43180"/>
                    <a:pt x="3343271" y="43180"/>
                  </a:cubicBezTo>
                  <a:close/>
                  <a:moveTo>
                    <a:pt x="2976876" y="43180"/>
                  </a:moveTo>
                  <a:cubicBezTo>
                    <a:pt x="2974336" y="43180"/>
                    <a:pt x="2971796" y="43180"/>
                    <a:pt x="2969891" y="44450"/>
                  </a:cubicBezTo>
                  <a:cubicBezTo>
                    <a:pt x="2967986" y="45085"/>
                    <a:pt x="2966081" y="46355"/>
                    <a:pt x="2964811" y="48260"/>
                  </a:cubicBezTo>
                  <a:cubicBezTo>
                    <a:pt x="2963541" y="50165"/>
                    <a:pt x="2962271" y="52070"/>
                    <a:pt x="2961001" y="54610"/>
                  </a:cubicBezTo>
                  <a:cubicBezTo>
                    <a:pt x="2960366" y="57150"/>
                    <a:pt x="2959731" y="59690"/>
                    <a:pt x="2959096" y="62865"/>
                  </a:cubicBezTo>
                  <a:lnTo>
                    <a:pt x="2995291" y="62865"/>
                  </a:lnTo>
                  <a:cubicBezTo>
                    <a:pt x="2995291" y="62865"/>
                    <a:pt x="2994656" y="57785"/>
                    <a:pt x="2994021" y="55245"/>
                  </a:cubicBezTo>
                  <a:cubicBezTo>
                    <a:pt x="2993386" y="52705"/>
                    <a:pt x="2992116" y="50800"/>
                    <a:pt x="2990846" y="48895"/>
                  </a:cubicBezTo>
                  <a:cubicBezTo>
                    <a:pt x="2989576" y="46990"/>
                    <a:pt x="2987671" y="45720"/>
                    <a:pt x="2985131" y="44450"/>
                  </a:cubicBezTo>
                  <a:cubicBezTo>
                    <a:pt x="2982591" y="43180"/>
                    <a:pt x="2980051" y="43180"/>
                    <a:pt x="2976876" y="43180"/>
                  </a:cubicBezTo>
                  <a:close/>
                  <a:moveTo>
                    <a:pt x="2527930" y="43180"/>
                  </a:moveTo>
                  <a:cubicBezTo>
                    <a:pt x="2525390" y="43180"/>
                    <a:pt x="2522850" y="43180"/>
                    <a:pt x="2520945" y="44450"/>
                  </a:cubicBezTo>
                  <a:cubicBezTo>
                    <a:pt x="2519040" y="45085"/>
                    <a:pt x="2517135" y="46355"/>
                    <a:pt x="2515865" y="48260"/>
                  </a:cubicBezTo>
                  <a:cubicBezTo>
                    <a:pt x="2514595" y="50165"/>
                    <a:pt x="2513325" y="52070"/>
                    <a:pt x="2512055" y="54610"/>
                  </a:cubicBezTo>
                  <a:cubicBezTo>
                    <a:pt x="2511420" y="57150"/>
                    <a:pt x="2510150" y="59690"/>
                    <a:pt x="2510150" y="62865"/>
                  </a:cubicBezTo>
                  <a:lnTo>
                    <a:pt x="2546345" y="62865"/>
                  </a:lnTo>
                  <a:cubicBezTo>
                    <a:pt x="2546345" y="62865"/>
                    <a:pt x="2545710" y="57785"/>
                    <a:pt x="2545075" y="55245"/>
                  </a:cubicBezTo>
                  <a:cubicBezTo>
                    <a:pt x="2544440" y="52705"/>
                    <a:pt x="2543170" y="50800"/>
                    <a:pt x="2541900" y="48895"/>
                  </a:cubicBezTo>
                  <a:cubicBezTo>
                    <a:pt x="2540630" y="46990"/>
                    <a:pt x="2538725" y="45720"/>
                    <a:pt x="2536185" y="44450"/>
                  </a:cubicBezTo>
                  <a:cubicBezTo>
                    <a:pt x="2533645" y="43180"/>
                    <a:pt x="2531105" y="43180"/>
                    <a:pt x="2527930" y="43180"/>
                  </a:cubicBezTo>
                  <a:close/>
                  <a:moveTo>
                    <a:pt x="2214240" y="43180"/>
                  </a:moveTo>
                  <a:cubicBezTo>
                    <a:pt x="2211700" y="43180"/>
                    <a:pt x="2209160" y="43180"/>
                    <a:pt x="2207255" y="44450"/>
                  </a:cubicBezTo>
                  <a:cubicBezTo>
                    <a:pt x="2205350" y="45085"/>
                    <a:pt x="2203445" y="46355"/>
                    <a:pt x="2202175" y="48260"/>
                  </a:cubicBezTo>
                  <a:cubicBezTo>
                    <a:pt x="2200905" y="50165"/>
                    <a:pt x="2199635" y="52070"/>
                    <a:pt x="2198365" y="54610"/>
                  </a:cubicBezTo>
                  <a:cubicBezTo>
                    <a:pt x="2197730" y="57150"/>
                    <a:pt x="2196460" y="59690"/>
                    <a:pt x="2196460" y="62865"/>
                  </a:cubicBezTo>
                  <a:lnTo>
                    <a:pt x="2232655" y="62865"/>
                  </a:lnTo>
                  <a:cubicBezTo>
                    <a:pt x="2232655" y="62865"/>
                    <a:pt x="2232020" y="57785"/>
                    <a:pt x="2231385" y="55245"/>
                  </a:cubicBezTo>
                  <a:cubicBezTo>
                    <a:pt x="2230750" y="52705"/>
                    <a:pt x="2229480" y="50800"/>
                    <a:pt x="2228210" y="48895"/>
                  </a:cubicBezTo>
                  <a:cubicBezTo>
                    <a:pt x="2226940" y="46990"/>
                    <a:pt x="2225035" y="45720"/>
                    <a:pt x="2222495" y="44450"/>
                  </a:cubicBezTo>
                  <a:cubicBezTo>
                    <a:pt x="2219955" y="43180"/>
                    <a:pt x="2217415" y="43180"/>
                    <a:pt x="2214240" y="43180"/>
                  </a:cubicBezTo>
                  <a:close/>
                  <a:moveTo>
                    <a:pt x="2027551" y="43180"/>
                  </a:moveTo>
                  <a:cubicBezTo>
                    <a:pt x="2025011" y="43180"/>
                    <a:pt x="2022471" y="43180"/>
                    <a:pt x="2020566" y="44450"/>
                  </a:cubicBezTo>
                  <a:cubicBezTo>
                    <a:pt x="2018661" y="45085"/>
                    <a:pt x="2016756" y="46355"/>
                    <a:pt x="2015486" y="48260"/>
                  </a:cubicBezTo>
                  <a:cubicBezTo>
                    <a:pt x="2014216" y="50165"/>
                    <a:pt x="2012946" y="52070"/>
                    <a:pt x="2011676" y="54610"/>
                  </a:cubicBezTo>
                  <a:cubicBezTo>
                    <a:pt x="2011041" y="57150"/>
                    <a:pt x="2010406" y="59690"/>
                    <a:pt x="2009771" y="62865"/>
                  </a:cubicBezTo>
                  <a:lnTo>
                    <a:pt x="2045966" y="62865"/>
                  </a:lnTo>
                  <a:cubicBezTo>
                    <a:pt x="2045966" y="62865"/>
                    <a:pt x="2045331" y="57785"/>
                    <a:pt x="2044696" y="55245"/>
                  </a:cubicBezTo>
                  <a:cubicBezTo>
                    <a:pt x="2044061" y="52705"/>
                    <a:pt x="2042791" y="50800"/>
                    <a:pt x="2041521" y="48895"/>
                  </a:cubicBezTo>
                  <a:cubicBezTo>
                    <a:pt x="2040251" y="46990"/>
                    <a:pt x="2038346" y="45720"/>
                    <a:pt x="2035806" y="44450"/>
                  </a:cubicBezTo>
                  <a:cubicBezTo>
                    <a:pt x="2033266" y="43180"/>
                    <a:pt x="2030726" y="43180"/>
                    <a:pt x="2027551" y="43180"/>
                  </a:cubicBezTo>
                  <a:close/>
                  <a:moveTo>
                    <a:pt x="1949445" y="43180"/>
                  </a:moveTo>
                  <a:cubicBezTo>
                    <a:pt x="1947540" y="43180"/>
                    <a:pt x="1945635" y="43180"/>
                    <a:pt x="1944365" y="43815"/>
                  </a:cubicBezTo>
                  <a:cubicBezTo>
                    <a:pt x="1942460" y="43815"/>
                    <a:pt x="1941190" y="45085"/>
                    <a:pt x="1939285" y="45720"/>
                  </a:cubicBezTo>
                  <a:cubicBezTo>
                    <a:pt x="1938015" y="46355"/>
                    <a:pt x="1936110" y="47625"/>
                    <a:pt x="1934840" y="48895"/>
                  </a:cubicBezTo>
                  <a:cubicBezTo>
                    <a:pt x="1933570" y="50165"/>
                    <a:pt x="1932300" y="51435"/>
                    <a:pt x="1931665" y="52705"/>
                  </a:cubicBezTo>
                  <a:lnTo>
                    <a:pt x="1931665" y="85725"/>
                  </a:lnTo>
                  <a:cubicBezTo>
                    <a:pt x="1931665" y="85725"/>
                    <a:pt x="1933570" y="88265"/>
                    <a:pt x="1934840" y="89535"/>
                  </a:cubicBezTo>
                  <a:cubicBezTo>
                    <a:pt x="1936110" y="90805"/>
                    <a:pt x="1937380" y="92075"/>
                    <a:pt x="1939285" y="92710"/>
                  </a:cubicBezTo>
                  <a:cubicBezTo>
                    <a:pt x="1941190" y="93980"/>
                    <a:pt x="1942460" y="94615"/>
                    <a:pt x="1944365" y="95250"/>
                  </a:cubicBezTo>
                  <a:cubicBezTo>
                    <a:pt x="1946270" y="95250"/>
                    <a:pt x="1948175" y="95885"/>
                    <a:pt x="1950080" y="95885"/>
                  </a:cubicBezTo>
                  <a:cubicBezTo>
                    <a:pt x="1955795" y="95885"/>
                    <a:pt x="1959605" y="93980"/>
                    <a:pt x="1962780" y="89535"/>
                  </a:cubicBezTo>
                  <a:cubicBezTo>
                    <a:pt x="1965955" y="85090"/>
                    <a:pt x="1967225" y="79375"/>
                    <a:pt x="1967225" y="71120"/>
                  </a:cubicBezTo>
                  <a:lnTo>
                    <a:pt x="1966590" y="71755"/>
                  </a:lnTo>
                  <a:cubicBezTo>
                    <a:pt x="1966590" y="62230"/>
                    <a:pt x="1965320" y="54610"/>
                    <a:pt x="1962145" y="50165"/>
                  </a:cubicBezTo>
                  <a:cubicBezTo>
                    <a:pt x="1958970" y="45720"/>
                    <a:pt x="1954525" y="43180"/>
                    <a:pt x="1949445" y="43180"/>
                  </a:cubicBezTo>
                  <a:close/>
                  <a:moveTo>
                    <a:pt x="1829431" y="43180"/>
                  </a:moveTo>
                  <a:cubicBezTo>
                    <a:pt x="1826891" y="43180"/>
                    <a:pt x="1824351" y="43180"/>
                    <a:pt x="1822446" y="44450"/>
                  </a:cubicBezTo>
                  <a:cubicBezTo>
                    <a:pt x="1820541" y="45085"/>
                    <a:pt x="1818636" y="46355"/>
                    <a:pt x="1817366" y="48260"/>
                  </a:cubicBezTo>
                  <a:cubicBezTo>
                    <a:pt x="1816096" y="50165"/>
                    <a:pt x="1814826" y="52070"/>
                    <a:pt x="1813556" y="54610"/>
                  </a:cubicBezTo>
                  <a:cubicBezTo>
                    <a:pt x="1812921" y="57150"/>
                    <a:pt x="1811651" y="59690"/>
                    <a:pt x="1811651" y="62865"/>
                  </a:cubicBezTo>
                  <a:lnTo>
                    <a:pt x="1847846" y="62865"/>
                  </a:lnTo>
                  <a:cubicBezTo>
                    <a:pt x="1847846" y="62865"/>
                    <a:pt x="1847211" y="57785"/>
                    <a:pt x="1846576" y="55245"/>
                  </a:cubicBezTo>
                  <a:cubicBezTo>
                    <a:pt x="1845941" y="52705"/>
                    <a:pt x="1844671" y="50800"/>
                    <a:pt x="1843401" y="48895"/>
                  </a:cubicBezTo>
                  <a:cubicBezTo>
                    <a:pt x="1842131" y="46990"/>
                    <a:pt x="1840226" y="45720"/>
                    <a:pt x="1837686" y="44450"/>
                  </a:cubicBezTo>
                  <a:cubicBezTo>
                    <a:pt x="1835146" y="43180"/>
                    <a:pt x="1832606" y="43180"/>
                    <a:pt x="1829431" y="43180"/>
                  </a:cubicBezTo>
                  <a:close/>
                  <a:moveTo>
                    <a:pt x="1178561" y="43180"/>
                  </a:moveTo>
                  <a:cubicBezTo>
                    <a:pt x="1176021" y="43180"/>
                    <a:pt x="1173481" y="43180"/>
                    <a:pt x="1171576" y="44450"/>
                  </a:cubicBezTo>
                  <a:cubicBezTo>
                    <a:pt x="1169671" y="45085"/>
                    <a:pt x="1167766" y="46355"/>
                    <a:pt x="1166496" y="48260"/>
                  </a:cubicBezTo>
                  <a:cubicBezTo>
                    <a:pt x="1165226" y="50165"/>
                    <a:pt x="1163956" y="52070"/>
                    <a:pt x="1162686" y="54610"/>
                  </a:cubicBezTo>
                  <a:cubicBezTo>
                    <a:pt x="1162051" y="57150"/>
                    <a:pt x="1160781" y="59690"/>
                    <a:pt x="1160781" y="62865"/>
                  </a:cubicBezTo>
                  <a:lnTo>
                    <a:pt x="1196976" y="62865"/>
                  </a:lnTo>
                  <a:cubicBezTo>
                    <a:pt x="1196976" y="62865"/>
                    <a:pt x="1196341" y="57785"/>
                    <a:pt x="1195706" y="55245"/>
                  </a:cubicBezTo>
                  <a:cubicBezTo>
                    <a:pt x="1195071" y="52705"/>
                    <a:pt x="1193801" y="50800"/>
                    <a:pt x="1192531" y="48895"/>
                  </a:cubicBezTo>
                  <a:cubicBezTo>
                    <a:pt x="1191261" y="46990"/>
                    <a:pt x="1189356" y="45720"/>
                    <a:pt x="1186816" y="44450"/>
                  </a:cubicBezTo>
                  <a:cubicBezTo>
                    <a:pt x="1184276" y="43180"/>
                    <a:pt x="1181736" y="43180"/>
                    <a:pt x="1178561" y="43180"/>
                  </a:cubicBezTo>
                  <a:close/>
                  <a:moveTo>
                    <a:pt x="898525" y="43180"/>
                  </a:moveTo>
                  <a:cubicBezTo>
                    <a:pt x="895985" y="43180"/>
                    <a:pt x="893445" y="43180"/>
                    <a:pt x="891540" y="44450"/>
                  </a:cubicBezTo>
                  <a:cubicBezTo>
                    <a:pt x="889635" y="45085"/>
                    <a:pt x="887730" y="46355"/>
                    <a:pt x="886460" y="48260"/>
                  </a:cubicBezTo>
                  <a:cubicBezTo>
                    <a:pt x="885190" y="50165"/>
                    <a:pt x="883920" y="52070"/>
                    <a:pt x="882650" y="54610"/>
                  </a:cubicBezTo>
                  <a:cubicBezTo>
                    <a:pt x="882015" y="57150"/>
                    <a:pt x="881380" y="59690"/>
                    <a:pt x="880745" y="62865"/>
                  </a:cubicBezTo>
                  <a:lnTo>
                    <a:pt x="916940" y="62865"/>
                  </a:lnTo>
                  <a:cubicBezTo>
                    <a:pt x="916940" y="62865"/>
                    <a:pt x="916305" y="57785"/>
                    <a:pt x="915670" y="55245"/>
                  </a:cubicBezTo>
                  <a:cubicBezTo>
                    <a:pt x="915035" y="52705"/>
                    <a:pt x="913765" y="50800"/>
                    <a:pt x="912495" y="48895"/>
                  </a:cubicBezTo>
                  <a:cubicBezTo>
                    <a:pt x="911225" y="46990"/>
                    <a:pt x="909320" y="45720"/>
                    <a:pt x="906780" y="44450"/>
                  </a:cubicBezTo>
                  <a:cubicBezTo>
                    <a:pt x="904240" y="43180"/>
                    <a:pt x="901700" y="43180"/>
                    <a:pt x="898525" y="43180"/>
                  </a:cubicBezTo>
                  <a:close/>
                  <a:moveTo>
                    <a:pt x="584834" y="43180"/>
                  </a:moveTo>
                  <a:cubicBezTo>
                    <a:pt x="582294" y="43180"/>
                    <a:pt x="579754" y="43180"/>
                    <a:pt x="577849" y="44450"/>
                  </a:cubicBezTo>
                  <a:cubicBezTo>
                    <a:pt x="575944" y="45085"/>
                    <a:pt x="574039" y="46355"/>
                    <a:pt x="572769" y="48260"/>
                  </a:cubicBezTo>
                  <a:cubicBezTo>
                    <a:pt x="571499" y="50165"/>
                    <a:pt x="570229" y="52070"/>
                    <a:pt x="568959" y="54610"/>
                  </a:cubicBezTo>
                  <a:cubicBezTo>
                    <a:pt x="568324" y="57150"/>
                    <a:pt x="567689" y="59690"/>
                    <a:pt x="567054" y="62865"/>
                  </a:cubicBezTo>
                  <a:lnTo>
                    <a:pt x="603249" y="62865"/>
                  </a:lnTo>
                  <a:cubicBezTo>
                    <a:pt x="603249" y="62865"/>
                    <a:pt x="602614" y="57785"/>
                    <a:pt x="601979" y="55245"/>
                  </a:cubicBezTo>
                  <a:cubicBezTo>
                    <a:pt x="601344" y="52705"/>
                    <a:pt x="600074" y="50800"/>
                    <a:pt x="598804" y="48895"/>
                  </a:cubicBezTo>
                  <a:cubicBezTo>
                    <a:pt x="597534" y="46990"/>
                    <a:pt x="595629" y="45720"/>
                    <a:pt x="593089" y="44450"/>
                  </a:cubicBezTo>
                  <a:cubicBezTo>
                    <a:pt x="590549" y="43180"/>
                    <a:pt x="588009" y="43180"/>
                    <a:pt x="584834" y="43180"/>
                  </a:cubicBezTo>
                  <a:close/>
                  <a:moveTo>
                    <a:pt x="398145" y="43180"/>
                  </a:moveTo>
                  <a:cubicBezTo>
                    <a:pt x="395605" y="43180"/>
                    <a:pt x="393065" y="43180"/>
                    <a:pt x="391160" y="44450"/>
                  </a:cubicBezTo>
                  <a:cubicBezTo>
                    <a:pt x="389255" y="45085"/>
                    <a:pt x="387350" y="46355"/>
                    <a:pt x="386080" y="48260"/>
                  </a:cubicBezTo>
                  <a:cubicBezTo>
                    <a:pt x="384810" y="50165"/>
                    <a:pt x="383540" y="52070"/>
                    <a:pt x="382270" y="54610"/>
                  </a:cubicBezTo>
                  <a:cubicBezTo>
                    <a:pt x="381635" y="57150"/>
                    <a:pt x="380365" y="59690"/>
                    <a:pt x="380365" y="62865"/>
                  </a:cubicBezTo>
                  <a:lnTo>
                    <a:pt x="416560" y="62865"/>
                  </a:lnTo>
                  <a:cubicBezTo>
                    <a:pt x="416560" y="62865"/>
                    <a:pt x="415925" y="57785"/>
                    <a:pt x="415290" y="55245"/>
                  </a:cubicBezTo>
                  <a:cubicBezTo>
                    <a:pt x="414655" y="52705"/>
                    <a:pt x="413385" y="50800"/>
                    <a:pt x="412115" y="48895"/>
                  </a:cubicBezTo>
                  <a:cubicBezTo>
                    <a:pt x="410845" y="46990"/>
                    <a:pt x="408940" y="45720"/>
                    <a:pt x="406400" y="44450"/>
                  </a:cubicBezTo>
                  <a:cubicBezTo>
                    <a:pt x="403860" y="43180"/>
                    <a:pt x="401320" y="43180"/>
                    <a:pt x="398145" y="43180"/>
                  </a:cubicBezTo>
                  <a:close/>
                  <a:moveTo>
                    <a:pt x="320039" y="43180"/>
                  </a:moveTo>
                  <a:cubicBezTo>
                    <a:pt x="318134" y="43180"/>
                    <a:pt x="316229" y="43180"/>
                    <a:pt x="314959" y="43815"/>
                  </a:cubicBezTo>
                  <a:cubicBezTo>
                    <a:pt x="313054" y="43815"/>
                    <a:pt x="311784" y="45085"/>
                    <a:pt x="309879" y="45720"/>
                  </a:cubicBezTo>
                  <a:cubicBezTo>
                    <a:pt x="308609" y="46355"/>
                    <a:pt x="306704" y="47625"/>
                    <a:pt x="305434" y="48895"/>
                  </a:cubicBezTo>
                  <a:cubicBezTo>
                    <a:pt x="304164" y="50165"/>
                    <a:pt x="302894" y="51435"/>
                    <a:pt x="302259" y="52705"/>
                  </a:cubicBezTo>
                  <a:lnTo>
                    <a:pt x="302259" y="85725"/>
                  </a:lnTo>
                  <a:cubicBezTo>
                    <a:pt x="302259" y="85725"/>
                    <a:pt x="304164" y="88265"/>
                    <a:pt x="305434" y="89535"/>
                  </a:cubicBezTo>
                  <a:cubicBezTo>
                    <a:pt x="306704" y="90805"/>
                    <a:pt x="307974" y="92075"/>
                    <a:pt x="309879" y="92710"/>
                  </a:cubicBezTo>
                  <a:cubicBezTo>
                    <a:pt x="311784" y="93980"/>
                    <a:pt x="313054" y="94615"/>
                    <a:pt x="314959" y="95250"/>
                  </a:cubicBezTo>
                  <a:cubicBezTo>
                    <a:pt x="316864" y="95250"/>
                    <a:pt x="318769" y="95885"/>
                    <a:pt x="320674" y="95885"/>
                  </a:cubicBezTo>
                  <a:cubicBezTo>
                    <a:pt x="326389" y="95885"/>
                    <a:pt x="330199" y="93980"/>
                    <a:pt x="333374" y="89535"/>
                  </a:cubicBezTo>
                  <a:cubicBezTo>
                    <a:pt x="336549" y="85090"/>
                    <a:pt x="337819" y="79375"/>
                    <a:pt x="337819" y="71120"/>
                  </a:cubicBezTo>
                  <a:lnTo>
                    <a:pt x="337184" y="71755"/>
                  </a:lnTo>
                  <a:cubicBezTo>
                    <a:pt x="337184" y="62230"/>
                    <a:pt x="335914" y="54610"/>
                    <a:pt x="332739" y="50165"/>
                  </a:cubicBezTo>
                  <a:cubicBezTo>
                    <a:pt x="329564" y="45720"/>
                    <a:pt x="325119" y="43180"/>
                    <a:pt x="320039" y="43180"/>
                  </a:cubicBezTo>
                  <a:close/>
                  <a:moveTo>
                    <a:pt x="200025" y="43180"/>
                  </a:moveTo>
                  <a:cubicBezTo>
                    <a:pt x="197485" y="43180"/>
                    <a:pt x="194945" y="43180"/>
                    <a:pt x="193040" y="44450"/>
                  </a:cubicBezTo>
                  <a:cubicBezTo>
                    <a:pt x="191135" y="45085"/>
                    <a:pt x="189230" y="46355"/>
                    <a:pt x="187960" y="48260"/>
                  </a:cubicBezTo>
                  <a:cubicBezTo>
                    <a:pt x="186690" y="50165"/>
                    <a:pt x="185420" y="52070"/>
                    <a:pt x="184150" y="54610"/>
                  </a:cubicBezTo>
                  <a:cubicBezTo>
                    <a:pt x="183515" y="57150"/>
                    <a:pt x="182880" y="59690"/>
                    <a:pt x="182245" y="62865"/>
                  </a:cubicBezTo>
                  <a:lnTo>
                    <a:pt x="218440" y="62865"/>
                  </a:lnTo>
                  <a:cubicBezTo>
                    <a:pt x="218440" y="62865"/>
                    <a:pt x="217805" y="57785"/>
                    <a:pt x="217170" y="55245"/>
                  </a:cubicBezTo>
                  <a:cubicBezTo>
                    <a:pt x="216535" y="52705"/>
                    <a:pt x="215265" y="50800"/>
                    <a:pt x="213995" y="48895"/>
                  </a:cubicBezTo>
                  <a:cubicBezTo>
                    <a:pt x="212725" y="46990"/>
                    <a:pt x="210820" y="45720"/>
                    <a:pt x="208280" y="44450"/>
                  </a:cubicBezTo>
                  <a:cubicBezTo>
                    <a:pt x="205740" y="43180"/>
                    <a:pt x="203200" y="43180"/>
                    <a:pt x="200025" y="43180"/>
                  </a:cubicBezTo>
                  <a:close/>
                  <a:moveTo>
                    <a:pt x="4439281" y="43179"/>
                  </a:moveTo>
                  <a:cubicBezTo>
                    <a:pt x="4433566" y="43179"/>
                    <a:pt x="4429756" y="45084"/>
                    <a:pt x="4426581" y="49529"/>
                  </a:cubicBezTo>
                  <a:cubicBezTo>
                    <a:pt x="4423406" y="53974"/>
                    <a:pt x="4422136" y="59689"/>
                    <a:pt x="4422136" y="67944"/>
                  </a:cubicBezTo>
                  <a:cubicBezTo>
                    <a:pt x="4422136" y="73024"/>
                    <a:pt x="4422136" y="76834"/>
                    <a:pt x="4423406" y="80644"/>
                  </a:cubicBezTo>
                  <a:cubicBezTo>
                    <a:pt x="4424041" y="84454"/>
                    <a:pt x="4425311" y="86994"/>
                    <a:pt x="4426581" y="89534"/>
                  </a:cubicBezTo>
                  <a:cubicBezTo>
                    <a:pt x="4427851" y="92074"/>
                    <a:pt x="4429756" y="93344"/>
                    <a:pt x="4432296" y="94614"/>
                  </a:cubicBezTo>
                  <a:cubicBezTo>
                    <a:pt x="4434201" y="95884"/>
                    <a:pt x="4436741" y="96519"/>
                    <a:pt x="4439916" y="96519"/>
                  </a:cubicBezTo>
                  <a:cubicBezTo>
                    <a:pt x="4441821" y="96519"/>
                    <a:pt x="4443726" y="96519"/>
                    <a:pt x="4444996" y="95884"/>
                  </a:cubicBezTo>
                  <a:cubicBezTo>
                    <a:pt x="4446901" y="95884"/>
                    <a:pt x="4448171" y="94614"/>
                    <a:pt x="4450076" y="93344"/>
                  </a:cubicBezTo>
                  <a:cubicBezTo>
                    <a:pt x="4451346" y="92709"/>
                    <a:pt x="4453251" y="91439"/>
                    <a:pt x="4454521" y="90169"/>
                  </a:cubicBezTo>
                  <a:cubicBezTo>
                    <a:pt x="4455791" y="88899"/>
                    <a:pt x="4457061" y="87629"/>
                    <a:pt x="4457696" y="86359"/>
                  </a:cubicBezTo>
                  <a:lnTo>
                    <a:pt x="4457696" y="53339"/>
                  </a:lnTo>
                  <a:cubicBezTo>
                    <a:pt x="4457696" y="53339"/>
                    <a:pt x="4455791" y="50799"/>
                    <a:pt x="4454521" y="49529"/>
                  </a:cubicBezTo>
                  <a:cubicBezTo>
                    <a:pt x="4453251" y="48259"/>
                    <a:pt x="4451981" y="46989"/>
                    <a:pt x="4450076" y="46354"/>
                  </a:cubicBezTo>
                  <a:cubicBezTo>
                    <a:pt x="4448806" y="45084"/>
                    <a:pt x="4446901" y="44449"/>
                    <a:pt x="4444996" y="43814"/>
                  </a:cubicBezTo>
                  <a:cubicBezTo>
                    <a:pt x="4443091" y="43814"/>
                    <a:pt x="4441186" y="43179"/>
                    <a:pt x="4439281" y="43179"/>
                  </a:cubicBezTo>
                  <a:close/>
                  <a:moveTo>
                    <a:pt x="1014731" y="43179"/>
                  </a:moveTo>
                  <a:cubicBezTo>
                    <a:pt x="1009016" y="43179"/>
                    <a:pt x="1005206" y="45084"/>
                    <a:pt x="1002032" y="49529"/>
                  </a:cubicBezTo>
                  <a:cubicBezTo>
                    <a:pt x="998856" y="53974"/>
                    <a:pt x="997587" y="59689"/>
                    <a:pt x="997587" y="67944"/>
                  </a:cubicBezTo>
                  <a:cubicBezTo>
                    <a:pt x="997587" y="77469"/>
                    <a:pt x="998856" y="84454"/>
                    <a:pt x="1002032" y="88899"/>
                  </a:cubicBezTo>
                  <a:cubicBezTo>
                    <a:pt x="1005206" y="93979"/>
                    <a:pt x="1009016" y="95884"/>
                    <a:pt x="1015367" y="95884"/>
                  </a:cubicBezTo>
                  <a:cubicBezTo>
                    <a:pt x="1018541" y="95884"/>
                    <a:pt x="1022352" y="95249"/>
                    <a:pt x="1024891" y="93344"/>
                  </a:cubicBezTo>
                  <a:cubicBezTo>
                    <a:pt x="1028067" y="91439"/>
                    <a:pt x="1030607" y="88899"/>
                    <a:pt x="1033147" y="86359"/>
                  </a:cubicBezTo>
                  <a:lnTo>
                    <a:pt x="1033147" y="53339"/>
                  </a:lnTo>
                  <a:cubicBezTo>
                    <a:pt x="1033147" y="53339"/>
                    <a:pt x="1031242" y="50799"/>
                    <a:pt x="1029971" y="49529"/>
                  </a:cubicBezTo>
                  <a:cubicBezTo>
                    <a:pt x="1028702" y="48259"/>
                    <a:pt x="1027431" y="46989"/>
                    <a:pt x="1025526" y="46354"/>
                  </a:cubicBezTo>
                  <a:cubicBezTo>
                    <a:pt x="1023621" y="45084"/>
                    <a:pt x="1022352" y="44449"/>
                    <a:pt x="1020446" y="43814"/>
                  </a:cubicBezTo>
                  <a:cubicBezTo>
                    <a:pt x="1018541" y="43179"/>
                    <a:pt x="1016636" y="43179"/>
                    <a:pt x="1014731" y="43179"/>
                  </a:cubicBezTo>
                  <a:close/>
                  <a:moveTo>
                    <a:pt x="4524370" y="31114"/>
                  </a:moveTo>
                  <a:lnTo>
                    <a:pt x="4538975" y="31114"/>
                  </a:lnTo>
                  <a:lnTo>
                    <a:pt x="4552310" y="84454"/>
                  </a:lnTo>
                  <a:lnTo>
                    <a:pt x="4566915" y="31114"/>
                  </a:lnTo>
                  <a:lnTo>
                    <a:pt x="4579615" y="31114"/>
                  </a:lnTo>
                  <a:lnTo>
                    <a:pt x="4594220" y="84454"/>
                  </a:lnTo>
                  <a:lnTo>
                    <a:pt x="4606920" y="31114"/>
                  </a:lnTo>
                  <a:lnTo>
                    <a:pt x="4622160" y="31114"/>
                  </a:lnTo>
                  <a:lnTo>
                    <a:pt x="4600570" y="108584"/>
                  </a:lnTo>
                  <a:lnTo>
                    <a:pt x="4587235" y="108584"/>
                  </a:lnTo>
                  <a:lnTo>
                    <a:pt x="4572630" y="54609"/>
                  </a:lnTo>
                  <a:lnTo>
                    <a:pt x="4558660" y="108584"/>
                  </a:lnTo>
                  <a:lnTo>
                    <a:pt x="4545325" y="108584"/>
                  </a:lnTo>
                  <a:close/>
                  <a:moveTo>
                    <a:pt x="4123686" y="31114"/>
                  </a:moveTo>
                  <a:lnTo>
                    <a:pt x="4138926" y="31114"/>
                  </a:lnTo>
                  <a:lnTo>
                    <a:pt x="4152261" y="84454"/>
                  </a:lnTo>
                  <a:lnTo>
                    <a:pt x="4166866" y="31114"/>
                  </a:lnTo>
                  <a:lnTo>
                    <a:pt x="4178931" y="31114"/>
                  </a:lnTo>
                  <a:lnTo>
                    <a:pt x="4193536" y="84454"/>
                  </a:lnTo>
                  <a:lnTo>
                    <a:pt x="4206871" y="31114"/>
                  </a:lnTo>
                  <a:lnTo>
                    <a:pt x="4222111" y="31114"/>
                  </a:lnTo>
                  <a:lnTo>
                    <a:pt x="4200521" y="108584"/>
                  </a:lnTo>
                  <a:lnTo>
                    <a:pt x="4187186" y="108584"/>
                  </a:lnTo>
                  <a:lnTo>
                    <a:pt x="4172581" y="54609"/>
                  </a:lnTo>
                  <a:lnTo>
                    <a:pt x="4157976" y="108584"/>
                  </a:lnTo>
                  <a:lnTo>
                    <a:pt x="4145276" y="108584"/>
                  </a:lnTo>
                  <a:close/>
                  <a:moveTo>
                    <a:pt x="2837811" y="31114"/>
                  </a:moveTo>
                  <a:lnTo>
                    <a:pt x="2852416" y="31114"/>
                  </a:lnTo>
                  <a:lnTo>
                    <a:pt x="2865751" y="84454"/>
                  </a:lnTo>
                  <a:lnTo>
                    <a:pt x="2880356" y="31114"/>
                  </a:lnTo>
                  <a:lnTo>
                    <a:pt x="2893056" y="31114"/>
                  </a:lnTo>
                  <a:lnTo>
                    <a:pt x="2907661" y="84454"/>
                  </a:lnTo>
                  <a:lnTo>
                    <a:pt x="2920361" y="31114"/>
                  </a:lnTo>
                  <a:lnTo>
                    <a:pt x="2935601" y="31114"/>
                  </a:lnTo>
                  <a:lnTo>
                    <a:pt x="2914011" y="108584"/>
                  </a:lnTo>
                  <a:lnTo>
                    <a:pt x="2900676" y="108584"/>
                  </a:lnTo>
                  <a:lnTo>
                    <a:pt x="2886706" y="54609"/>
                  </a:lnTo>
                  <a:lnTo>
                    <a:pt x="2872101" y="108584"/>
                  </a:lnTo>
                  <a:lnTo>
                    <a:pt x="2858766" y="108584"/>
                  </a:lnTo>
                  <a:close/>
                  <a:moveTo>
                    <a:pt x="1354455" y="31114"/>
                  </a:moveTo>
                  <a:lnTo>
                    <a:pt x="1369695" y="31114"/>
                  </a:lnTo>
                  <a:lnTo>
                    <a:pt x="1369695" y="109219"/>
                  </a:lnTo>
                  <a:lnTo>
                    <a:pt x="1354455" y="109219"/>
                  </a:lnTo>
                  <a:close/>
                  <a:moveTo>
                    <a:pt x="2646040" y="29844"/>
                  </a:moveTo>
                  <a:cubicBezTo>
                    <a:pt x="2650485" y="29844"/>
                    <a:pt x="2654295" y="29844"/>
                    <a:pt x="2658105" y="31749"/>
                  </a:cubicBezTo>
                  <a:cubicBezTo>
                    <a:pt x="2661915" y="33019"/>
                    <a:pt x="2665090" y="34289"/>
                    <a:pt x="2667630" y="36829"/>
                  </a:cubicBezTo>
                  <a:cubicBezTo>
                    <a:pt x="2670170" y="38734"/>
                    <a:pt x="2672075" y="41909"/>
                    <a:pt x="2673345" y="45084"/>
                  </a:cubicBezTo>
                  <a:cubicBezTo>
                    <a:pt x="2674615" y="48259"/>
                    <a:pt x="2675250" y="52069"/>
                    <a:pt x="2675250" y="56514"/>
                  </a:cubicBezTo>
                  <a:lnTo>
                    <a:pt x="2675250" y="109854"/>
                  </a:lnTo>
                  <a:lnTo>
                    <a:pt x="2660010" y="109854"/>
                  </a:lnTo>
                  <a:lnTo>
                    <a:pt x="2660010" y="108584"/>
                  </a:lnTo>
                  <a:lnTo>
                    <a:pt x="2660010" y="100964"/>
                  </a:lnTo>
                  <a:cubicBezTo>
                    <a:pt x="2660010" y="100964"/>
                    <a:pt x="2656200" y="104139"/>
                    <a:pt x="2654930" y="104774"/>
                  </a:cubicBezTo>
                  <a:cubicBezTo>
                    <a:pt x="2653660" y="105409"/>
                    <a:pt x="2652390" y="106679"/>
                    <a:pt x="2651120" y="107314"/>
                  </a:cubicBezTo>
                  <a:cubicBezTo>
                    <a:pt x="2649850" y="107949"/>
                    <a:pt x="2647945" y="108584"/>
                    <a:pt x="2646040" y="109219"/>
                  </a:cubicBezTo>
                  <a:cubicBezTo>
                    <a:pt x="2644135" y="109219"/>
                    <a:pt x="2641595" y="109854"/>
                    <a:pt x="2639055" y="109854"/>
                  </a:cubicBezTo>
                  <a:cubicBezTo>
                    <a:pt x="2635880" y="109854"/>
                    <a:pt x="2632705" y="109854"/>
                    <a:pt x="2629530" y="108584"/>
                  </a:cubicBezTo>
                  <a:cubicBezTo>
                    <a:pt x="2626355" y="107949"/>
                    <a:pt x="2623180" y="106044"/>
                    <a:pt x="2620640" y="104139"/>
                  </a:cubicBezTo>
                  <a:cubicBezTo>
                    <a:pt x="2618100" y="102234"/>
                    <a:pt x="2616195" y="99059"/>
                    <a:pt x="2614290" y="95884"/>
                  </a:cubicBezTo>
                  <a:cubicBezTo>
                    <a:pt x="2612385" y="92709"/>
                    <a:pt x="2611750" y="88264"/>
                    <a:pt x="2611750" y="83819"/>
                  </a:cubicBezTo>
                  <a:cubicBezTo>
                    <a:pt x="2611750" y="79374"/>
                    <a:pt x="2612385" y="75564"/>
                    <a:pt x="2614290" y="72389"/>
                  </a:cubicBezTo>
                  <a:cubicBezTo>
                    <a:pt x="2615560" y="69214"/>
                    <a:pt x="2618100" y="66674"/>
                    <a:pt x="2620640" y="64769"/>
                  </a:cubicBezTo>
                  <a:cubicBezTo>
                    <a:pt x="2623180" y="62864"/>
                    <a:pt x="2626990" y="60959"/>
                    <a:pt x="2630800" y="60324"/>
                  </a:cubicBezTo>
                  <a:cubicBezTo>
                    <a:pt x="2634610" y="59054"/>
                    <a:pt x="2638420" y="59054"/>
                    <a:pt x="2642865" y="59054"/>
                  </a:cubicBezTo>
                  <a:cubicBezTo>
                    <a:pt x="2646675" y="59054"/>
                    <a:pt x="2650485" y="59054"/>
                    <a:pt x="2653025" y="59689"/>
                  </a:cubicBezTo>
                  <a:cubicBezTo>
                    <a:pt x="2655565" y="59689"/>
                    <a:pt x="2658105" y="60959"/>
                    <a:pt x="2660010" y="61594"/>
                  </a:cubicBezTo>
                  <a:lnTo>
                    <a:pt x="2660010" y="55879"/>
                  </a:lnTo>
                  <a:cubicBezTo>
                    <a:pt x="2660010" y="51434"/>
                    <a:pt x="2658740" y="48259"/>
                    <a:pt x="2656200" y="46354"/>
                  </a:cubicBezTo>
                  <a:cubicBezTo>
                    <a:pt x="2653660" y="43814"/>
                    <a:pt x="2649850" y="43179"/>
                    <a:pt x="2645405" y="43179"/>
                  </a:cubicBezTo>
                  <a:cubicBezTo>
                    <a:pt x="2641595" y="43179"/>
                    <a:pt x="2637785" y="43179"/>
                    <a:pt x="2634610" y="44449"/>
                  </a:cubicBezTo>
                  <a:cubicBezTo>
                    <a:pt x="2631435" y="45084"/>
                    <a:pt x="2628260" y="46354"/>
                    <a:pt x="2625085" y="48259"/>
                  </a:cubicBezTo>
                  <a:lnTo>
                    <a:pt x="2619370" y="36829"/>
                  </a:lnTo>
                  <a:cubicBezTo>
                    <a:pt x="2623180" y="34289"/>
                    <a:pt x="2626990" y="33019"/>
                    <a:pt x="2631435" y="31749"/>
                  </a:cubicBezTo>
                  <a:cubicBezTo>
                    <a:pt x="2635880" y="30479"/>
                    <a:pt x="2640325" y="29844"/>
                    <a:pt x="2646040" y="29844"/>
                  </a:cubicBezTo>
                  <a:close/>
                  <a:moveTo>
                    <a:pt x="1114426" y="29844"/>
                  </a:moveTo>
                  <a:lnTo>
                    <a:pt x="1129666" y="29844"/>
                  </a:lnTo>
                  <a:lnTo>
                    <a:pt x="1129666" y="107949"/>
                  </a:lnTo>
                  <a:lnTo>
                    <a:pt x="1114426" y="107949"/>
                  </a:lnTo>
                  <a:lnTo>
                    <a:pt x="1114426" y="100964"/>
                  </a:lnTo>
                  <a:cubicBezTo>
                    <a:pt x="1114426" y="100964"/>
                    <a:pt x="1109981" y="106044"/>
                    <a:pt x="1106171" y="107314"/>
                  </a:cubicBezTo>
                  <a:cubicBezTo>
                    <a:pt x="1102996" y="109219"/>
                    <a:pt x="1098551" y="109854"/>
                    <a:pt x="1094741" y="109854"/>
                  </a:cubicBezTo>
                  <a:cubicBezTo>
                    <a:pt x="1085851" y="109854"/>
                    <a:pt x="1078866" y="106679"/>
                    <a:pt x="1073786" y="100964"/>
                  </a:cubicBezTo>
                  <a:cubicBezTo>
                    <a:pt x="1069341" y="95249"/>
                    <a:pt x="1066800" y="86359"/>
                    <a:pt x="1066800" y="74929"/>
                  </a:cubicBezTo>
                  <a:lnTo>
                    <a:pt x="1066800" y="30479"/>
                  </a:lnTo>
                  <a:lnTo>
                    <a:pt x="1082040" y="30479"/>
                  </a:lnTo>
                  <a:lnTo>
                    <a:pt x="1082040" y="74294"/>
                  </a:lnTo>
                  <a:cubicBezTo>
                    <a:pt x="1082040" y="81279"/>
                    <a:pt x="1083311" y="86994"/>
                    <a:pt x="1085851" y="90169"/>
                  </a:cubicBezTo>
                  <a:cubicBezTo>
                    <a:pt x="1088390" y="93979"/>
                    <a:pt x="1092201" y="95249"/>
                    <a:pt x="1097916" y="95249"/>
                  </a:cubicBezTo>
                  <a:cubicBezTo>
                    <a:pt x="1102996" y="95249"/>
                    <a:pt x="1106806" y="93344"/>
                    <a:pt x="1109981" y="90169"/>
                  </a:cubicBezTo>
                  <a:cubicBezTo>
                    <a:pt x="1112521" y="86994"/>
                    <a:pt x="1114426" y="81914"/>
                    <a:pt x="1114426" y="75564"/>
                  </a:cubicBezTo>
                  <a:close/>
                  <a:moveTo>
                    <a:pt x="1011556" y="29844"/>
                  </a:moveTo>
                  <a:cubicBezTo>
                    <a:pt x="1013461" y="29844"/>
                    <a:pt x="1015367" y="29844"/>
                    <a:pt x="1017272" y="30479"/>
                  </a:cubicBezTo>
                  <a:cubicBezTo>
                    <a:pt x="1019176" y="30479"/>
                    <a:pt x="1021081" y="31749"/>
                    <a:pt x="1022352" y="32384"/>
                  </a:cubicBezTo>
                  <a:cubicBezTo>
                    <a:pt x="1024257" y="33019"/>
                    <a:pt x="1025526" y="34289"/>
                    <a:pt x="1026797" y="35559"/>
                  </a:cubicBezTo>
                  <a:cubicBezTo>
                    <a:pt x="1028067" y="36829"/>
                    <a:pt x="1029336" y="37464"/>
                    <a:pt x="1030607" y="38734"/>
                  </a:cubicBezTo>
                  <a:lnTo>
                    <a:pt x="1030607" y="31749"/>
                  </a:lnTo>
                  <a:lnTo>
                    <a:pt x="1045847" y="31749"/>
                  </a:lnTo>
                  <a:lnTo>
                    <a:pt x="1045847" y="130809"/>
                  </a:lnTo>
                  <a:lnTo>
                    <a:pt x="1032512" y="137477"/>
                  </a:lnTo>
                  <a:lnTo>
                    <a:pt x="1032512" y="101599"/>
                  </a:lnTo>
                  <a:cubicBezTo>
                    <a:pt x="1032512" y="101599"/>
                    <a:pt x="1026797" y="106679"/>
                    <a:pt x="1022986" y="107949"/>
                  </a:cubicBezTo>
                  <a:cubicBezTo>
                    <a:pt x="1019812" y="109854"/>
                    <a:pt x="1016001" y="110489"/>
                    <a:pt x="1011556" y="110489"/>
                  </a:cubicBezTo>
                  <a:cubicBezTo>
                    <a:pt x="1007111" y="110489"/>
                    <a:pt x="1003301" y="109854"/>
                    <a:pt x="999491" y="107949"/>
                  </a:cubicBezTo>
                  <a:cubicBezTo>
                    <a:pt x="995681" y="106679"/>
                    <a:pt x="992506" y="104139"/>
                    <a:pt x="989966" y="100329"/>
                  </a:cubicBezTo>
                  <a:cubicBezTo>
                    <a:pt x="987426" y="97154"/>
                    <a:pt x="984886" y="92709"/>
                    <a:pt x="983616" y="87629"/>
                  </a:cubicBezTo>
                  <a:cubicBezTo>
                    <a:pt x="982346" y="82549"/>
                    <a:pt x="981076" y="76199"/>
                    <a:pt x="981076" y="68579"/>
                  </a:cubicBezTo>
                  <a:cubicBezTo>
                    <a:pt x="981076" y="61594"/>
                    <a:pt x="981711" y="55879"/>
                    <a:pt x="983616" y="51434"/>
                  </a:cubicBezTo>
                  <a:cubicBezTo>
                    <a:pt x="985521" y="46354"/>
                    <a:pt x="987426" y="42544"/>
                    <a:pt x="990601" y="39369"/>
                  </a:cubicBezTo>
                  <a:cubicBezTo>
                    <a:pt x="993142" y="36194"/>
                    <a:pt x="996951" y="33654"/>
                    <a:pt x="1000126" y="32384"/>
                  </a:cubicBezTo>
                  <a:cubicBezTo>
                    <a:pt x="1003937" y="31114"/>
                    <a:pt x="1007746" y="29844"/>
                    <a:pt x="1011556" y="29844"/>
                  </a:cubicBezTo>
                  <a:close/>
                  <a:moveTo>
                    <a:pt x="4871716" y="29210"/>
                  </a:moveTo>
                  <a:cubicBezTo>
                    <a:pt x="4876796" y="29210"/>
                    <a:pt x="4881241" y="29845"/>
                    <a:pt x="4885686" y="31750"/>
                  </a:cubicBezTo>
                  <a:cubicBezTo>
                    <a:pt x="4890131" y="33655"/>
                    <a:pt x="4894576" y="35560"/>
                    <a:pt x="4897751" y="38100"/>
                  </a:cubicBezTo>
                  <a:lnTo>
                    <a:pt x="4899021" y="38100"/>
                  </a:lnTo>
                  <a:lnTo>
                    <a:pt x="4892036" y="50165"/>
                  </a:lnTo>
                  <a:cubicBezTo>
                    <a:pt x="4888861" y="47625"/>
                    <a:pt x="4885686" y="46355"/>
                    <a:pt x="4882511" y="45085"/>
                  </a:cubicBezTo>
                  <a:cubicBezTo>
                    <a:pt x="4879336" y="43815"/>
                    <a:pt x="4875526" y="43180"/>
                    <a:pt x="4872351" y="43180"/>
                  </a:cubicBezTo>
                  <a:cubicBezTo>
                    <a:pt x="4869176" y="43180"/>
                    <a:pt x="4866001" y="43815"/>
                    <a:pt x="4864096" y="45085"/>
                  </a:cubicBezTo>
                  <a:cubicBezTo>
                    <a:pt x="4862191" y="46355"/>
                    <a:pt x="4861556" y="48260"/>
                    <a:pt x="4861556" y="50165"/>
                  </a:cubicBezTo>
                  <a:cubicBezTo>
                    <a:pt x="4861556" y="51435"/>
                    <a:pt x="4861556" y="52070"/>
                    <a:pt x="4861556" y="52705"/>
                  </a:cubicBezTo>
                  <a:cubicBezTo>
                    <a:pt x="4861556" y="53340"/>
                    <a:pt x="4862826" y="54610"/>
                    <a:pt x="4863461" y="55245"/>
                  </a:cubicBezTo>
                  <a:cubicBezTo>
                    <a:pt x="4864731" y="55880"/>
                    <a:pt x="4866001" y="57150"/>
                    <a:pt x="4867906" y="57785"/>
                  </a:cubicBezTo>
                  <a:cubicBezTo>
                    <a:pt x="4869811" y="59055"/>
                    <a:pt x="4872351" y="59690"/>
                    <a:pt x="4874891" y="60960"/>
                  </a:cubicBezTo>
                  <a:cubicBezTo>
                    <a:pt x="4879336" y="62865"/>
                    <a:pt x="4883146" y="64135"/>
                    <a:pt x="4886321" y="66040"/>
                  </a:cubicBezTo>
                  <a:cubicBezTo>
                    <a:pt x="4889496" y="67310"/>
                    <a:pt x="4892036" y="69215"/>
                    <a:pt x="4894576" y="71120"/>
                  </a:cubicBezTo>
                  <a:cubicBezTo>
                    <a:pt x="4896481" y="73025"/>
                    <a:pt x="4898386" y="75565"/>
                    <a:pt x="4899656" y="78105"/>
                  </a:cubicBezTo>
                  <a:cubicBezTo>
                    <a:pt x="4900926" y="80645"/>
                    <a:pt x="4901561" y="83820"/>
                    <a:pt x="4901561" y="87630"/>
                  </a:cubicBezTo>
                  <a:cubicBezTo>
                    <a:pt x="4901561" y="92075"/>
                    <a:pt x="4900926" y="95250"/>
                    <a:pt x="4899021" y="98425"/>
                  </a:cubicBezTo>
                  <a:cubicBezTo>
                    <a:pt x="4897116" y="101600"/>
                    <a:pt x="4895211" y="103505"/>
                    <a:pt x="4892671" y="105410"/>
                  </a:cubicBezTo>
                  <a:cubicBezTo>
                    <a:pt x="4890131" y="107315"/>
                    <a:pt x="4886956" y="108585"/>
                    <a:pt x="4883146" y="109220"/>
                  </a:cubicBezTo>
                  <a:cubicBezTo>
                    <a:pt x="4879336" y="109855"/>
                    <a:pt x="4876161" y="110490"/>
                    <a:pt x="4872351" y="110490"/>
                  </a:cubicBezTo>
                  <a:cubicBezTo>
                    <a:pt x="4867271" y="110490"/>
                    <a:pt x="4862191" y="109855"/>
                    <a:pt x="4857111" y="107950"/>
                  </a:cubicBezTo>
                  <a:cubicBezTo>
                    <a:pt x="4851396" y="106045"/>
                    <a:pt x="4846951" y="103505"/>
                    <a:pt x="4842506" y="100965"/>
                  </a:cubicBezTo>
                  <a:lnTo>
                    <a:pt x="4849491" y="89535"/>
                  </a:lnTo>
                  <a:cubicBezTo>
                    <a:pt x="4853301" y="92075"/>
                    <a:pt x="4857111" y="93980"/>
                    <a:pt x="4860921" y="95250"/>
                  </a:cubicBezTo>
                  <a:cubicBezTo>
                    <a:pt x="4864731" y="96520"/>
                    <a:pt x="4868541" y="97155"/>
                    <a:pt x="4872351" y="97155"/>
                  </a:cubicBezTo>
                  <a:cubicBezTo>
                    <a:pt x="4877431" y="97155"/>
                    <a:pt x="4880606" y="96520"/>
                    <a:pt x="4883146" y="94615"/>
                  </a:cubicBezTo>
                  <a:cubicBezTo>
                    <a:pt x="4885686" y="93345"/>
                    <a:pt x="4886321" y="90805"/>
                    <a:pt x="4886321" y="88265"/>
                  </a:cubicBezTo>
                  <a:cubicBezTo>
                    <a:pt x="4886321" y="86995"/>
                    <a:pt x="4886321" y="85725"/>
                    <a:pt x="4885051" y="84455"/>
                  </a:cubicBezTo>
                  <a:cubicBezTo>
                    <a:pt x="4884416" y="83185"/>
                    <a:pt x="4883146" y="82550"/>
                    <a:pt x="4881241" y="81280"/>
                  </a:cubicBezTo>
                  <a:cubicBezTo>
                    <a:pt x="4879971" y="80010"/>
                    <a:pt x="4878066" y="79375"/>
                    <a:pt x="4875526" y="78105"/>
                  </a:cubicBezTo>
                  <a:cubicBezTo>
                    <a:pt x="4872986" y="77470"/>
                    <a:pt x="4871081" y="76200"/>
                    <a:pt x="4867906" y="74930"/>
                  </a:cubicBezTo>
                  <a:cubicBezTo>
                    <a:pt x="4863461" y="73025"/>
                    <a:pt x="4860286" y="71755"/>
                    <a:pt x="4857111" y="69850"/>
                  </a:cubicBezTo>
                  <a:cubicBezTo>
                    <a:pt x="4853936" y="67945"/>
                    <a:pt x="4852031" y="66675"/>
                    <a:pt x="4850126" y="64770"/>
                  </a:cubicBezTo>
                  <a:cubicBezTo>
                    <a:pt x="4848221" y="62865"/>
                    <a:pt x="4846951" y="60960"/>
                    <a:pt x="4846316" y="58420"/>
                  </a:cubicBezTo>
                  <a:cubicBezTo>
                    <a:pt x="4845681" y="55880"/>
                    <a:pt x="4845046" y="53340"/>
                    <a:pt x="4845046" y="50165"/>
                  </a:cubicBezTo>
                  <a:cubicBezTo>
                    <a:pt x="4845046" y="46990"/>
                    <a:pt x="4845681" y="43815"/>
                    <a:pt x="4846951" y="40640"/>
                  </a:cubicBezTo>
                  <a:cubicBezTo>
                    <a:pt x="4848221" y="38100"/>
                    <a:pt x="4850126" y="35560"/>
                    <a:pt x="4852666" y="34290"/>
                  </a:cubicBezTo>
                  <a:cubicBezTo>
                    <a:pt x="4855206" y="32385"/>
                    <a:pt x="4857746" y="31115"/>
                    <a:pt x="4860921" y="30480"/>
                  </a:cubicBezTo>
                  <a:cubicBezTo>
                    <a:pt x="4864096" y="29845"/>
                    <a:pt x="4867906" y="29210"/>
                    <a:pt x="4871716" y="29210"/>
                  </a:cubicBezTo>
                  <a:close/>
                  <a:moveTo>
                    <a:pt x="4749796" y="29210"/>
                  </a:moveTo>
                  <a:cubicBezTo>
                    <a:pt x="4752971" y="29210"/>
                    <a:pt x="4755511" y="29210"/>
                    <a:pt x="4757416" y="29845"/>
                  </a:cubicBezTo>
                  <a:cubicBezTo>
                    <a:pt x="4759321" y="30480"/>
                    <a:pt x="4761226" y="31115"/>
                    <a:pt x="4763131" y="32385"/>
                  </a:cubicBezTo>
                  <a:lnTo>
                    <a:pt x="4759321" y="46990"/>
                  </a:lnTo>
                  <a:lnTo>
                    <a:pt x="4758051" y="46990"/>
                  </a:lnTo>
                  <a:cubicBezTo>
                    <a:pt x="4758051" y="46990"/>
                    <a:pt x="4754876" y="45085"/>
                    <a:pt x="4752971" y="45085"/>
                  </a:cubicBezTo>
                  <a:cubicBezTo>
                    <a:pt x="4751066" y="45085"/>
                    <a:pt x="4749161" y="44450"/>
                    <a:pt x="4746621" y="44450"/>
                  </a:cubicBezTo>
                  <a:cubicBezTo>
                    <a:pt x="4741541" y="44450"/>
                    <a:pt x="4737731" y="46355"/>
                    <a:pt x="4735191" y="49530"/>
                  </a:cubicBezTo>
                  <a:cubicBezTo>
                    <a:pt x="4732651" y="52705"/>
                    <a:pt x="4731381" y="57785"/>
                    <a:pt x="4731381" y="64770"/>
                  </a:cubicBezTo>
                  <a:lnTo>
                    <a:pt x="4731381" y="109220"/>
                  </a:lnTo>
                  <a:lnTo>
                    <a:pt x="4716141" y="109220"/>
                  </a:lnTo>
                  <a:lnTo>
                    <a:pt x="4716141" y="31115"/>
                  </a:lnTo>
                  <a:lnTo>
                    <a:pt x="4731381" y="31115"/>
                  </a:lnTo>
                  <a:lnTo>
                    <a:pt x="4731381" y="38735"/>
                  </a:lnTo>
                  <a:cubicBezTo>
                    <a:pt x="4731381" y="38735"/>
                    <a:pt x="4733286" y="36195"/>
                    <a:pt x="4734556" y="34925"/>
                  </a:cubicBezTo>
                  <a:cubicBezTo>
                    <a:pt x="4735826" y="33655"/>
                    <a:pt x="4737096" y="33020"/>
                    <a:pt x="4739001" y="31750"/>
                  </a:cubicBezTo>
                  <a:cubicBezTo>
                    <a:pt x="4740271" y="31115"/>
                    <a:pt x="4742176" y="30480"/>
                    <a:pt x="4744081" y="29845"/>
                  </a:cubicBezTo>
                  <a:cubicBezTo>
                    <a:pt x="4745986" y="29845"/>
                    <a:pt x="4747891" y="29210"/>
                    <a:pt x="4749796" y="29210"/>
                  </a:cubicBezTo>
                  <a:close/>
                  <a:moveTo>
                    <a:pt x="4349110" y="29210"/>
                  </a:moveTo>
                  <a:cubicBezTo>
                    <a:pt x="4352285" y="29210"/>
                    <a:pt x="4354825" y="29210"/>
                    <a:pt x="4356730" y="29845"/>
                  </a:cubicBezTo>
                  <a:cubicBezTo>
                    <a:pt x="4358635" y="29845"/>
                    <a:pt x="4360540" y="31115"/>
                    <a:pt x="4362445" y="32385"/>
                  </a:cubicBezTo>
                  <a:lnTo>
                    <a:pt x="4358635" y="46990"/>
                  </a:lnTo>
                  <a:lnTo>
                    <a:pt x="4357365" y="46990"/>
                  </a:lnTo>
                  <a:cubicBezTo>
                    <a:pt x="4357365" y="46990"/>
                    <a:pt x="4354190" y="45085"/>
                    <a:pt x="4352285" y="45085"/>
                  </a:cubicBezTo>
                  <a:cubicBezTo>
                    <a:pt x="4350380" y="45085"/>
                    <a:pt x="4348475" y="44450"/>
                    <a:pt x="4345935" y="44450"/>
                  </a:cubicBezTo>
                  <a:cubicBezTo>
                    <a:pt x="4340855" y="44450"/>
                    <a:pt x="4337045" y="46355"/>
                    <a:pt x="4334505" y="49530"/>
                  </a:cubicBezTo>
                  <a:cubicBezTo>
                    <a:pt x="4331965" y="52705"/>
                    <a:pt x="4330695" y="57785"/>
                    <a:pt x="4330695" y="64770"/>
                  </a:cubicBezTo>
                  <a:lnTo>
                    <a:pt x="4330695" y="109220"/>
                  </a:lnTo>
                  <a:lnTo>
                    <a:pt x="4315455" y="109220"/>
                  </a:lnTo>
                  <a:lnTo>
                    <a:pt x="4315455" y="31115"/>
                  </a:lnTo>
                  <a:lnTo>
                    <a:pt x="4330695" y="31115"/>
                  </a:lnTo>
                  <a:lnTo>
                    <a:pt x="4330695" y="38735"/>
                  </a:lnTo>
                  <a:cubicBezTo>
                    <a:pt x="4330695" y="38735"/>
                    <a:pt x="4332600" y="36195"/>
                    <a:pt x="4333870" y="34925"/>
                  </a:cubicBezTo>
                  <a:cubicBezTo>
                    <a:pt x="4335140" y="33655"/>
                    <a:pt x="4336410" y="33020"/>
                    <a:pt x="4338315" y="31750"/>
                  </a:cubicBezTo>
                  <a:cubicBezTo>
                    <a:pt x="4339585" y="31115"/>
                    <a:pt x="4341490" y="30480"/>
                    <a:pt x="4343395" y="29845"/>
                  </a:cubicBezTo>
                  <a:cubicBezTo>
                    <a:pt x="4345300" y="29845"/>
                    <a:pt x="4347205" y="29210"/>
                    <a:pt x="4349110" y="29210"/>
                  </a:cubicBezTo>
                  <a:close/>
                  <a:moveTo>
                    <a:pt x="4044310" y="29210"/>
                  </a:moveTo>
                  <a:cubicBezTo>
                    <a:pt x="4050025" y="29210"/>
                    <a:pt x="4054470" y="30480"/>
                    <a:pt x="4058915" y="32385"/>
                  </a:cubicBezTo>
                  <a:cubicBezTo>
                    <a:pt x="4062725" y="34290"/>
                    <a:pt x="4066535" y="37465"/>
                    <a:pt x="4069075" y="40640"/>
                  </a:cubicBezTo>
                  <a:cubicBezTo>
                    <a:pt x="4071615" y="44450"/>
                    <a:pt x="4073520" y="48260"/>
                    <a:pt x="4075425" y="53340"/>
                  </a:cubicBezTo>
                  <a:cubicBezTo>
                    <a:pt x="4076695" y="57785"/>
                    <a:pt x="4077330" y="62865"/>
                    <a:pt x="4077330" y="68580"/>
                  </a:cubicBezTo>
                  <a:lnTo>
                    <a:pt x="4076060" y="68580"/>
                  </a:lnTo>
                  <a:cubicBezTo>
                    <a:pt x="4076060" y="68580"/>
                    <a:pt x="4076060" y="71120"/>
                    <a:pt x="4076060" y="72390"/>
                  </a:cubicBezTo>
                  <a:cubicBezTo>
                    <a:pt x="4076060" y="73660"/>
                    <a:pt x="4076060" y="74295"/>
                    <a:pt x="4076060" y="75565"/>
                  </a:cubicBezTo>
                  <a:lnTo>
                    <a:pt x="4024625" y="75565"/>
                  </a:lnTo>
                  <a:cubicBezTo>
                    <a:pt x="4024625" y="79375"/>
                    <a:pt x="4025895" y="82550"/>
                    <a:pt x="4027165" y="85090"/>
                  </a:cubicBezTo>
                  <a:cubicBezTo>
                    <a:pt x="4028435" y="87630"/>
                    <a:pt x="4029705" y="90170"/>
                    <a:pt x="4031610" y="91440"/>
                  </a:cubicBezTo>
                  <a:cubicBezTo>
                    <a:pt x="4033515" y="93345"/>
                    <a:pt x="4035420" y="94615"/>
                    <a:pt x="4037325" y="95250"/>
                  </a:cubicBezTo>
                  <a:cubicBezTo>
                    <a:pt x="4039230" y="95885"/>
                    <a:pt x="4041770" y="96520"/>
                    <a:pt x="4044310" y="96520"/>
                  </a:cubicBezTo>
                  <a:cubicBezTo>
                    <a:pt x="4046215" y="96520"/>
                    <a:pt x="4047485" y="96520"/>
                    <a:pt x="4049390" y="96520"/>
                  </a:cubicBezTo>
                  <a:cubicBezTo>
                    <a:pt x="4050660" y="96520"/>
                    <a:pt x="4052565" y="95885"/>
                    <a:pt x="4053835" y="95250"/>
                  </a:cubicBezTo>
                  <a:cubicBezTo>
                    <a:pt x="4055105" y="95250"/>
                    <a:pt x="4056375" y="93980"/>
                    <a:pt x="4057645" y="93345"/>
                  </a:cubicBezTo>
                  <a:cubicBezTo>
                    <a:pt x="4058915" y="93345"/>
                    <a:pt x="4060185" y="92075"/>
                    <a:pt x="4062090" y="90805"/>
                  </a:cubicBezTo>
                  <a:lnTo>
                    <a:pt x="4070980" y="100330"/>
                  </a:lnTo>
                  <a:cubicBezTo>
                    <a:pt x="4070980" y="100330"/>
                    <a:pt x="4067170" y="103505"/>
                    <a:pt x="4065265" y="104775"/>
                  </a:cubicBezTo>
                  <a:cubicBezTo>
                    <a:pt x="4063360" y="106045"/>
                    <a:pt x="4061455" y="106680"/>
                    <a:pt x="4059550" y="107950"/>
                  </a:cubicBezTo>
                  <a:cubicBezTo>
                    <a:pt x="4057645" y="108585"/>
                    <a:pt x="4055105" y="109855"/>
                    <a:pt x="4052565" y="109855"/>
                  </a:cubicBezTo>
                  <a:cubicBezTo>
                    <a:pt x="4050025" y="109855"/>
                    <a:pt x="4046850" y="110490"/>
                    <a:pt x="4043675" y="110490"/>
                  </a:cubicBezTo>
                  <a:cubicBezTo>
                    <a:pt x="4040500" y="110490"/>
                    <a:pt x="4037325" y="110490"/>
                    <a:pt x="4034150" y="109220"/>
                  </a:cubicBezTo>
                  <a:cubicBezTo>
                    <a:pt x="4030975" y="108585"/>
                    <a:pt x="4028435" y="107315"/>
                    <a:pt x="4026530" y="105410"/>
                  </a:cubicBezTo>
                  <a:cubicBezTo>
                    <a:pt x="4023990" y="104140"/>
                    <a:pt x="4022085" y="102235"/>
                    <a:pt x="4020180" y="100330"/>
                  </a:cubicBezTo>
                  <a:cubicBezTo>
                    <a:pt x="4018275" y="98425"/>
                    <a:pt x="4016370" y="95885"/>
                    <a:pt x="4015100" y="92710"/>
                  </a:cubicBezTo>
                  <a:cubicBezTo>
                    <a:pt x="4013195" y="89535"/>
                    <a:pt x="4011925" y="86360"/>
                    <a:pt x="4011290" y="82550"/>
                  </a:cubicBezTo>
                  <a:cubicBezTo>
                    <a:pt x="4010655" y="78740"/>
                    <a:pt x="4010020" y="74295"/>
                    <a:pt x="4010020" y="69850"/>
                  </a:cubicBezTo>
                  <a:cubicBezTo>
                    <a:pt x="4010020" y="63500"/>
                    <a:pt x="4010655" y="57150"/>
                    <a:pt x="4012560" y="52070"/>
                  </a:cubicBezTo>
                  <a:cubicBezTo>
                    <a:pt x="4014465" y="46990"/>
                    <a:pt x="4016370" y="42545"/>
                    <a:pt x="4019545" y="39370"/>
                  </a:cubicBezTo>
                  <a:cubicBezTo>
                    <a:pt x="4022720" y="36195"/>
                    <a:pt x="4025895" y="33020"/>
                    <a:pt x="4030340" y="31750"/>
                  </a:cubicBezTo>
                  <a:cubicBezTo>
                    <a:pt x="4034785" y="29845"/>
                    <a:pt x="4039230" y="29210"/>
                    <a:pt x="4044310" y="29210"/>
                  </a:cubicBezTo>
                  <a:close/>
                  <a:moveTo>
                    <a:pt x="3811900" y="29210"/>
                  </a:moveTo>
                  <a:cubicBezTo>
                    <a:pt x="3815075" y="29210"/>
                    <a:pt x="3817615" y="29210"/>
                    <a:pt x="3819520" y="29845"/>
                  </a:cubicBezTo>
                  <a:cubicBezTo>
                    <a:pt x="3821425" y="29845"/>
                    <a:pt x="3823330" y="31115"/>
                    <a:pt x="3825235" y="32385"/>
                  </a:cubicBezTo>
                  <a:lnTo>
                    <a:pt x="3821425" y="46990"/>
                  </a:lnTo>
                  <a:lnTo>
                    <a:pt x="3820155" y="46990"/>
                  </a:lnTo>
                  <a:cubicBezTo>
                    <a:pt x="3820155" y="46990"/>
                    <a:pt x="3816980" y="45085"/>
                    <a:pt x="3815075" y="45085"/>
                  </a:cubicBezTo>
                  <a:cubicBezTo>
                    <a:pt x="3813170" y="45085"/>
                    <a:pt x="3811265" y="44450"/>
                    <a:pt x="3808725" y="44450"/>
                  </a:cubicBezTo>
                  <a:cubicBezTo>
                    <a:pt x="3803645" y="44450"/>
                    <a:pt x="3799835" y="46355"/>
                    <a:pt x="3797295" y="49530"/>
                  </a:cubicBezTo>
                  <a:cubicBezTo>
                    <a:pt x="3794755" y="52705"/>
                    <a:pt x="3793485" y="57785"/>
                    <a:pt x="3793485" y="64770"/>
                  </a:cubicBezTo>
                  <a:lnTo>
                    <a:pt x="3793485" y="109220"/>
                  </a:lnTo>
                  <a:lnTo>
                    <a:pt x="3778245" y="109220"/>
                  </a:lnTo>
                  <a:lnTo>
                    <a:pt x="3778245" y="31115"/>
                  </a:lnTo>
                  <a:lnTo>
                    <a:pt x="3793485" y="31115"/>
                  </a:lnTo>
                  <a:lnTo>
                    <a:pt x="3793485" y="38735"/>
                  </a:lnTo>
                  <a:cubicBezTo>
                    <a:pt x="3793485" y="38735"/>
                    <a:pt x="3795390" y="36195"/>
                    <a:pt x="3796660" y="34925"/>
                  </a:cubicBezTo>
                  <a:cubicBezTo>
                    <a:pt x="3797930" y="33655"/>
                    <a:pt x="3799200" y="33020"/>
                    <a:pt x="3801105" y="31750"/>
                  </a:cubicBezTo>
                  <a:cubicBezTo>
                    <a:pt x="3802375" y="31115"/>
                    <a:pt x="3804280" y="30480"/>
                    <a:pt x="3806185" y="29845"/>
                  </a:cubicBezTo>
                  <a:cubicBezTo>
                    <a:pt x="3808090" y="29845"/>
                    <a:pt x="3809995" y="29210"/>
                    <a:pt x="3811900" y="29210"/>
                  </a:cubicBezTo>
                  <a:close/>
                  <a:moveTo>
                    <a:pt x="3729986" y="29210"/>
                  </a:moveTo>
                  <a:cubicBezTo>
                    <a:pt x="3735701" y="29210"/>
                    <a:pt x="3740146" y="30480"/>
                    <a:pt x="3744591" y="32385"/>
                  </a:cubicBezTo>
                  <a:cubicBezTo>
                    <a:pt x="3748401" y="34290"/>
                    <a:pt x="3752211" y="37465"/>
                    <a:pt x="3754751" y="40640"/>
                  </a:cubicBezTo>
                  <a:cubicBezTo>
                    <a:pt x="3757291" y="44450"/>
                    <a:pt x="3759196" y="48260"/>
                    <a:pt x="3761101" y="53340"/>
                  </a:cubicBezTo>
                  <a:cubicBezTo>
                    <a:pt x="3762371" y="57785"/>
                    <a:pt x="3763006" y="62865"/>
                    <a:pt x="3763006" y="68580"/>
                  </a:cubicBezTo>
                  <a:lnTo>
                    <a:pt x="3761736" y="68580"/>
                  </a:lnTo>
                  <a:cubicBezTo>
                    <a:pt x="3761736" y="68580"/>
                    <a:pt x="3761736" y="71120"/>
                    <a:pt x="3761736" y="72390"/>
                  </a:cubicBezTo>
                  <a:cubicBezTo>
                    <a:pt x="3761736" y="73660"/>
                    <a:pt x="3761736" y="74295"/>
                    <a:pt x="3761736" y="75565"/>
                  </a:cubicBezTo>
                  <a:lnTo>
                    <a:pt x="3710301" y="75565"/>
                  </a:lnTo>
                  <a:cubicBezTo>
                    <a:pt x="3710301" y="79375"/>
                    <a:pt x="3711571" y="82550"/>
                    <a:pt x="3712841" y="85090"/>
                  </a:cubicBezTo>
                  <a:cubicBezTo>
                    <a:pt x="3714111" y="87630"/>
                    <a:pt x="3715381" y="90170"/>
                    <a:pt x="3717286" y="91440"/>
                  </a:cubicBezTo>
                  <a:cubicBezTo>
                    <a:pt x="3719191" y="93345"/>
                    <a:pt x="3721096" y="94615"/>
                    <a:pt x="3723001" y="95250"/>
                  </a:cubicBezTo>
                  <a:cubicBezTo>
                    <a:pt x="3724906" y="95885"/>
                    <a:pt x="3727446" y="96520"/>
                    <a:pt x="3729986" y="96520"/>
                  </a:cubicBezTo>
                  <a:cubicBezTo>
                    <a:pt x="3731891" y="96520"/>
                    <a:pt x="3733161" y="96520"/>
                    <a:pt x="3735066" y="96520"/>
                  </a:cubicBezTo>
                  <a:cubicBezTo>
                    <a:pt x="3736336" y="96520"/>
                    <a:pt x="3738241" y="95885"/>
                    <a:pt x="3739511" y="95250"/>
                  </a:cubicBezTo>
                  <a:cubicBezTo>
                    <a:pt x="3740781" y="95250"/>
                    <a:pt x="3742051" y="93980"/>
                    <a:pt x="3743321" y="93345"/>
                  </a:cubicBezTo>
                  <a:cubicBezTo>
                    <a:pt x="3744591" y="93345"/>
                    <a:pt x="3745861" y="92075"/>
                    <a:pt x="3747766" y="90805"/>
                  </a:cubicBezTo>
                  <a:lnTo>
                    <a:pt x="3756656" y="100330"/>
                  </a:lnTo>
                  <a:cubicBezTo>
                    <a:pt x="3756656" y="100330"/>
                    <a:pt x="3752846" y="103505"/>
                    <a:pt x="3750941" y="104775"/>
                  </a:cubicBezTo>
                  <a:cubicBezTo>
                    <a:pt x="3749036" y="106045"/>
                    <a:pt x="3747131" y="106680"/>
                    <a:pt x="3745226" y="107950"/>
                  </a:cubicBezTo>
                  <a:cubicBezTo>
                    <a:pt x="3743321" y="108585"/>
                    <a:pt x="3740781" y="109855"/>
                    <a:pt x="3738241" y="109855"/>
                  </a:cubicBezTo>
                  <a:cubicBezTo>
                    <a:pt x="3735701" y="109855"/>
                    <a:pt x="3732526" y="110490"/>
                    <a:pt x="3729351" y="110490"/>
                  </a:cubicBezTo>
                  <a:cubicBezTo>
                    <a:pt x="3726176" y="110490"/>
                    <a:pt x="3723001" y="110490"/>
                    <a:pt x="3719826" y="109220"/>
                  </a:cubicBezTo>
                  <a:cubicBezTo>
                    <a:pt x="3716651" y="108585"/>
                    <a:pt x="3714111" y="107315"/>
                    <a:pt x="3712206" y="105410"/>
                  </a:cubicBezTo>
                  <a:cubicBezTo>
                    <a:pt x="3709666" y="104140"/>
                    <a:pt x="3707761" y="102235"/>
                    <a:pt x="3705856" y="100330"/>
                  </a:cubicBezTo>
                  <a:cubicBezTo>
                    <a:pt x="3703951" y="98425"/>
                    <a:pt x="3702046" y="95885"/>
                    <a:pt x="3700776" y="92710"/>
                  </a:cubicBezTo>
                  <a:cubicBezTo>
                    <a:pt x="3698871" y="89535"/>
                    <a:pt x="3697601" y="86360"/>
                    <a:pt x="3696966" y="82550"/>
                  </a:cubicBezTo>
                  <a:cubicBezTo>
                    <a:pt x="3696331" y="78740"/>
                    <a:pt x="3695696" y="74295"/>
                    <a:pt x="3695696" y="69850"/>
                  </a:cubicBezTo>
                  <a:cubicBezTo>
                    <a:pt x="3695696" y="63500"/>
                    <a:pt x="3696331" y="57150"/>
                    <a:pt x="3698236" y="52070"/>
                  </a:cubicBezTo>
                  <a:cubicBezTo>
                    <a:pt x="3700141" y="46990"/>
                    <a:pt x="3702046" y="42545"/>
                    <a:pt x="3705221" y="39370"/>
                  </a:cubicBezTo>
                  <a:cubicBezTo>
                    <a:pt x="3708396" y="36195"/>
                    <a:pt x="3711571" y="33020"/>
                    <a:pt x="3716016" y="31750"/>
                  </a:cubicBezTo>
                  <a:cubicBezTo>
                    <a:pt x="3720461" y="29845"/>
                    <a:pt x="3724906" y="29210"/>
                    <a:pt x="3729986" y="29210"/>
                  </a:cubicBezTo>
                  <a:close/>
                  <a:moveTo>
                    <a:pt x="3543296" y="29210"/>
                  </a:moveTo>
                  <a:cubicBezTo>
                    <a:pt x="3549011" y="29210"/>
                    <a:pt x="3553456" y="30480"/>
                    <a:pt x="3557901" y="32385"/>
                  </a:cubicBezTo>
                  <a:cubicBezTo>
                    <a:pt x="3561711" y="34290"/>
                    <a:pt x="3565521" y="37465"/>
                    <a:pt x="3568061" y="40640"/>
                  </a:cubicBezTo>
                  <a:cubicBezTo>
                    <a:pt x="3570601" y="44450"/>
                    <a:pt x="3572506" y="48260"/>
                    <a:pt x="3574411" y="53340"/>
                  </a:cubicBezTo>
                  <a:cubicBezTo>
                    <a:pt x="3575681" y="57785"/>
                    <a:pt x="3576316" y="62865"/>
                    <a:pt x="3576316" y="68580"/>
                  </a:cubicBezTo>
                  <a:lnTo>
                    <a:pt x="3575046" y="68580"/>
                  </a:lnTo>
                  <a:cubicBezTo>
                    <a:pt x="3575046" y="68580"/>
                    <a:pt x="3575046" y="71120"/>
                    <a:pt x="3575046" y="72390"/>
                  </a:cubicBezTo>
                  <a:cubicBezTo>
                    <a:pt x="3575046" y="73660"/>
                    <a:pt x="3575046" y="74295"/>
                    <a:pt x="3575046" y="75565"/>
                  </a:cubicBezTo>
                  <a:lnTo>
                    <a:pt x="3523611" y="75565"/>
                  </a:lnTo>
                  <a:cubicBezTo>
                    <a:pt x="3523611" y="79375"/>
                    <a:pt x="3524881" y="82550"/>
                    <a:pt x="3526151" y="85090"/>
                  </a:cubicBezTo>
                  <a:cubicBezTo>
                    <a:pt x="3527421" y="87630"/>
                    <a:pt x="3528691" y="90170"/>
                    <a:pt x="3530596" y="91440"/>
                  </a:cubicBezTo>
                  <a:cubicBezTo>
                    <a:pt x="3532501" y="93345"/>
                    <a:pt x="3534406" y="94615"/>
                    <a:pt x="3536311" y="95250"/>
                  </a:cubicBezTo>
                  <a:cubicBezTo>
                    <a:pt x="3538216" y="95885"/>
                    <a:pt x="3540756" y="96520"/>
                    <a:pt x="3543296" y="96520"/>
                  </a:cubicBezTo>
                  <a:cubicBezTo>
                    <a:pt x="3545201" y="96520"/>
                    <a:pt x="3546471" y="96520"/>
                    <a:pt x="3548376" y="96520"/>
                  </a:cubicBezTo>
                  <a:cubicBezTo>
                    <a:pt x="3549646" y="96520"/>
                    <a:pt x="3551551" y="95885"/>
                    <a:pt x="3552821" y="95250"/>
                  </a:cubicBezTo>
                  <a:cubicBezTo>
                    <a:pt x="3554091" y="95250"/>
                    <a:pt x="3555361" y="93980"/>
                    <a:pt x="3556631" y="93345"/>
                  </a:cubicBezTo>
                  <a:cubicBezTo>
                    <a:pt x="3557901" y="93345"/>
                    <a:pt x="3559171" y="92075"/>
                    <a:pt x="3561076" y="90805"/>
                  </a:cubicBezTo>
                  <a:lnTo>
                    <a:pt x="3569966" y="100330"/>
                  </a:lnTo>
                  <a:cubicBezTo>
                    <a:pt x="3569966" y="100330"/>
                    <a:pt x="3566156" y="103505"/>
                    <a:pt x="3564251" y="104775"/>
                  </a:cubicBezTo>
                  <a:cubicBezTo>
                    <a:pt x="3562346" y="106045"/>
                    <a:pt x="3560441" y="106680"/>
                    <a:pt x="3558536" y="107950"/>
                  </a:cubicBezTo>
                  <a:cubicBezTo>
                    <a:pt x="3556631" y="108585"/>
                    <a:pt x="3554091" y="109855"/>
                    <a:pt x="3551551" y="109855"/>
                  </a:cubicBezTo>
                  <a:cubicBezTo>
                    <a:pt x="3549011" y="109855"/>
                    <a:pt x="3545836" y="110490"/>
                    <a:pt x="3542661" y="110490"/>
                  </a:cubicBezTo>
                  <a:cubicBezTo>
                    <a:pt x="3539486" y="110490"/>
                    <a:pt x="3536311" y="110490"/>
                    <a:pt x="3533136" y="109220"/>
                  </a:cubicBezTo>
                  <a:cubicBezTo>
                    <a:pt x="3529961" y="108585"/>
                    <a:pt x="3527421" y="107315"/>
                    <a:pt x="3525516" y="105410"/>
                  </a:cubicBezTo>
                  <a:cubicBezTo>
                    <a:pt x="3522976" y="104140"/>
                    <a:pt x="3521071" y="102235"/>
                    <a:pt x="3519166" y="100330"/>
                  </a:cubicBezTo>
                  <a:cubicBezTo>
                    <a:pt x="3517261" y="98425"/>
                    <a:pt x="3515356" y="95885"/>
                    <a:pt x="3514086" y="92710"/>
                  </a:cubicBezTo>
                  <a:cubicBezTo>
                    <a:pt x="3512181" y="89535"/>
                    <a:pt x="3510911" y="86360"/>
                    <a:pt x="3510276" y="82550"/>
                  </a:cubicBezTo>
                  <a:cubicBezTo>
                    <a:pt x="3509641" y="78740"/>
                    <a:pt x="3509006" y="74295"/>
                    <a:pt x="3509006" y="69850"/>
                  </a:cubicBezTo>
                  <a:cubicBezTo>
                    <a:pt x="3509006" y="63500"/>
                    <a:pt x="3509641" y="57150"/>
                    <a:pt x="3511546" y="52070"/>
                  </a:cubicBezTo>
                  <a:cubicBezTo>
                    <a:pt x="3513451" y="46990"/>
                    <a:pt x="3515356" y="42545"/>
                    <a:pt x="3518531" y="39370"/>
                  </a:cubicBezTo>
                  <a:cubicBezTo>
                    <a:pt x="3521706" y="36195"/>
                    <a:pt x="3524881" y="33020"/>
                    <a:pt x="3529326" y="31750"/>
                  </a:cubicBezTo>
                  <a:cubicBezTo>
                    <a:pt x="3533771" y="29845"/>
                    <a:pt x="3538216" y="29210"/>
                    <a:pt x="3543296" y="29210"/>
                  </a:cubicBezTo>
                  <a:close/>
                  <a:moveTo>
                    <a:pt x="3345176" y="29210"/>
                  </a:moveTo>
                  <a:cubicBezTo>
                    <a:pt x="3350891" y="29210"/>
                    <a:pt x="3355336" y="30480"/>
                    <a:pt x="3359781" y="32385"/>
                  </a:cubicBezTo>
                  <a:cubicBezTo>
                    <a:pt x="3363591" y="34290"/>
                    <a:pt x="3367401" y="37465"/>
                    <a:pt x="3369941" y="40640"/>
                  </a:cubicBezTo>
                  <a:cubicBezTo>
                    <a:pt x="3372481" y="44450"/>
                    <a:pt x="3374386" y="48260"/>
                    <a:pt x="3376291" y="53340"/>
                  </a:cubicBezTo>
                  <a:cubicBezTo>
                    <a:pt x="3377561" y="57785"/>
                    <a:pt x="3378196" y="62865"/>
                    <a:pt x="3378196" y="68580"/>
                  </a:cubicBezTo>
                  <a:lnTo>
                    <a:pt x="3376926" y="68580"/>
                  </a:lnTo>
                  <a:cubicBezTo>
                    <a:pt x="3376926" y="68580"/>
                    <a:pt x="3376926" y="71120"/>
                    <a:pt x="3376926" y="72390"/>
                  </a:cubicBezTo>
                  <a:cubicBezTo>
                    <a:pt x="3376926" y="73660"/>
                    <a:pt x="3376926" y="74295"/>
                    <a:pt x="3376926" y="75565"/>
                  </a:cubicBezTo>
                  <a:lnTo>
                    <a:pt x="3325491" y="75565"/>
                  </a:lnTo>
                  <a:cubicBezTo>
                    <a:pt x="3325491" y="79375"/>
                    <a:pt x="3326761" y="82550"/>
                    <a:pt x="3328031" y="85090"/>
                  </a:cubicBezTo>
                  <a:cubicBezTo>
                    <a:pt x="3329301" y="87630"/>
                    <a:pt x="3330571" y="90170"/>
                    <a:pt x="3332476" y="91440"/>
                  </a:cubicBezTo>
                  <a:cubicBezTo>
                    <a:pt x="3334381" y="93345"/>
                    <a:pt x="3336286" y="94615"/>
                    <a:pt x="3338191" y="95250"/>
                  </a:cubicBezTo>
                  <a:cubicBezTo>
                    <a:pt x="3340096" y="95885"/>
                    <a:pt x="3342636" y="96520"/>
                    <a:pt x="3345176" y="96520"/>
                  </a:cubicBezTo>
                  <a:cubicBezTo>
                    <a:pt x="3347081" y="96520"/>
                    <a:pt x="3348351" y="96520"/>
                    <a:pt x="3350256" y="96520"/>
                  </a:cubicBezTo>
                  <a:cubicBezTo>
                    <a:pt x="3351526" y="96520"/>
                    <a:pt x="3353431" y="95885"/>
                    <a:pt x="3354701" y="95250"/>
                  </a:cubicBezTo>
                  <a:cubicBezTo>
                    <a:pt x="3355971" y="95250"/>
                    <a:pt x="3357241" y="93980"/>
                    <a:pt x="3358511" y="93345"/>
                  </a:cubicBezTo>
                  <a:cubicBezTo>
                    <a:pt x="3359781" y="93345"/>
                    <a:pt x="3361051" y="92075"/>
                    <a:pt x="3362956" y="90805"/>
                  </a:cubicBezTo>
                  <a:lnTo>
                    <a:pt x="3371846" y="100330"/>
                  </a:lnTo>
                  <a:cubicBezTo>
                    <a:pt x="3371846" y="100330"/>
                    <a:pt x="3368036" y="103505"/>
                    <a:pt x="3366131" y="104775"/>
                  </a:cubicBezTo>
                  <a:cubicBezTo>
                    <a:pt x="3364226" y="106045"/>
                    <a:pt x="3362321" y="106680"/>
                    <a:pt x="3360416" y="107950"/>
                  </a:cubicBezTo>
                  <a:cubicBezTo>
                    <a:pt x="3358511" y="108585"/>
                    <a:pt x="3355971" y="109855"/>
                    <a:pt x="3353431" y="109855"/>
                  </a:cubicBezTo>
                  <a:cubicBezTo>
                    <a:pt x="3350891" y="109855"/>
                    <a:pt x="3347716" y="110490"/>
                    <a:pt x="3344541" y="110490"/>
                  </a:cubicBezTo>
                  <a:cubicBezTo>
                    <a:pt x="3341366" y="110490"/>
                    <a:pt x="3338191" y="110490"/>
                    <a:pt x="3335016" y="109220"/>
                  </a:cubicBezTo>
                  <a:cubicBezTo>
                    <a:pt x="3331841" y="108585"/>
                    <a:pt x="3329301" y="107315"/>
                    <a:pt x="3327396" y="105410"/>
                  </a:cubicBezTo>
                  <a:cubicBezTo>
                    <a:pt x="3324856" y="104140"/>
                    <a:pt x="3322951" y="102235"/>
                    <a:pt x="3321046" y="100330"/>
                  </a:cubicBezTo>
                  <a:cubicBezTo>
                    <a:pt x="3319141" y="98425"/>
                    <a:pt x="3317236" y="95885"/>
                    <a:pt x="3315966" y="92710"/>
                  </a:cubicBezTo>
                  <a:cubicBezTo>
                    <a:pt x="3314061" y="89535"/>
                    <a:pt x="3312791" y="86360"/>
                    <a:pt x="3312156" y="82550"/>
                  </a:cubicBezTo>
                  <a:cubicBezTo>
                    <a:pt x="3311521" y="78740"/>
                    <a:pt x="3310886" y="74295"/>
                    <a:pt x="3310886" y="69850"/>
                  </a:cubicBezTo>
                  <a:cubicBezTo>
                    <a:pt x="3310886" y="63500"/>
                    <a:pt x="3311521" y="57150"/>
                    <a:pt x="3313426" y="52070"/>
                  </a:cubicBezTo>
                  <a:cubicBezTo>
                    <a:pt x="3315331" y="46990"/>
                    <a:pt x="3317236" y="42545"/>
                    <a:pt x="3320411" y="39370"/>
                  </a:cubicBezTo>
                  <a:cubicBezTo>
                    <a:pt x="3323586" y="36195"/>
                    <a:pt x="3326761" y="33020"/>
                    <a:pt x="3331206" y="31750"/>
                  </a:cubicBezTo>
                  <a:cubicBezTo>
                    <a:pt x="3335651" y="29845"/>
                    <a:pt x="3340096" y="29210"/>
                    <a:pt x="3345176" y="29210"/>
                  </a:cubicBezTo>
                  <a:close/>
                  <a:moveTo>
                    <a:pt x="3060696" y="29210"/>
                  </a:moveTo>
                  <a:cubicBezTo>
                    <a:pt x="3063871" y="29210"/>
                    <a:pt x="3066411" y="29210"/>
                    <a:pt x="3068316" y="29845"/>
                  </a:cubicBezTo>
                  <a:cubicBezTo>
                    <a:pt x="3070221" y="29845"/>
                    <a:pt x="3072126" y="31115"/>
                    <a:pt x="3074031" y="32385"/>
                  </a:cubicBezTo>
                  <a:lnTo>
                    <a:pt x="3070221" y="46990"/>
                  </a:lnTo>
                  <a:lnTo>
                    <a:pt x="3068951" y="46990"/>
                  </a:lnTo>
                  <a:cubicBezTo>
                    <a:pt x="3068951" y="46990"/>
                    <a:pt x="3065776" y="45085"/>
                    <a:pt x="3063871" y="45085"/>
                  </a:cubicBezTo>
                  <a:cubicBezTo>
                    <a:pt x="3061966" y="45085"/>
                    <a:pt x="3060061" y="44450"/>
                    <a:pt x="3057521" y="44450"/>
                  </a:cubicBezTo>
                  <a:cubicBezTo>
                    <a:pt x="3052441" y="44450"/>
                    <a:pt x="3048631" y="46355"/>
                    <a:pt x="3046091" y="49530"/>
                  </a:cubicBezTo>
                  <a:cubicBezTo>
                    <a:pt x="3043551" y="52705"/>
                    <a:pt x="3042281" y="57785"/>
                    <a:pt x="3042281" y="64770"/>
                  </a:cubicBezTo>
                  <a:lnTo>
                    <a:pt x="3042281" y="109220"/>
                  </a:lnTo>
                  <a:lnTo>
                    <a:pt x="3027041" y="109220"/>
                  </a:lnTo>
                  <a:lnTo>
                    <a:pt x="3027041" y="31115"/>
                  </a:lnTo>
                  <a:lnTo>
                    <a:pt x="3042281" y="31115"/>
                  </a:lnTo>
                  <a:lnTo>
                    <a:pt x="3042281" y="38735"/>
                  </a:lnTo>
                  <a:cubicBezTo>
                    <a:pt x="3042281" y="38735"/>
                    <a:pt x="3044186" y="36195"/>
                    <a:pt x="3045456" y="34925"/>
                  </a:cubicBezTo>
                  <a:cubicBezTo>
                    <a:pt x="3046726" y="33655"/>
                    <a:pt x="3047996" y="33020"/>
                    <a:pt x="3049901" y="31750"/>
                  </a:cubicBezTo>
                  <a:cubicBezTo>
                    <a:pt x="3051171" y="31115"/>
                    <a:pt x="3053076" y="30480"/>
                    <a:pt x="3054981" y="29845"/>
                  </a:cubicBezTo>
                  <a:cubicBezTo>
                    <a:pt x="3056886" y="29845"/>
                    <a:pt x="3058791" y="29210"/>
                    <a:pt x="3060696" y="29210"/>
                  </a:cubicBezTo>
                  <a:close/>
                  <a:moveTo>
                    <a:pt x="2978781" y="29210"/>
                  </a:moveTo>
                  <a:cubicBezTo>
                    <a:pt x="2984496" y="29210"/>
                    <a:pt x="2988941" y="30480"/>
                    <a:pt x="2993386" y="32385"/>
                  </a:cubicBezTo>
                  <a:cubicBezTo>
                    <a:pt x="2997196" y="34290"/>
                    <a:pt x="3001006" y="37465"/>
                    <a:pt x="3003546" y="40640"/>
                  </a:cubicBezTo>
                  <a:cubicBezTo>
                    <a:pt x="3006086" y="44450"/>
                    <a:pt x="3007991" y="48260"/>
                    <a:pt x="3009896" y="53340"/>
                  </a:cubicBezTo>
                  <a:cubicBezTo>
                    <a:pt x="3011166" y="57785"/>
                    <a:pt x="3011801" y="62865"/>
                    <a:pt x="3011801" y="68580"/>
                  </a:cubicBezTo>
                  <a:lnTo>
                    <a:pt x="3010531" y="68580"/>
                  </a:lnTo>
                  <a:cubicBezTo>
                    <a:pt x="3010531" y="68580"/>
                    <a:pt x="3010531" y="71120"/>
                    <a:pt x="3010531" y="72390"/>
                  </a:cubicBezTo>
                  <a:cubicBezTo>
                    <a:pt x="3010531" y="73660"/>
                    <a:pt x="3010531" y="74295"/>
                    <a:pt x="3010531" y="75565"/>
                  </a:cubicBezTo>
                  <a:lnTo>
                    <a:pt x="2959096" y="75565"/>
                  </a:lnTo>
                  <a:cubicBezTo>
                    <a:pt x="2959096" y="79375"/>
                    <a:pt x="2960366" y="82550"/>
                    <a:pt x="2961636" y="85090"/>
                  </a:cubicBezTo>
                  <a:cubicBezTo>
                    <a:pt x="2962906" y="87630"/>
                    <a:pt x="2964176" y="90170"/>
                    <a:pt x="2966081" y="91440"/>
                  </a:cubicBezTo>
                  <a:cubicBezTo>
                    <a:pt x="2967986" y="93345"/>
                    <a:pt x="2969891" y="94615"/>
                    <a:pt x="2971796" y="95250"/>
                  </a:cubicBezTo>
                  <a:cubicBezTo>
                    <a:pt x="2974336" y="95885"/>
                    <a:pt x="2976241" y="96520"/>
                    <a:pt x="2978781" y="96520"/>
                  </a:cubicBezTo>
                  <a:cubicBezTo>
                    <a:pt x="2980686" y="96520"/>
                    <a:pt x="2981956" y="96520"/>
                    <a:pt x="2983861" y="96520"/>
                  </a:cubicBezTo>
                  <a:cubicBezTo>
                    <a:pt x="2985131" y="96520"/>
                    <a:pt x="2987036" y="95885"/>
                    <a:pt x="2988306" y="95250"/>
                  </a:cubicBezTo>
                  <a:cubicBezTo>
                    <a:pt x="2989576" y="95250"/>
                    <a:pt x="2990846" y="93980"/>
                    <a:pt x="2992116" y="93345"/>
                  </a:cubicBezTo>
                  <a:cubicBezTo>
                    <a:pt x="2993386" y="93345"/>
                    <a:pt x="2994656" y="92075"/>
                    <a:pt x="2996561" y="90805"/>
                  </a:cubicBezTo>
                  <a:lnTo>
                    <a:pt x="3005451" y="100330"/>
                  </a:lnTo>
                  <a:cubicBezTo>
                    <a:pt x="3005451" y="100330"/>
                    <a:pt x="3001641" y="103505"/>
                    <a:pt x="2999736" y="104775"/>
                  </a:cubicBezTo>
                  <a:cubicBezTo>
                    <a:pt x="2997831" y="106045"/>
                    <a:pt x="2995926" y="106680"/>
                    <a:pt x="2994021" y="107950"/>
                  </a:cubicBezTo>
                  <a:cubicBezTo>
                    <a:pt x="2992116" y="108585"/>
                    <a:pt x="2989576" y="109855"/>
                    <a:pt x="2987036" y="109855"/>
                  </a:cubicBezTo>
                  <a:cubicBezTo>
                    <a:pt x="2984496" y="109855"/>
                    <a:pt x="2981321" y="110490"/>
                    <a:pt x="2978146" y="110490"/>
                  </a:cubicBezTo>
                  <a:cubicBezTo>
                    <a:pt x="2974971" y="110490"/>
                    <a:pt x="2971796" y="110490"/>
                    <a:pt x="2968621" y="109220"/>
                  </a:cubicBezTo>
                  <a:cubicBezTo>
                    <a:pt x="2965446" y="108585"/>
                    <a:pt x="2962906" y="107315"/>
                    <a:pt x="2961001" y="105410"/>
                  </a:cubicBezTo>
                  <a:cubicBezTo>
                    <a:pt x="2958461" y="104140"/>
                    <a:pt x="2956556" y="102235"/>
                    <a:pt x="2954651" y="100330"/>
                  </a:cubicBezTo>
                  <a:cubicBezTo>
                    <a:pt x="2952746" y="98425"/>
                    <a:pt x="2950841" y="95885"/>
                    <a:pt x="2949571" y="92710"/>
                  </a:cubicBezTo>
                  <a:cubicBezTo>
                    <a:pt x="2947666" y="89535"/>
                    <a:pt x="2946396" y="86360"/>
                    <a:pt x="2945761" y="82550"/>
                  </a:cubicBezTo>
                  <a:cubicBezTo>
                    <a:pt x="2945126" y="78740"/>
                    <a:pt x="2944491" y="74295"/>
                    <a:pt x="2944491" y="69850"/>
                  </a:cubicBezTo>
                  <a:cubicBezTo>
                    <a:pt x="2944491" y="63500"/>
                    <a:pt x="2945126" y="57150"/>
                    <a:pt x="2947031" y="52070"/>
                  </a:cubicBezTo>
                  <a:cubicBezTo>
                    <a:pt x="2948936" y="46990"/>
                    <a:pt x="2950841" y="42545"/>
                    <a:pt x="2954016" y="39370"/>
                  </a:cubicBezTo>
                  <a:cubicBezTo>
                    <a:pt x="2957191" y="36195"/>
                    <a:pt x="2960366" y="33020"/>
                    <a:pt x="2964811" y="31750"/>
                  </a:cubicBezTo>
                  <a:cubicBezTo>
                    <a:pt x="2969256" y="29845"/>
                    <a:pt x="2973701" y="29210"/>
                    <a:pt x="2978781" y="29210"/>
                  </a:cubicBezTo>
                  <a:close/>
                  <a:moveTo>
                    <a:pt x="2798440" y="29210"/>
                  </a:moveTo>
                  <a:cubicBezTo>
                    <a:pt x="2803520" y="29210"/>
                    <a:pt x="2807965" y="29845"/>
                    <a:pt x="2813045" y="31750"/>
                  </a:cubicBezTo>
                  <a:cubicBezTo>
                    <a:pt x="2817490" y="33655"/>
                    <a:pt x="2821935" y="35560"/>
                    <a:pt x="2825110" y="38100"/>
                  </a:cubicBezTo>
                  <a:lnTo>
                    <a:pt x="2827015" y="38100"/>
                  </a:lnTo>
                  <a:lnTo>
                    <a:pt x="2820030" y="50165"/>
                  </a:lnTo>
                  <a:cubicBezTo>
                    <a:pt x="2816855" y="47625"/>
                    <a:pt x="2813680" y="46355"/>
                    <a:pt x="2810505" y="45085"/>
                  </a:cubicBezTo>
                  <a:cubicBezTo>
                    <a:pt x="2807330" y="43815"/>
                    <a:pt x="2803520" y="43180"/>
                    <a:pt x="2799710" y="43180"/>
                  </a:cubicBezTo>
                  <a:cubicBezTo>
                    <a:pt x="2795900" y="43180"/>
                    <a:pt x="2793360" y="43815"/>
                    <a:pt x="2791455" y="45085"/>
                  </a:cubicBezTo>
                  <a:cubicBezTo>
                    <a:pt x="2789550" y="46355"/>
                    <a:pt x="2788915" y="48260"/>
                    <a:pt x="2788915" y="50165"/>
                  </a:cubicBezTo>
                  <a:cubicBezTo>
                    <a:pt x="2788915" y="51435"/>
                    <a:pt x="2788915" y="52070"/>
                    <a:pt x="2788915" y="52705"/>
                  </a:cubicBezTo>
                  <a:cubicBezTo>
                    <a:pt x="2788915" y="53340"/>
                    <a:pt x="2790185" y="54610"/>
                    <a:pt x="2790820" y="55245"/>
                  </a:cubicBezTo>
                  <a:cubicBezTo>
                    <a:pt x="2792090" y="55880"/>
                    <a:pt x="2793360" y="57150"/>
                    <a:pt x="2795265" y="57785"/>
                  </a:cubicBezTo>
                  <a:cubicBezTo>
                    <a:pt x="2797170" y="59055"/>
                    <a:pt x="2799710" y="59690"/>
                    <a:pt x="2802250" y="60960"/>
                  </a:cubicBezTo>
                  <a:cubicBezTo>
                    <a:pt x="2806695" y="62865"/>
                    <a:pt x="2810505" y="64135"/>
                    <a:pt x="2813680" y="66040"/>
                  </a:cubicBezTo>
                  <a:cubicBezTo>
                    <a:pt x="2816855" y="67310"/>
                    <a:pt x="2819395" y="69215"/>
                    <a:pt x="2821935" y="71120"/>
                  </a:cubicBezTo>
                  <a:cubicBezTo>
                    <a:pt x="2823840" y="73025"/>
                    <a:pt x="2825745" y="75565"/>
                    <a:pt x="2827015" y="78105"/>
                  </a:cubicBezTo>
                  <a:cubicBezTo>
                    <a:pt x="2828285" y="80645"/>
                    <a:pt x="2828920" y="83820"/>
                    <a:pt x="2828920" y="87630"/>
                  </a:cubicBezTo>
                  <a:cubicBezTo>
                    <a:pt x="2828920" y="92075"/>
                    <a:pt x="2828285" y="95250"/>
                    <a:pt x="2826380" y="98425"/>
                  </a:cubicBezTo>
                  <a:cubicBezTo>
                    <a:pt x="2824475" y="101600"/>
                    <a:pt x="2822570" y="103505"/>
                    <a:pt x="2820030" y="105410"/>
                  </a:cubicBezTo>
                  <a:cubicBezTo>
                    <a:pt x="2817490" y="107315"/>
                    <a:pt x="2814315" y="108585"/>
                    <a:pt x="2810505" y="109220"/>
                  </a:cubicBezTo>
                  <a:cubicBezTo>
                    <a:pt x="2806695" y="109855"/>
                    <a:pt x="2803520" y="110490"/>
                    <a:pt x="2799710" y="110490"/>
                  </a:cubicBezTo>
                  <a:cubicBezTo>
                    <a:pt x="2794630" y="110490"/>
                    <a:pt x="2789550" y="109855"/>
                    <a:pt x="2783835" y="107950"/>
                  </a:cubicBezTo>
                  <a:cubicBezTo>
                    <a:pt x="2778120" y="106045"/>
                    <a:pt x="2773675" y="103505"/>
                    <a:pt x="2769230" y="100965"/>
                  </a:cubicBezTo>
                  <a:lnTo>
                    <a:pt x="2776215" y="89535"/>
                  </a:lnTo>
                  <a:cubicBezTo>
                    <a:pt x="2780025" y="92075"/>
                    <a:pt x="2783835" y="93980"/>
                    <a:pt x="2787645" y="95250"/>
                  </a:cubicBezTo>
                  <a:cubicBezTo>
                    <a:pt x="2791455" y="96520"/>
                    <a:pt x="2795265" y="97155"/>
                    <a:pt x="2799075" y="97155"/>
                  </a:cubicBezTo>
                  <a:cubicBezTo>
                    <a:pt x="2804155" y="97155"/>
                    <a:pt x="2807330" y="96520"/>
                    <a:pt x="2809870" y="94615"/>
                  </a:cubicBezTo>
                  <a:cubicBezTo>
                    <a:pt x="2812410" y="93345"/>
                    <a:pt x="2813045" y="90805"/>
                    <a:pt x="2813045" y="88265"/>
                  </a:cubicBezTo>
                  <a:cubicBezTo>
                    <a:pt x="2813045" y="86995"/>
                    <a:pt x="2813045" y="85725"/>
                    <a:pt x="2811775" y="84455"/>
                  </a:cubicBezTo>
                  <a:cubicBezTo>
                    <a:pt x="2811140" y="83185"/>
                    <a:pt x="2809870" y="82550"/>
                    <a:pt x="2807965" y="81280"/>
                  </a:cubicBezTo>
                  <a:cubicBezTo>
                    <a:pt x="2806695" y="80010"/>
                    <a:pt x="2804790" y="79375"/>
                    <a:pt x="2802250" y="78105"/>
                  </a:cubicBezTo>
                  <a:cubicBezTo>
                    <a:pt x="2800345" y="77470"/>
                    <a:pt x="2797805" y="76200"/>
                    <a:pt x="2794630" y="74930"/>
                  </a:cubicBezTo>
                  <a:cubicBezTo>
                    <a:pt x="2790185" y="73025"/>
                    <a:pt x="2787010" y="71755"/>
                    <a:pt x="2783835" y="69850"/>
                  </a:cubicBezTo>
                  <a:cubicBezTo>
                    <a:pt x="2780660" y="67945"/>
                    <a:pt x="2778755" y="66675"/>
                    <a:pt x="2776850" y="64770"/>
                  </a:cubicBezTo>
                  <a:cubicBezTo>
                    <a:pt x="2774945" y="62865"/>
                    <a:pt x="2773675" y="60960"/>
                    <a:pt x="2773040" y="58420"/>
                  </a:cubicBezTo>
                  <a:cubicBezTo>
                    <a:pt x="2772405" y="55880"/>
                    <a:pt x="2771770" y="53340"/>
                    <a:pt x="2771770" y="50165"/>
                  </a:cubicBezTo>
                  <a:cubicBezTo>
                    <a:pt x="2771770" y="46990"/>
                    <a:pt x="2772405" y="43815"/>
                    <a:pt x="2773675" y="40640"/>
                  </a:cubicBezTo>
                  <a:cubicBezTo>
                    <a:pt x="2774945" y="38100"/>
                    <a:pt x="2776850" y="35560"/>
                    <a:pt x="2779390" y="34290"/>
                  </a:cubicBezTo>
                  <a:cubicBezTo>
                    <a:pt x="2781930" y="32385"/>
                    <a:pt x="2784470" y="31115"/>
                    <a:pt x="2787645" y="30480"/>
                  </a:cubicBezTo>
                  <a:cubicBezTo>
                    <a:pt x="2790820" y="29845"/>
                    <a:pt x="2794630" y="29210"/>
                    <a:pt x="2798440" y="29210"/>
                  </a:cubicBezTo>
                  <a:close/>
                  <a:moveTo>
                    <a:pt x="2723510" y="29210"/>
                  </a:moveTo>
                  <a:cubicBezTo>
                    <a:pt x="2725415" y="29210"/>
                    <a:pt x="2727320" y="29210"/>
                    <a:pt x="2729225" y="29210"/>
                  </a:cubicBezTo>
                  <a:cubicBezTo>
                    <a:pt x="2733670" y="29210"/>
                    <a:pt x="2738115" y="29845"/>
                    <a:pt x="2741290" y="31750"/>
                  </a:cubicBezTo>
                  <a:cubicBezTo>
                    <a:pt x="2744465" y="33020"/>
                    <a:pt x="2747640" y="35560"/>
                    <a:pt x="2750180" y="38100"/>
                  </a:cubicBezTo>
                  <a:cubicBezTo>
                    <a:pt x="2752720" y="41275"/>
                    <a:pt x="2753990" y="44450"/>
                    <a:pt x="2755260" y="48895"/>
                  </a:cubicBezTo>
                  <a:cubicBezTo>
                    <a:pt x="2756530" y="53340"/>
                    <a:pt x="2757165" y="58420"/>
                    <a:pt x="2757165" y="64135"/>
                  </a:cubicBezTo>
                  <a:lnTo>
                    <a:pt x="2757165" y="108585"/>
                  </a:lnTo>
                  <a:lnTo>
                    <a:pt x="2741925" y="108585"/>
                  </a:lnTo>
                  <a:lnTo>
                    <a:pt x="2741290" y="108585"/>
                  </a:lnTo>
                  <a:lnTo>
                    <a:pt x="2741290" y="64770"/>
                  </a:lnTo>
                  <a:cubicBezTo>
                    <a:pt x="2741290" y="57785"/>
                    <a:pt x="2740020" y="52070"/>
                    <a:pt x="2737480" y="48895"/>
                  </a:cubicBezTo>
                  <a:cubicBezTo>
                    <a:pt x="2734940" y="45085"/>
                    <a:pt x="2731130" y="43180"/>
                    <a:pt x="2725415" y="43180"/>
                  </a:cubicBezTo>
                  <a:cubicBezTo>
                    <a:pt x="2722875" y="43180"/>
                    <a:pt x="2720970" y="43180"/>
                    <a:pt x="2718430" y="44450"/>
                  </a:cubicBezTo>
                  <a:cubicBezTo>
                    <a:pt x="2716525" y="45085"/>
                    <a:pt x="2714620" y="46990"/>
                    <a:pt x="2713350" y="48260"/>
                  </a:cubicBezTo>
                  <a:cubicBezTo>
                    <a:pt x="2712080" y="50165"/>
                    <a:pt x="2710810" y="52070"/>
                    <a:pt x="2710175" y="54610"/>
                  </a:cubicBezTo>
                  <a:cubicBezTo>
                    <a:pt x="2710175" y="57150"/>
                    <a:pt x="2709540" y="59690"/>
                    <a:pt x="2709540" y="62865"/>
                  </a:cubicBezTo>
                  <a:lnTo>
                    <a:pt x="2709540" y="108585"/>
                  </a:lnTo>
                  <a:lnTo>
                    <a:pt x="2694300" y="108585"/>
                  </a:lnTo>
                  <a:lnTo>
                    <a:pt x="2694300" y="30480"/>
                  </a:lnTo>
                  <a:lnTo>
                    <a:pt x="2709540" y="30480"/>
                  </a:lnTo>
                  <a:lnTo>
                    <a:pt x="2709540" y="38100"/>
                  </a:lnTo>
                  <a:cubicBezTo>
                    <a:pt x="2709540" y="38100"/>
                    <a:pt x="2711445" y="35560"/>
                    <a:pt x="2713350" y="34290"/>
                  </a:cubicBezTo>
                  <a:cubicBezTo>
                    <a:pt x="2714620" y="33020"/>
                    <a:pt x="2716525" y="32385"/>
                    <a:pt x="2717795" y="31115"/>
                  </a:cubicBezTo>
                  <a:cubicBezTo>
                    <a:pt x="2719700" y="30480"/>
                    <a:pt x="2721605" y="29845"/>
                    <a:pt x="2723510" y="29210"/>
                  </a:cubicBezTo>
                  <a:close/>
                  <a:moveTo>
                    <a:pt x="2530470" y="29210"/>
                  </a:moveTo>
                  <a:cubicBezTo>
                    <a:pt x="2536185" y="29210"/>
                    <a:pt x="2540630" y="30480"/>
                    <a:pt x="2545075" y="32385"/>
                  </a:cubicBezTo>
                  <a:cubicBezTo>
                    <a:pt x="2548885" y="34290"/>
                    <a:pt x="2552695" y="37465"/>
                    <a:pt x="2555235" y="40640"/>
                  </a:cubicBezTo>
                  <a:cubicBezTo>
                    <a:pt x="2557775" y="44450"/>
                    <a:pt x="2559680" y="48260"/>
                    <a:pt x="2561585" y="53340"/>
                  </a:cubicBezTo>
                  <a:cubicBezTo>
                    <a:pt x="2562855" y="57785"/>
                    <a:pt x="2563490" y="62865"/>
                    <a:pt x="2563490" y="68580"/>
                  </a:cubicBezTo>
                  <a:lnTo>
                    <a:pt x="2562220" y="68580"/>
                  </a:lnTo>
                  <a:cubicBezTo>
                    <a:pt x="2562220" y="68580"/>
                    <a:pt x="2562220" y="71120"/>
                    <a:pt x="2562220" y="72390"/>
                  </a:cubicBezTo>
                  <a:cubicBezTo>
                    <a:pt x="2562220" y="73660"/>
                    <a:pt x="2562220" y="74295"/>
                    <a:pt x="2562220" y="75565"/>
                  </a:cubicBezTo>
                  <a:lnTo>
                    <a:pt x="2510785" y="75565"/>
                  </a:lnTo>
                  <a:cubicBezTo>
                    <a:pt x="2510785" y="79375"/>
                    <a:pt x="2512055" y="82550"/>
                    <a:pt x="2513325" y="85090"/>
                  </a:cubicBezTo>
                  <a:cubicBezTo>
                    <a:pt x="2514595" y="87630"/>
                    <a:pt x="2515865" y="90170"/>
                    <a:pt x="2517770" y="91440"/>
                  </a:cubicBezTo>
                  <a:cubicBezTo>
                    <a:pt x="2519675" y="93345"/>
                    <a:pt x="2521580" y="94615"/>
                    <a:pt x="2523485" y="95250"/>
                  </a:cubicBezTo>
                  <a:cubicBezTo>
                    <a:pt x="2525390" y="95885"/>
                    <a:pt x="2527930" y="96520"/>
                    <a:pt x="2530470" y="96520"/>
                  </a:cubicBezTo>
                  <a:cubicBezTo>
                    <a:pt x="2532375" y="96520"/>
                    <a:pt x="2533645" y="96520"/>
                    <a:pt x="2535550" y="96520"/>
                  </a:cubicBezTo>
                  <a:cubicBezTo>
                    <a:pt x="2536820" y="96520"/>
                    <a:pt x="2538725" y="95885"/>
                    <a:pt x="2539995" y="95250"/>
                  </a:cubicBezTo>
                  <a:cubicBezTo>
                    <a:pt x="2541265" y="95250"/>
                    <a:pt x="2542535" y="93980"/>
                    <a:pt x="2543805" y="93345"/>
                  </a:cubicBezTo>
                  <a:cubicBezTo>
                    <a:pt x="2545075" y="93345"/>
                    <a:pt x="2546345" y="92075"/>
                    <a:pt x="2548250" y="90805"/>
                  </a:cubicBezTo>
                  <a:lnTo>
                    <a:pt x="2557140" y="100330"/>
                  </a:lnTo>
                  <a:cubicBezTo>
                    <a:pt x="2557140" y="100330"/>
                    <a:pt x="2553330" y="103505"/>
                    <a:pt x="2551425" y="104775"/>
                  </a:cubicBezTo>
                  <a:cubicBezTo>
                    <a:pt x="2549520" y="106045"/>
                    <a:pt x="2547615" y="106680"/>
                    <a:pt x="2545710" y="107950"/>
                  </a:cubicBezTo>
                  <a:cubicBezTo>
                    <a:pt x="2543805" y="108585"/>
                    <a:pt x="2541265" y="109855"/>
                    <a:pt x="2538725" y="109855"/>
                  </a:cubicBezTo>
                  <a:cubicBezTo>
                    <a:pt x="2536185" y="109855"/>
                    <a:pt x="2533010" y="110490"/>
                    <a:pt x="2529835" y="110490"/>
                  </a:cubicBezTo>
                  <a:cubicBezTo>
                    <a:pt x="2526660" y="110490"/>
                    <a:pt x="2523485" y="110490"/>
                    <a:pt x="2520310" y="109220"/>
                  </a:cubicBezTo>
                  <a:cubicBezTo>
                    <a:pt x="2517135" y="108585"/>
                    <a:pt x="2514595" y="107315"/>
                    <a:pt x="2512690" y="105410"/>
                  </a:cubicBezTo>
                  <a:cubicBezTo>
                    <a:pt x="2510785" y="103505"/>
                    <a:pt x="2508245" y="102235"/>
                    <a:pt x="2506340" y="100330"/>
                  </a:cubicBezTo>
                  <a:cubicBezTo>
                    <a:pt x="2504435" y="98425"/>
                    <a:pt x="2502530" y="95885"/>
                    <a:pt x="2501260" y="92710"/>
                  </a:cubicBezTo>
                  <a:cubicBezTo>
                    <a:pt x="2499355" y="89535"/>
                    <a:pt x="2498085" y="86360"/>
                    <a:pt x="2497450" y="82550"/>
                  </a:cubicBezTo>
                  <a:cubicBezTo>
                    <a:pt x="2496815" y="78740"/>
                    <a:pt x="2496180" y="74295"/>
                    <a:pt x="2496180" y="69850"/>
                  </a:cubicBezTo>
                  <a:cubicBezTo>
                    <a:pt x="2496180" y="63500"/>
                    <a:pt x="2496815" y="57150"/>
                    <a:pt x="2498720" y="52070"/>
                  </a:cubicBezTo>
                  <a:cubicBezTo>
                    <a:pt x="2500625" y="46990"/>
                    <a:pt x="2502530" y="42545"/>
                    <a:pt x="2505705" y="39370"/>
                  </a:cubicBezTo>
                  <a:cubicBezTo>
                    <a:pt x="2508880" y="36195"/>
                    <a:pt x="2512055" y="33020"/>
                    <a:pt x="2516500" y="31750"/>
                  </a:cubicBezTo>
                  <a:cubicBezTo>
                    <a:pt x="2520945" y="29845"/>
                    <a:pt x="2525390" y="29210"/>
                    <a:pt x="2530470" y="29210"/>
                  </a:cubicBezTo>
                  <a:close/>
                  <a:moveTo>
                    <a:pt x="2298061" y="29210"/>
                  </a:moveTo>
                  <a:cubicBezTo>
                    <a:pt x="2301236" y="29210"/>
                    <a:pt x="2303776" y="29210"/>
                    <a:pt x="2305681" y="29845"/>
                  </a:cubicBezTo>
                  <a:cubicBezTo>
                    <a:pt x="2307586" y="29845"/>
                    <a:pt x="2309491" y="31115"/>
                    <a:pt x="2311396" y="32385"/>
                  </a:cubicBezTo>
                  <a:lnTo>
                    <a:pt x="2307586" y="46990"/>
                  </a:lnTo>
                  <a:lnTo>
                    <a:pt x="2306316" y="46990"/>
                  </a:lnTo>
                  <a:cubicBezTo>
                    <a:pt x="2306316" y="46990"/>
                    <a:pt x="2303141" y="45085"/>
                    <a:pt x="2301236" y="45085"/>
                  </a:cubicBezTo>
                  <a:cubicBezTo>
                    <a:pt x="2299331" y="45085"/>
                    <a:pt x="2297426" y="44450"/>
                    <a:pt x="2294886" y="44450"/>
                  </a:cubicBezTo>
                  <a:cubicBezTo>
                    <a:pt x="2289806" y="44450"/>
                    <a:pt x="2285996" y="46355"/>
                    <a:pt x="2283456" y="49530"/>
                  </a:cubicBezTo>
                  <a:cubicBezTo>
                    <a:pt x="2280916" y="52705"/>
                    <a:pt x="2279646" y="57785"/>
                    <a:pt x="2279646" y="64770"/>
                  </a:cubicBezTo>
                  <a:lnTo>
                    <a:pt x="2279646" y="109220"/>
                  </a:lnTo>
                  <a:lnTo>
                    <a:pt x="2264406" y="109220"/>
                  </a:lnTo>
                  <a:lnTo>
                    <a:pt x="2264406" y="31115"/>
                  </a:lnTo>
                  <a:lnTo>
                    <a:pt x="2279646" y="31115"/>
                  </a:lnTo>
                  <a:lnTo>
                    <a:pt x="2279646" y="38735"/>
                  </a:lnTo>
                  <a:cubicBezTo>
                    <a:pt x="2279646" y="38735"/>
                    <a:pt x="2281551" y="36195"/>
                    <a:pt x="2282821" y="34925"/>
                  </a:cubicBezTo>
                  <a:cubicBezTo>
                    <a:pt x="2284091" y="33655"/>
                    <a:pt x="2285361" y="33020"/>
                    <a:pt x="2287266" y="31750"/>
                  </a:cubicBezTo>
                  <a:cubicBezTo>
                    <a:pt x="2288536" y="31115"/>
                    <a:pt x="2290441" y="30480"/>
                    <a:pt x="2292346" y="29845"/>
                  </a:cubicBezTo>
                  <a:cubicBezTo>
                    <a:pt x="2294251" y="29845"/>
                    <a:pt x="2296156" y="29210"/>
                    <a:pt x="2298061" y="29210"/>
                  </a:cubicBezTo>
                  <a:close/>
                  <a:moveTo>
                    <a:pt x="2216145" y="29210"/>
                  </a:moveTo>
                  <a:cubicBezTo>
                    <a:pt x="2221860" y="29210"/>
                    <a:pt x="2226305" y="30480"/>
                    <a:pt x="2230750" y="32385"/>
                  </a:cubicBezTo>
                  <a:cubicBezTo>
                    <a:pt x="2234560" y="34290"/>
                    <a:pt x="2238370" y="37465"/>
                    <a:pt x="2240910" y="40640"/>
                  </a:cubicBezTo>
                  <a:cubicBezTo>
                    <a:pt x="2243450" y="44450"/>
                    <a:pt x="2245355" y="48260"/>
                    <a:pt x="2247260" y="53340"/>
                  </a:cubicBezTo>
                  <a:cubicBezTo>
                    <a:pt x="2248530" y="57785"/>
                    <a:pt x="2249165" y="62865"/>
                    <a:pt x="2249165" y="68580"/>
                  </a:cubicBezTo>
                  <a:lnTo>
                    <a:pt x="2247895" y="68580"/>
                  </a:lnTo>
                  <a:cubicBezTo>
                    <a:pt x="2247895" y="68580"/>
                    <a:pt x="2247895" y="71120"/>
                    <a:pt x="2247895" y="72390"/>
                  </a:cubicBezTo>
                  <a:cubicBezTo>
                    <a:pt x="2247895" y="73660"/>
                    <a:pt x="2247895" y="74295"/>
                    <a:pt x="2247895" y="75565"/>
                  </a:cubicBezTo>
                  <a:lnTo>
                    <a:pt x="2196460" y="75565"/>
                  </a:lnTo>
                  <a:cubicBezTo>
                    <a:pt x="2196460" y="79375"/>
                    <a:pt x="2197730" y="82550"/>
                    <a:pt x="2199000" y="85090"/>
                  </a:cubicBezTo>
                  <a:cubicBezTo>
                    <a:pt x="2200270" y="87630"/>
                    <a:pt x="2201540" y="90170"/>
                    <a:pt x="2203445" y="91440"/>
                  </a:cubicBezTo>
                  <a:cubicBezTo>
                    <a:pt x="2205350" y="93345"/>
                    <a:pt x="2207255" y="94615"/>
                    <a:pt x="2209160" y="95250"/>
                  </a:cubicBezTo>
                  <a:cubicBezTo>
                    <a:pt x="2211065" y="95885"/>
                    <a:pt x="2213605" y="96520"/>
                    <a:pt x="2216145" y="96520"/>
                  </a:cubicBezTo>
                  <a:cubicBezTo>
                    <a:pt x="2218050" y="96520"/>
                    <a:pt x="2219320" y="96520"/>
                    <a:pt x="2221225" y="96520"/>
                  </a:cubicBezTo>
                  <a:cubicBezTo>
                    <a:pt x="2222495" y="96520"/>
                    <a:pt x="2224400" y="95885"/>
                    <a:pt x="2225670" y="95250"/>
                  </a:cubicBezTo>
                  <a:cubicBezTo>
                    <a:pt x="2226940" y="95250"/>
                    <a:pt x="2228210" y="93980"/>
                    <a:pt x="2229480" y="93345"/>
                  </a:cubicBezTo>
                  <a:cubicBezTo>
                    <a:pt x="2230750" y="93345"/>
                    <a:pt x="2232020" y="92075"/>
                    <a:pt x="2233925" y="90805"/>
                  </a:cubicBezTo>
                  <a:lnTo>
                    <a:pt x="2242815" y="100330"/>
                  </a:lnTo>
                  <a:cubicBezTo>
                    <a:pt x="2242815" y="100330"/>
                    <a:pt x="2239005" y="103505"/>
                    <a:pt x="2237100" y="104775"/>
                  </a:cubicBezTo>
                  <a:cubicBezTo>
                    <a:pt x="2235195" y="106045"/>
                    <a:pt x="2233290" y="106680"/>
                    <a:pt x="2231385" y="107950"/>
                  </a:cubicBezTo>
                  <a:cubicBezTo>
                    <a:pt x="2229480" y="108585"/>
                    <a:pt x="2226940" y="109855"/>
                    <a:pt x="2224400" y="109855"/>
                  </a:cubicBezTo>
                  <a:cubicBezTo>
                    <a:pt x="2221860" y="109855"/>
                    <a:pt x="2218685" y="110490"/>
                    <a:pt x="2215510" y="110490"/>
                  </a:cubicBezTo>
                  <a:cubicBezTo>
                    <a:pt x="2212335" y="110490"/>
                    <a:pt x="2209160" y="110490"/>
                    <a:pt x="2205985" y="109220"/>
                  </a:cubicBezTo>
                  <a:cubicBezTo>
                    <a:pt x="2202810" y="108585"/>
                    <a:pt x="2200270" y="107315"/>
                    <a:pt x="2198365" y="105410"/>
                  </a:cubicBezTo>
                  <a:cubicBezTo>
                    <a:pt x="2195825" y="104140"/>
                    <a:pt x="2193920" y="102235"/>
                    <a:pt x="2192015" y="100330"/>
                  </a:cubicBezTo>
                  <a:cubicBezTo>
                    <a:pt x="2190110" y="98425"/>
                    <a:pt x="2188205" y="95885"/>
                    <a:pt x="2186935" y="92710"/>
                  </a:cubicBezTo>
                  <a:cubicBezTo>
                    <a:pt x="2185030" y="89535"/>
                    <a:pt x="2183760" y="86360"/>
                    <a:pt x="2183125" y="82550"/>
                  </a:cubicBezTo>
                  <a:cubicBezTo>
                    <a:pt x="2182490" y="78740"/>
                    <a:pt x="2181855" y="74295"/>
                    <a:pt x="2181855" y="69850"/>
                  </a:cubicBezTo>
                  <a:cubicBezTo>
                    <a:pt x="2181855" y="63500"/>
                    <a:pt x="2182490" y="57150"/>
                    <a:pt x="2184395" y="52070"/>
                  </a:cubicBezTo>
                  <a:cubicBezTo>
                    <a:pt x="2186300" y="46990"/>
                    <a:pt x="2188205" y="42545"/>
                    <a:pt x="2191380" y="39370"/>
                  </a:cubicBezTo>
                  <a:cubicBezTo>
                    <a:pt x="2194555" y="36195"/>
                    <a:pt x="2197730" y="33020"/>
                    <a:pt x="2202175" y="31750"/>
                  </a:cubicBezTo>
                  <a:cubicBezTo>
                    <a:pt x="2206620" y="29845"/>
                    <a:pt x="2211065" y="29210"/>
                    <a:pt x="2216145" y="29210"/>
                  </a:cubicBezTo>
                  <a:close/>
                  <a:moveTo>
                    <a:pt x="2029456" y="29210"/>
                  </a:moveTo>
                  <a:cubicBezTo>
                    <a:pt x="2035171" y="29210"/>
                    <a:pt x="2039616" y="30480"/>
                    <a:pt x="2044061" y="32385"/>
                  </a:cubicBezTo>
                  <a:cubicBezTo>
                    <a:pt x="2047871" y="34290"/>
                    <a:pt x="2051681" y="37465"/>
                    <a:pt x="2054221" y="40640"/>
                  </a:cubicBezTo>
                  <a:cubicBezTo>
                    <a:pt x="2056761" y="44450"/>
                    <a:pt x="2058666" y="48260"/>
                    <a:pt x="2060571" y="53340"/>
                  </a:cubicBezTo>
                  <a:cubicBezTo>
                    <a:pt x="2061841" y="57785"/>
                    <a:pt x="2062476" y="62865"/>
                    <a:pt x="2062476" y="68580"/>
                  </a:cubicBezTo>
                  <a:lnTo>
                    <a:pt x="2061206" y="68580"/>
                  </a:lnTo>
                  <a:cubicBezTo>
                    <a:pt x="2061206" y="68580"/>
                    <a:pt x="2061206" y="71120"/>
                    <a:pt x="2061206" y="72390"/>
                  </a:cubicBezTo>
                  <a:cubicBezTo>
                    <a:pt x="2061206" y="73660"/>
                    <a:pt x="2061206" y="74295"/>
                    <a:pt x="2061206" y="75565"/>
                  </a:cubicBezTo>
                  <a:lnTo>
                    <a:pt x="2009771" y="75565"/>
                  </a:lnTo>
                  <a:cubicBezTo>
                    <a:pt x="2009771" y="79375"/>
                    <a:pt x="2011041" y="82550"/>
                    <a:pt x="2012311" y="85090"/>
                  </a:cubicBezTo>
                  <a:cubicBezTo>
                    <a:pt x="2013581" y="87630"/>
                    <a:pt x="2014851" y="90170"/>
                    <a:pt x="2016756" y="91440"/>
                  </a:cubicBezTo>
                  <a:cubicBezTo>
                    <a:pt x="2018661" y="93345"/>
                    <a:pt x="2020566" y="94615"/>
                    <a:pt x="2022471" y="95250"/>
                  </a:cubicBezTo>
                  <a:cubicBezTo>
                    <a:pt x="2024376" y="95885"/>
                    <a:pt x="2026916" y="96520"/>
                    <a:pt x="2029456" y="96520"/>
                  </a:cubicBezTo>
                  <a:cubicBezTo>
                    <a:pt x="2031361" y="96520"/>
                    <a:pt x="2032631" y="96520"/>
                    <a:pt x="2034536" y="96520"/>
                  </a:cubicBezTo>
                  <a:cubicBezTo>
                    <a:pt x="2035806" y="96520"/>
                    <a:pt x="2037711" y="95885"/>
                    <a:pt x="2038981" y="95250"/>
                  </a:cubicBezTo>
                  <a:cubicBezTo>
                    <a:pt x="2040251" y="95250"/>
                    <a:pt x="2041521" y="93980"/>
                    <a:pt x="2042791" y="93345"/>
                  </a:cubicBezTo>
                  <a:cubicBezTo>
                    <a:pt x="2044061" y="93345"/>
                    <a:pt x="2045331" y="92075"/>
                    <a:pt x="2047236" y="90805"/>
                  </a:cubicBezTo>
                  <a:lnTo>
                    <a:pt x="2056126" y="100330"/>
                  </a:lnTo>
                  <a:cubicBezTo>
                    <a:pt x="2056126" y="100330"/>
                    <a:pt x="2052316" y="103505"/>
                    <a:pt x="2050411" y="104775"/>
                  </a:cubicBezTo>
                  <a:cubicBezTo>
                    <a:pt x="2048506" y="106045"/>
                    <a:pt x="2046601" y="106680"/>
                    <a:pt x="2044696" y="107950"/>
                  </a:cubicBezTo>
                  <a:cubicBezTo>
                    <a:pt x="2042791" y="108585"/>
                    <a:pt x="2040251" y="109855"/>
                    <a:pt x="2037711" y="109855"/>
                  </a:cubicBezTo>
                  <a:cubicBezTo>
                    <a:pt x="2035171" y="109855"/>
                    <a:pt x="2031996" y="110490"/>
                    <a:pt x="2028821" y="110490"/>
                  </a:cubicBezTo>
                  <a:cubicBezTo>
                    <a:pt x="2025646" y="110490"/>
                    <a:pt x="2022471" y="110490"/>
                    <a:pt x="2019296" y="109220"/>
                  </a:cubicBezTo>
                  <a:cubicBezTo>
                    <a:pt x="2016121" y="108585"/>
                    <a:pt x="2013581" y="107315"/>
                    <a:pt x="2011676" y="105410"/>
                  </a:cubicBezTo>
                  <a:cubicBezTo>
                    <a:pt x="2009136" y="104140"/>
                    <a:pt x="2007231" y="102235"/>
                    <a:pt x="2005326" y="100330"/>
                  </a:cubicBezTo>
                  <a:cubicBezTo>
                    <a:pt x="2003421" y="98425"/>
                    <a:pt x="2001516" y="95885"/>
                    <a:pt x="2000246" y="92710"/>
                  </a:cubicBezTo>
                  <a:cubicBezTo>
                    <a:pt x="1998341" y="89535"/>
                    <a:pt x="1997071" y="86360"/>
                    <a:pt x="1996436" y="82550"/>
                  </a:cubicBezTo>
                  <a:cubicBezTo>
                    <a:pt x="1995801" y="78740"/>
                    <a:pt x="1995166" y="74295"/>
                    <a:pt x="1995166" y="69850"/>
                  </a:cubicBezTo>
                  <a:cubicBezTo>
                    <a:pt x="1995166" y="63500"/>
                    <a:pt x="1995801" y="57150"/>
                    <a:pt x="1997706" y="52070"/>
                  </a:cubicBezTo>
                  <a:cubicBezTo>
                    <a:pt x="1999611" y="46990"/>
                    <a:pt x="2001516" y="42545"/>
                    <a:pt x="2004691" y="39370"/>
                  </a:cubicBezTo>
                  <a:cubicBezTo>
                    <a:pt x="2007866" y="36195"/>
                    <a:pt x="2011041" y="33020"/>
                    <a:pt x="2015486" y="31750"/>
                  </a:cubicBezTo>
                  <a:cubicBezTo>
                    <a:pt x="2019931" y="29845"/>
                    <a:pt x="2024376" y="29210"/>
                    <a:pt x="2029456" y="29210"/>
                  </a:cubicBezTo>
                  <a:close/>
                  <a:moveTo>
                    <a:pt x="1831336" y="29210"/>
                  </a:moveTo>
                  <a:cubicBezTo>
                    <a:pt x="1837051" y="29210"/>
                    <a:pt x="1841496" y="30480"/>
                    <a:pt x="1845941" y="32385"/>
                  </a:cubicBezTo>
                  <a:cubicBezTo>
                    <a:pt x="1849751" y="34290"/>
                    <a:pt x="1853561" y="37465"/>
                    <a:pt x="1856101" y="40640"/>
                  </a:cubicBezTo>
                  <a:cubicBezTo>
                    <a:pt x="1858641" y="44450"/>
                    <a:pt x="1860546" y="48260"/>
                    <a:pt x="1862451" y="53340"/>
                  </a:cubicBezTo>
                  <a:cubicBezTo>
                    <a:pt x="1863721" y="57785"/>
                    <a:pt x="1864356" y="62865"/>
                    <a:pt x="1864356" y="68580"/>
                  </a:cubicBezTo>
                  <a:lnTo>
                    <a:pt x="1863086" y="68580"/>
                  </a:lnTo>
                  <a:cubicBezTo>
                    <a:pt x="1863086" y="68580"/>
                    <a:pt x="1863086" y="71120"/>
                    <a:pt x="1863086" y="72390"/>
                  </a:cubicBezTo>
                  <a:cubicBezTo>
                    <a:pt x="1863086" y="73660"/>
                    <a:pt x="1863086" y="74295"/>
                    <a:pt x="1863086" y="75565"/>
                  </a:cubicBezTo>
                  <a:lnTo>
                    <a:pt x="1811651" y="75565"/>
                  </a:lnTo>
                  <a:cubicBezTo>
                    <a:pt x="1811651" y="79375"/>
                    <a:pt x="1812921" y="82550"/>
                    <a:pt x="1814191" y="85090"/>
                  </a:cubicBezTo>
                  <a:cubicBezTo>
                    <a:pt x="1815461" y="87630"/>
                    <a:pt x="1816731" y="90170"/>
                    <a:pt x="1818636" y="91440"/>
                  </a:cubicBezTo>
                  <a:cubicBezTo>
                    <a:pt x="1820541" y="93345"/>
                    <a:pt x="1822446" y="94615"/>
                    <a:pt x="1824351" y="95250"/>
                  </a:cubicBezTo>
                  <a:cubicBezTo>
                    <a:pt x="1826256" y="95885"/>
                    <a:pt x="1828796" y="96520"/>
                    <a:pt x="1831336" y="96520"/>
                  </a:cubicBezTo>
                  <a:cubicBezTo>
                    <a:pt x="1833241" y="96520"/>
                    <a:pt x="1834511" y="96520"/>
                    <a:pt x="1836416" y="96520"/>
                  </a:cubicBezTo>
                  <a:cubicBezTo>
                    <a:pt x="1837686" y="96520"/>
                    <a:pt x="1839591" y="95885"/>
                    <a:pt x="1840861" y="95250"/>
                  </a:cubicBezTo>
                  <a:cubicBezTo>
                    <a:pt x="1842131" y="95250"/>
                    <a:pt x="1843401" y="93980"/>
                    <a:pt x="1844671" y="93345"/>
                  </a:cubicBezTo>
                  <a:cubicBezTo>
                    <a:pt x="1845941" y="93345"/>
                    <a:pt x="1847211" y="92075"/>
                    <a:pt x="1849116" y="90805"/>
                  </a:cubicBezTo>
                  <a:lnTo>
                    <a:pt x="1858006" y="100330"/>
                  </a:lnTo>
                  <a:cubicBezTo>
                    <a:pt x="1858006" y="100330"/>
                    <a:pt x="1854196" y="103505"/>
                    <a:pt x="1852291" y="104775"/>
                  </a:cubicBezTo>
                  <a:cubicBezTo>
                    <a:pt x="1850386" y="106045"/>
                    <a:pt x="1848481" y="106680"/>
                    <a:pt x="1846576" y="107950"/>
                  </a:cubicBezTo>
                  <a:cubicBezTo>
                    <a:pt x="1844671" y="108585"/>
                    <a:pt x="1842131" y="109855"/>
                    <a:pt x="1839591" y="109855"/>
                  </a:cubicBezTo>
                  <a:cubicBezTo>
                    <a:pt x="1837051" y="109855"/>
                    <a:pt x="1833876" y="110490"/>
                    <a:pt x="1830701" y="110490"/>
                  </a:cubicBezTo>
                  <a:cubicBezTo>
                    <a:pt x="1827526" y="110490"/>
                    <a:pt x="1824351" y="110490"/>
                    <a:pt x="1821176" y="109220"/>
                  </a:cubicBezTo>
                  <a:cubicBezTo>
                    <a:pt x="1818001" y="108585"/>
                    <a:pt x="1815461" y="107315"/>
                    <a:pt x="1813556" y="105410"/>
                  </a:cubicBezTo>
                  <a:cubicBezTo>
                    <a:pt x="1811016" y="104140"/>
                    <a:pt x="1809111" y="102235"/>
                    <a:pt x="1807206" y="100330"/>
                  </a:cubicBezTo>
                  <a:cubicBezTo>
                    <a:pt x="1805301" y="98425"/>
                    <a:pt x="1803396" y="95885"/>
                    <a:pt x="1802126" y="92710"/>
                  </a:cubicBezTo>
                  <a:cubicBezTo>
                    <a:pt x="1800221" y="89535"/>
                    <a:pt x="1798951" y="86360"/>
                    <a:pt x="1798316" y="82550"/>
                  </a:cubicBezTo>
                  <a:cubicBezTo>
                    <a:pt x="1797681" y="78740"/>
                    <a:pt x="1797046" y="74295"/>
                    <a:pt x="1797046" y="69850"/>
                  </a:cubicBezTo>
                  <a:cubicBezTo>
                    <a:pt x="1797046" y="63500"/>
                    <a:pt x="1797681" y="57150"/>
                    <a:pt x="1799586" y="52070"/>
                  </a:cubicBezTo>
                  <a:cubicBezTo>
                    <a:pt x="1801491" y="46990"/>
                    <a:pt x="1803396" y="42545"/>
                    <a:pt x="1806571" y="39370"/>
                  </a:cubicBezTo>
                  <a:cubicBezTo>
                    <a:pt x="1809746" y="36195"/>
                    <a:pt x="1812921" y="33020"/>
                    <a:pt x="1817366" y="31750"/>
                  </a:cubicBezTo>
                  <a:cubicBezTo>
                    <a:pt x="1821811" y="29845"/>
                    <a:pt x="1826256" y="29210"/>
                    <a:pt x="1831336" y="29210"/>
                  </a:cubicBezTo>
                  <a:close/>
                  <a:moveTo>
                    <a:pt x="1501140" y="29210"/>
                  </a:moveTo>
                  <a:cubicBezTo>
                    <a:pt x="1503046" y="29210"/>
                    <a:pt x="1504951" y="29210"/>
                    <a:pt x="1506856" y="29210"/>
                  </a:cubicBezTo>
                  <a:cubicBezTo>
                    <a:pt x="1511301" y="29210"/>
                    <a:pt x="1515746" y="29845"/>
                    <a:pt x="1518920" y="31750"/>
                  </a:cubicBezTo>
                  <a:cubicBezTo>
                    <a:pt x="1522096" y="33020"/>
                    <a:pt x="1525271" y="35560"/>
                    <a:pt x="1527811" y="38100"/>
                  </a:cubicBezTo>
                  <a:cubicBezTo>
                    <a:pt x="1530351" y="41275"/>
                    <a:pt x="1531621" y="44450"/>
                    <a:pt x="1532891" y="48895"/>
                  </a:cubicBezTo>
                  <a:cubicBezTo>
                    <a:pt x="1534161" y="53340"/>
                    <a:pt x="1534796" y="58420"/>
                    <a:pt x="1534796" y="64135"/>
                  </a:cubicBezTo>
                  <a:lnTo>
                    <a:pt x="1534796" y="108585"/>
                  </a:lnTo>
                  <a:lnTo>
                    <a:pt x="1519556" y="108585"/>
                  </a:lnTo>
                  <a:lnTo>
                    <a:pt x="1518920" y="108585"/>
                  </a:lnTo>
                  <a:lnTo>
                    <a:pt x="1518920" y="64770"/>
                  </a:lnTo>
                  <a:cubicBezTo>
                    <a:pt x="1518920" y="57785"/>
                    <a:pt x="1517651" y="52070"/>
                    <a:pt x="1515111" y="48895"/>
                  </a:cubicBezTo>
                  <a:cubicBezTo>
                    <a:pt x="1512571" y="45085"/>
                    <a:pt x="1508761" y="43180"/>
                    <a:pt x="1503046" y="43180"/>
                  </a:cubicBezTo>
                  <a:cubicBezTo>
                    <a:pt x="1500506" y="43180"/>
                    <a:pt x="1498601" y="43180"/>
                    <a:pt x="1496061" y="44450"/>
                  </a:cubicBezTo>
                  <a:cubicBezTo>
                    <a:pt x="1494156" y="45085"/>
                    <a:pt x="1492250" y="46990"/>
                    <a:pt x="1490981" y="48260"/>
                  </a:cubicBezTo>
                  <a:cubicBezTo>
                    <a:pt x="1489711" y="50165"/>
                    <a:pt x="1488441" y="52070"/>
                    <a:pt x="1487806" y="54610"/>
                  </a:cubicBezTo>
                  <a:cubicBezTo>
                    <a:pt x="1487806" y="57150"/>
                    <a:pt x="1487170" y="59690"/>
                    <a:pt x="1487170" y="62865"/>
                  </a:cubicBezTo>
                  <a:lnTo>
                    <a:pt x="1487170" y="108585"/>
                  </a:lnTo>
                  <a:lnTo>
                    <a:pt x="1471931" y="108585"/>
                  </a:lnTo>
                  <a:lnTo>
                    <a:pt x="1471931" y="30480"/>
                  </a:lnTo>
                  <a:lnTo>
                    <a:pt x="1487170" y="30480"/>
                  </a:lnTo>
                  <a:lnTo>
                    <a:pt x="1487170" y="38100"/>
                  </a:lnTo>
                  <a:cubicBezTo>
                    <a:pt x="1487170" y="38100"/>
                    <a:pt x="1489076" y="35560"/>
                    <a:pt x="1490981" y="34290"/>
                  </a:cubicBezTo>
                  <a:cubicBezTo>
                    <a:pt x="1492250" y="33020"/>
                    <a:pt x="1494156" y="32385"/>
                    <a:pt x="1495426" y="31115"/>
                  </a:cubicBezTo>
                  <a:cubicBezTo>
                    <a:pt x="1497331" y="30480"/>
                    <a:pt x="1499236" y="29845"/>
                    <a:pt x="1501140" y="29210"/>
                  </a:cubicBezTo>
                  <a:close/>
                  <a:moveTo>
                    <a:pt x="1250316" y="29210"/>
                  </a:moveTo>
                  <a:cubicBezTo>
                    <a:pt x="1255396" y="29210"/>
                    <a:pt x="1259841" y="29845"/>
                    <a:pt x="1264286" y="31750"/>
                  </a:cubicBezTo>
                  <a:cubicBezTo>
                    <a:pt x="1268731" y="33655"/>
                    <a:pt x="1273176" y="35560"/>
                    <a:pt x="1276350" y="38100"/>
                  </a:cubicBezTo>
                  <a:lnTo>
                    <a:pt x="1278256" y="38100"/>
                  </a:lnTo>
                  <a:lnTo>
                    <a:pt x="1271271" y="50165"/>
                  </a:lnTo>
                  <a:cubicBezTo>
                    <a:pt x="1268095" y="47625"/>
                    <a:pt x="1264921" y="46355"/>
                    <a:pt x="1261746" y="45085"/>
                  </a:cubicBezTo>
                  <a:cubicBezTo>
                    <a:pt x="1258570" y="43815"/>
                    <a:pt x="1254761" y="43180"/>
                    <a:pt x="1250951" y="43180"/>
                  </a:cubicBezTo>
                  <a:cubicBezTo>
                    <a:pt x="1247141" y="43180"/>
                    <a:pt x="1244601" y="43815"/>
                    <a:pt x="1242696" y="45085"/>
                  </a:cubicBezTo>
                  <a:cubicBezTo>
                    <a:pt x="1240791" y="46355"/>
                    <a:pt x="1240156" y="48260"/>
                    <a:pt x="1240156" y="50165"/>
                  </a:cubicBezTo>
                  <a:cubicBezTo>
                    <a:pt x="1240156" y="51435"/>
                    <a:pt x="1240156" y="52070"/>
                    <a:pt x="1240156" y="52705"/>
                  </a:cubicBezTo>
                  <a:cubicBezTo>
                    <a:pt x="1240156" y="53340"/>
                    <a:pt x="1241426" y="54610"/>
                    <a:pt x="1242061" y="55245"/>
                  </a:cubicBezTo>
                  <a:cubicBezTo>
                    <a:pt x="1243331" y="55880"/>
                    <a:pt x="1244601" y="57150"/>
                    <a:pt x="1246506" y="57785"/>
                  </a:cubicBezTo>
                  <a:cubicBezTo>
                    <a:pt x="1248411" y="59055"/>
                    <a:pt x="1250951" y="59690"/>
                    <a:pt x="1253491" y="60960"/>
                  </a:cubicBezTo>
                  <a:cubicBezTo>
                    <a:pt x="1257936" y="62865"/>
                    <a:pt x="1261746" y="64135"/>
                    <a:pt x="1264921" y="66040"/>
                  </a:cubicBezTo>
                  <a:cubicBezTo>
                    <a:pt x="1268095" y="67310"/>
                    <a:pt x="1270635" y="69215"/>
                    <a:pt x="1273176" y="71120"/>
                  </a:cubicBezTo>
                  <a:cubicBezTo>
                    <a:pt x="1275080" y="73025"/>
                    <a:pt x="1276985" y="75565"/>
                    <a:pt x="1278256" y="78105"/>
                  </a:cubicBezTo>
                  <a:cubicBezTo>
                    <a:pt x="1279525" y="80645"/>
                    <a:pt x="1280161" y="83820"/>
                    <a:pt x="1280161" y="87630"/>
                  </a:cubicBezTo>
                  <a:cubicBezTo>
                    <a:pt x="1280161" y="92075"/>
                    <a:pt x="1279525" y="95250"/>
                    <a:pt x="1277621" y="98425"/>
                  </a:cubicBezTo>
                  <a:cubicBezTo>
                    <a:pt x="1275716" y="101600"/>
                    <a:pt x="1273811" y="103505"/>
                    <a:pt x="1271271" y="105410"/>
                  </a:cubicBezTo>
                  <a:cubicBezTo>
                    <a:pt x="1268731" y="107315"/>
                    <a:pt x="1265556" y="108585"/>
                    <a:pt x="1261746" y="109220"/>
                  </a:cubicBezTo>
                  <a:cubicBezTo>
                    <a:pt x="1257936" y="109855"/>
                    <a:pt x="1254761" y="110490"/>
                    <a:pt x="1250951" y="110490"/>
                  </a:cubicBezTo>
                  <a:cubicBezTo>
                    <a:pt x="1245871" y="110490"/>
                    <a:pt x="1240791" y="109855"/>
                    <a:pt x="1235711" y="107950"/>
                  </a:cubicBezTo>
                  <a:cubicBezTo>
                    <a:pt x="1229996" y="106045"/>
                    <a:pt x="1225551" y="103505"/>
                    <a:pt x="1221106" y="100965"/>
                  </a:cubicBezTo>
                  <a:lnTo>
                    <a:pt x="1228091" y="89535"/>
                  </a:lnTo>
                  <a:cubicBezTo>
                    <a:pt x="1231901" y="92075"/>
                    <a:pt x="1235711" y="93980"/>
                    <a:pt x="1239521" y="95250"/>
                  </a:cubicBezTo>
                  <a:cubicBezTo>
                    <a:pt x="1243331" y="96520"/>
                    <a:pt x="1247141" y="97155"/>
                    <a:pt x="1250951" y="97155"/>
                  </a:cubicBezTo>
                  <a:cubicBezTo>
                    <a:pt x="1256031" y="97155"/>
                    <a:pt x="1259205" y="96520"/>
                    <a:pt x="1261746" y="94615"/>
                  </a:cubicBezTo>
                  <a:cubicBezTo>
                    <a:pt x="1264286" y="93345"/>
                    <a:pt x="1264921" y="90805"/>
                    <a:pt x="1264921" y="88265"/>
                  </a:cubicBezTo>
                  <a:cubicBezTo>
                    <a:pt x="1264921" y="86995"/>
                    <a:pt x="1264921" y="85725"/>
                    <a:pt x="1263650" y="84455"/>
                  </a:cubicBezTo>
                  <a:cubicBezTo>
                    <a:pt x="1263015" y="83185"/>
                    <a:pt x="1261746" y="82550"/>
                    <a:pt x="1259841" y="81280"/>
                  </a:cubicBezTo>
                  <a:cubicBezTo>
                    <a:pt x="1258570" y="80010"/>
                    <a:pt x="1256666" y="79375"/>
                    <a:pt x="1254125" y="78105"/>
                  </a:cubicBezTo>
                  <a:cubicBezTo>
                    <a:pt x="1252221" y="77470"/>
                    <a:pt x="1249681" y="76200"/>
                    <a:pt x="1246506" y="74930"/>
                  </a:cubicBezTo>
                  <a:cubicBezTo>
                    <a:pt x="1242061" y="73025"/>
                    <a:pt x="1238886" y="71755"/>
                    <a:pt x="1235711" y="69850"/>
                  </a:cubicBezTo>
                  <a:cubicBezTo>
                    <a:pt x="1232536" y="67945"/>
                    <a:pt x="1230631" y="66675"/>
                    <a:pt x="1228726" y="64770"/>
                  </a:cubicBezTo>
                  <a:cubicBezTo>
                    <a:pt x="1226821" y="62865"/>
                    <a:pt x="1225551" y="60960"/>
                    <a:pt x="1224916" y="58420"/>
                  </a:cubicBezTo>
                  <a:cubicBezTo>
                    <a:pt x="1224281" y="55880"/>
                    <a:pt x="1223646" y="53340"/>
                    <a:pt x="1223646" y="50165"/>
                  </a:cubicBezTo>
                  <a:cubicBezTo>
                    <a:pt x="1223646" y="46990"/>
                    <a:pt x="1224281" y="43815"/>
                    <a:pt x="1225551" y="40640"/>
                  </a:cubicBezTo>
                  <a:cubicBezTo>
                    <a:pt x="1226821" y="38100"/>
                    <a:pt x="1228726" y="35560"/>
                    <a:pt x="1231266" y="34290"/>
                  </a:cubicBezTo>
                  <a:cubicBezTo>
                    <a:pt x="1233806" y="32385"/>
                    <a:pt x="1236346" y="31115"/>
                    <a:pt x="1239521" y="30480"/>
                  </a:cubicBezTo>
                  <a:cubicBezTo>
                    <a:pt x="1242696" y="29845"/>
                    <a:pt x="1246506" y="29210"/>
                    <a:pt x="1250316" y="29210"/>
                  </a:cubicBezTo>
                  <a:close/>
                  <a:moveTo>
                    <a:pt x="1180466" y="29210"/>
                  </a:moveTo>
                  <a:cubicBezTo>
                    <a:pt x="1186181" y="29210"/>
                    <a:pt x="1190626" y="30480"/>
                    <a:pt x="1195071" y="32385"/>
                  </a:cubicBezTo>
                  <a:cubicBezTo>
                    <a:pt x="1198881" y="34290"/>
                    <a:pt x="1202691" y="37465"/>
                    <a:pt x="1205231" y="40640"/>
                  </a:cubicBezTo>
                  <a:cubicBezTo>
                    <a:pt x="1207771" y="44450"/>
                    <a:pt x="1209676" y="48260"/>
                    <a:pt x="1211581" y="53340"/>
                  </a:cubicBezTo>
                  <a:cubicBezTo>
                    <a:pt x="1212851" y="57785"/>
                    <a:pt x="1213486" y="62865"/>
                    <a:pt x="1213486" y="68580"/>
                  </a:cubicBezTo>
                  <a:lnTo>
                    <a:pt x="1212216" y="68580"/>
                  </a:lnTo>
                  <a:cubicBezTo>
                    <a:pt x="1212216" y="68580"/>
                    <a:pt x="1212216" y="71120"/>
                    <a:pt x="1212216" y="72390"/>
                  </a:cubicBezTo>
                  <a:cubicBezTo>
                    <a:pt x="1212216" y="73660"/>
                    <a:pt x="1212216" y="74295"/>
                    <a:pt x="1212216" y="75565"/>
                  </a:cubicBezTo>
                  <a:lnTo>
                    <a:pt x="1160781" y="75565"/>
                  </a:lnTo>
                  <a:cubicBezTo>
                    <a:pt x="1160781" y="79375"/>
                    <a:pt x="1162051" y="82550"/>
                    <a:pt x="1163321" y="85090"/>
                  </a:cubicBezTo>
                  <a:cubicBezTo>
                    <a:pt x="1164591" y="87630"/>
                    <a:pt x="1165861" y="90170"/>
                    <a:pt x="1167766" y="91440"/>
                  </a:cubicBezTo>
                  <a:cubicBezTo>
                    <a:pt x="1169671" y="93345"/>
                    <a:pt x="1171576" y="94615"/>
                    <a:pt x="1173481" y="95250"/>
                  </a:cubicBezTo>
                  <a:cubicBezTo>
                    <a:pt x="1175386" y="95885"/>
                    <a:pt x="1177926" y="96520"/>
                    <a:pt x="1180466" y="96520"/>
                  </a:cubicBezTo>
                  <a:cubicBezTo>
                    <a:pt x="1182371" y="96520"/>
                    <a:pt x="1183641" y="96520"/>
                    <a:pt x="1185546" y="96520"/>
                  </a:cubicBezTo>
                  <a:cubicBezTo>
                    <a:pt x="1186816" y="96520"/>
                    <a:pt x="1188721" y="95885"/>
                    <a:pt x="1189991" y="95250"/>
                  </a:cubicBezTo>
                  <a:cubicBezTo>
                    <a:pt x="1191261" y="95250"/>
                    <a:pt x="1192531" y="93980"/>
                    <a:pt x="1193801" y="93345"/>
                  </a:cubicBezTo>
                  <a:cubicBezTo>
                    <a:pt x="1195071" y="93345"/>
                    <a:pt x="1196341" y="92075"/>
                    <a:pt x="1198246" y="90805"/>
                  </a:cubicBezTo>
                  <a:lnTo>
                    <a:pt x="1207136" y="100330"/>
                  </a:lnTo>
                  <a:cubicBezTo>
                    <a:pt x="1207136" y="100330"/>
                    <a:pt x="1203326" y="103505"/>
                    <a:pt x="1201421" y="104775"/>
                  </a:cubicBezTo>
                  <a:cubicBezTo>
                    <a:pt x="1199516" y="106045"/>
                    <a:pt x="1197611" y="106680"/>
                    <a:pt x="1195706" y="107950"/>
                  </a:cubicBezTo>
                  <a:cubicBezTo>
                    <a:pt x="1193801" y="108585"/>
                    <a:pt x="1191261" y="109855"/>
                    <a:pt x="1188721" y="109855"/>
                  </a:cubicBezTo>
                  <a:cubicBezTo>
                    <a:pt x="1186181" y="109855"/>
                    <a:pt x="1183006" y="110490"/>
                    <a:pt x="1179831" y="110490"/>
                  </a:cubicBezTo>
                  <a:cubicBezTo>
                    <a:pt x="1176656" y="110490"/>
                    <a:pt x="1173481" y="110490"/>
                    <a:pt x="1170306" y="109220"/>
                  </a:cubicBezTo>
                  <a:cubicBezTo>
                    <a:pt x="1167131" y="108585"/>
                    <a:pt x="1164591" y="107315"/>
                    <a:pt x="1162686" y="105410"/>
                  </a:cubicBezTo>
                  <a:cubicBezTo>
                    <a:pt x="1160781" y="103505"/>
                    <a:pt x="1158241" y="102235"/>
                    <a:pt x="1156336" y="100330"/>
                  </a:cubicBezTo>
                  <a:cubicBezTo>
                    <a:pt x="1154431" y="98425"/>
                    <a:pt x="1152526" y="95885"/>
                    <a:pt x="1151256" y="92710"/>
                  </a:cubicBezTo>
                  <a:cubicBezTo>
                    <a:pt x="1149351" y="89535"/>
                    <a:pt x="1148081" y="86360"/>
                    <a:pt x="1147446" y="82550"/>
                  </a:cubicBezTo>
                  <a:cubicBezTo>
                    <a:pt x="1146811" y="78740"/>
                    <a:pt x="1146176" y="74295"/>
                    <a:pt x="1146176" y="69850"/>
                  </a:cubicBezTo>
                  <a:cubicBezTo>
                    <a:pt x="1146176" y="63500"/>
                    <a:pt x="1146811" y="57150"/>
                    <a:pt x="1148716" y="52070"/>
                  </a:cubicBezTo>
                  <a:cubicBezTo>
                    <a:pt x="1150621" y="46990"/>
                    <a:pt x="1152526" y="42545"/>
                    <a:pt x="1155701" y="39370"/>
                  </a:cubicBezTo>
                  <a:cubicBezTo>
                    <a:pt x="1158876" y="36195"/>
                    <a:pt x="1162051" y="33020"/>
                    <a:pt x="1166496" y="31750"/>
                  </a:cubicBezTo>
                  <a:cubicBezTo>
                    <a:pt x="1170941" y="29845"/>
                    <a:pt x="1175386" y="29210"/>
                    <a:pt x="1180466" y="29210"/>
                  </a:cubicBezTo>
                  <a:close/>
                  <a:moveTo>
                    <a:pt x="901065" y="29210"/>
                  </a:moveTo>
                  <a:cubicBezTo>
                    <a:pt x="906780" y="29210"/>
                    <a:pt x="911225" y="30480"/>
                    <a:pt x="915670" y="32385"/>
                  </a:cubicBezTo>
                  <a:cubicBezTo>
                    <a:pt x="919480" y="34290"/>
                    <a:pt x="923290" y="37465"/>
                    <a:pt x="925830" y="40640"/>
                  </a:cubicBezTo>
                  <a:cubicBezTo>
                    <a:pt x="928370" y="44450"/>
                    <a:pt x="930275" y="48260"/>
                    <a:pt x="932180" y="53340"/>
                  </a:cubicBezTo>
                  <a:cubicBezTo>
                    <a:pt x="933450" y="57785"/>
                    <a:pt x="934085" y="62865"/>
                    <a:pt x="934085" y="68580"/>
                  </a:cubicBezTo>
                  <a:lnTo>
                    <a:pt x="932815" y="68580"/>
                  </a:lnTo>
                  <a:cubicBezTo>
                    <a:pt x="932815" y="68580"/>
                    <a:pt x="932815" y="71120"/>
                    <a:pt x="932815" y="72390"/>
                  </a:cubicBezTo>
                  <a:cubicBezTo>
                    <a:pt x="932815" y="73660"/>
                    <a:pt x="932815" y="74295"/>
                    <a:pt x="932815" y="75565"/>
                  </a:cubicBezTo>
                  <a:lnTo>
                    <a:pt x="881380" y="75565"/>
                  </a:lnTo>
                  <a:cubicBezTo>
                    <a:pt x="881380" y="79375"/>
                    <a:pt x="882650" y="82550"/>
                    <a:pt x="883920" y="85090"/>
                  </a:cubicBezTo>
                  <a:cubicBezTo>
                    <a:pt x="885190" y="87630"/>
                    <a:pt x="886460" y="90170"/>
                    <a:pt x="888365" y="91440"/>
                  </a:cubicBezTo>
                  <a:cubicBezTo>
                    <a:pt x="890270" y="93345"/>
                    <a:pt x="892175" y="94615"/>
                    <a:pt x="894080" y="95250"/>
                  </a:cubicBezTo>
                  <a:cubicBezTo>
                    <a:pt x="895985" y="95885"/>
                    <a:pt x="898525" y="96520"/>
                    <a:pt x="901065" y="96520"/>
                  </a:cubicBezTo>
                  <a:cubicBezTo>
                    <a:pt x="902970" y="96520"/>
                    <a:pt x="904240" y="96520"/>
                    <a:pt x="906145" y="96520"/>
                  </a:cubicBezTo>
                  <a:cubicBezTo>
                    <a:pt x="907415" y="96520"/>
                    <a:pt x="909320" y="95885"/>
                    <a:pt x="910590" y="95250"/>
                  </a:cubicBezTo>
                  <a:cubicBezTo>
                    <a:pt x="911860" y="95250"/>
                    <a:pt x="913130" y="93980"/>
                    <a:pt x="914400" y="93345"/>
                  </a:cubicBezTo>
                  <a:cubicBezTo>
                    <a:pt x="915670" y="93345"/>
                    <a:pt x="916940" y="92075"/>
                    <a:pt x="918845" y="90805"/>
                  </a:cubicBezTo>
                  <a:lnTo>
                    <a:pt x="927735" y="100330"/>
                  </a:lnTo>
                  <a:cubicBezTo>
                    <a:pt x="927735" y="100330"/>
                    <a:pt x="923925" y="103505"/>
                    <a:pt x="922020" y="104775"/>
                  </a:cubicBezTo>
                  <a:cubicBezTo>
                    <a:pt x="920115" y="106045"/>
                    <a:pt x="918210" y="106680"/>
                    <a:pt x="916305" y="107950"/>
                  </a:cubicBezTo>
                  <a:cubicBezTo>
                    <a:pt x="914400" y="108585"/>
                    <a:pt x="911860" y="109855"/>
                    <a:pt x="909320" y="109855"/>
                  </a:cubicBezTo>
                  <a:cubicBezTo>
                    <a:pt x="906780" y="109855"/>
                    <a:pt x="903605" y="110490"/>
                    <a:pt x="900430" y="110490"/>
                  </a:cubicBezTo>
                  <a:cubicBezTo>
                    <a:pt x="897255" y="110490"/>
                    <a:pt x="894080" y="110490"/>
                    <a:pt x="890905" y="109220"/>
                  </a:cubicBezTo>
                  <a:cubicBezTo>
                    <a:pt x="887730" y="108585"/>
                    <a:pt x="885190" y="107315"/>
                    <a:pt x="883285" y="105410"/>
                  </a:cubicBezTo>
                  <a:cubicBezTo>
                    <a:pt x="881380" y="103505"/>
                    <a:pt x="878840" y="102235"/>
                    <a:pt x="876935" y="100330"/>
                  </a:cubicBezTo>
                  <a:cubicBezTo>
                    <a:pt x="875030" y="98425"/>
                    <a:pt x="873125" y="95885"/>
                    <a:pt x="871855" y="92710"/>
                  </a:cubicBezTo>
                  <a:cubicBezTo>
                    <a:pt x="869950" y="89535"/>
                    <a:pt x="868680" y="86360"/>
                    <a:pt x="868045" y="82550"/>
                  </a:cubicBezTo>
                  <a:cubicBezTo>
                    <a:pt x="867410" y="78740"/>
                    <a:pt x="866775" y="74295"/>
                    <a:pt x="866775" y="69850"/>
                  </a:cubicBezTo>
                  <a:cubicBezTo>
                    <a:pt x="866775" y="63500"/>
                    <a:pt x="867410" y="57150"/>
                    <a:pt x="869315" y="52070"/>
                  </a:cubicBezTo>
                  <a:cubicBezTo>
                    <a:pt x="871220" y="46990"/>
                    <a:pt x="873125" y="42545"/>
                    <a:pt x="876300" y="39370"/>
                  </a:cubicBezTo>
                  <a:cubicBezTo>
                    <a:pt x="879475" y="36195"/>
                    <a:pt x="882650" y="33020"/>
                    <a:pt x="887095" y="31750"/>
                  </a:cubicBezTo>
                  <a:cubicBezTo>
                    <a:pt x="891540" y="29845"/>
                    <a:pt x="895985" y="29210"/>
                    <a:pt x="901065" y="29210"/>
                  </a:cubicBezTo>
                  <a:close/>
                  <a:moveTo>
                    <a:pt x="668656" y="29210"/>
                  </a:moveTo>
                  <a:cubicBezTo>
                    <a:pt x="671830" y="29210"/>
                    <a:pt x="674370" y="29210"/>
                    <a:pt x="676275" y="29845"/>
                  </a:cubicBezTo>
                  <a:cubicBezTo>
                    <a:pt x="678181" y="29845"/>
                    <a:pt x="680086" y="31115"/>
                    <a:pt x="681991" y="32385"/>
                  </a:cubicBezTo>
                  <a:lnTo>
                    <a:pt x="678181" y="46990"/>
                  </a:lnTo>
                  <a:lnTo>
                    <a:pt x="676910" y="46990"/>
                  </a:lnTo>
                  <a:cubicBezTo>
                    <a:pt x="676910" y="46990"/>
                    <a:pt x="673736" y="45085"/>
                    <a:pt x="671830" y="45085"/>
                  </a:cubicBezTo>
                  <a:cubicBezTo>
                    <a:pt x="669925" y="45085"/>
                    <a:pt x="668020" y="44450"/>
                    <a:pt x="665480" y="44450"/>
                  </a:cubicBezTo>
                  <a:cubicBezTo>
                    <a:pt x="660400" y="44450"/>
                    <a:pt x="656590" y="46355"/>
                    <a:pt x="654050" y="49530"/>
                  </a:cubicBezTo>
                  <a:cubicBezTo>
                    <a:pt x="651510" y="52705"/>
                    <a:pt x="650240" y="57785"/>
                    <a:pt x="650240" y="64770"/>
                  </a:cubicBezTo>
                  <a:lnTo>
                    <a:pt x="650240" y="109220"/>
                  </a:lnTo>
                  <a:lnTo>
                    <a:pt x="635000" y="109220"/>
                  </a:lnTo>
                  <a:lnTo>
                    <a:pt x="635000" y="31115"/>
                  </a:lnTo>
                  <a:lnTo>
                    <a:pt x="650240" y="31115"/>
                  </a:lnTo>
                  <a:lnTo>
                    <a:pt x="650240" y="38735"/>
                  </a:lnTo>
                  <a:cubicBezTo>
                    <a:pt x="650240" y="38735"/>
                    <a:pt x="652145" y="36195"/>
                    <a:pt x="653416" y="34925"/>
                  </a:cubicBezTo>
                  <a:cubicBezTo>
                    <a:pt x="654685" y="33655"/>
                    <a:pt x="655955" y="33020"/>
                    <a:pt x="657861" y="31750"/>
                  </a:cubicBezTo>
                  <a:cubicBezTo>
                    <a:pt x="659130" y="31115"/>
                    <a:pt x="661035" y="30480"/>
                    <a:pt x="662940" y="29845"/>
                  </a:cubicBezTo>
                  <a:cubicBezTo>
                    <a:pt x="664845" y="29845"/>
                    <a:pt x="666751" y="29210"/>
                    <a:pt x="668656" y="29210"/>
                  </a:cubicBezTo>
                  <a:close/>
                  <a:moveTo>
                    <a:pt x="586739" y="29210"/>
                  </a:moveTo>
                  <a:cubicBezTo>
                    <a:pt x="592454" y="29210"/>
                    <a:pt x="596899" y="30480"/>
                    <a:pt x="601344" y="32385"/>
                  </a:cubicBezTo>
                  <a:cubicBezTo>
                    <a:pt x="605154" y="34290"/>
                    <a:pt x="608964" y="37465"/>
                    <a:pt x="611504" y="40640"/>
                  </a:cubicBezTo>
                  <a:cubicBezTo>
                    <a:pt x="614044" y="44450"/>
                    <a:pt x="615949" y="48260"/>
                    <a:pt x="617854" y="53340"/>
                  </a:cubicBezTo>
                  <a:cubicBezTo>
                    <a:pt x="619124" y="57785"/>
                    <a:pt x="619759" y="62865"/>
                    <a:pt x="619759" y="68580"/>
                  </a:cubicBezTo>
                  <a:lnTo>
                    <a:pt x="618489" y="68580"/>
                  </a:lnTo>
                  <a:cubicBezTo>
                    <a:pt x="618489" y="68580"/>
                    <a:pt x="618489" y="71120"/>
                    <a:pt x="618489" y="72390"/>
                  </a:cubicBezTo>
                  <a:cubicBezTo>
                    <a:pt x="618489" y="73660"/>
                    <a:pt x="618489" y="74295"/>
                    <a:pt x="618489" y="75565"/>
                  </a:cubicBezTo>
                  <a:lnTo>
                    <a:pt x="567054" y="75565"/>
                  </a:lnTo>
                  <a:cubicBezTo>
                    <a:pt x="567054" y="79375"/>
                    <a:pt x="568324" y="82550"/>
                    <a:pt x="569594" y="85090"/>
                  </a:cubicBezTo>
                  <a:cubicBezTo>
                    <a:pt x="570864" y="87630"/>
                    <a:pt x="572134" y="90170"/>
                    <a:pt x="574039" y="91440"/>
                  </a:cubicBezTo>
                  <a:cubicBezTo>
                    <a:pt x="575944" y="93345"/>
                    <a:pt x="577849" y="94615"/>
                    <a:pt x="579754" y="95250"/>
                  </a:cubicBezTo>
                  <a:cubicBezTo>
                    <a:pt x="581659" y="95885"/>
                    <a:pt x="584199" y="96520"/>
                    <a:pt x="586739" y="96520"/>
                  </a:cubicBezTo>
                  <a:cubicBezTo>
                    <a:pt x="588644" y="96520"/>
                    <a:pt x="589914" y="96520"/>
                    <a:pt x="591819" y="96520"/>
                  </a:cubicBezTo>
                  <a:cubicBezTo>
                    <a:pt x="593089" y="96520"/>
                    <a:pt x="594994" y="95885"/>
                    <a:pt x="596264" y="95250"/>
                  </a:cubicBezTo>
                  <a:cubicBezTo>
                    <a:pt x="597534" y="95250"/>
                    <a:pt x="598804" y="93980"/>
                    <a:pt x="600074" y="93345"/>
                  </a:cubicBezTo>
                  <a:cubicBezTo>
                    <a:pt x="601344" y="93345"/>
                    <a:pt x="602614" y="92075"/>
                    <a:pt x="604519" y="90805"/>
                  </a:cubicBezTo>
                  <a:lnTo>
                    <a:pt x="613409" y="100330"/>
                  </a:lnTo>
                  <a:cubicBezTo>
                    <a:pt x="613409" y="100330"/>
                    <a:pt x="609599" y="103505"/>
                    <a:pt x="607694" y="104775"/>
                  </a:cubicBezTo>
                  <a:cubicBezTo>
                    <a:pt x="605789" y="106045"/>
                    <a:pt x="603884" y="106680"/>
                    <a:pt x="601979" y="107950"/>
                  </a:cubicBezTo>
                  <a:cubicBezTo>
                    <a:pt x="600074" y="108585"/>
                    <a:pt x="597534" y="109855"/>
                    <a:pt x="594994" y="109855"/>
                  </a:cubicBezTo>
                  <a:cubicBezTo>
                    <a:pt x="592454" y="109855"/>
                    <a:pt x="589279" y="110490"/>
                    <a:pt x="586104" y="110490"/>
                  </a:cubicBezTo>
                  <a:cubicBezTo>
                    <a:pt x="582929" y="110490"/>
                    <a:pt x="579754" y="110490"/>
                    <a:pt x="576579" y="109220"/>
                  </a:cubicBezTo>
                  <a:cubicBezTo>
                    <a:pt x="573404" y="108585"/>
                    <a:pt x="570864" y="107315"/>
                    <a:pt x="568959" y="105410"/>
                  </a:cubicBezTo>
                  <a:cubicBezTo>
                    <a:pt x="566419" y="104140"/>
                    <a:pt x="564514" y="102235"/>
                    <a:pt x="562609" y="100330"/>
                  </a:cubicBezTo>
                  <a:cubicBezTo>
                    <a:pt x="560704" y="98425"/>
                    <a:pt x="558799" y="95885"/>
                    <a:pt x="557529" y="92710"/>
                  </a:cubicBezTo>
                  <a:cubicBezTo>
                    <a:pt x="555624" y="89535"/>
                    <a:pt x="554354" y="86360"/>
                    <a:pt x="553719" y="82550"/>
                  </a:cubicBezTo>
                  <a:cubicBezTo>
                    <a:pt x="553084" y="78740"/>
                    <a:pt x="552449" y="74295"/>
                    <a:pt x="552449" y="69850"/>
                  </a:cubicBezTo>
                  <a:cubicBezTo>
                    <a:pt x="552449" y="63500"/>
                    <a:pt x="553084" y="57150"/>
                    <a:pt x="554989" y="52070"/>
                  </a:cubicBezTo>
                  <a:cubicBezTo>
                    <a:pt x="556894" y="46990"/>
                    <a:pt x="558799" y="42545"/>
                    <a:pt x="561974" y="39370"/>
                  </a:cubicBezTo>
                  <a:cubicBezTo>
                    <a:pt x="565149" y="36195"/>
                    <a:pt x="568324" y="33020"/>
                    <a:pt x="572769" y="31750"/>
                  </a:cubicBezTo>
                  <a:cubicBezTo>
                    <a:pt x="577214" y="29845"/>
                    <a:pt x="581659" y="29210"/>
                    <a:pt x="586739" y="29210"/>
                  </a:cubicBezTo>
                  <a:close/>
                  <a:moveTo>
                    <a:pt x="400050" y="29210"/>
                  </a:moveTo>
                  <a:cubicBezTo>
                    <a:pt x="405765" y="29210"/>
                    <a:pt x="410210" y="30480"/>
                    <a:pt x="414655" y="32385"/>
                  </a:cubicBezTo>
                  <a:cubicBezTo>
                    <a:pt x="418465" y="34290"/>
                    <a:pt x="422275" y="37465"/>
                    <a:pt x="424815" y="40640"/>
                  </a:cubicBezTo>
                  <a:cubicBezTo>
                    <a:pt x="427355" y="44450"/>
                    <a:pt x="429260" y="48260"/>
                    <a:pt x="431165" y="53340"/>
                  </a:cubicBezTo>
                  <a:cubicBezTo>
                    <a:pt x="432435" y="57785"/>
                    <a:pt x="433070" y="62865"/>
                    <a:pt x="433070" y="68580"/>
                  </a:cubicBezTo>
                  <a:lnTo>
                    <a:pt x="431800" y="68580"/>
                  </a:lnTo>
                  <a:cubicBezTo>
                    <a:pt x="431800" y="68580"/>
                    <a:pt x="431800" y="71120"/>
                    <a:pt x="431800" y="72390"/>
                  </a:cubicBezTo>
                  <a:cubicBezTo>
                    <a:pt x="431800" y="73660"/>
                    <a:pt x="431800" y="74295"/>
                    <a:pt x="431800" y="75565"/>
                  </a:cubicBezTo>
                  <a:lnTo>
                    <a:pt x="380365" y="75565"/>
                  </a:lnTo>
                  <a:cubicBezTo>
                    <a:pt x="380365" y="79375"/>
                    <a:pt x="381635" y="82550"/>
                    <a:pt x="382905" y="85090"/>
                  </a:cubicBezTo>
                  <a:cubicBezTo>
                    <a:pt x="384175" y="87630"/>
                    <a:pt x="385445" y="90170"/>
                    <a:pt x="387350" y="91440"/>
                  </a:cubicBezTo>
                  <a:cubicBezTo>
                    <a:pt x="389255" y="93345"/>
                    <a:pt x="391160" y="94615"/>
                    <a:pt x="393065" y="95250"/>
                  </a:cubicBezTo>
                  <a:cubicBezTo>
                    <a:pt x="394970" y="95885"/>
                    <a:pt x="397510" y="96520"/>
                    <a:pt x="400050" y="96520"/>
                  </a:cubicBezTo>
                  <a:cubicBezTo>
                    <a:pt x="401955" y="96520"/>
                    <a:pt x="403225" y="96520"/>
                    <a:pt x="405130" y="96520"/>
                  </a:cubicBezTo>
                  <a:cubicBezTo>
                    <a:pt x="406400" y="96520"/>
                    <a:pt x="408305" y="95885"/>
                    <a:pt x="409575" y="95250"/>
                  </a:cubicBezTo>
                  <a:cubicBezTo>
                    <a:pt x="410845" y="95250"/>
                    <a:pt x="412115" y="93980"/>
                    <a:pt x="413385" y="93345"/>
                  </a:cubicBezTo>
                  <a:cubicBezTo>
                    <a:pt x="414655" y="93345"/>
                    <a:pt x="415925" y="92075"/>
                    <a:pt x="417830" y="90805"/>
                  </a:cubicBezTo>
                  <a:lnTo>
                    <a:pt x="426720" y="100330"/>
                  </a:lnTo>
                  <a:cubicBezTo>
                    <a:pt x="426720" y="100330"/>
                    <a:pt x="422910" y="103505"/>
                    <a:pt x="421005" y="104775"/>
                  </a:cubicBezTo>
                  <a:cubicBezTo>
                    <a:pt x="419100" y="106045"/>
                    <a:pt x="417195" y="106680"/>
                    <a:pt x="415290" y="107950"/>
                  </a:cubicBezTo>
                  <a:cubicBezTo>
                    <a:pt x="413385" y="108585"/>
                    <a:pt x="410845" y="109855"/>
                    <a:pt x="408305" y="109855"/>
                  </a:cubicBezTo>
                  <a:cubicBezTo>
                    <a:pt x="405765" y="109855"/>
                    <a:pt x="402590" y="110490"/>
                    <a:pt x="399415" y="110490"/>
                  </a:cubicBezTo>
                  <a:cubicBezTo>
                    <a:pt x="396240" y="110490"/>
                    <a:pt x="393065" y="110490"/>
                    <a:pt x="389890" y="109220"/>
                  </a:cubicBezTo>
                  <a:cubicBezTo>
                    <a:pt x="386715" y="108585"/>
                    <a:pt x="384175" y="107315"/>
                    <a:pt x="382270" y="105410"/>
                  </a:cubicBezTo>
                  <a:cubicBezTo>
                    <a:pt x="380365" y="103505"/>
                    <a:pt x="377825" y="102235"/>
                    <a:pt x="375920" y="100330"/>
                  </a:cubicBezTo>
                  <a:cubicBezTo>
                    <a:pt x="374015" y="98425"/>
                    <a:pt x="372110" y="95885"/>
                    <a:pt x="370840" y="92710"/>
                  </a:cubicBezTo>
                  <a:cubicBezTo>
                    <a:pt x="368935" y="89535"/>
                    <a:pt x="367665" y="86360"/>
                    <a:pt x="367030" y="82550"/>
                  </a:cubicBezTo>
                  <a:cubicBezTo>
                    <a:pt x="366395" y="78740"/>
                    <a:pt x="365760" y="74295"/>
                    <a:pt x="365760" y="69850"/>
                  </a:cubicBezTo>
                  <a:cubicBezTo>
                    <a:pt x="365760" y="63500"/>
                    <a:pt x="366395" y="57150"/>
                    <a:pt x="368300" y="52070"/>
                  </a:cubicBezTo>
                  <a:cubicBezTo>
                    <a:pt x="370205" y="46990"/>
                    <a:pt x="372110" y="42545"/>
                    <a:pt x="375285" y="39370"/>
                  </a:cubicBezTo>
                  <a:cubicBezTo>
                    <a:pt x="378460" y="36195"/>
                    <a:pt x="381635" y="33020"/>
                    <a:pt x="386080" y="31750"/>
                  </a:cubicBezTo>
                  <a:cubicBezTo>
                    <a:pt x="390525" y="29845"/>
                    <a:pt x="394970" y="29210"/>
                    <a:pt x="400050" y="29210"/>
                  </a:cubicBezTo>
                  <a:close/>
                  <a:moveTo>
                    <a:pt x="201930" y="29210"/>
                  </a:moveTo>
                  <a:cubicBezTo>
                    <a:pt x="207645" y="29210"/>
                    <a:pt x="212090" y="30480"/>
                    <a:pt x="216535" y="32385"/>
                  </a:cubicBezTo>
                  <a:cubicBezTo>
                    <a:pt x="220345" y="34290"/>
                    <a:pt x="224155" y="37465"/>
                    <a:pt x="226695" y="40640"/>
                  </a:cubicBezTo>
                  <a:cubicBezTo>
                    <a:pt x="229235" y="44450"/>
                    <a:pt x="231140" y="48260"/>
                    <a:pt x="233045" y="53340"/>
                  </a:cubicBezTo>
                  <a:cubicBezTo>
                    <a:pt x="234315" y="57785"/>
                    <a:pt x="234950" y="62865"/>
                    <a:pt x="234950" y="68580"/>
                  </a:cubicBezTo>
                  <a:lnTo>
                    <a:pt x="233680" y="68580"/>
                  </a:lnTo>
                  <a:cubicBezTo>
                    <a:pt x="233680" y="68580"/>
                    <a:pt x="233680" y="71120"/>
                    <a:pt x="233680" y="72390"/>
                  </a:cubicBezTo>
                  <a:cubicBezTo>
                    <a:pt x="233680" y="73660"/>
                    <a:pt x="233680" y="74295"/>
                    <a:pt x="233680" y="75565"/>
                  </a:cubicBezTo>
                  <a:lnTo>
                    <a:pt x="182245" y="75565"/>
                  </a:lnTo>
                  <a:cubicBezTo>
                    <a:pt x="182245" y="79375"/>
                    <a:pt x="183515" y="82550"/>
                    <a:pt x="184785" y="85090"/>
                  </a:cubicBezTo>
                  <a:cubicBezTo>
                    <a:pt x="186055" y="87630"/>
                    <a:pt x="187325" y="90170"/>
                    <a:pt x="189230" y="91440"/>
                  </a:cubicBezTo>
                  <a:cubicBezTo>
                    <a:pt x="191135" y="93345"/>
                    <a:pt x="193040" y="94615"/>
                    <a:pt x="194945" y="95250"/>
                  </a:cubicBezTo>
                  <a:cubicBezTo>
                    <a:pt x="196850" y="95885"/>
                    <a:pt x="199390" y="96520"/>
                    <a:pt x="201930" y="96520"/>
                  </a:cubicBezTo>
                  <a:cubicBezTo>
                    <a:pt x="203835" y="96520"/>
                    <a:pt x="205105" y="96520"/>
                    <a:pt x="207010" y="96520"/>
                  </a:cubicBezTo>
                  <a:cubicBezTo>
                    <a:pt x="208280" y="96520"/>
                    <a:pt x="210185" y="95885"/>
                    <a:pt x="211455" y="95250"/>
                  </a:cubicBezTo>
                  <a:cubicBezTo>
                    <a:pt x="212725" y="95250"/>
                    <a:pt x="213995" y="93980"/>
                    <a:pt x="215265" y="93345"/>
                  </a:cubicBezTo>
                  <a:cubicBezTo>
                    <a:pt x="216535" y="93345"/>
                    <a:pt x="217805" y="92075"/>
                    <a:pt x="219710" y="90805"/>
                  </a:cubicBezTo>
                  <a:lnTo>
                    <a:pt x="228600" y="100330"/>
                  </a:lnTo>
                  <a:cubicBezTo>
                    <a:pt x="228600" y="100330"/>
                    <a:pt x="224790" y="103505"/>
                    <a:pt x="222885" y="104775"/>
                  </a:cubicBezTo>
                  <a:cubicBezTo>
                    <a:pt x="220980" y="106045"/>
                    <a:pt x="219075" y="106680"/>
                    <a:pt x="217170" y="107950"/>
                  </a:cubicBezTo>
                  <a:cubicBezTo>
                    <a:pt x="215265" y="108585"/>
                    <a:pt x="212725" y="109855"/>
                    <a:pt x="210185" y="109855"/>
                  </a:cubicBezTo>
                  <a:cubicBezTo>
                    <a:pt x="207645" y="109855"/>
                    <a:pt x="204470" y="110490"/>
                    <a:pt x="201295" y="110490"/>
                  </a:cubicBezTo>
                  <a:cubicBezTo>
                    <a:pt x="198120" y="110490"/>
                    <a:pt x="194945" y="110490"/>
                    <a:pt x="191770" y="109220"/>
                  </a:cubicBezTo>
                  <a:cubicBezTo>
                    <a:pt x="188595" y="108585"/>
                    <a:pt x="186055" y="107315"/>
                    <a:pt x="184150" y="105410"/>
                  </a:cubicBezTo>
                  <a:cubicBezTo>
                    <a:pt x="181610" y="104140"/>
                    <a:pt x="179705" y="102235"/>
                    <a:pt x="177800" y="100330"/>
                  </a:cubicBezTo>
                  <a:cubicBezTo>
                    <a:pt x="175895" y="98425"/>
                    <a:pt x="173990" y="95885"/>
                    <a:pt x="172720" y="92710"/>
                  </a:cubicBezTo>
                  <a:cubicBezTo>
                    <a:pt x="170815" y="89535"/>
                    <a:pt x="169545" y="86360"/>
                    <a:pt x="168910" y="82550"/>
                  </a:cubicBezTo>
                  <a:cubicBezTo>
                    <a:pt x="168275" y="78740"/>
                    <a:pt x="167640" y="74295"/>
                    <a:pt x="167640" y="69850"/>
                  </a:cubicBezTo>
                  <a:cubicBezTo>
                    <a:pt x="167640" y="63500"/>
                    <a:pt x="168275" y="57150"/>
                    <a:pt x="170180" y="52070"/>
                  </a:cubicBezTo>
                  <a:cubicBezTo>
                    <a:pt x="172085" y="46990"/>
                    <a:pt x="173990" y="42545"/>
                    <a:pt x="177165" y="39370"/>
                  </a:cubicBezTo>
                  <a:cubicBezTo>
                    <a:pt x="180340" y="36195"/>
                    <a:pt x="183515" y="33020"/>
                    <a:pt x="187960" y="31750"/>
                  </a:cubicBezTo>
                  <a:cubicBezTo>
                    <a:pt x="192405" y="29845"/>
                    <a:pt x="196850" y="29210"/>
                    <a:pt x="201930" y="29210"/>
                  </a:cubicBezTo>
                  <a:close/>
                  <a:moveTo>
                    <a:pt x="4664706" y="28574"/>
                  </a:moveTo>
                  <a:cubicBezTo>
                    <a:pt x="4669786" y="28574"/>
                    <a:pt x="4674231" y="29209"/>
                    <a:pt x="4678676" y="31749"/>
                  </a:cubicBezTo>
                  <a:cubicBezTo>
                    <a:pt x="4683121" y="33654"/>
                    <a:pt x="4686296" y="36194"/>
                    <a:pt x="4689471" y="40004"/>
                  </a:cubicBezTo>
                  <a:cubicBezTo>
                    <a:pt x="4692646" y="43814"/>
                    <a:pt x="4695186" y="47624"/>
                    <a:pt x="4696456" y="52704"/>
                  </a:cubicBezTo>
                  <a:cubicBezTo>
                    <a:pt x="4698361" y="57784"/>
                    <a:pt x="4698996" y="63499"/>
                    <a:pt x="4698996" y="69214"/>
                  </a:cubicBezTo>
                  <a:lnTo>
                    <a:pt x="4699631" y="69214"/>
                  </a:lnTo>
                  <a:cubicBezTo>
                    <a:pt x="4699631" y="75564"/>
                    <a:pt x="4698996" y="81279"/>
                    <a:pt x="4697091" y="86359"/>
                  </a:cubicBezTo>
                  <a:cubicBezTo>
                    <a:pt x="4695186" y="91439"/>
                    <a:pt x="4692646" y="95884"/>
                    <a:pt x="4689471" y="99059"/>
                  </a:cubicBezTo>
                  <a:cubicBezTo>
                    <a:pt x="4686296" y="102869"/>
                    <a:pt x="4682486" y="105409"/>
                    <a:pt x="4678041" y="107314"/>
                  </a:cubicBezTo>
                  <a:cubicBezTo>
                    <a:pt x="4673596" y="109219"/>
                    <a:pt x="4669151" y="109854"/>
                    <a:pt x="4664071" y="109854"/>
                  </a:cubicBezTo>
                  <a:cubicBezTo>
                    <a:pt x="4658991" y="109854"/>
                    <a:pt x="4654546" y="108584"/>
                    <a:pt x="4650101" y="106679"/>
                  </a:cubicBezTo>
                  <a:cubicBezTo>
                    <a:pt x="4645656" y="104774"/>
                    <a:pt x="4642481" y="102234"/>
                    <a:pt x="4639306" y="98424"/>
                  </a:cubicBezTo>
                  <a:cubicBezTo>
                    <a:pt x="4636131" y="94614"/>
                    <a:pt x="4633591" y="90804"/>
                    <a:pt x="4632321" y="85724"/>
                  </a:cubicBezTo>
                  <a:cubicBezTo>
                    <a:pt x="4630416" y="80644"/>
                    <a:pt x="4629781" y="74929"/>
                    <a:pt x="4629781" y="69214"/>
                  </a:cubicBezTo>
                  <a:cubicBezTo>
                    <a:pt x="4629781" y="63499"/>
                    <a:pt x="4630416" y="57149"/>
                    <a:pt x="4632321" y="52069"/>
                  </a:cubicBezTo>
                  <a:cubicBezTo>
                    <a:pt x="4634226" y="46989"/>
                    <a:pt x="4636766" y="42544"/>
                    <a:pt x="4639941" y="39369"/>
                  </a:cubicBezTo>
                  <a:cubicBezTo>
                    <a:pt x="4643116" y="35559"/>
                    <a:pt x="4646926" y="33019"/>
                    <a:pt x="4650736" y="31114"/>
                  </a:cubicBezTo>
                  <a:cubicBezTo>
                    <a:pt x="4655181" y="29209"/>
                    <a:pt x="4659626" y="28574"/>
                    <a:pt x="4664706" y="28574"/>
                  </a:cubicBezTo>
                  <a:close/>
                  <a:moveTo>
                    <a:pt x="4264655" y="28574"/>
                  </a:moveTo>
                  <a:cubicBezTo>
                    <a:pt x="4269735" y="28574"/>
                    <a:pt x="4274180" y="29209"/>
                    <a:pt x="4278625" y="31749"/>
                  </a:cubicBezTo>
                  <a:cubicBezTo>
                    <a:pt x="4283070" y="33654"/>
                    <a:pt x="4286245" y="36194"/>
                    <a:pt x="4289420" y="40004"/>
                  </a:cubicBezTo>
                  <a:cubicBezTo>
                    <a:pt x="4292595" y="43814"/>
                    <a:pt x="4295135" y="47624"/>
                    <a:pt x="4296405" y="52704"/>
                  </a:cubicBezTo>
                  <a:cubicBezTo>
                    <a:pt x="4298310" y="57784"/>
                    <a:pt x="4298945" y="63499"/>
                    <a:pt x="4298945" y="69214"/>
                  </a:cubicBezTo>
                  <a:lnTo>
                    <a:pt x="4299580" y="69214"/>
                  </a:lnTo>
                  <a:cubicBezTo>
                    <a:pt x="4299580" y="75564"/>
                    <a:pt x="4298945" y="81279"/>
                    <a:pt x="4297040" y="86359"/>
                  </a:cubicBezTo>
                  <a:cubicBezTo>
                    <a:pt x="4295135" y="91439"/>
                    <a:pt x="4292595" y="95884"/>
                    <a:pt x="4289420" y="99059"/>
                  </a:cubicBezTo>
                  <a:cubicBezTo>
                    <a:pt x="4286245" y="102869"/>
                    <a:pt x="4282435" y="105409"/>
                    <a:pt x="4277990" y="107314"/>
                  </a:cubicBezTo>
                  <a:cubicBezTo>
                    <a:pt x="4273545" y="109219"/>
                    <a:pt x="4269100" y="109854"/>
                    <a:pt x="4264020" y="109854"/>
                  </a:cubicBezTo>
                  <a:cubicBezTo>
                    <a:pt x="4258940" y="109854"/>
                    <a:pt x="4254495" y="108584"/>
                    <a:pt x="4250050" y="106679"/>
                  </a:cubicBezTo>
                  <a:cubicBezTo>
                    <a:pt x="4245605" y="104774"/>
                    <a:pt x="4242430" y="102234"/>
                    <a:pt x="4239255" y="98424"/>
                  </a:cubicBezTo>
                  <a:cubicBezTo>
                    <a:pt x="4236080" y="94614"/>
                    <a:pt x="4233540" y="90804"/>
                    <a:pt x="4232270" y="85724"/>
                  </a:cubicBezTo>
                  <a:cubicBezTo>
                    <a:pt x="4230365" y="80644"/>
                    <a:pt x="4229730" y="74929"/>
                    <a:pt x="4229730" y="69214"/>
                  </a:cubicBezTo>
                  <a:cubicBezTo>
                    <a:pt x="4229730" y="63499"/>
                    <a:pt x="4230365" y="57149"/>
                    <a:pt x="4232270" y="52069"/>
                  </a:cubicBezTo>
                  <a:cubicBezTo>
                    <a:pt x="4234175" y="46989"/>
                    <a:pt x="4236715" y="42544"/>
                    <a:pt x="4239890" y="39369"/>
                  </a:cubicBezTo>
                  <a:cubicBezTo>
                    <a:pt x="4243065" y="35559"/>
                    <a:pt x="4246875" y="33019"/>
                    <a:pt x="4250685" y="31114"/>
                  </a:cubicBezTo>
                  <a:cubicBezTo>
                    <a:pt x="4255130" y="29209"/>
                    <a:pt x="4259575" y="28574"/>
                    <a:pt x="4264655" y="28574"/>
                  </a:cubicBezTo>
                  <a:close/>
                  <a:moveTo>
                    <a:pt x="1420495" y="28574"/>
                  </a:moveTo>
                  <a:cubicBezTo>
                    <a:pt x="1425575" y="28574"/>
                    <a:pt x="1430020" y="29209"/>
                    <a:pt x="1434465" y="31749"/>
                  </a:cubicBezTo>
                  <a:cubicBezTo>
                    <a:pt x="1438910" y="33654"/>
                    <a:pt x="1442085" y="36194"/>
                    <a:pt x="1445260" y="40004"/>
                  </a:cubicBezTo>
                  <a:cubicBezTo>
                    <a:pt x="1448435" y="43814"/>
                    <a:pt x="1450975" y="47624"/>
                    <a:pt x="1452245" y="52704"/>
                  </a:cubicBezTo>
                  <a:cubicBezTo>
                    <a:pt x="1454150" y="57784"/>
                    <a:pt x="1454785" y="63499"/>
                    <a:pt x="1454785" y="69214"/>
                  </a:cubicBezTo>
                  <a:lnTo>
                    <a:pt x="1455420" y="69214"/>
                  </a:lnTo>
                  <a:cubicBezTo>
                    <a:pt x="1455420" y="75564"/>
                    <a:pt x="1454785" y="81279"/>
                    <a:pt x="1452880" y="86359"/>
                  </a:cubicBezTo>
                  <a:cubicBezTo>
                    <a:pt x="1450975" y="91439"/>
                    <a:pt x="1448435" y="95884"/>
                    <a:pt x="1445260" y="99059"/>
                  </a:cubicBezTo>
                  <a:cubicBezTo>
                    <a:pt x="1442085" y="102869"/>
                    <a:pt x="1438275" y="105409"/>
                    <a:pt x="1433830" y="107314"/>
                  </a:cubicBezTo>
                  <a:cubicBezTo>
                    <a:pt x="1429385" y="109219"/>
                    <a:pt x="1424940" y="109854"/>
                    <a:pt x="1419860" y="109854"/>
                  </a:cubicBezTo>
                  <a:cubicBezTo>
                    <a:pt x="1414780" y="109854"/>
                    <a:pt x="1410335" y="108584"/>
                    <a:pt x="1405890" y="106679"/>
                  </a:cubicBezTo>
                  <a:cubicBezTo>
                    <a:pt x="1401444" y="104774"/>
                    <a:pt x="1398270" y="102234"/>
                    <a:pt x="1395095" y="98424"/>
                  </a:cubicBezTo>
                  <a:cubicBezTo>
                    <a:pt x="1391920" y="94614"/>
                    <a:pt x="1389380" y="90804"/>
                    <a:pt x="1388110" y="85724"/>
                  </a:cubicBezTo>
                  <a:cubicBezTo>
                    <a:pt x="1386205" y="80644"/>
                    <a:pt x="1385570" y="74929"/>
                    <a:pt x="1385570" y="69214"/>
                  </a:cubicBezTo>
                  <a:cubicBezTo>
                    <a:pt x="1385570" y="63499"/>
                    <a:pt x="1386205" y="57149"/>
                    <a:pt x="1388110" y="52069"/>
                  </a:cubicBezTo>
                  <a:cubicBezTo>
                    <a:pt x="1390015" y="46989"/>
                    <a:pt x="1392555" y="42544"/>
                    <a:pt x="1395730" y="39369"/>
                  </a:cubicBezTo>
                  <a:cubicBezTo>
                    <a:pt x="1398905" y="35559"/>
                    <a:pt x="1402715" y="33019"/>
                    <a:pt x="1406525" y="31114"/>
                  </a:cubicBezTo>
                  <a:cubicBezTo>
                    <a:pt x="1410970" y="29209"/>
                    <a:pt x="1415415" y="28574"/>
                    <a:pt x="1420495" y="28574"/>
                  </a:cubicBezTo>
                  <a:close/>
                  <a:moveTo>
                    <a:pt x="3143245" y="5079"/>
                  </a:moveTo>
                  <a:lnTo>
                    <a:pt x="3219445" y="5079"/>
                  </a:lnTo>
                  <a:lnTo>
                    <a:pt x="3219445" y="20319"/>
                  </a:lnTo>
                  <a:lnTo>
                    <a:pt x="3188965" y="20319"/>
                  </a:lnTo>
                  <a:lnTo>
                    <a:pt x="3188965" y="108584"/>
                  </a:lnTo>
                  <a:lnTo>
                    <a:pt x="3173090" y="108584"/>
                  </a:lnTo>
                  <a:lnTo>
                    <a:pt x="3173090" y="20319"/>
                  </a:lnTo>
                  <a:lnTo>
                    <a:pt x="3143245" y="20319"/>
                  </a:lnTo>
                  <a:close/>
                  <a:moveTo>
                    <a:pt x="1628774" y="5079"/>
                  </a:moveTo>
                  <a:lnTo>
                    <a:pt x="1704970" y="5079"/>
                  </a:lnTo>
                  <a:lnTo>
                    <a:pt x="1704970" y="20319"/>
                  </a:lnTo>
                  <a:lnTo>
                    <a:pt x="1675129" y="20319"/>
                  </a:lnTo>
                  <a:lnTo>
                    <a:pt x="1675129" y="108584"/>
                  </a:lnTo>
                  <a:lnTo>
                    <a:pt x="1659255" y="108584"/>
                  </a:lnTo>
                  <a:lnTo>
                    <a:pt x="1659255" y="20319"/>
                  </a:lnTo>
                  <a:lnTo>
                    <a:pt x="1628774" y="20319"/>
                  </a:lnTo>
                  <a:close/>
                  <a:moveTo>
                    <a:pt x="0" y="5079"/>
                  </a:moveTo>
                  <a:lnTo>
                    <a:pt x="76200" y="5079"/>
                  </a:lnTo>
                  <a:lnTo>
                    <a:pt x="76200" y="20319"/>
                  </a:lnTo>
                  <a:lnTo>
                    <a:pt x="45720" y="20319"/>
                  </a:lnTo>
                  <a:lnTo>
                    <a:pt x="45720" y="108584"/>
                  </a:lnTo>
                  <a:lnTo>
                    <a:pt x="29845" y="108584"/>
                  </a:lnTo>
                  <a:lnTo>
                    <a:pt x="29845" y="20319"/>
                  </a:lnTo>
                  <a:lnTo>
                    <a:pt x="0" y="20319"/>
                  </a:lnTo>
                  <a:close/>
                  <a:moveTo>
                    <a:pt x="1362075" y="1269"/>
                  </a:moveTo>
                  <a:cubicBezTo>
                    <a:pt x="1363345" y="1269"/>
                    <a:pt x="1364615" y="1269"/>
                    <a:pt x="1365885" y="1904"/>
                  </a:cubicBezTo>
                  <a:cubicBezTo>
                    <a:pt x="1367155" y="1904"/>
                    <a:pt x="1367790" y="3174"/>
                    <a:pt x="1369060" y="3809"/>
                  </a:cubicBezTo>
                  <a:cubicBezTo>
                    <a:pt x="1369695" y="4444"/>
                    <a:pt x="1370965" y="5714"/>
                    <a:pt x="1370965" y="6984"/>
                  </a:cubicBezTo>
                  <a:cubicBezTo>
                    <a:pt x="1370965" y="8254"/>
                    <a:pt x="1371600" y="9524"/>
                    <a:pt x="1371600" y="10794"/>
                  </a:cubicBezTo>
                  <a:cubicBezTo>
                    <a:pt x="1371600" y="10794"/>
                    <a:pt x="1371600" y="13334"/>
                    <a:pt x="1370965" y="14604"/>
                  </a:cubicBezTo>
                  <a:cubicBezTo>
                    <a:pt x="1370965" y="15874"/>
                    <a:pt x="1369695" y="17144"/>
                    <a:pt x="1369060" y="17779"/>
                  </a:cubicBezTo>
                  <a:cubicBezTo>
                    <a:pt x="1368425" y="18414"/>
                    <a:pt x="1367155" y="19684"/>
                    <a:pt x="1365885" y="19684"/>
                  </a:cubicBezTo>
                  <a:cubicBezTo>
                    <a:pt x="1364615" y="19684"/>
                    <a:pt x="1363345" y="20319"/>
                    <a:pt x="1362075" y="20319"/>
                  </a:cubicBezTo>
                  <a:cubicBezTo>
                    <a:pt x="1360805" y="20319"/>
                    <a:pt x="1359535" y="20319"/>
                    <a:pt x="1358265" y="19684"/>
                  </a:cubicBezTo>
                  <a:cubicBezTo>
                    <a:pt x="1356995" y="19684"/>
                    <a:pt x="1355725" y="18414"/>
                    <a:pt x="1355090" y="17779"/>
                  </a:cubicBezTo>
                  <a:cubicBezTo>
                    <a:pt x="1354455" y="17144"/>
                    <a:pt x="1353185" y="15874"/>
                    <a:pt x="1353185" y="14604"/>
                  </a:cubicBezTo>
                  <a:cubicBezTo>
                    <a:pt x="1353185" y="13334"/>
                    <a:pt x="1352550" y="12064"/>
                    <a:pt x="1352550" y="10794"/>
                  </a:cubicBezTo>
                  <a:cubicBezTo>
                    <a:pt x="1352550" y="9524"/>
                    <a:pt x="1352550" y="8254"/>
                    <a:pt x="1353185" y="6984"/>
                  </a:cubicBezTo>
                  <a:cubicBezTo>
                    <a:pt x="1353185" y="5714"/>
                    <a:pt x="1354455" y="4444"/>
                    <a:pt x="1355090" y="3809"/>
                  </a:cubicBezTo>
                  <a:cubicBezTo>
                    <a:pt x="1355725" y="3174"/>
                    <a:pt x="1356995" y="1904"/>
                    <a:pt x="1358265" y="1904"/>
                  </a:cubicBezTo>
                  <a:cubicBezTo>
                    <a:pt x="1359535" y="1904"/>
                    <a:pt x="1360805" y="1269"/>
                    <a:pt x="1362075" y="1269"/>
                  </a:cubicBezTo>
                  <a:close/>
                  <a:moveTo>
                    <a:pt x="4789801" y="634"/>
                  </a:moveTo>
                  <a:lnTo>
                    <a:pt x="4789801" y="65404"/>
                  </a:lnTo>
                  <a:lnTo>
                    <a:pt x="4814566" y="31114"/>
                  </a:lnTo>
                  <a:lnTo>
                    <a:pt x="4831711" y="31114"/>
                  </a:lnTo>
                  <a:lnTo>
                    <a:pt x="4812026" y="57149"/>
                  </a:lnTo>
                  <a:lnTo>
                    <a:pt x="4835521" y="108584"/>
                  </a:lnTo>
                  <a:lnTo>
                    <a:pt x="4819011" y="108584"/>
                  </a:lnTo>
                  <a:lnTo>
                    <a:pt x="4801866" y="69849"/>
                  </a:lnTo>
                  <a:lnTo>
                    <a:pt x="4789801" y="85724"/>
                  </a:lnTo>
                  <a:lnTo>
                    <a:pt x="4789801" y="108584"/>
                  </a:lnTo>
                  <a:lnTo>
                    <a:pt x="4774561" y="108584"/>
                  </a:lnTo>
                  <a:lnTo>
                    <a:pt x="4774561" y="8889"/>
                  </a:lnTo>
                  <a:close/>
                  <a:moveTo>
                    <a:pt x="4472301" y="634"/>
                  </a:moveTo>
                  <a:lnTo>
                    <a:pt x="4472301" y="109219"/>
                  </a:lnTo>
                  <a:lnTo>
                    <a:pt x="4457061" y="109219"/>
                  </a:lnTo>
                  <a:lnTo>
                    <a:pt x="4457696" y="108584"/>
                  </a:lnTo>
                  <a:lnTo>
                    <a:pt x="4457696" y="100964"/>
                  </a:lnTo>
                  <a:cubicBezTo>
                    <a:pt x="4457696" y="100964"/>
                    <a:pt x="4454521" y="103504"/>
                    <a:pt x="4453251" y="104774"/>
                  </a:cubicBezTo>
                  <a:cubicBezTo>
                    <a:pt x="4451981" y="106044"/>
                    <a:pt x="4450076" y="106679"/>
                    <a:pt x="4448171" y="107949"/>
                  </a:cubicBezTo>
                  <a:cubicBezTo>
                    <a:pt x="4446266" y="108584"/>
                    <a:pt x="4444361" y="109219"/>
                    <a:pt x="4443091" y="109854"/>
                  </a:cubicBezTo>
                  <a:cubicBezTo>
                    <a:pt x="4441186" y="109854"/>
                    <a:pt x="4439281" y="109854"/>
                    <a:pt x="4437376" y="109854"/>
                  </a:cubicBezTo>
                  <a:cubicBezTo>
                    <a:pt x="4432931" y="109854"/>
                    <a:pt x="4429121" y="109219"/>
                    <a:pt x="4425946" y="107314"/>
                  </a:cubicBezTo>
                  <a:cubicBezTo>
                    <a:pt x="4422136" y="106044"/>
                    <a:pt x="4418961" y="103504"/>
                    <a:pt x="4416421" y="99694"/>
                  </a:cubicBezTo>
                  <a:cubicBezTo>
                    <a:pt x="4413881" y="96519"/>
                    <a:pt x="4411341" y="92074"/>
                    <a:pt x="4410071" y="86994"/>
                  </a:cubicBezTo>
                  <a:cubicBezTo>
                    <a:pt x="4408801" y="81914"/>
                    <a:pt x="4407531" y="75564"/>
                    <a:pt x="4407531" y="67944"/>
                  </a:cubicBezTo>
                  <a:cubicBezTo>
                    <a:pt x="4407531" y="61594"/>
                    <a:pt x="4408166" y="55244"/>
                    <a:pt x="4410071" y="50799"/>
                  </a:cubicBezTo>
                  <a:cubicBezTo>
                    <a:pt x="4411976" y="45719"/>
                    <a:pt x="4413881" y="41909"/>
                    <a:pt x="4417056" y="38734"/>
                  </a:cubicBezTo>
                  <a:cubicBezTo>
                    <a:pt x="4419596" y="35559"/>
                    <a:pt x="4423406" y="33019"/>
                    <a:pt x="4426581" y="31749"/>
                  </a:cubicBezTo>
                  <a:cubicBezTo>
                    <a:pt x="4430391" y="29844"/>
                    <a:pt x="4434201" y="29209"/>
                    <a:pt x="4438011" y="29209"/>
                  </a:cubicBezTo>
                  <a:cubicBezTo>
                    <a:pt x="4439916" y="29209"/>
                    <a:pt x="4441821" y="29209"/>
                    <a:pt x="4443726" y="29844"/>
                  </a:cubicBezTo>
                  <a:cubicBezTo>
                    <a:pt x="4445631" y="29844"/>
                    <a:pt x="4447536" y="31114"/>
                    <a:pt x="4448806" y="31749"/>
                  </a:cubicBezTo>
                  <a:cubicBezTo>
                    <a:pt x="4450711" y="32384"/>
                    <a:pt x="4451981" y="33654"/>
                    <a:pt x="4453251" y="34924"/>
                  </a:cubicBezTo>
                  <a:cubicBezTo>
                    <a:pt x="4454521" y="36194"/>
                    <a:pt x="4455791" y="36829"/>
                    <a:pt x="4457061" y="38099"/>
                  </a:cubicBezTo>
                  <a:lnTo>
                    <a:pt x="4457061" y="8254"/>
                  </a:lnTo>
                  <a:close/>
                  <a:moveTo>
                    <a:pt x="4390385" y="634"/>
                  </a:moveTo>
                  <a:lnTo>
                    <a:pt x="4390385" y="108584"/>
                  </a:lnTo>
                  <a:lnTo>
                    <a:pt x="4375145" y="108584"/>
                  </a:lnTo>
                  <a:lnTo>
                    <a:pt x="4375145" y="8889"/>
                  </a:lnTo>
                  <a:close/>
                  <a:moveTo>
                    <a:pt x="3946521" y="634"/>
                  </a:moveTo>
                  <a:lnTo>
                    <a:pt x="3946521" y="38099"/>
                  </a:lnTo>
                  <a:cubicBezTo>
                    <a:pt x="3946521" y="38099"/>
                    <a:pt x="3948426" y="35559"/>
                    <a:pt x="3950331" y="34289"/>
                  </a:cubicBezTo>
                  <a:cubicBezTo>
                    <a:pt x="3951601" y="33019"/>
                    <a:pt x="3953506" y="32384"/>
                    <a:pt x="3954776" y="31114"/>
                  </a:cubicBezTo>
                  <a:cubicBezTo>
                    <a:pt x="3956681" y="30479"/>
                    <a:pt x="3958586" y="29844"/>
                    <a:pt x="3960491" y="29209"/>
                  </a:cubicBezTo>
                  <a:cubicBezTo>
                    <a:pt x="3962396" y="29209"/>
                    <a:pt x="3964301" y="29209"/>
                    <a:pt x="3966206" y="29209"/>
                  </a:cubicBezTo>
                  <a:cubicBezTo>
                    <a:pt x="3970651" y="29209"/>
                    <a:pt x="3975096" y="29844"/>
                    <a:pt x="3978271" y="31749"/>
                  </a:cubicBezTo>
                  <a:cubicBezTo>
                    <a:pt x="3981446" y="33019"/>
                    <a:pt x="3984621" y="35559"/>
                    <a:pt x="3987161" y="38099"/>
                  </a:cubicBezTo>
                  <a:cubicBezTo>
                    <a:pt x="3989701" y="41274"/>
                    <a:pt x="3990971" y="44449"/>
                    <a:pt x="3992241" y="49529"/>
                  </a:cubicBezTo>
                  <a:cubicBezTo>
                    <a:pt x="3993511" y="53974"/>
                    <a:pt x="3994146" y="59054"/>
                    <a:pt x="3994146" y="64134"/>
                  </a:cubicBezTo>
                  <a:lnTo>
                    <a:pt x="3994146" y="108584"/>
                  </a:lnTo>
                  <a:lnTo>
                    <a:pt x="3978906" y="108584"/>
                  </a:lnTo>
                  <a:lnTo>
                    <a:pt x="3978271" y="108584"/>
                  </a:lnTo>
                  <a:lnTo>
                    <a:pt x="3978271" y="64769"/>
                  </a:lnTo>
                  <a:cubicBezTo>
                    <a:pt x="3978271" y="57784"/>
                    <a:pt x="3977001" y="52069"/>
                    <a:pt x="3974461" y="48894"/>
                  </a:cubicBezTo>
                  <a:cubicBezTo>
                    <a:pt x="3971921" y="45084"/>
                    <a:pt x="3968111" y="43814"/>
                    <a:pt x="3962396" y="43814"/>
                  </a:cubicBezTo>
                  <a:cubicBezTo>
                    <a:pt x="3959856" y="43814"/>
                    <a:pt x="3957951" y="43814"/>
                    <a:pt x="3956046" y="45084"/>
                  </a:cubicBezTo>
                  <a:cubicBezTo>
                    <a:pt x="3954141" y="45719"/>
                    <a:pt x="3952236" y="46989"/>
                    <a:pt x="3950966" y="48894"/>
                  </a:cubicBezTo>
                  <a:cubicBezTo>
                    <a:pt x="3949696" y="50799"/>
                    <a:pt x="3948426" y="52704"/>
                    <a:pt x="3947791" y="55244"/>
                  </a:cubicBezTo>
                  <a:cubicBezTo>
                    <a:pt x="3947156" y="57784"/>
                    <a:pt x="3946521" y="60324"/>
                    <a:pt x="3946521" y="63499"/>
                  </a:cubicBezTo>
                  <a:lnTo>
                    <a:pt x="3946521" y="109219"/>
                  </a:lnTo>
                  <a:lnTo>
                    <a:pt x="3931281" y="109219"/>
                  </a:lnTo>
                  <a:lnTo>
                    <a:pt x="3931281" y="8889"/>
                  </a:lnTo>
                  <a:close/>
                  <a:moveTo>
                    <a:pt x="3248021" y="634"/>
                  </a:moveTo>
                  <a:lnTo>
                    <a:pt x="3248021" y="38099"/>
                  </a:lnTo>
                  <a:cubicBezTo>
                    <a:pt x="3248021" y="38099"/>
                    <a:pt x="3249926" y="35559"/>
                    <a:pt x="3251831" y="34289"/>
                  </a:cubicBezTo>
                  <a:cubicBezTo>
                    <a:pt x="3253101" y="33019"/>
                    <a:pt x="3255006" y="32384"/>
                    <a:pt x="3256276" y="31114"/>
                  </a:cubicBezTo>
                  <a:cubicBezTo>
                    <a:pt x="3258181" y="30479"/>
                    <a:pt x="3260086" y="29844"/>
                    <a:pt x="3261991" y="29209"/>
                  </a:cubicBezTo>
                  <a:cubicBezTo>
                    <a:pt x="3263896" y="29209"/>
                    <a:pt x="3265801" y="29209"/>
                    <a:pt x="3267706" y="29209"/>
                  </a:cubicBezTo>
                  <a:cubicBezTo>
                    <a:pt x="3272151" y="29209"/>
                    <a:pt x="3276596" y="29844"/>
                    <a:pt x="3279771" y="31749"/>
                  </a:cubicBezTo>
                  <a:cubicBezTo>
                    <a:pt x="3282946" y="33019"/>
                    <a:pt x="3286121" y="35559"/>
                    <a:pt x="3288661" y="38099"/>
                  </a:cubicBezTo>
                  <a:cubicBezTo>
                    <a:pt x="3291201" y="41274"/>
                    <a:pt x="3292471" y="44449"/>
                    <a:pt x="3293741" y="49529"/>
                  </a:cubicBezTo>
                  <a:cubicBezTo>
                    <a:pt x="3295011" y="53974"/>
                    <a:pt x="3295646" y="59054"/>
                    <a:pt x="3295646" y="64134"/>
                  </a:cubicBezTo>
                  <a:lnTo>
                    <a:pt x="3295646" y="108584"/>
                  </a:lnTo>
                  <a:lnTo>
                    <a:pt x="3280406" y="108584"/>
                  </a:lnTo>
                  <a:lnTo>
                    <a:pt x="3279771" y="108584"/>
                  </a:lnTo>
                  <a:lnTo>
                    <a:pt x="3279771" y="64769"/>
                  </a:lnTo>
                  <a:cubicBezTo>
                    <a:pt x="3279771" y="57784"/>
                    <a:pt x="3278501" y="52069"/>
                    <a:pt x="3275961" y="48894"/>
                  </a:cubicBezTo>
                  <a:cubicBezTo>
                    <a:pt x="3273421" y="45084"/>
                    <a:pt x="3269611" y="43814"/>
                    <a:pt x="3263896" y="43814"/>
                  </a:cubicBezTo>
                  <a:cubicBezTo>
                    <a:pt x="3261356" y="43814"/>
                    <a:pt x="3259451" y="43814"/>
                    <a:pt x="3257546" y="45084"/>
                  </a:cubicBezTo>
                  <a:cubicBezTo>
                    <a:pt x="3255641" y="45719"/>
                    <a:pt x="3253736" y="46989"/>
                    <a:pt x="3252466" y="48894"/>
                  </a:cubicBezTo>
                  <a:cubicBezTo>
                    <a:pt x="3251196" y="50799"/>
                    <a:pt x="3249926" y="52704"/>
                    <a:pt x="3249291" y="55244"/>
                  </a:cubicBezTo>
                  <a:cubicBezTo>
                    <a:pt x="3248656" y="57784"/>
                    <a:pt x="3248021" y="60324"/>
                    <a:pt x="3248021" y="63499"/>
                  </a:cubicBezTo>
                  <a:lnTo>
                    <a:pt x="3248021" y="109219"/>
                  </a:lnTo>
                  <a:lnTo>
                    <a:pt x="3232781" y="109219"/>
                  </a:lnTo>
                  <a:lnTo>
                    <a:pt x="3232781" y="8889"/>
                  </a:lnTo>
                  <a:close/>
                  <a:moveTo>
                    <a:pt x="2432681" y="634"/>
                  </a:moveTo>
                  <a:lnTo>
                    <a:pt x="2432681" y="38099"/>
                  </a:lnTo>
                  <a:cubicBezTo>
                    <a:pt x="2432681" y="38099"/>
                    <a:pt x="2434586" y="35559"/>
                    <a:pt x="2436491" y="34289"/>
                  </a:cubicBezTo>
                  <a:cubicBezTo>
                    <a:pt x="2437761" y="33019"/>
                    <a:pt x="2439666" y="32384"/>
                    <a:pt x="2440936" y="31114"/>
                  </a:cubicBezTo>
                  <a:cubicBezTo>
                    <a:pt x="2442841" y="30479"/>
                    <a:pt x="2444746" y="29844"/>
                    <a:pt x="2446651" y="29209"/>
                  </a:cubicBezTo>
                  <a:cubicBezTo>
                    <a:pt x="2448556" y="29209"/>
                    <a:pt x="2450461" y="29209"/>
                    <a:pt x="2452366" y="29209"/>
                  </a:cubicBezTo>
                  <a:cubicBezTo>
                    <a:pt x="2456811" y="29209"/>
                    <a:pt x="2461256" y="29844"/>
                    <a:pt x="2464431" y="31749"/>
                  </a:cubicBezTo>
                  <a:cubicBezTo>
                    <a:pt x="2467606" y="33019"/>
                    <a:pt x="2470781" y="35559"/>
                    <a:pt x="2473321" y="38099"/>
                  </a:cubicBezTo>
                  <a:cubicBezTo>
                    <a:pt x="2475861" y="41274"/>
                    <a:pt x="2477131" y="44449"/>
                    <a:pt x="2478401" y="49529"/>
                  </a:cubicBezTo>
                  <a:cubicBezTo>
                    <a:pt x="2479671" y="53974"/>
                    <a:pt x="2480306" y="59054"/>
                    <a:pt x="2480306" y="64134"/>
                  </a:cubicBezTo>
                  <a:lnTo>
                    <a:pt x="2480306" y="108584"/>
                  </a:lnTo>
                  <a:lnTo>
                    <a:pt x="2465066" y="108584"/>
                  </a:lnTo>
                  <a:lnTo>
                    <a:pt x="2464431" y="108584"/>
                  </a:lnTo>
                  <a:lnTo>
                    <a:pt x="2464431" y="64769"/>
                  </a:lnTo>
                  <a:cubicBezTo>
                    <a:pt x="2464431" y="57784"/>
                    <a:pt x="2463161" y="52069"/>
                    <a:pt x="2460621" y="48894"/>
                  </a:cubicBezTo>
                  <a:cubicBezTo>
                    <a:pt x="2458081" y="45084"/>
                    <a:pt x="2454271" y="43814"/>
                    <a:pt x="2448556" y="43814"/>
                  </a:cubicBezTo>
                  <a:cubicBezTo>
                    <a:pt x="2446016" y="43814"/>
                    <a:pt x="2444111" y="43814"/>
                    <a:pt x="2442206" y="45084"/>
                  </a:cubicBezTo>
                  <a:cubicBezTo>
                    <a:pt x="2440301" y="45719"/>
                    <a:pt x="2438396" y="46989"/>
                    <a:pt x="2437126" y="48894"/>
                  </a:cubicBezTo>
                  <a:cubicBezTo>
                    <a:pt x="2435856" y="50799"/>
                    <a:pt x="2434586" y="52704"/>
                    <a:pt x="2433951" y="55244"/>
                  </a:cubicBezTo>
                  <a:cubicBezTo>
                    <a:pt x="2433316" y="57784"/>
                    <a:pt x="2432681" y="60324"/>
                    <a:pt x="2432681" y="63499"/>
                  </a:cubicBezTo>
                  <a:lnTo>
                    <a:pt x="2432681" y="109219"/>
                  </a:lnTo>
                  <a:lnTo>
                    <a:pt x="2417441" y="109219"/>
                  </a:lnTo>
                  <a:lnTo>
                    <a:pt x="2417441" y="8889"/>
                  </a:lnTo>
                  <a:close/>
                  <a:moveTo>
                    <a:pt x="1734181" y="634"/>
                  </a:moveTo>
                  <a:lnTo>
                    <a:pt x="1734181" y="38099"/>
                  </a:lnTo>
                  <a:cubicBezTo>
                    <a:pt x="1734181" y="38099"/>
                    <a:pt x="1736086" y="35559"/>
                    <a:pt x="1737991" y="34289"/>
                  </a:cubicBezTo>
                  <a:cubicBezTo>
                    <a:pt x="1739261" y="33019"/>
                    <a:pt x="1741166" y="32384"/>
                    <a:pt x="1742436" y="31114"/>
                  </a:cubicBezTo>
                  <a:cubicBezTo>
                    <a:pt x="1744341" y="30479"/>
                    <a:pt x="1746246" y="29844"/>
                    <a:pt x="1748151" y="29209"/>
                  </a:cubicBezTo>
                  <a:cubicBezTo>
                    <a:pt x="1750056" y="29209"/>
                    <a:pt x="1751961" y="29209"/>
                    <a:pt x="1753866" y="29209"/>
                  </a:cubicBezTo>
                  <a:cubicBezTo>
                    <a:pt x="1758311" y="29209"/>
                    <a:pt x="1762756" y="29844"/>
                    <a:pt x="1765931" y="31749"/>
                  </a:cubicBezTo>
                  <a:cubicBezTo>
                    <a:pt x="1769106" y="33019"/>
                    <a:pt x="1772281" y="35559"/>
                    <a:pt x="1774821" y="38099"/>
                  </a:cubicBezTo>
                  <a:cubicBezTo>
                    <a:pt x="1777361" y="41274"/>
                    <a:pt x="1778631" y="44449"/>
                    <a:pt x="1779901" y="49529"/>
                  </a:cubicBezTo>
                  <a:cubicBezTo>
                    <a:pt x="1781171" y="53974"/>
                    <a:pt x="1781806" y="59054"/>
                    <a:pt x="1781806" y="64134"/>
                  </a:cubicBezTo>
                  <a:lnTo>
                    <a:pt x="1781806" y="108584"/>
                  </a:lnTo>
                  <a:lnTo>
                    <a:pt x="1766566" y="108584"/>
                  </a:lnTo>
                  <a:lnTo>
                    <a:pt x="1765931" y="108584"/>
                  </a:lnTo>
                  <a:lnTo>
                    <a:pt x="1765931" y="64769"/>
                  </a:lnTo>
                  <a:cubicBezTo>
                    <a:pt x="1765931" y="57784"/>
                    <a:pt x="1764661" y="52069"/>
                    <a:pt x="1762121" y="48894"/>
                  </a:cubicBezTo>
                  <a:cubicBezTo>
                    <a:pt x="1759581" y="45084"/>
                    <a:pt x="1755771" y="43814"/>
                    <a:pt x="1750056" y="43814"/>
                  </a:cubicBezTo>
                  <a:cubicBezTo>
                    <a:pt x="1747516" y="43814"/>
                    <a:pt x="1745611" y="43814"/>
                    <a:pt x="1743706" y="45084"/>
                  </a:cubicBezTo>
                  <a:cubicBezTo>
                    <a:pt x="1741801" y="45719"/>
                    <a:pt x="1739896" y="46989"/>
                    <a:pt x="1738626" y="48894"/>
                  </a:cubicBezTo>
                  <a:cubicBezTo>
                    <a:pt x="1737356" y="50799"/>
                    <a:pt x="1736086" y="52704"/>
                    <a:pt x="1735451" y="55244"/>
                  </a:cubicBezTo>
                  <a:cubicBezTo>
                    <a:pt x="1734816" y="57784"/>
                    <a:pt x="1734181" y="60324"/>
                    <a:pt x="1734181" y="63499"/>
                  </a:cubicBezTo>
                  <a:lnTo>
                    <a:pt x="1734181" y="109219"/>
                  </a:lnTo>
                  <a:lnTo>
                    <a:pt x="1718941" y="109219"/>
                  </a:lnTo>
                  <a:lnTo>
                    <a:pt x="1718941" y="8889"/>
                  </a:lnTo>
                  <a:close/>
                  <a:moveTo>
                    <a:pt x="803275" y="634"/>
                  </a:moveTo>
                  <a:lnTo>
                    <a:pt x="803275" y="38099"/>
                  </a:lnTo>
                  <a:cubicBezTo>
                    <a:pt x="803275" y="38099"/>
                    <a:pt x="805180" y="35559"/>
                    <a:pt x="807085" y="34289"/>
                  </a:cubicBezTo>
                  <a:cubicBezTo>
                    <a:pt x="808355" y="33019"/>
                    <a:pt x="810260" y="32384"/>
                    <a:pt x="811530" y="31114"/>
                  </a:cubicBezTo>
                  <a:cubicBezTo>
                    <a:pt x="813435" y="30479"/>
                    <a:pt x="815340" y="29844"/>
                    <a:pt x="817245" y="29209"/>
                  </a:cubicBezTo>
                  <a:cubicBezTo>
                    <a:pt x="819150" y="29209"/>
                    <a:pt x="821055" y="29209"/>
                    <a:pt x="822960" y="29209"/>
                  </a:cubicBezTo>
                  <a:cubicBezTo>
                    <a:pt x="827405" y="29209"/>
                    <a:pt x="831850" y="29844"/>
                    <a:pt x="835025" y="31749"/>
                  </a:cubicBezTo>
                  <a:cubicBezTo>
                    <a:pt x="838200" y="33019"/>
                    <a:pt x="841375" y="35559"/>
                    <a:pt x="843915" y="38099"/>
                  </a:cubicBezTo>
                  <a:cubicBezTo>
                    <a:pt x="846455" y="41274"/>
                    <a:pt x="847725" y="44449"/>
                    <a:pt x="848995" y="49529"/>
                  </a:cubicBezTo>
                  <a:cubicBezTo>
                    <a:pt x="850265" y="53974"/>
                    <a:pt x="850900" y="59054"/>
                    <a:pt x="850900" y="64134"/>
                  </a:cubicBezTo>
                  <a:lnTo>
                    <a:pt x="850900" y="108584"/>
                  </a:lnTo>
                  <a:lnTo>
                    <a:pt x="835660" y="108584"/>
                  </a:lnTo>
                  <a:lnTo>
                    <a:pt x="835025" y="108584"/>
                  </a:lnTo>
                  <a:lnTo>
                    <a:pt x="835025" y="64769"/>
                  </a:lnTo>
                  <a:cubicBezTo>
                    <a:pt x="835025" y="57784"/>
                    <a:pt x="833755" y="52069"/>
                    <a:pt x="831215" y="48894"/>
                  </a:cubicBezTo>
                  <a:cubicBezTo>
                    <a:pt x="828675" y="45084"/>
                    <a:pt x="824865" y="43814"/>
                    <a:pt x="819150" y="43814"/>
                  </a:cubicBezTo>
                  <a:cubicBezTo>
                    <a:pt x="816610" y="43814"/>
                    <a:pt x="814705" y="43814"/>
                    <a:pt x="812800" y="45084"/>
                  </a:cubicBezTo>
                  <a:cubicBezTo>
                    <a:pt x="810895" y="45719"/>
                    <a:pt x="808990" y="46989"/>
                    <a:pt x="807720" y="48894"/>
                  </a:cubicBezTo>
                  <a:cubicBezTo>
                    <a:pt x="806450" y="50799"/>
                    <a:pt x="805180" y="52704"/>
                    <a:pt x="804545" y="55244"/>
                  </a:cubicBezTo>
                  <a:cubicBezTo>
                    <a:pt x="803910" y="57784"/>
                    <a:pt x="803275" y="60324"/>
                    <a:pt x="803275" y="63499"/>
                  </a:cubicBezTo>
                  <a:lnTo>
                    <a:pt x="803275" y="109219"/>
                  </a:lnTo>
                  <a:lnTo>
                    <a:pt x="788035" y="109219"/>
                  </a:lnTo>
                  <a:lnTo>
                    <a:pt x="788035" y="8889"/>
                  </a:lnTo>
                  <a:close/>
                  <a:moveTo>
                    <a:pt x="104774" y="634"/>
                  </a:moveTo>
                  <a:lnTo>
                    <a:pt x="104774" y="38099"/>
                  </a:lnTo>
                  <a:cubicBezTo>
                    <a:pt x="104774" y="38099"/>
                    <a:pt x="106679" y="35559"/>
                    <a:pt x="108584" y="34289"/>
                  </a:cubicBezTo>
                  <a:cubicBezTo>
                    <a:pt x="109854" y="33019"/>
                    <a:pt x="111759" y="32384"/>
                    <a:pt x="113029" y="31114"/>
                  </a:cubicBezTo>
                  <a:cubicBezTo>
                    <a:pt x="114934" y="30479"/>
                    <a:pt x="116839" y="29844"/>
                    <a:pt x="118744" y="29209"/>
                  </a:cubicBezTo>
                  <a:cubicBezTo>
                    <a:pt x="120649" y="29209"/>
                    <a:pt x="122554" y="29209"/>
                    <a:pt x="124459" y="29209"/>
                  </a:cubicBezTo>
                  <a:cubicBezTo>
                    <a:pt x="128904" y="29209"/>
                    <a:pt x="133349" y="29844"/>
                    <a:pt x="136524" y="31749"/>
                  </a:cubicBezTo>
                  <a:cubicBezTo>
                    <a:pt x="139699" y="33019"/>
                    <a:pt x="142874" y="35559"/>
                    <a:pt x="145414" y="38099"/>
                  </a:cubicBezTo>
                  <a:cubicBezTo>
                    <a:pt x="147954" y="41274"/>
                    <a:pt x="149224" y="44449"/>
                    <a:pt x="150494" y="49529"/>
                  </a:cubicBezTo>
                  <a:cubicBezTo>
                    <a:pt x="151764" y="53974"/>
                    <a:pt x="152399" y="59054"/>
                    <a:pt x="152399" y="64134"/>
                  </a:cubicBezTo>
                  <a:lnTo>
                    <a:pt x="152399" y="108584"/>
                  </a:lnTo>
                  <a:lnTo>
                    <a:pt x="137159" y="108584"/>
                  </a:lnTo>
                  <a:lnTo>
                    <a:pt x="136524" y="108584"/>
                  </a:lnTo>
                  <a:lnTo>
                    <a:pt x="136524" y="64769"/>
                  </a:lnTo>
                  <a:cubicBezTo>
                    <a:pt x="136524" y="57784"/>
                    <a:pt x="135254" y="52069"/>
                    <a:pt x="132714" y="48894"/>
                  </a:cubicBezTo>
                  <a:cubicBezTo>
                    <a:pt x="130174" y="45084"/>
                    <a:pt x="126364" y="43814"/>
                    <a:pt x="120649" y="43814"/>
                  </a:cubicBezTo>
                  <a:cubicBezTo>
                    <a:pt x="118109" y="43814"/>
                    <a:pt x="116204" y="43814"/>
                    <a:pt x="114299" y="45084"/>
                  </a:cubicBezTo>
                  <a:cubicBezTo>
                    <a:pt x="112394" y="45719"/>
                    <a:pt x="110489" y="46989"/>
                    <a:pt x="109219" y="48894"/>
                  </a:cubicBezTo>
                  <a:cubicBezTo>
                    <a:pt x="107949" y="50799"/>
                    <a:pt x="106679" y="52704"/>
                    <a:pt x="106044" y="55244"/>
                  </a:cubicBezTo>
                  <a:cubicBezTo>
                    <a:pt x="105409" y="57784"/>
                    <a:pt x="104774" y="60324"/>
                    <a:pt x="104774" y="63499"/>
                  </a:cubicBezTo>
                  <a:lnTo>
                    <a:pt x="104774" y="109219"/>
                  </a:lnTo>
                  <a:lnTo>
                    <a:pt x="89534" y="109219"/>
                  </a:lnTo>
                  <a:lnTo>
                    <a:pt x="89534" y="8889"/>
                  </a:lnTo>
                  <a:close/>
                  <a:moveTo>
                    <a:pt x="3894450" y="0"/>
                  </a:moveTo>
                  <a:lnTo>
                    <a:pt x="3894450" y="30480"/>
                  </a:lnTo>
                  <a:lnTo>
                    <a:pt x="3913500" y="30480"/>
                  </a:lnTo>
                  <a:lnTo>
                    <a:pt x="3913500" y="44450"/>
                  </a:lnTo>
                  <a:lnTo>
                    <a:pt x="3894450" y="44450"/>
                  </a:lnTo>
                  <a:lnTo>
                    <a:pt x="3894450" y="86995"/>
                  </a:lnTo>
                  <a:cubicBezTo>
                    <a:pt x="3894450" y="86995"/>
                    <a:pt x="3894450" y="90170"/>
                    <a:pt x="3894450" y="91440"/>
                  </a:cubicBezTo>
                  <a:cubicBezTo>
                    <a:pt x="3894450" y="92710"/>
                    <a:pt x="3895085" y="93345"/>
                    <a:pt x="3895720" y="94615"/>
                  </a:cubicBezTo>
                  <a:cubicBezTo>
                    <a:pt x="3896355" y="95250"/>
                    <a:pt x="3896990" y="95885"/>
                    <a:pt x="3898260" y="95885"/>
                  </a:cubicBezTo>
                  <a:cubicBezTo>
                    <a:pt x="3899530" y="95885"/>
                    <a:pt x="3900800" y="95885"/>
                    <a:pt x="3902070" y="95885"/>
                  </a:cubicBezTo>
                  <a:cubicBezTo>
                    <a:pt x="3903975" y="95885"/>
                    <a:pt x="3905880" y="95885"/>
                    <a:pt x="3908420" y="95250"/>
                  </a:cubicBezTo>
                  <a:cubicBezTo>
                    <a:pt x="3910325" y="94615"/>
                    <a:pt x="3912230" y="93980"/>
                    <a:pt x="3913500" y="93345"/>
                  </a:cubicBezTo>
                  <a:lnTo>
                    <a:pt x="3911595" y="106680"/>
                  </a:lnTo>
                  <a:cubicBezTo>
                    <a:pt x="3911595" y="106680"/>
                    <a:pt x="3907785" y="108585"/>
                    <a:pt x="3905245" y="109220"/>
                  </a:cubicBezTo>
                  <a:cubicBezTo>
                    <a:pt x="3902705" y="109855"/>
                    <a:pt x="3900165" y="110490"/>
                    <a:pt x="3896990" y="110490"/>
                  </a:cubicBezTo>
                  <a:cubicBezTo>
                    <a:pt x="3894450" y="110490"/>
                    <a:pt x="3891910" y="110490"/>
                    <a:pt x="3890005" y="109220"/>
                  </a:cubicBezTo>
                  <a:cubicBezTo>
                    <a:pt x="3888100" y="108585"/>
                    <a:pt x="3886195" y="107315"/>
                    <a:pt x="3884290" y="105410"/>
                  </a:cubicBezTo>
                  <a:cubicBezTo>
                    <a:pt x="3882385" y="103505"/>
                    <a:pt x="3881115" y="101600"/>
                    <a:pt x="3880480" y="99060"/>
                  </a:cubicBezTo>
                  <a:cubicBezTo>
                    <a:pt x="3879845" y="96520"/>
                    <a:pt x="3879210" y="93345"/>
                    <a:pt x="3879210" y="89535"/>
                  </a:cubicBezTo>
                  <a:lnTo>
                    <a:pt x="3879210" y="44450"/>
                  </a:lnTo>
                  <a:lnTo>
                    <a:pt x="3868415" y="44450"/>
                  </a:lnTo>
                  <a:lnTo>
                    <a:pt x="3868415" y="30480"/>
                  </a:lnTo>
                  <a:lnTo>
                    <a:pt x="3879210" y="30480"/>
                  </a:lnTo>
                  <a:lnTo>
                    <a:pt x="3879210" y="8255"/>
                  </a:lnTo>
                  <a:close/>
                  <a:moveTo>
                    <a:pt x="3664581" y="0"/>
                  </a:moveTo>
                  <a:lnTo>
                    <a:pt x="3664581" y="30480"/>
                  </a:lnTo>
                  <a:lnTo>
                    <a:pt x="3683631" y="30480"/>
                  </a:lnTo>
                  <a:lnTo>
                    <a:pt x="3683631" y="44450"/>
                  </a:lnTo>
                  <a:lnTo>
                    <a:pt x="3664581" y="44450"/>
                  </a:lnTo>
                  <a:lnTo>
                    <a:pt x="3664581" y="86995"/>
                  </a:lnTo>
                  <a:cubicBezTo>
                    <a:pt x="3664581" y="86995"/>
                    <a:pt x="3664581" y="90170"/>
                    <a:pt x="3664581" y="91440"/>
                  </a:cubicBezTo>
                  <a:cubicBezTo>
                    <a:pt x="3664581" y="92710"/>
                    <a:pt x="3665216" y="93345"/>
                    <a:pt x="3665851" y="94615"/>
                  </a:cubicBezTo>
                  <a:cubicBezTo>
                    <a:pt x="3666486" y="95250"/>
                    <a:pt x="3667121" y="95885"/>
                    <a:pt x="3668391" y="95885"/>
                  </a:cubicBezTo>
                  <a:cubicBezTo>
                    <a:pt x="3669661" y="95885"/>
                    <a:pt x="3670931" y="95885"/>
                    <a:pt x="3672201" y="95885"/>
                  </a:cubicBezTo>
                  <a:cubicBezTo>
                    <a:pt x="3674106" y="95885"/>
                    <a:pt x="3676011" y="95885"/>
                    <a:pt x="3678551" y="95250"/>
                  </a:cubicBezTo>
                  <a:cubicBezTo>
                    <a:pt x="3680456" y="94615"/>
                    <a:pt x="3682361" y="93980"/>
                    <a:pt x="3683631" y="93345"/>
                  </a:cubicBezTo>
                  <a:lnTo>
                    <a:pt x="3681726" y="106680"/>
                  </a:lnTo>
                  <a:cubicBezTo>
                    <a:pt x="3681726" y="106680"/>
                    <a:pt x="3677916" y="108585"/>
                    <a:pt x="3675376" y="109220"/>
                  </a:cubicBezTo>
                  <a:cubicBezTo>
                    <a:pt x="3672836" y="109855"/>
                    <a:pt x="3670296" y="110490"/>
                    <a:pt x="3667121" y="110490"/>
                  </a:cubicBezTo>
                  <a:cubicBezTo>
                    <a:pt x="3664581" y="110490"/>
                    <a:pt x="3662041" y="110490"/>
                    <a:pt x="3660136" y="109220"/>
                  </a:cubicBezTo>
                  <a:cubicBezTo>
                    <a:pt x="3658231" y="108585"/>
                    <a:pt x="3656326" y="107315"/>
                    <a:pt x="3654421" y="105410"/>
                  </a:cubicBezTo>
                  <a:cubicBezTo>
                    <a:pt x="3652516" y="103505"/>
                    <a:pt x="3651246" y="101600"/>
                    <a:pt x="3650611" y="99060"/>
                  </a:cubicBezTo>
                  <a:cubicBezTo>
                    <a:pt x="3649976" y="96520"/>
                    <a:pt x="3649341" y="93345"/>
                    <a:pt x="3649341" y="89535"/>
                  </a:cubicBezTo>
                  <a:lnTo>
                    <a:pt x="3649341" y="44450"/>
                  </a:lnTo>
                  <a:lnTo>
                    <a:pt x="3638546" y="44450"/>
                  </a:lnTo>
                  <a:lnTo>
                    <a:pt x="3638546" y="30480"/>
                  </a:lnTo>
                  <a:lnTo>
                    <a:pt x="3649341" y="30480"/>
                  </a:lnTo>
                  <a:lnTo>
                    <a:pt x="3649341" y="8255"/>
                  </a:lnTo>
                  <a:close/>
                  <a:moveTo>
                    <a:pt x="3610605" y="0"/>
                  </a:moveTo>
                  <a:lnTo>
                    <a:pt x="3610605" y="30480"/>
                  </a:lnTo>
                  <a:lnTo>
                    <a:pt x="3629655" y="30480"/>
                  </a:lnTo>
                  <a:lnTo>
                    <a:pt x="3629655" y="44450"/>
                  </a:lnTo>
                  <a:lnTo>
                    <a:pt x="3610605" y="44450"/>
                  </a:lnTo>
                  <a:lnTo>
                    <a:pt x="3610605" y="86995"/>
                  </a:lnTo>
                  <a:cubicBezTo>
                    <a:pt x="3610605" y="86995"/>
                    <a:pt x="3610605" y="90170"/>
                    <a:pt x="3610605" y="91440"/>
                  </a:cubicBezTo>
                  <a:cubicBezTo>
                    <a:pt x="3610605" y="92710"/>
                    <a:pt x="3611240" y="93345"/>
                    <a:pt x="3611875" y="94615"/>
                  </a:cubicBezTo>
                  <a:cubicBezTo>
                    <a:pt x="3612510" y="95250"/>
                    <a:pt x="3613145" y="95885"/>
                    <a:pt x="3614415" y="95885"/>
                  </a:cubicBezTo>
                  <a:cubicBezTo>
                    <a:pt x="3615685" y="95885"/>
                    <a:pt x="3616955" y="95885"/>
                    <a:pt x="3618225" y="95885"/>
                  </a:cubicBezTo>
                  <a:cubicBezTo>
                    <a:pt x="3620130" y="95885"/>
                    <a:pt x="3622035" y="95885"/>
                    <a:pt x="3624575" y="95250"/>
                  </a:cubicBezTo>
                  <a:cubicBezTo>
                    <a:pt x="3626480" y="94615"/>
                    <a:pt x="3628385" y="93980"/>
                    <a:pt x="3629655" y="93345"/>
                  </a:cubicBezTo>
                  <a:lnTo>
                    <a:pt x="3627750" y="106680"/>
                  </a:lnTo>
                  <a:cubicBezTo>
                    <a:pt x="3627750" y="106680"/>
                    <a:pt x="3623940" y="108585"/>
                    <a:pt x="3621400" y="109220"/>
                  </a:cubicBezTo>
                  <a:cubicBezTo>
                    <a:pt x="3618860" y="109855"/>
                    <a:pt x="3616320" y="110490"/>
                    <a:pt x="3613145" y="110490"/>
                  </a:cubicBezTo>
                  <a:cubicBezTo>
                    <a:pt x="3610605" y="110490"/>
                    <a:pt x="3608065" y="110490"/>
                    <a:pt x="3606160" y="109220"/>
                  </a:cubicBezTo>
                  <a:cubicBezTo>
                    <a:pt x="3604255" y="108585"/>
                    <a:pt x="3602350" y="107315"/>
                    <a:pt x="3600445" y="105410"/>
                  </a:cubicBezTo>
                  <a:cubicBezTo>
                    <a:pt x="3598540" y="103505"/>
                    <a:pt x="3597270" y="101600"/>
                    <a:pt x="3596635" y="99060"/>
                  </a:cubicBezTo>
                  <a:cubicBezTo>
                    <a:pt x="3596000" y="96520"/>
                    <a:pt x="3595365" y="93345"/>
                    <a:pt x="3595365" y="89535"/>
                  </a:cubicBezTo>
                  <a:lnTo>
                    <a:pt x="3595365" y="44450"/>
                  </a:lnTo>
                  <a:lnTo>
                    <a:pt x="3584570" y="44450"/>
                  </a:lnTo>
                  <a:lnTo>
                    <a:pt x="3584570" y="30480"/>
                  </a:lnTo>
                  <a:lnTo>
                    <a:pt x="3595365" y="30480"/>
                  </a:lnTo>
                  <a:lnTo>
                    <a:pt x="3595365" y="8255"/>
                  </a:lnTo>
                  <a:close/>
                  <a:moveTo>
                    <a:pt x="3445505" y="0"/>
                  </a:moveTo>
                  <a:lnTo>
                    <a:pt x="3445505" y="37465"/>
                  </a:lnTo>
                  <a:cubicBezTo>
                    <a:pt x="3445505" y="37465"/>
                    <a:pt x="3448680" y="34925"/>
                    <a:pt x="3449950" y="33655"/>
                  </a:cubicBezTo>
                  <a:cubicBezTo>
                    <a:pt x="3451220" y="33020"/>
                    <a:pt x="3452490" y="31750"/>
                    <a:pt x="3453760" y="31115"/>
                  </a:cubicBezTo>
                  <a:cubicBezTo>
                    <a:pt x="3455030" y="30480"/>
                    <a:pt x="3456935" y="29845"/>
                    <a:pt x="3458840" y="29210"/>
                  </a:cubicBezTo>
                  <a:cubicBezTo>
                    <a:pt x="3460745" y="29210"/>
                    <a:pt x="3463285" y="28575"/>
                    <a:pt x="3465825" y="28575"/>
                  </a:cubicBezTo>
                  <a:cubicBezTo>
                    <a:pt x="3470270" y="28575"/>
                    <a:pt x="3474080" y="29210"/>
                    <a:pt x="3477890" y="31115"/>
                  </a:cubicBezTo>
                  <a:cubicBezTo>
                    <a:pt x="3481700" y="32385"/>
                    <a:pt x="3484875" y="34925"/>
                    <a:pt x="3487415" y="38735"/>
                  </a:cubicBezTo>
                  <a:cubicBezTo>
                    <a:pt x="3489955" y="41910"/>
                    <a:pt x="3492495" y="46355"/>
                    <a:pt x="3493765" y="51435"/>
                  </a:cubicBezTo>
                  <a:cubicBezTo>
                    <a:pt x="3495035" y="56515"/>
                    <a:pt x="3496305" y="62865"/>
                    <a:pt x="3496305" y="70485"/>
                  </a:cubicBezTo>
                  <a:lnTo>
                    <a:pt x="3495670" y="71120"/>
                  </a:lnTo>
                  <a:cubicBezTo>
                    <a:pt x="3495670" y="77470"/>
                    <a:pt x="3495035" y="83820"/>
                    <a:pt x="3493130" y="88265"/>
                  </a:cubicBezTo>
                  <a:cubicBezTo>
                    <a:pt x="3491225" y="93345"/>
                    <a:pt x="3489320" y="97155"/>
                    <a:pt x="3486145" y="100330"/>
                  </a:cubicBezTo>
                  <a:cubicBezTo>
                    <a:pt x="3483605" y="103505"/>
                    <a:pt x="3479795" y="106045"/>
                    <a:pt x="3476620" y="107315"/>
                  </a:cubicBezTo>
                  <a:cubicBezTo>
                    <a:pt x="3472810" y="109220"/>
                    <a:pt x="3469000" y="109855"/>
                    <a:pt x="3465190" y="109855"/>
                  </a:cubicBezTo>
                  <a:cubicBezTo>
                    <a:pt x="3461380" y="109855"/>
                    <a:pt x="3457570" y="109220"/>
                    <a:pt x="3454395" y="107315"/>
                  </a:cubicBezTo>
                  <a:cubicBezTo>
                    <a:pt x="3450585" y="105410"/>
                    <a:pt x="3448045" y="103505"/>
                    <a:pt x="3445505" y="100965"/>
                  </a:cubicBezTo>
                  <a:lnTo>
                    <a:pt x="3445505" y="107950"/>
                  </a:lnTo>
                  <a:lnTo>
                    <a:pt x="3430265" y="107950"/>
                  </a:lnTo>
                  <a:lnTo>
                    <a:pt x="3430265" y="7620"/>
                  </a:lnTo>
                  <a:close/>
                  <a:moveTo>
                    <a:pt x="2380611" y="0"/>
                  </a:moveTo>
                  <a:lnTo>
                    <a:pt x="2380611" y="30480"/>
                  </a:lnTo>
                  <a:lnTo>
                    <a:pt x="2399661" y="30480"/>
                  </a:lnTo>
                  <a:lnTo>
                    <a:pt x="2399661" y="44450"/>
                  </a:lnTo>
                  <a:lnTo>
                    <a:pt x="2380611" y="44450"/>
                  </a:lnTo>
                  <a:lnTo>
                    <a:pt x="2380611" y="86995"/>
                  </a:lnTo>
                  <a:cubicBezTo>
                    <a:pt x="2380611" y="86995"/>
                    <a:pt x="2380611" y="90170"/>
                    <a:pt x="2380611" y="91440"/>
                  </a:cubicBezTo>
                  <a:cubicBezTo>
                    <a:pt x="2380611" y="92710"/>
                    <a:pt x="2381246" y="93345"/>
                    <a:pt x="2381881" y="94615"/>
                  </a:cubicBezTo>
                  <a:cubicBezTo>
                    <a:pt x="2382516" y="95250"/>
                    <a:pt x="2383151" y="95885"/>
                    <a:pt x="2384421" y="95885"/>
                  </a:cubicBezTo>
                  <a:cubicBezTo>
                    <a:pt x="2385691" y="95885"/>
                    <a:pt x="2386961" y="95885"/>
                    <a:pt x="2388231" y="95885"/>
                  </a:cubicBezTo>
                  <a:cubicBezTo>
                    <a:pt x="2390136" y="95885"/>
                    <a:pt x="2392041" y="95885"/>
                    <a:pt x="2394581" y="95250"/>
                  </a:cubicBezTo>
                  <a:cubicBezTo>
                    <a:pt x="2396486" y="94615"/>
                    <a:pt x="2398391" y="93980"/>
                    <a:pt x="2399661" y="93345"/>
                  </a:cubicBezTo>
                  <a:lnTo>
                    <a:pt x="2397756" y="106680"/>
                  </a:lnTo>
                  <a:cubicBezTo>
                    <a:pt x="2397756" y="106680"/>
                    <a:pt x="2393946" y="108585"/>
                    <a:pt x="2391406" y="109220"/>
                  </a:cubicBezTo>
                  <a:cubicBezTo>
                    <a:pt x="2388866" y="109855"/>
                    <a:pt x="2386326" y="110490"/>
                    <a:pt x="2383151" y="110490"/>
                  </a:cubicBezTo>
                  <a:cubicBezTo>
                    <a:pt x="2380611" y="110490"/>
                    <a:pt x="2378071" y="110490"/>
                    <a:pt x="2376166" y="109220"/>
                  </a:cubicBezTo>
                  <a:cubicBezTo>
                    <a:pt x="2374261" y="108585"/>
                    <a:pt x="2372356" y="107315"/>
                    <a:pt x="2370451" y="105410"/>
                  </a:cubicBezTo>
                  <a:cubicBezTo>
                    <a:pt x="2368546" y="103505"/>
                    <a:pt x="2367276" y="101600"/>
                    <a:pt x="2366641" y="99060"/>
                  </a:cubicBezTo>
                  <a:cubicBezTo>
                    <a:pt x="2366006" y="96520"/>
                    <a:pt x="2365371" y="93345"/>
                    <a:pt x="2365371" y="89535"/>
                  </a:cubicBezTo>
                  <a:lnTo>
                    <a:pt x="2365371" y="44450"/>
                  </a:lnTo>
                  <a:lnTo>
                    <a:pt x="2354576" y="44450"/>
                  </a:lnTo>
                  <a:lnTo>
                    <a:pt x="2354576" y="30480"/>
                  </a:lnTo>
                  <a:lnTo>
                    <a:pt x="2365371" y="30480"/>
                  </a:lnTo>
                  <a:lnTo>
                    <a:pt x="2365371" y="8255"/>
                  </a:lnTo>
                  <a:close/>
                  <a:moveTo>
                    <a:pt x="2150741" y="0"/>
                  </a:moveTo>
                  <a:lnTo>
                    <a:pt x="2150741" y="30480"/>
                  </a:lnTo>
                  <a:lnTo>
                    <a:pt x="2169791" y="30480"/>
                  </a:lnTo>
                  <a:lnTo>
                    <a:pt x="2169791" y="44450"/>
                  </a:lnTo>
                  <a:lnTo>
                    <a:pt x="2150741" y="44450"/>
                  </a:lnTo>
                  <a:lnTo>
                    <a:pt x="2150741" y="86995"/>
                  </a:lnTo>
                  <a:cubicBezTo>
                    <a:pt x="2150741" y="86995"/>
                    <a:pt x="2150741" y="90170"/>
                    <a:pt x="2150741" y="91440"/>
                  </a:cubicBezTo>
                  <a:cubicBezTo>
                    <a:pt x="2150741" y="92710"/>
                    <a:pt x="2151376" y="93345"/>
                    <a:pt x="2152011" y="94615"/>
                  </a:cubicBezTo>
                  <a:cubicBezTo>
                    <a:pt x="2152646" y="95250"/>
                    <a:pt x="2153281" y="95885"/>
                    <a:pt x="2154551" y="95885"/>
                  </a:cubicBezTo>
                  <a:cubicBezTo>
                    <a:pt x="2155821" y="95885"/>
                    <a:pt x="2157091" y="95885"/>
                    <a:pt x="2158361" y="95885"/>
                  </a:cubicBezTo>
                  <a:cubicBezTo>
                    <a:pt x="2160266" y="95885"/>
                    <a:pt x="2162171" y="95885"/>
                    <a:pt x="2164711" y="95250"/>
                  </a:cubicBezTo>
                  <a:cubicBezTo>
                    <a:pt x="2166616" y="94615"/>
                    <a:pt x="2168521" y="93980"/>
                    <a:pt x="2169791" y="93345"/>
                  </a:cubicBezTo>
                  <a:lnTo>
                    <a:pt x="2167886" y="106680"/>
                  </a:lnTo>
                  <a:cubicBezTo>
                    <a:pt x="2167886" y="106680"/>
                    <a:pt x="2164076" y="108585"/>
                    <a:pt x="2161536" y="109220"/>
                  </a:cubicBezTo>
                  <a:cubicBezTo>
                    <a:pt x="2158996" y="109855"/>
                    <a:pt x="2156456" y="110490"/>
                    <a:pt x="2153281" y="110490"/>
                  </a:cubicBezTo>
                  <a:cubicBezTo>
                    <a:pt x="2150741" y="110490"/>
                    <a:pt x="2148201" y="110490"/>
                    <a:pt x="2146296" y="109220"/>
                  </a:cubicBezTo>
                  <a:cubicBezTo>
                    <a:pt x="2144391" y="108585"/>
                    <a:pt x="2142486" y="107315"/>
                    <a:pt x="2140581" y="105410"/>
                  </a:cubicBezTo>
                  <a:cubicBezTo>
                    <a:pt x="2138676" y="103505"/>
                    <a:pt x="2137406" y="101600"/>
                    <a:pt x="2136771" y="99060"/>
                  </a:cubicBezTo>
                  <a:cubicBezTo>
                    <a:pt x="2136136" y="96520"/>
                    <a:pt x="2135501" y="93345"/>
                    <a:pt x="2135501" y="89535"/>
                  </a:cubicBezTo>
                  <a:lnTo>
                    <a:pt x="2135501" y="44450"/>
                  </a:lnTo>
                  <a:lnTo>
                    <a:pt x="2124706" y="44450"/>
                  </a:lnTo>
                  <a:lnTo>
                    <a:pt x="2124706" y="30480"/>
                  </a:lnTo>
                  <a:lnTo>
                    <a:pt x="2135501" y="30480"/>
                  </a:lnTo>
                  <a:lnTo>
                    <a:pt x="2135501" y="8255"/>
                  </a:lnTo>
                  <a:close/>
                  <a:moveTo>
                    <a:pt x="2096131" y="0"/>
                  </a:moveTo>
                  <a:lnTo>
                    <a:pt x="2096131" y="30480"/>
                  </a:lnTo>
                  <a:lnTo>
                    <a:pt x="2115181" y="30480"/>
                  </a:lnTo>
                  <a:lnTo>
                    <a:pt x="2115181" y="44450"/>
                  </a:lnTo>
                  <a:lnTo>
                    <a:pt x="2096131" y="44450"/>
                  </a:lnTo>
                  <a:lnTo>
                    <a:pt x="2096131" y="86995"/>
                  </a:lnTo>
                  <a:cubicBezTo>
                    <a:pt x="2096131" y="86995"/>
                    <a:pt x="2096131" y="90170"/>
                    <a:pt x="2096131" y="91440"/>
                  </a:cubicBezTo>
                  <a:cubicBezTo>
                    <a:pt x="2096131" y="92710"/>
                    <a:pt x="2096766" y="93345"/>
                    <a:pt x="2097401" y="94615"/>
                  </a:cubicBezTo>
                  <a:cubicBezTo>
                    <a:pt x="2098036" y="95250"/>
                    <a:pt x="2098671" y="95885"/>
                    <a:pt x="2099941" y="95885"/>
                  </a:cubicBezTo>
                  <a:cubicBezTo>
                    <a:pt x="2101211" y="95885"/>
                    <a:pt x="2102481" y="95885"/>
                    <a:pt x="2103751" y="95885"/>
                  </a:cubicBezTo>
                  <a:cubicBezTo>
                    <a:pt x="2105656" y="95885"/>
                    <a:pt x="2107561" y="95885"/>
                    <a:pt x="2110101" y="95250"/>
                  </a:cubicBezTo>
                  <a:cubicBezTo>
                    <a:pt x="2112006" y="94615"/>
                    <a:pt x="2113911" y="93980"/>
                    <a:pt x="2115181" y="93345"/>
                  </a:cubicBezTo>
                  <a:lnTo>
                    <a:pt x="2113276" y="106680"/>
                  </a:lnTo>
                  <a:cubicBezTo>
                    <a:pt x="2113276" y="106680"/>
                    <a:pt x="2109466" y="108585"/>
                    <a:pt x="2106926" y="109220"/>
                  </a:cubicBezTo>
                  <a:cubicBezTo>
                    <a:pt x="2104386" y="109855"/>
                    <a:pt x="2101846" y="110490"/>
                    <a:pt x="2098671" y="110490"/>
                  </a:cubicBezTo>
                  <a:cubicBezTo>
                    <a:pt x="2096131" y="110490"/>
                    <a:pt x="2093591" y="110490"/>
                    <a:pt x="2091686" y="109220"/>
                  </a:cubicBezTo>
                  <a:cubicBezTo>
                    <a:pt x="2089781" y="108585"/>
                    <a:pt x="2087876" y="107315"/>
                    <a:pt x="2085971" y="105410"/>
                  </a:cubicBezTo>
                  <a:cubicBezTo>
                    <a:pt x="2084066" y="103505"/>
                    <a:pt x="2082796" y="101600"/>
                    <a:pt x="2082161" y="99060"/>
                  </a:cubicBezTo>
                  <a:cubicBezTo>
                    <a:pt x="2081526" y="96520"/>
                    <a:pt x="2080891" y="93345"/>
                    <a:pt x="2080891" y="89535"/>
                  </a:cubicBezTo>
                  <a:lnTo>
                    <a:pt x="2080891" y="44450"/>
                  </a:lnTo>
                  <a:lnTo>
                    <a:pt x="2070096" y="44450"/>
                  </a:lnTo>
                  <a:lnTo>
                    <a:pt x="2070096" y="30480"/>
                  </a:lnTo>
                  <a:lnTo>
                    <a:pt x="2080891" y="30480"/>
                  </a:lnTo>
                  <a:lnTo>
                    <a:pt x="2080891" y="8255"/>
                  </a:lnTo>
                  <a:close/>
                  <a:moveTo>
                    <a:pt x="1931665" y="0"/>
                  </a:moveTo>
                  <a:lnTo>
                    <a:pt x="1931665" y="37465"/>
                  </a:lnTo>
                  <a:cubicBezTo>
                    <a:pt x="1931665" y="37465"/>
                    <a:pt x="1934840" y="34925"/>
                    <a:pt x="1936110" y="33655"/>
                  </a:cubicBezTo>
                  <a:cubicBezTo>
                    <a:pt x="1937380" y="33020"/>
                    <a:pt x="1938650" y="31750"/>
                    <a:pt x="1939920" y="31115"/>
                  </a:cubicBezTo>
                  <a:cubicBezTo>
                    <a:pt x="1941190" y="30480"/>
                    <a:pt x="1943095" y="29845"/>
                    <a:pt x="1945000" y="29210"/>
                  </a:cubicBezTo>
                  <a:cubicBezTo>
                    <a:pt x="1946905" y="29210"/>
                    <a:pt x="1949445" y="28575"/>
                    <a:pt x="1951985" y="28575"/>
                  </a:cubicBezTo>
                  <a:cubicBezTo>
                    <a:pt x="1956430" y="28575"/>
                    <a:pt x="1960240" y="29210"/>
                    <a:pt x="1964050" y="31115"/>
                  </a:cubicBezTo>
                  <a:cubicBezTo>
                    <a:pt x="1967860" y="32385"/>
                    <a:pt x="1971035" y="34925"/>
                    <a:pt x="1973575" y="38735"/>
                  </a:cubicBezTo>
                  <a:cubicBezTo>
                    <a:pt x="1976115" y="41910"/>
                    <a:pt x="1978655" y="46355"/>
                    <a:pt x="1979925" y="51435"/>
                  </a:cubicBezTo>
                  <a:cubicBezTo>
                    <a:pt x="1981195" y="56515"/>
                    <a:pt x="1982465" y="62865"/>
                    <a:pt x="1982465" y="70485"/>
                  </a:cubicBezTo>
                  <a:lnTo>
                    <a:pt x="1981830" y="71120"/>
                  </a:lnTo>
                  <a:cubicBezTo>
                    <a:pt x="1981830" y="77470"/>
                    <a:pt x="1981195" y="83820"/>
                    <a:pt x="1979290" y="88265"/>
                  </a:cubicBezTo>
                  <a:cubicBezTo>
                    <a:pt x="1977385" y="93345"/>
                    <a:pt x="1975480" y="97155"/>
                    <a:pt x="1972305" y="100330"/>
                  </a:cubicBezTo>
                  <a:cubicBezTo>
                    <a:pt x="1969765" y="103505"/>
                    <a:pt x="1965955" y="106045"/>
                    <a:pt x="1962780" y="107315"/>
                  </a:cubicBezTo>
                  <a:cubicBezTo>
                    <a:pt x="1958970" y="109220"/>
                    <a:pt x="1955160" y="109855"/>
                    <a:pt x="1951350" y="109855"/>
                  </a:cubicBezTo>
                  <a:cubicBezTo>
                    <a:pt x="1947540" y="109855"/>
                    <a:pt x="1943730" y="109220"/>
                    <a:pt x="1940555" y="107315"/>
                  </a:cubicBezTo>
                  <a:cubicBezTo>
                    <a:pt x="1936745" y="105410"/>
                    <a:pt x="1934205" y="103505"/>
                    <a:pt x="1931665" y="100965"/>
                  </a:cubicBezTo>
                  <a:lnTo>
                    <a:pt x="1931665" y="107950"/>
                  </a:lnTo>
                  <a:lnTo>
                    <a:pt x="1916425" y="107950"/>
                  </a:lnTo>
                  <a:lnTo>
                    <a:pt x="1916425" y="7620"/>
                  </a:lnTo>
                  <a:close/>
                  <a:moveTo>
                    <a:pt x="1316991" y="0"/>
                  </a:moveTo>
                  <a:lnTo>
                    <a:pt x="1316991" y="30480"/>
                  </a:lnTo>
                  <a:lnTo>
                    <a:pt x="1336041" y="30480"/>
                  </a:lnTo>
                  <a:lnTo>
                    <a:pt x="1336041" y="44450"/>
                  </a:lnTo>
                  <a:lnTo>
                    <a:pt x="1316991" y="44450"/>
                  </a:lnTo>
                  <a:lnTo>
                    <a:pt x="1316991" y="86995"/>
                  </a:lnTo>
                  <a:cubicBezTo>
                    <a:pt x="1316991" y="86995"/>
                    <a:pt x="1316991" y="90170"/>
                    <a:pt x="1316991" y="91440"/>
                  </a:cubicBezTo>
                  <a:cubicBezTo>
                    <a:pt x="1316991" y="92710"/>
                    <a:pt x="1317627" y="93345"/>
                    <a:pt x="1318261" y="94615"/>
                  </a:cubicBezTo>
                  <a:cubicBezTo>
                    <a:pt x="1318896" y="95250"/>
                    <a:pt x="1319531" y="95885"/>
                    <a:pt x="1320801" y="95885"/>
                  </a:cubicBezTo>
                  <a:cubicBezTo>
                    <a:pt x="1322072" y="95885"/>
                    <a:pt x="1323341" y="95885"/>
                    <a:pt x="1324611" y="95885"/>
                  </a:cubicBezTo>
                  <a:cubicBezTo>
                    <a:pt x="1326516" y="95885"/>
                    <a:pt x="1328422" y="95885"/>
                    <a:pt x="1330961" y="95250"/>
                  </a:cubicBezTo>
                  <a:cubicBezTo>
                    <a:pt x="1332867" y="94615"/>
                    <a:pt x="1334772" y="93980"/>
                    <a:pt x="1336041" y="93345"/>
                  </a:cubicBezTo>
                  <a:lnTo>
                    <a:pt x="1334136" y="106680"/>
                  </a:lnTo>
                  <a:cubicBezTo>
                    <a:pt x="1334136" y="106680"/>
                    <a:pt x="1330326" y="108585"/>
                    <a:pt x="1327786" y="109220"/>
                  </a:cubicBezTo>
                  <a:cubicBezTo>
                    <a:pt x="1325246" y="109855"/>
                    <a:pt x="1322706" y="110490"/>
                    <a:pt x="1319531" y="110490"/>
                  </a:cubicBezTo>
                  <a:cubicBezTo>
                    <a:pt x="1316991" y="110490"/>
                    <a:pt x="1314451" y="110490"/>
                    <a:pt x="1312546" y="109220"/>
                  </a:cubicBezTo>
                  <a:cubicBezTo>
                    <a:pt x="1310641" y="108585"/>
                    <a:pt x="1308736" y="107315"/>
                    <a:pt x="1306831" y="105410"/>
                  </a:cubicBezTo>
                  <a:cubicBezTo>
                    <a:pt x="1304926" y="103505"/>
                    <a:pt x="1303656" y="101600"/>
                    <a:pt x="1303021" y="99060"/>
                  </a:cubicBezTo>
                  <a:cubicBezTo>
                    <a:pt x="1302386" y="96520"/>
                    <a:pt x="1301751" y="93345"/>
                    <a:pt x="1301751" y="89535"/>
                  </a:cubicBezTo>
                  <a:lnTo>
                    <a:pt x="1301751" y="44450"/>
                  </a:lnTo>
                  <a:lnTo>
                    <a:pt x="1290956" y="44450"/>
                  </a:lnTo>
                  <a:lnTo>
                    <a:pt x="1290956" y="30480"/>
                  </a:lnTo>
                  <a:lnTo>
                    <a:pt x="1301751" y="30480"/>
                  </a:lnTo>
                  <a:lnTo>
                    <a:pt x="1301751" y="8255"/>
                  </a:lnTo>
                  <a:close/>
                  <a:moveTo>
                    <a:pt x="751206" y="0"/>
                  </a:moveTo>
                  <a:lnTo>
                    <a:pt x="751206" y="30480"/>
                  </a:lnTo>
                  <a:lnTo>
                    <a:pt x="770256" y="30480"/>
                  </a:lnTo>
                  <a:lnTo>
                    <a:pt x="770256" y="44450"/>
                  </a:lnTo>
                  <a:lnTo>
                    <a:pt x="751206" y="44450"/>
                  </a:lnTo>
                  <a:lnTo>
                    <a:pt x="751206" y="86995"/>
                  </a:lnTo>
                  <a:cubicBezTo>
                    <a:pt x="751206" y="86995"/>
                    <a:pt x="751206" y="90170"/>
                    <a:pt x="751206" y="91440"/>
                  </a:cubicBezTo>
                  <a:cubicBezTo>
                    <a:pt x="751206" y="92710"/>
                    <a:pt x="751841" y="93345"/>
                    <a:pt x="752476" y="94615"/>
                  </a:cubicBezTo>
                  <a:cubicBezTo>
                    <a:pt x="753111" y="95250"/>
                    <a:pt x="753746" y="95885"/>
                    <a:pt x="755016" y="95885"/>
                  </a:cubicBezTo>
                  <a:cubicBezTo>
                    <a:pt x="756286" y="95885"/>
                    <a:pt x="757556" y="95885"/>
                    <a:pt x="758826" y="95885"/>
                  </a:cubicBezTo>
                  <a:cubicBezTo>
                    <a:pt x="760731" y="95885"/>
                    <a:pt x="762636" y="95885"/>
                    <a:pt x="765176" y="95250"/>
                  </a:cubicBezTo>
                  <a:cubicBezTo>
                    <a:pt x="767081" y="94615"/>
                    <a:pt x="768986" y="93980"/>
                    <a:pt x="770256" y="93345"/>
                  </a:cubicBezTo>
                  <a:lnTo>
                    <a:pt x="768351" y="106680"/>
                  </a:lnTo>
                  <a:cubicBezTo>
                    <a:pt x="768351" y="106680"/>
                    <a:pt x="764541" y="108585"/>
                    <a:pt x="762001" y="109220"/>
                  </a:cubicBezTo>
                  <a:cubicBezTo>
                    <a:pt x="759461" y="109855"/>
                    <a:pt x="756921" y="110490"/>
                    <a:pt x="753746" y="110490"/>
                  </a:cubicBezTo>
                  <a:cubicBezTo>
                    <a:pt x="751206" y="110490"/>
                    <a:pt x="748666" y="110490"/>
                    <a:pt x="746761" y="109220"/>
                  </a:cubicBezTo>
                  <a:cubicBezTo>
                    <a:pt x="744856" y="108585"/>
                    <a:pt x="742951" y="107315"/>
                    <a:pt x="741045" y="105410"/>
                  </a:cubicBezTo>
                  <a:cubicBezTo>
                    <a:pt x="739141" y="103505"/>
                    <a:pt x="737871" y="101600"/>
                    <a:pt x="737236" y="99060"/>
                  </a:cubicBezTo>
                  <a:cubicBezTo>
                    <a:pt x="736600" y="96520"/>
                    <a:pt x="735966" y="93345"/>
                    <a:pt x="735966" y="89535"/>
                  </a:cubicBezTo>
                  <a:lnTo>
                    <a:pt x="735966" y="44450"/>
                  </a:lnTo>
                  <a:lnTo>
                    <a:pt x="725171" y="44450"/>
                  </a:lnTo>
                  <a:lnTo>
                    <a:pt x="725171" y="30480"/>
                  </a:lnTo>
                  <a:lnTo>
                    <a:pt x="735966" y="30480"/>
                  </a:lnTo>
                  <a:lnTo>
                    <a:pt x="735966" y="8255"/>
                  </a:lnTo>
                  <a:close/>
                  <a:moveTo>
                    <a:pt x="521335" y="0"/>
                  </a:moveTo>
                  <a:lnTo>
                    <a:pt x="521335" y="30480"/>
                  </a:lnTo>
                  <a:lnTo>
                    <a:pt x="540385" y="30480"/>
                  </a:lnTo>
                  <a:lnTo>
                    <a:pt x="540385" y="44450"/>
                  </a:lnTo>
                  <a:lnTo>
                    <a:pt x="521335" y="44450"/>
                  </a:lnTo>
                  <a:lnTo>
                    <a:pt x="521335" y="86995"/>
                  </a:lnTo>
                  <a:cubicBezTo>
                    <a:pt x="521335" y="86995"/>
                    <a:pt x="521335" y="90170"/>
                    <a:pt x="521335" y="91440"/>
                  </a:cubicBezTo>
                  <a:cubicBezTo>
                    <a:pt x="521335" y="92710"/>
                    <a:pt x="521970" y="93345"/>
                    <a:pt x="522605" y="94615"/>
                  </a:cubicBezTo>
                  <a:cubicBezTo>
                    <a:pt x="523240" y="95250"/>
                    <a:pt x="523875" y="95885"/>
                    <a:pt x="525145" y="95885"/>
                  </a:cubicBezTo>
                  <a:cubicBezTo>
                    <a:pt x="526415" y="95885"/>
                    <a:pt x="527685" y="95885"/>
                    <a:pt x="528955" y="95885"/>
                  </a:cubicBezTo>
                  <a:cubicBezTo>
                    <a:pt x="530860" y="95885"/>
                    <a:pt x="532765" y="95885"/>
                    <a:pt x="535305" y="95250"/>
                  </a:cubicBezTo>
                  <a:cubicBezTo>
                    <a:pt x="537210" y="94615"/>
                    <a:pt x="539115" y="93980"/>
                    <a:pt x="540385" y="93345"/>
                  </a:cubicBezTo>
                  <a:lnTo>
                    <a:pt x="538480" y="106680"/>
                  </a:lnTo>
                  <a:cubicBezTo>
                    <a:pt x="538480" y="106680"/>
                    <a:pt x="534670" y="108585"/>
                    <a:pt x="532130" y="109220"/>
                  </a:cubicBezTo>
                  <a:cubicBezTo>
                    <a:pt x="529590" y="109855"/>
                    <a:pt x="527050" y="110490"/>
                    <a:pt x="523875" y="110490"/>
                  </a:cubicBezTo>
                  <a:cubicBezTo>
                    <a:pt x="521335" y="110490"/>
                    <a:pt x="518795" y="110490"/>
                    <a:pt x="516890" y="109220"/>
                  </a:cubicBezTo>
                  <a:cubicBezTo>
                    <a:pt x="514985" y="108585"/>
                    <a:pt x="513080" y="107315"/>
                    <a:pt x="511175" y="105410"/>
                  </a:cubicBezTo>
                  <a:cubicBezTo>
                    <a:pt x="509270" y="103505"/>
                    <a:pt x="508000" y="101600"/>
                    <a:pt x="507365" y="99060"/>
                  </a:cubicBezTo>
                  <a:cubicBezTo>
                    <a:pt x="506730" y="96520"/>
                    <a:pt x="506095" y="93345"/>
                    <a:pt x="506095" y="89535"/>
                  </a:cubicBezTo>
                  <a:lnTo>
                    <a:pt x="506095" y="44450"/>
                  </a:lnTo>
                  <a:lnTo>
                    <a:pt x="495300" y="44450"/>
                  </a:lnTo>
                  <a:lnTo>
                    <a:pt x="495300" y="30480"/>
                  </a:lnTo>
                  <a:lnTo>
                    <a:pt x="506095" y="30480"/>
                  </a:lnTo>
                  <a:lnTo>
                    <a:pt x="506095" y="8255"/>
                  </a:lnTo>
                  <a:close/>
                  <a:moveTo>
                    <a:pt x="466724" y="0"/>
                  </a:moveTo>
                  <a:lnTo>
                    <a:pt x="466724" y="30480"/>
                  </a:lnTo>
                  <a:lnTo>
                    <a:pt x="485774" y="30480"/>
                  </a:lnTo>
                  <a:lnTo>
                    <a:pt x="485774" y="44450"/>
                  </a:lnTo>
                  <a:lnTo>
                    <a:pt x="466724" y="44450"/>
                  </a:lnTo>
                  <a:lnTo>
                    <a:pt x="466724" y="86995"/>
                  </a:lnTo>
                  <a:cubicBezTo>
                    <a:pt x="466724" y="86995"/>
                    <a:pt x="466724" y="90170"/>
                    <a:pt x="466724" y="91440"/>
                  </a:cubicBezTo>
                  <a:cubicBezTo>
                    <a:pt x="466724" y="92710"/>
                    <a:pt x="467359" y="93345"/>
                    <a:pt x="467994" y="94615"/>
                  </a:cubicBezTo>
                  <a:cubicBezTo>
                    <a:pt x="468629" y="95250"/>
                    <a:pt x="469264" y="95885"/>
                    <a:pt x="470534" y="95885"/>
                  </a:cubicBezTo>
                  <a:cubicBezTo>
                    <a:pt x="471804" y="95885"/>
                    <a:pt x="473074" y="95885"/>
                    <a:pt x="474344" y="95885"/>
                  </a:cubicBezTo>
                  <a:cubicBezTo>
                    <a:pt x="476249" y="95885"/>
                    <a:pt x="478154" y="95885"/>
                    <a:pt x="480694" y="95250"/>
                  </a:cubicBezTo>
                  <a:cubicBezTo>
                    <a:pt x="482599" y="94615"/>
                    <a:pt x="484504" y="93980"/>
                    <a:pt x="485774" y="93345"/>
                  </a:cubicBezTo>
                  <a:lnTo>
                    <a:pt x="483869" y="106680"/>
                  </a:lnTo>
                  <a:cubicBezTo>
                    <a:pt x="483869" y="106680"/>
                    <a:pt x="480059" y="108585"/>
                    <a:pt x="477519" y="109220"/>
                  </a:cubicBezTo>
                  <a:cubicBezTo>
                    <a:pt x="474979" y="109855"/>
                    <a:pt x="472439" y="110490"/>
                    <a:pt x="469264" y="110490"/>
                  </a:cubicBezTo>
                  <a:cubicBezTo>
                    <a:pt x="466724" y="110490"/>
                    <a:pt x="464184" y="110490"/>
                    <a:pt x="462279" y="109220"/>
                  </a:cubicBezTo>
                  <a:cubicBezTo>
                    <a:pt x="460374" y="108585"/>
                    <a:pt x="458469" y="107315"/>
                    <a:pt x="456564" y="105410"/>
                  </a:cubicBezTo>
                  <a:cubicBezTo>
                    <a:pt x="454659" y="103505"/>
                    <a:pt x="453389" y="101600"/>
                    <a:pt x="452754" y="99060"/>
                  </a:cubicBezTo>
                  <a:cubicBezTo>
                    <a:pt x="452119" y="96520"/>
                    <a:pt x="451484" y="93345"/>
                    <a:pt x="451484" y="89535"/>
                  </a:cubicBezTo>
                  <a:lnTo>
                    <a:pt x="451484" y="44450"/>
                  </a:lnTo>
                  <a:lnTo>
                    <a:pt x="440689" y="44450"/>
                  </a:lnTo>
                  <a:lnTo>
                    <a:pt x="440689" y="30480"/>
                  </a:lnTo>
                  <a:lnTo>
                    <a:pt x="451484" y="30480"/>
                  </a:lnTo>
                  <a:lnTo>
                    <a:pt x="451484" y="8255"/>
                  </a:lnTo>
                  <a:close/>
                  <a:moveTo>
                    <a:pt x="302259" y="0"/>
                  </a:moveTo>
                  <a:lnTo>
                    <a:pt x="302259" y="37465"/>
                  </a:lnTo>
                  <a:cubicBezTo>
                    <a:pt x="302259" y="37465"/>
                    <a:pt x="305434" y="34925"/>
                    <a:pt x="306704" y="33655"/>
                  </a:cubicBezTo>
                  <a:cubicBezTo>
                    <a:pt x="307974" y="33020"/>
                    <a:pt x="309244" y="31750"/>
                    <a:pt x="310514" y="31115"/>
                  </a:cubicBezTo>
                  <a:cubicBezTo>
                    <a:pt x="311784" y="30480"/>
                    <a:pt x="313689" y="29845"/>
                    <a:pt x="315594" y="29210"/>
                  </a:cubicBezTo>
                  <a:cubicBezTo>
                    <a:pt x="317499" y="29210"/>
                    <a:pt x="320039" y="28575"/>
                    <a:pt x="322579" y="28575"/>
                  </a:cubicBezTo>
                  <a:cubicBezTo>
                    <a:pt x="327024" y="28575"/>
                    <a:pt x="330834" y="29210"/>
                    <a:pt x="334644" y="31115"/>
                  </a:cubicBezTo>
                  <a:cubicBezTo>
                    <a:pt x="338454" y="32385"/>
                    <a:pt x="341629" y="34925"/>
                    <a:pt x="344169" y="38735"/>
                  </a:cubicBezTo>
                  <a:cubicBezTo>
                    <a:pt x="346709" y="41910"/>
                    <a:pt x="349249" y="46355"/>
                    <a:pt x="350519" y="51435"/>
                  </a:cubicBezTo>
                  <a:cubicBezTo>
                    <a:pt x="351789" y="56515"/>
                    <a:pt x="353059" y="62865"/>
                    <a:pt x="353059" y="70485"/>
                  </a:cubicBezTo>
                  <a:lnTo>
                    <a:pt x="352424" y="71120"/>
                  </a:lnTo>
                  <a:cubicBezTo>
                    <a:pt x="352424" y="77470"/>
                    <a:pt x="351789" y="83820"/>
                    <a:pt x="349884" y="88265"/>
                  </a:cubicBezTo>
                  <a:cubicBezTo>
                    <a:pt x="347979" y="93345"/>
                    <a:pt x="346074" y="97155"/>
                    <a:pt x="342899" y="100330"/>
                  </a:cubicBezTo>
                  <a:cubicBezTo>
                    <a:pt x="340359" y="103505"/>
                    <a:pt x="336549" y="106045"/>
                    <a:pt x="333374" y="107315"/>
                  </a:cubicBezTo>
                  <a:cubicBezTo>
                    <a:pt x="329564" y="109220"/>
                    <a:pt x="325754" y="109855"/>
                    <a:pt x="321944" y="109855"/>
                  </a:cubicBezTo>
                  <a:cubicBezTo>
                    <a:pt x="318134" y="109855"/>
                    <a:pt x="314324" y="109220"/>
                    <a:pt x="311149" y="107315"/>
                  </a:cubicBezTo>
                  <a:cubicBezTo>
                    <a:pt x="307339" y="105410"/>
                    <a:pt x="304799" y="103505"/>
                    <a:pt x="302259" y="100965"/>
                  </a:cubicBezTo>
                  <a:lnTo>
                    <a:pt x="302259" y="107950"/>
                  </a:lnTo>
                  <a:lnTo>
                    <a:pt x="287019" y="107950"/>
                  </a:lnTo>
                  <a:lnTo>
                    <a:pt x="287019" y="7620"/>
                  </a:lnTo>
                  <a:close/>
                </a:path>
              </a:pathLst>
            </a:custGeom>
            <a:solidFill>
              <a:srgbClr val="FFFFFF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28" name="Subtitle 2">
            <a:extLst>
              <a:ext uri="{FF2B5EF4-FFF2-40B4-BE49-F238E27FC236}">
                <a16:creationId xmlns:a16="http://schemas.microsoft.com/office/drawing/2014/main" id="{632E76BF-46D5-8E94-88AA-4783DD302E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90225" y="4436486"/>
            <a:ext cx="4910184" cy="511939"/>
          </a:xfrm>
        </p:spPr>
        <p:txBody>
          <a:bodyPr wrap="square">
            <a:noAutofit/>
          </a:bodyPr>
          <a:lstStyle>
            <a:lvl1pPr marL="0" indent="0" algn="l">
              <a:buNone/>
              <a:defRPr lang="en-GB" sz="16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/>
          </a:p>
        </p:txBody>
      </p:sp>
      <p:sp>
        <p:nvSpPr>
          <p:cNvPr id="29" name="Title 4">
            <a:extLst>
              <a:ext uri="{FF2B5EF4-FFF2-40B4-BE49-F238E27FC236}">
                <a16:creationId xmlns:a16="http://schemas.microsoft.com/office/drawing/2014/main" id="{1F7B1FDC-B90E-6693-A750-B9BA4B535E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90226" y="2698752"/>
            <a:ext cx="4908564" cy="1654043"/>
          </a:xfrm>
        </p:spPr>
        <p:txBody>
          <a:bodyPr anchor="t">
            <a:noAutofit/>
          </a:bodyPr>
          <a:lstStyle>
            <a:lvl1pPr>
              <a:defRPr sz="4200" b="1" i="0">
                <a:solidFill>
                  <a:schemeClr val="bg1"/>
                </a:solidFill>
                <a:latin typeface="EYInterstate Regular" panose="02000503020000020004" pitchFamily="2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0" name="Text Placeholder 288">
            <a:extLst>
              <a:ext uri="{FF2B5EF4-FFF2-40B4-BE49-F238E27FC236}">
                <a16:creationId xmlns:a16="http://schemas.microsoft.com/office/drawing/2014/main" id="{1673B89D-F206-B9D2-CDB7-BDE045C7447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90226" y="5047486"/>
            <a:ext cx="4908565" cy="246221"/>
          </a:xfrm>
        </p:spPr>
        <p:txBody>
          <a:bodyPr wrap="square">
            <a:spAutoFit/>
          </a:bodyPr>
          <a:lstStyle>
            <a:lvl1pPr marL="0" indent="0">
              <a:buNone/>
              <a:defRPr sz="1600" b="1">
                <a:latin typeface="+mj-lt"/>
              </a:defRPr>
            </a:lvl1pPr>
            <a:lvl2pPr marL="252000" indent="0">
              <a:buNone/>
              <a:defRPr sz="1600" b="1">
                <a:latin typeface="+mj-lt"/>
              </a:defRPr>
            </a:lvl2pPr>
            <a:lvl3pPr marL="504000" indent="0">
              <a:buNone/>
              <a:defRPr sz="1600" b="1">
                <a:latin typeface="+mj-lt"/>
              </a:defRPr>
            </a:lvl3pPr>
            <a:lvl4pPr marL="756000" indent="0">
              <a:buNone/>
              <a:defRPr sz="1600" b="1">
                <a:latin typeface="+mj-lt"/>
              </a:defRPr>
            </a:lvl4pPr>
            <a:lvl5pPr marL="1008000" indent="0">
              <a:buNone/>
              <a:defRPr sz="1600" b="1">
                <a:latin typeface="+mj-lt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51D43938-5757-1C8A-B3BA-59EC353FB68E}"/>
              </a:ext>
            </a:extLst>
          </p:cNvPr>
          <p:cNvGrpSpPr/>
          <p:nvPr userDrawn="1"/>
        </p:nvGrpSpPr>
        <p:grpSpPr>
          <a:xfrm>
            <a:off x="486027" y="1291009"/>
            <a:ext cx="5709082" cy="4360545"/>
            <a:chOff x="485774" y="1291008"/>
            <a:chExt cx="5706110" cy="4360545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F7E50E80-DFF0-E065-898F-1AFD970459B6}"/>
                </a:ext>
              </a:extLst>
            </p:cNvPr>
            <p:cNvSpPr/>
            <p:nvPr userDrawn="1"/>
          </p:nvSpPr>
          <p:spPr>
            <a:xfrm>
              <a:off x="485774" y="5549953"/>
              <a:ext cx="508000" cy="101600"/>
            </a:xfrm>
            <a:custGeom>
              <a:avLst/>
              <a:gdLst>
                <a:gd name="connsiteX0" fmla="*/ 406400 w 508000"/>
                <a:gd name="connsiteY0" fmla="*/ 0 h 101600"/>
                <a:gd name="connsiteX1" fmla="*/ 508000 w 508000"/>
                <a:gd name="connsiteY1" fmla="*/ 0 h 101600"/>
                <a:gd name="connsiteX2" fmla="*/ 508000 w 508000"/>
                <a:gd name="connsiteY2" fmla="*/ 101600 h 101600"/>
                <a:gd name="connsiteX3" fmla="*/ 406400 w 508000"/>
                <a:gd name="connsiteY3" fmla="*/ 101600 h 101600"/>
                <a:gd name="connsiteX4" fmla="*/ 203200 w 508000"/>
                <a:gd name="connsiteY4" fmla="*/ 0 h 101600"/>
                <a:gd name="connsiteX5" fmla="*/ 304800 w 508000"/>
                <a:gd name="connsiteY5" fmla="*/ 0 h 101600"/>
                <a:gd name="connsiteX6" fmla="*/ 304800 w 508000"/>
                <a:gd name="connsiteY6" fmla="*/ 101600 h 101600"/>
                <a:gd name="connsiteX7" fmla="*/ 203200 w 508000"/>
                <a:gd name="connsiteY7" fmla="*/ 101600 h 101600"/>
                <a:gd name="connsiteX8" fmla="*/ 0 w 508000"/>
                <a:gd name="connsiteY8" fmla="*/ 0 h 101600"/>
                <a:gd name="connsiteX9" fmla="*/ 101600 w 508000"/>
                <a:gd name="connsiteY9" fmla="*/ 0 h 101600"/>
                <a:gd name="connsiteX10" fmla="*/ 101600 w 508000"/>
                <a:gd name="connsiteY10" fmla="*/ 101600 h 101600"/>
                <a:gd name="connsiteX11" fmla="*/ 0 w 508000"/>
                <a:gd name="connsiteY11" fmla="*/ 101600 h 101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08000" h="101600">
                  <a:moveTo>
                    <a:pt x="406400" y="0"/>
                  </a:moveTo>
                  <a:lnTo>
                    <a:pt x="508000" y="0"/>
                  </a:lnTo>
                  <a:lnTo>
                    <a:pt x="508000" y="101600"/>
                  </a:lnTo>
                  <a:lnTo>
                    <a:pt x="406400" y="101600"/>
                  </a:lnTo>
                  <a:close/>
                  <a:moveTo>
                    <a:pt x="203200" y="0"/>
                  </a:moveTo>
                  <a:lnTo>
                    <a:pt x="304800" y="0"/>
                  </a:lnTo>
                  <a:lnTo>
                    <a:pt x="304800" y="101600"/>
                  </a:lnTo>
                  <a:lnTo>
                    <a:pt x="203200" y="101600"/>
                  </a:lnTo>
                  <a:close/>
                  <a:moveTo>
                    <a:pt x="0" y="0"/>
                  </a:moveTo>
                  <a:lnTo>
                    <a:pt x="101600" y="0"/>
                  </a:lnTo>
                  <a:lnTo>
                    <a:pt x="101600" y="101600"/>
                  </a:lnTo>
                  <a:lnTo>
                    <a:pt x="0" y="101600"/>
                  </a:lnTo>
                  <a:close/>
                </a:path>
              </a:pathLst>
            </a:custGeom>
            <a:solidFill>
              <a:schemeClr val="tx2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90AAC841-3D56-6842-04D1-F0B7D973D86D}"/>
                </a:ext>
              </a:extLst>
            </p:cNvPr>
            <p:cNvSpPr/>
            <p:nvPr userDrawn="1"/>
          </p:nvSpPr>
          <p:spPr>
            <a:xfrm>
              <a:off x="485775" y="1291008"/>
              <a:ext cx="5706109" cy="4359275"/>
            </a:xfrm>
            <a:custGeom>
              <a:avLst/>
              <a:gdLst>
                <a:gd name="connsiteX0" fmla="*/ 0 w 5706109"/>
                <a:gd name="connsiteY0" fmla="*/ 4157346 h 4359275"/>
                <a:gd name="connsiteX1" fmla="*/ 101600 w 5706109"/>
                <a:gd name="connsiteY1" fmla="*/ 4157346 h 4359275"/>
                <a:gd name="connsiteX2" fmla="*/ 101600 w 5706109"/>
                <a:gd name="connsiteY2" fmla="*/ 1075055 h 4359275"/>
                <a:gd name="connsiteX3" fmla="*/ 101600 w 5706109"/>
                <a:gd name="connsiteY3" fmla="*/ 1075055 h 4359275"/>
                <a:gd name="connsiteX4" fmla="*/ 191770 w 5706109"/>
                <a:gd name="connsiteY4" fmla="*/ 1059180 h 4359275"/>
                <a:gd name="connsiteX5" fmla="*/ 861060 w 5706109"/>
                <a:gd name="connsiteY5" fmla="*/ 942975 h 4359275"/>
                <a:gd name="connsiteX6" fmla="*/ 1195705 w 5706109"/>
                <a:gd name="connsiteY6" fmla="*/ 885190 h 4359275"/>
                <a:gd name="connsiteX7" fmla="*/ 1362710 w 5706109"/>
                <a:gd name="connsiteY7" fmla="*/ 855980 h 4359275"/>
                <a:gd name="connsiteX8" fmla="*/ 1529715 w 5706109"/>
                <a:gd name="connsiteY8" fmla="*/ 826770 h 4359275"/>
                <a:gd name="connsiteX9" fmla="*/ 1864360 w 5706109"/>
                <a:gd name="connsiteY9" fmla="*/ 768985 h 4359275"/>
                <a:gd name="connsiteX10" fmla="*/ 2031365 w 5706109"/>
                <a:gd name="connsiteY10" fmla="*/ 739775 h 4359275"/>
                <a:gd name="connsiteX11" fmla="*/ 2198370 w 5706109"/>
                <a:gd name="connsiteY11" fmla="*/ 710565 h 4359275"/>
                <a:gd name="connsiteX12" fmla="*/ 2365375 w 5706109"/>
                <a:gd name="connsiteY12" fmla="*/ 681355 h 4359275"/>
                <a:gd name="connsiteX13" fmla="*/ 2532380 w 5706109"/>
                <a:gd name="connsiteY13" fmla="*/ 652145 h 4359275"/>
                <a:gd name="connsiteX14" fmla="*/ 2699385 w 5706109"/>
                <a:gd name="connsiteY14" fmla="*/ 622935 h 4359275"/>
                <a:gd name="connsiteX15" fmla="*/ 2866390 w 5706109"/>
                <a:gd name="connsiteY15" fmla="*/ 593725 h 4359275"/>
                <a:gd name="connsiteX16" fmla="*/ 5461000 w 5706109"/>
                <a:gd name="connsiteY16" fmla="*/ 144145 h 4359275"/>
                <a:gd name="connsiteX17" fmla="*/ 5602605 w 5706109"/>
                <a:gd name="connsiteY17" fmla="*/ 119380 h 4359275"/>
                <a:gd name="connsiteX18" fmla="*/ 5602605 w 5706109"/>
                <a:gd name="connsiteY18" fmla="*/ 119380 h 4359275"/>
                <a:gd name="connsiteX19" fmla="*/ 5602605 w 5706109"/>
                <a:gd name="connsiteY19" fmla="*/ 4257676 h 4359275"/>
                <a:gd name="connsiteX20" fmla="*/ 609600 w 5706109"/>
                <a:gd name="connsiteY20" fmla="*/ 4257676 h 4359275"/>
                <a:gd name="connsiteX21" fmla="*/ 609600 w 5706109"/>
                <a:gd name="connsiteY21" fmla="*/ 4359276 h 4359275"/>
                <a:gd name="connsiteX22" fmla="*/ 5706110 w 5706109"/>
                <a:gd name="connsiteY22" fmla="*/ 4359276 h 4359275"/>
                <a:gd name="connsiteX23" fmla="*/ 5706110 w 5706109"/>
                <a:gd name="connsiteY23" fmla="*/ 0 h 4359275"/>
                <a:gd name="connsiteX24" fmla="*/ 5704840 w 5706109"/>
                <a:gd name="connsiteY24" fmla="*/ 0 h 4359275"/>
                <a:gd name="connsiteX25" fmla="*/ 5445760 w 5706109"/>
                <a:gd name="connsiteY25" fmla="*/ 45085 h 4359275"/>
                <a:gd name="connsiteX26" fmla="*/ 2851150 w 5706109"/>
                <a:gd name="connsiteY26" fmla="*/ 494665 h 4359275"/>
                <a:gd name="connsiteX27" fmla="*/ 2684145 w 5706109"/>
                <a:gd name="connsiteY27" fmla="*/ 523875 h 4359275"/>
                <a:gd name="connsiteX28" fmla="*/ 2517140 w 5706109"/>
                <a:gd name="connsiteY28" fmla="*/ 553085 h 4359275"/>
                <a:gd name="connsiteX29" fmla="*/ 2350135 w 5706109"/>
                <a:gd name="connsiteY29" fmla="*/ 582295 h 4359275"/>
                <a:gd name="connsiteX30" fmla="*/ 2183130 w 5706109"/>
                <a:gd name="connsiteY30" fmla="*/ 611505 h 4359275"/>
                <a:gd name="connsiteX31" fmla="*/ 2016125 w 5706109"/>
                <a:gd name="connsiteY31" fmla="*/ 640715 h 4359275"/>
                <a:gd name="connsiteX32" fmla="*/ 1849120 w 5706109"/>
                <a:gd name="connsiteY32" fmla="*/ 669925 h 4359275"/>
                <a:gd name="connsiteX33" fmla="*/ 1514475 w 5706109"/>
                <a:gd name="connsiteY33" fmla="*/ 727710 h 4359275"/>
                <a:gd name="connsiteX34" fmla="*/ 1347470 w 5706109"/>
                <a:gd name="connsiteY34" fmla="*/ 756920 h 4359275"/>
                <a:gd name="connsiteX35" fmla="*/ 1180465 w 5706109"/>
                <a:gd name="connsiteY35" fmla="*/ 786130 h 4359275"/>
                <a:gd name="connsiteX36" fmla="*/ 845820 w 5706109"/>
                <a:gd name="connsiteY36" fmla="*/ 843915 h 4359275"/>
                <a:gd name="connsiteX37" fmla="*/ 176530 w 5706109"/>
                <a:gd name="connsiteY37" fmla="*/ 960120 h 4359275"/>
                <a:gd name="connsiteX38" fmla="*/ 3175 w 5706109"/>
                <a:gd name="connsiteY38" fmla="*/ 989965 h 4359275"/>
                <a:gd name="connsiteX39" fmla="*/ 1905 w 5706109"/>
                <a:gd name="connsiteY39" fmla="*/ 989965 h 4359275"/>
                <a:gd name="connsiteX40" fmla="*/ 1905 w 5706109"/>
                <a:gd name="connsiteY40" fmla="*/ 4158616 h 4359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5706109" h="4359275">
                  <a:moveTo>
                    <a:pt x="0" y="4157346"/>
                  </a:moveTo>
                  <a:lnTo>
                    <a:pt x="101600" y="4157346"/>
                  </a:lnTo>
                  <a:lnTo>
                    <a:pt x="101600" y="1075055"/>
                  </a:lnTo>
                  <a:lnTo>
                    <a:pt x="101600" y="1075055"/>
                  </a:lnTo>
                  <a:lnTo>
                    <a:pt x="191770" y="1059180"/>
                  </a:lnTo>
                  <a:lnTo>
                    <a:pt x="861060" y="942975"/>
                  </a:lnTo>
                  <a:lnTo>
                    <a:pt x="1195705" y="885190"/>
                  </a:lnTo>
                  <a:lnTo>
                    <a:pt x="1362710" y="855980"/>
                  </a:lnTo>
                  <a:lnTo>
                    <a:pt x="1529715" y="826770"/>
                  </a:lnTo>
                  <a:lnTo>
                    <a:pt x="1864360" y="768985"/>
                  </a:lnTo>
                  <a:lnTo>
                    <a:pt x="2031365" y="739775"/>
                  </a:lnTo>
                  <a:lnTo>
                    <a:pt x="2198370" y="710565"/>
                  </a:lnTo>
                  <a:lnTo>
                    <a:pt x="2365375" y="681355"/>
                  </a:lnTo>
                  <a:lnTo>
                    <a:pt x="2532380" y="652145"/>
                  </a:lnTo>
                  <a:lnTo>
                    <a:pt x="2699385" y="622935"/>
                  </a:lnTo>
                  <a:lnTo>
                    <a:pt x="2866390" y="593725"/>
                  </a:lnTo>
                  <a:cubicBezTo>
                    <a:pt x="3731260" y="443865"/>
                    <a:pt x="4596130" y="294005"/>
                    <a:pt x="5461000" y="144145"/>
                  </a:cubicBezTo>
                  <a:lnTo>
                    <a:pt x="5602605" y="119380"/>
                  </a:lnTo>
                  <a:lnTo>
                    <a:pt x="5602605" y="119380"/>
                  </a:lnTo>
                  <a:lnTo>
                    <a:pt x="5602605" y="4257676"/>
                  </a:lnTo>
                  <a:lnTo>
                    <a:pt x="609600" y="4257676"/>
                  </a:lnTo>
                  <a:lnTo>
                    <a:pt x="609600" y="4359276"/>
                  </a:lnTo>
                  <a:lnTo>
                    <a:pt x="5706110" y="4359276"/>
                  </a:lnTo>
                  <a:lnTo>
                    <a:pt x="5706110" y="0"/>
                  </a:lnTo>
                  <a:lnTo>
                    <a:pt x="5704840" y="0"/>
                  </a:lnTo>
                  <a:cubicBezTo>
                    <a:pt x="5618480" y="15240"/>
                    <a:pt x="5532120" y="30480"/>
                    <a:pt x="5445760" y="45085"/>
                  </a:cubicBezTo>
                  <a:cubicBezTo>
                    <a:pt x="4580890" y="194945"/>
                    <a:pt x="3716020" y="344805"/>
                    <a:pt x="2851150" y="494665"/>
                  </a:cubicBezTo>
                  <a:lnTo>
                    <a:pt x="2684145" y="523875"/>
                  </a:lnTo>
                  <a:lnTo>
                    <a:pt x="2517140" y="553085"/>
                  </a:lnTo>
                  <a:lnTo>
                    <a:pt x="2350135" y="582295"/>
                  </a:lnTo>
                  <a:lnTo>
                    <a:pt x="2183130" y="611505"/>
                  </a:lnTo>
                  <a:lnTo>
                    <a:pt x="2016125" y="640715"/>
                  </a:lnTo>
                  <a:lnTo>
                    <a:pt x="1849120" y="669925"/>
                  </a:lnTo>
                  <a:lnTo>
                    <a:pt x="1514475" y="727710"/>
                  </a:lnTo>
                  <a:lnTo>
                    <a:pt x="1347470" y="756920"/>
                  </a:lnTo>
                  <a:lnTo>
                    <a:pt x="1180465" y="786130"/>
                  </a:lnTo>
                  <a:lnTo>
                    <a:pt x="845820" y="843915"/>
                  </a:lnTo>
                  <a:lnTo>
                    <a:pt x="176530" y="960120"/>
                  </a:lnTo>
                  <a:lnTo>
                    <a:pt x="3175" y="989965"/>
                  </a:lnTo>
                  <a:lnTo>
                    <a:pt x="1905" y="989965"/>
                  </a:lnTo>
                  <a:lnTo>
                    <a:pt x="1905" y="4158616"/>
                  </a:lnTo>
                  <a:close/>
                </a:path>
              </a:pathLst>
            </a:custGeom>
            <a:gradFill flip="none" rotWithShape="1">
              <a:gsLst>
                <a:gs pos="39000">
                  <a:srgbClr val="FFE600"/>
                </a:gs>
                <a:gs pos="68000">
                  <a:srgbClr val="FF7D1E"/>
                </a:gs>
                <a:gs pos="100000">
                  <a:srgbClr val="FF32FF"/>
                </a:gs>
              </a:gsLst>
              <a:lin ang="18720000" scaled="0"/>
              <a:tileRect/>
            </a:gradFill>
            <a:ln w="818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 sz="1800"/>
            </a:p>
          </p:txBody>
        </p:sp>
      </p:grpSp>
    </p:spTree>
    <p:extLst>
      <p:ext uri="{BB962C8B-B14F-4D97-AF65-F5344CB8AC3E}">
        <p14:creationId xmlns:p14="http://schemas.microsoft.com/office/powerpoint/2010/main" val="779109803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Frame Yellow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9D5BBB5A-0446-3C14-B12C-56A5730E1CC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0"/>
            <a:ext cx="8390722" cy="6858000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0"/>
                  <a:alpha val="0"/>
                </a:schemeClr>
              </a:gs>
              <a:gs pos="95000">
                <a:srgbClr val="000000">
                  <a:alpha val="70000"/>
                </a:srgbClr>
              </a:gs>
            </a:gsLst>
            <a:lin ang="108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endParaRPr lang="en-US" sz="1200" b="1">
              <a:solidFill>
                <a:schemeClr val="tx1"/>
              </a:solidFill>
            </a:endParaRP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A8D6BAB6-A68E-C404-5D92-6E11D325CFFA}"/>
              </a:ext>
            </a:extLst>
          </p:cNvPr>
          <p:cNvGrpSpPr/>
          <p:nvPr userDrawn="1"/>
        </p:nvGrpSpPr>
        <p:grpSpPr bwMode="black">
          <a:xfrm>
            <a:off x="10568726" y="5167683"/>
            <a:ext cx="1219835" cy="1284606"/>
            <a:chOff x="10563224" y="5158158"/>
            <a:chExt cx="1219200" cy="1284606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BEE0067F-78DC-1ABA-D072-D13444B14ED9}"/>
                </a:ext>
              </a:extLst>
            </p:cNvPr>
            <p:cNvSpPr/>
            <p:nvPr/>
          </p:nvSpPr>
          <p:spPr bwMode="black">
            <a:xfrm>
              <a:off x="10826115" y="5158158"/>
              <a:ext cx="805814" cy="294004"/>
            </a:xfrm>
            <a:custGeom>
              <a:avLst/>
              <a:gdLst>
                <a:gd name="connsiteX0" fmla="*/ 805814 w 805814"/>
                <a:gd name="connsiteY0" fmla="*/ 0 h 294004"/>
                <a:gd name="connsiteX1" fmla="*/ 0 w 805814"/>
                <a:gd name="connsiteY1" fmla="*/ 294005 h 294004"/>
                <a:gd name="connsiteX2" fmla="*/ 805814 w 805814"/>
                <a:gd name="connsiteY2" fmla="*/ 151765 h 294004"/>
                <a:gd name="connsiteX3" fmla="*/ 805814 w 805814"/>
                <a:gd name="connsiteY3" fmla="*/ 0 h 2940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05814" h="294004">
                  <a:moveTo>
                    <a:pt x="805814" y="0"/>
                  </a:moveTo>
                  <a:lnTo>
                    <a:pt x="0" y="294005"/>
                  </a:lnTo>
                  <a:lnTo>
                    <a:pt x="805814" y="151765"/>
                  </a:lnTo>
                  <a:lnTo>
                    <a:pt x="805814" y="0"/>
                  </a:lnTo>
                  <a:close/>
                </a:path>
              </a:pathLst>
            </a:custGeom>
            <a:solidFill>
              <a:srgbClr val="FFE600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23" name="Freeform 22">
              <a:extLst>
                <a:ext uri="{FF2B5EF4-FFF2-40B4-BE49-F238E27FC236}">
                  <a16:creationId xmlns:a16="http://schemas.microsoft.com/office/drawing/2014/main" id="{51F51328-AAA1-9C6C-5EE4-05350DF6D22E}"/>
                </a:ext>
              </a:extLst>
            </p:cNvPr>
            <p:cNvSpPr/>
            <p:nvPr/>
          </p:nvSpPr>
          <p:spPr bwMode="black">
            <a:xfrm>
              <a:off x="10563224" y="5574083"/>
              <a:ext cx="1219200" cy="868681"/>
            </a:xfrm>
            <a:custGeom>
              <a:avLst/>
              <a:gdLst>
                <a:gd name="connsiteX0" fmla="*/ 245110 w 1219200"/>
                <a:gd name="connsiteY0" fmla="*/ 839471 h 868681"/>
                <a:gd name="connsiteX1" fmla="*/ 246379 w 1219200"/>
                <a:gd name="connsiteY1" fmla="*/ 839471 h 868681"/>
                <a:gd name="connsiteX2" fmla="*/ 245041 w 1219200"/>
                <a:gd name="connsiteY2" fmla="*/ 839979 h 868681"/>
                <a:gd name="connsiteX3" fmla="*/ 522605 w 1219200"/>
                <a:gd name="connsiteY3" fmla="*/ 796926 h 868681"/>
                <a:gd name="connsiteX4" fmla="*/ 504189 w 1219200"/>
                <a:gd name="connsiteY4" fmla="*/ 821691 h 868681"/>
                <a:gd name="connsiteX5" fmla="*/ 522605 w 1219200"/>
                <a:gd name="connsiteY5" fmla="*/ 845821 h 868681"/>
                <a:gd name="connsiteX6" fmla="*/ 541019 w 1219200"/>
                <a:gd name="connsiteY6" fmla="*/ 821691 h 868681"/>
                <a:gd name="connsiteX7" fmla="*/ 522605 w 1219200"/>
                <a:gd name="connsiteY7" fmla="*/ 796926 h 868681"/>
                <a:gd name="connsiteX8" fmla="*/ 817245 w 1219200"/>
                <a:gd name="connsiteY8" fmla="*/ 796291 h 868681"/>
                <a:gd name="connsiteX9" fmla="*/ 800735 w 1219200"/>
                <a:gd name="connsiteY9" fmla="*/ 819786 h 868681"/>
                <a:gd name="connsiteX10" fmla="*/ 817879 w 1219200"/>
                <a:gd name="connsiteY10" fmla="*/ 846456 h 868681"/>
                <a:gd name="connsiteX11" fmla="*/ 833754 w 1219200"/>
                <a:gd name="connsiteY11" fmla="*/ 838836 h 868681"/>
                <a:gd name="connsiteX12" fmla="*/ 833754 w 1219200"/>
                <a:gd name="connsiteY12" fmla="*/ 838201 h 868681"/>
                <a:gd name="connsiteX13" fmla="*/ 833754 w 1219200"/>
                <a:gd name="connsiteY13" fmla="*/ 803911 h 868681"/>
                <a:gd name="connsiteX14" fmla="*/ 817245 w 1219200"/>
                <a:gd name="connsiteY14" fmla="*/ 796291 h 868681"/>
                <a:gd name="connsiteX15" fmla="*/ 1179195 w 1219200"/>
                <a:gd name="connsiteY15" fmla="*/ 794386 h 868681"/>
                <a:gd name="connsiteX16" fmla="*/ 1163320 w 1219200"/>
                <a:gd name="connsiteY16" fmla="*/ 811531 h 868681"/>
                <a:gd name="connsiteX17" fmla="*/ 1163954 w 1219200"/>
                <a:gd name="connsiteY17" fmla="*/ 811531 h 868681"/>
                <a:gd name="connsiteX18" fmla="*/ 1195704 w 1219200"/>
                <a:gd name="connsiteY18" fmla="*/ 811531 h 868681"/>
                <a:gd name="connsiteX19" fmla="*/ 1179195 w 1219200"/>
                <a:gd name="connsiteY19" fmla="*/ 794386 h 868681"/>
                <a:gd name="connsiteX20" fmla="*/ 909320 w 1219200"/>
                <a:gd name="connsiteY20" fmla="*/ 794386 h 868681"/>
                <a:gd name="connsiteX21" fmla="*/ 893445 w 1219200"/>
                <a:gd name="connsiteY21" fmla="*/ 811531 h 868681"/>
                <a:gd name="connsiteX22" fmla="*/ 894079 w 1219200"/>
                <a:gd name="connsiteY22" fmla="*/ 811531 h 868681"/>
                <a:gd name="connsiteX23" fmla="*/ 925829 w 1219200"/>
                <a:gd name="connsiteY23" fmla="*/ 811531 h 868681"/>
                <a:gd name="connsiteX24" fmla="*/ 909320 w 1219200"/>
                <a:gd name="connsiteY24" fmla="*/ 794386 h 868681"/>
                <a:gd name="connsiteX25" fmla="*/ 737870 w 1219200"/>
                <a:gd name="connsiteY25" fmla="*/ 775971 h 868681"/>
                <a:gd name="connsiteX26" fmla="*/ 761364 w 1219200"/>
                <a:gd name="connsiteY26" fmla="*/ 775971 h 868681"/>
                <a:gd name="connsiteX27" fmla="*/ 761364 w 1219200"/>
                <a:gd name="connsiteY27" fmla="*/ 866141 h 868681"/>
                <a:gd name="connsiteX28" fmla="*/ 737870 w 1219200"/>
                <a:gd name="connsiteY28" fmla="*/ 866141 h 868681"/>
                <a:gd name="connsiteX29" fmla="*/ 143510 w 1219200"/>
                <a:gd name="connsiteY29" fmla="*/ 775971 h 868681"/>
                <a:gd name="connsiteX30" fmla="*/ 167004 w 1219200"/>
                <a:gd name="connsiteY30" fmla="*/ 775971 h 868681"/>
                <a:gd name="connsiteX31" fmla="*/ 167004 w 1219200"/>
                <a:gd name="connsiteY31" fmla="*/ 866141 h 868681"/>
                <a:gd name="connsiteX32" fmla="*/ 143510 w 1219200"/>
                <a:gd name="connsiteY32" fmla="*/ 866141 h 868681"/>
                <a:gd name="connsiteX33" fmla="*/ 635 w 1219200"/>
                <a:gd name="connsiteY33" fmla="*/ 775971 h 868681"/>
                <a:gd name="connsiteX34" fmla="*/ 26670 w 1219200"/>
                <a:gd name="connsiteY34" fmla="*/ 775971 h 868681"/>
                <a:gd name="connsiteX35" fmla="*/ 40004 w 1219200"/>
                <a:gd name="connsiteY35" fmla="*/ 828041 h 868681"/>
                <a:gd name="connsiteX36" fmla="*/ 55245 w 1219200"/>
                <a:gd name="connsiteY36" fmla="*/ 775971 h 868681"/>
                <a:gd name="connsiteX37" fmla="*/ 76200 w 1219200"/>
                <a:gd name="connsiteY37" fmla="*/ 775971 h 868681"/>
                <a:gd name="connsiteX38" fmla="*/ 91439 w 1219200"/>
                <a:gd name="connsiteY38" fmla="*/ 828041 h 868681"/>
                <a:gd name="connsiteX39" fmla="*/ 105409 w 1219200"/>
                <a:gd name="connsiteY39" fmla="*/ 775971 h 868681"/>
                <a:gd name="connsiteX40" fmla="*/ 130810 w 1219200"/>
                <a:gd name="connsiteY40" fmla="*/ 775971 h 868681"/>
                <a:gd name="connsiteX41" fmla="*/ 102235 w 1219200"/>
                <a:gd name="connsiteY41" fmla="*/ 866141 h 868681"/>
                <a:gd name="connsiteX42" fmla="*/ 80644 w 1219200"/>
                <a:gd name="connsiteY42" fmla="*/ 866141 h 868681"/>
                <a:gd name="connsiteX43" fmla="*/ 65405 w 1219200"/>
                <a:gd name="connsiteY43" fmla="*/ 811531 h 868681"/>
                <a:gd name="connsiteX44" fmla="*/ 50165 w 1219200"/>
                <a:gd name="connsiteY44" fmla="*/ 866141 h 868681"/>
                <a:gd name="connsiteX45" fmla="*/ 28575 w 1219200"/>
                <a:gd name="connsiteY45" fmla="*/ 866141 h 868681"/>
                <a:gd name="connsiteX46" fmla="*/ 1181099 w 1219200"/>
                <a:gd name="connsiteY46" fmla="*/ 774066 h 868681"/>
                <a:gd name="connsiteX47" fmla="*/ 1219200 w 1219200"/>
                <a:gd name="connsiteY47" fmla="*/ 821056 h 868681"/>
                <a:gd name="connsiteX48" fmla="*/ 1218564 w 1219200"/>
                <a:gd name="connsiteY48" fmla="*/ 821056 h 868681"/>
                <a:gd name="connsiteX49" fmla="*/ 1218564 w 1219200"/>
                <a:gd name="connsiteY49" fmla="*/ 828676 h 868681"/>
                <a:gd name="connsiteX50" fmla="*/ 1163954 w 1219200"/>
                <a:gd name="connsiteY50" fmla="*/ 828676 h 868681"/>
                <a:gd name="connsiteX51" fmla="*/ 1183004 w 1219200"/>
                <a:gd name="connsiteY51" fmla="*/ 846456 h 868681"/>
                <a:gd name="connsiteX52" fmla="*/ 1198879 w 1219200"/>
                <a:gd name="connsiteY52" fmla="*/ 840106 h 868681"/>
                <a:gd name="connsiteX53" fmla="*/ 1214754 w 1219200"/>
                <a:gd name="connsiteY53" fmla="*/ 853441 h 868681"/>
                <a:gd name="connsiteX54" fmla="*/ 1182370 w 1219200"/>
                <a:gd name="connsiteY54" fmla="*/ 868046 h 868681"/>
                <a:gd name="connsiteX55" fmla="*/ 1141095 w 1219200"/>
                <a:gd name="connsiteY55" fmla="*/ 821056 h 868681"/>
                <a:gd name="connsiteX56" fmla="*/ 1181099 w 1219200"/>
                <a:gd name="connsiteY56" fmla="*/ 774066 h 868681"/>
                <a:gd name="connsiteX57" fmla="*/ 1097915 w 1219200"/>
                <a:gd name="connsiteY57" fmla="*/ 774066 h 868681"/>
                <a:gd name="connsiteX58" fmla="*/ 1133474 w 1219200"/>
                <a:gd name="connsiteY58" fmla="*/ 793751 h 868681"/>
                <a:gd name="connsiteX59" fmla="*/ 1118235 w 1219200"/>
                <a:gd name="connsiteY59" fmla="*/ 808991 h 868681"/>
                <a:gd name="connsiteX60" fmla="*/ 1097915 w 1219200"/>
                <a:gd name="connsiteY60" fmla="*/ 796291 h 868681"/>
                <a:gd name="connsiteX61" fmla="*/ 1078864 w 1219200"/>
                <a:gd name="connsiteY61" fmla="*/ 820421 h 868681"/>
                <a:gd name="connsiteX62" fmla="*/ 1097915 w 1219200"/>
                <a:gd name="connsiteY62" fmla="*/ 845186 h 868681"/>
                <a:gd name="connsiteX63" fmla="*/ 1118235 w 1219200"/>
                <a:gd name="connsiteY63" fmla="*/ 833756 h 868681"/>
                <a:gd name="connsiteX64" fmla="*/ 1118870 w 1219200"/>
                <a:gd name="connsiteY64" fmla="*/ 834391 h 868681"/>
                <a:gd name="connsiteX65" fmla="*/ 1133474 w 1219200"/>
                <a:gd name="connsiteY65" fmla="*/ 848361 h 868681"/>
                <a:gd name="connsiteX66" fmla="*/ 1097280 w 1219200"/>
                <a:gd name="connsiteY66" fmla="*/ 868046 h 868681"/>
                <a:gd name="connsiteX67" fmla="*/ 1054735 w 1219200"/>
                <a:gd name="connsiteY67" fmla="*/ 821056 h 868681"/>
                <a:gd name="connsiteX68" fmla="*/ 1097915 w 1219200"/>
                <a:gd name="connsiteY68" fmla="*/ 774066 h 868681"/>
                <a:gd name="connsiteX69" fmla="*/ 1009015 w 1219200"/>
                <a:gd name="connsiteY69" fmla="*/ 774066 h 868681"/>
                <a:gd name="connsiteX70" fmla="*/ 1041400 w 1219200"/>
                <a:gd name="connsiteY70" fmla="*/ 815341 h 868681"/>
                <a:gd name="connsiteX71" fmla="*/ 1041400 w 1219200"/>
                <a:gd name="connsiteY71" fmla="*/ 866141 h 868681"/>
                <a:gd name="connsiteX72" fmla="*/ 1017905 w 1219200"/>
                <a:gd name="connsiteY72" fmla="*/ 866141 h 868681"/>
                <a:gd name="connsiteX73" fmla="*/ 1017905 w 1219200"/>
                <a:gd name="connsiteY73" fmla="*/ 817246 h 868681"/>
                <a:gd name="connsiteX74" fmla="*/ 1002665 w 1219200"/>
                <a:gd name="connsiteY74" fmla="*/ 796291 h 868681"/>
                <a:gd name="connsiteX75" fmla="*/ 986790 w 1219200"/>
                <a:gd name="connsiteY75" fmla="*/ 816611 h 868681"/>
                <a:gd name="connsiteX76" fmla="*/ 986790 w 1219200"/>
                <a:gd name="connsiteY76" fmla="*/ 866141 h 868681"/>
                <a:gd name="connsiteX77" fmla="*/ 963295 w 1219200"/>
                <a:gd name="connsiteY77" fmla="*/ 866141 h 868681"/>
                <a:gd name="connsiteX78" fmla="*/ 963295 w 1219200"/>
                <a:gd name="connsiteY78" fmla="*/ 775971 h 868681"/>
                <a:gd name="connsiteX79" fmla="*/ 986790 w 1219200"/>
                <a:gd name="connsiteY79" fmla="*/ 775971 h 868681"/>
                <a:gd name="connsiteX80" fmla="*/ 986790 w 1219200"/>
                <a:gd name="connsiteY80" fmla="*/ 782321 h 868681"/>
                <a:gd name="connsiteX81" fmla="*/ 1009015 w 1219200"/>
                <a:gd name="connsiteY81" fmla="*/ 774066 h 868681"/>
                <a:gd name="connsiteX82" fmla="*/ 911224 w 1219200"/>
                <a:gd name="connsiteY82" fmla="*/ 774066 h 868681"/>
                <a:gd name="connsiteX83" fmla="*/ 949325 w 1219200"/>
                <a:gd name="connsiteY83" fmla="*/ 821056 h 868681"/>
                <a:gd name="connsiteX84" fmla="*/ 948689 w 1219200"/>
                <a:gd name="connsiteY84" fmla="*/ 821056 h 868681"/>
                <a:gd name="connsiteX85" fmla="*/ 948689 w 1219200"/>
                <a:gd name="connsiteY85" fmla="*/ 828676 h 868681"/>
                <a:gd name="connsiteX86" fmla="*/ 894079 w 1219200"/>
                <a:gd name="connsiteY86" fmla="*/ 828676 h 868681"/>
                <a:gd name="connsiteX87" fmla="*/ 913129 w 1219200"/>
                <a:gd name="connsiteY87" fmla="*/ 846456 h 868681"/>
                <a:gd name="connsiteX88" fmla="*/ 929004 w 1219200"/>
                <a:gd name="connsiteY88" fmla="*/ 840106 h 868681"/>
                <a:gd name="connsiteX89" fmla="*/ 944879 w 1219200"/>
                <a:gd name="connsiteY89" fmla="*/ 853441 h 868681"/>
                <a:gd name="connsiteX90" fmla="*/ 912495 w 1219200"/>
                <a:gd name="connsiteY90" fmla="*/ 868046 h 868681"/>
                <a:gd name="connsiteX91" fmla="*/ 871220 w 1219200"/>
                <a:gd name="connsiteY91" fmla="*/ 821056 h 868681"/>
                <a:gd name="connsiteX92" fmla="*/ 911224 w 1219200"/>
                <a:gd name="connsiteY92" fmla="*/ 774066 h 868681"/>
                <a:gd name="connsiteX93" fmla="*/ 623570 w 1219200"/>
                <a:gd name="connsiteY93" fmla="*/ 774066 h 868681"/>
                <a:gd name="connsiteX94" fmla="*/ 655954 w 1219200"/>
                <a:gd name="connsiteY94" fmla="*/ 815341 h 868681"/>
                <a:gd name="connsiteX95" fmla="*/ 655954 w 1219200"/>
                <a:gd name="connsiteY95" fmla="*/ 866141 h 868681"/>
                <a:gd name="connsiteX96" fmla="*/ 632459 w 1219200"/>
                <a:gd name="connsiteY96" fmla="*/ 866141 h 868681"/>
                <a:gd name="connsiteX97" fmla="*/ 632459 w 1219200"/>
                <a:gd name="connsiteY97" fmla="*/ 817246 h 868681"/>
                <a:gd name="connsiteX98" fmla="*/ 617220 w 1219200"/>
                <a:gd name="connsiteY98" fmla="*/ 796291 h 868681"/>
                <a:gd name="connsiteX99" fmla="*/ 601345 w 1219200"/>
                <a:gd name="connsiteY99" fmla="*/ 816611 h 868681"/>
                <a:gd name="connsiteX100" fmla="*/ 601345 w 1219200"/>
                <a:gd name="connsiteY100" fmla="*/ 866141 h 868681"/>
                <a:gd name="connsiteX101" fmla="*/ 577849 w 1219200"/>
                <a:gd name="connsiteY101" fmla="*/ 866141 h 868681"/>
                <a:gd name="connsiteX102" fmla="*/ 577849 w 1219200"/>
                <a:gd name="connsiteY102" fmla="*/ 775971 h 868681"/>
                <a:gd name="connsiteX103" fmla="*/ 601345 w 1219200"/>
                <a:gd name="connsiteY103" fmla="*/ 775971 h 868681"/>
                <a:gd name="connsiteX104" fmla="*/ 601345 w 1219200"/>
                <a:gd name="connsiteY104" fmla="*/ 782321 h 868681"/>
                <a:gd name="connsiteX105" fmla="*/ 623570 w 1219200"/>
                <a:gd name="connsiteY105" fmla="*/ 774066 h 868681"/>
                <a:gd name="connsiteX106" fmla="*/ 522605 w 1219200"/>
                <a:gd name="connsiteY106" fmla="*/ 774066 h 868681"/>
                <a:gd name="connsiteX107" fmla="*/ 564515 w 1219200"/>
                <a:gd name="connsiteY107" fmla="*/ 821056 h 868681"/>
                <a:gd name="connsiteX108" fmla="*/ 522605 w 1219200"/>
                <a:gd name="connsiteY108" fmla="*/ 868046 h 868681"/>
                <a:gd name="connsiteX109" fmla="*/ 480695 w 1219200"/>
                <a:gd name="connsiteY109" fmla="*/ 821056 h 868681"/>
                <a:gd name="connsiteX110" fmla="*/ 522605 w 1219200"/>
                <a:gd name="connsiteY110" fmla="*/ 774066 h 868681"/>
                <a:gd name="connsiteX111" fmla="*/ 436879 w 1219200"/>
                <a:gd name="connsiteY111" fmla="*/ 774066 h 868681"/>
                <a:gd name="connsiteX112" fmla="*/ 472439 w 1219200"/>
                <a:gd name="connsiteY112" fmla="*/ 793751 h 868681"/>
                <a:gd name="connsiteX113" fmla="*/ 457200 w 1219200"/>
                <a:gd name="connsiteY113" fmla="*/ 808991 h 868681"/>
                <a:gd name="connsiteX114" fmla="*/ 436879 w 1219200"/>
                <a:gd name="connsiteY114" fmla="*/ 796291 h 868681"/>
                <a:gd name="connsiteX115" fmla="*/ 417829 w 1219200"/>
                <a:gd name="connsiteY115" fmla="*/ 820421 h 868681"/>
                <a:gd name="connsiteX116" fmla="*/ 436879 w 1219200"/>
                <a:gd name="connsiteY116" fmla="*/ 845186 h 868681"/>
                <a:gd name="connsiteX117" fmla="*/ 457200 w 1219200"/>
                <a:gd name="connsiteY117" fmla="*/ 833756 h 868681"/>
                <a:gd name="connsiteX118" fmla="*/ 457834 w 1219200"/>
                <a:gd name="connsiteY118" fmla="*/ 834391 h 868681"/>
                <a:gd name="connsiteX119" fmla="*/ 472439 w 1219200"/>
                <a:gd name="connsiteY119" fmla="*/ 848361 h 868681"/>
                <a:gd name="connsiteX120" fmla="*/ 436245 w 1219200"/>
                <a:gd name="connsiteY120" fmla="*/ 868046 h 868681"/>
                <a:gd name="connsiteX121" fmla="*/ 393700 w 1219200"/>
                <a:gd name="connsiteY121" fmla="*/ 821056 h 868681"/>
                <a:gd name="connsiteX122" fmla="*/ 436879 w 1219200"/>
                <a:gd name="connsiteY122" fmla="*/ 774066 h 868681"/>
                <a:gd name="connsiteX123" fmla="*/ 219075 w 1219200"/>
                <a:gd name="connsiteY123" fmla="*/ 742316 h 868681"/>
                <a:gd name="connsiteX124" fmla="*/ 219075 w 1219200"/>
                <a:gd name="connsiteY124" fmla="*/ 777241 h 868681"/>
                <a:gd name="connsiteX125" fmla="*/ 245110 w 1219200"/>
                <a:gd name="connsiteY125" fmla="*/ 777241 h 868681"/>
                <a:gd name="connsiteX126" fmla="*/ 245110 w 1219200"/>
                <a:gd name="connsiteY126" fmla="*/ 798831 h 868681"/>
                <a:gd name="connsiteX127" fmla="*/ 219075 w 1219200"/>
                <a:gd name="connsiteY127" fmla="*/ 798831 h 868681"/>
                <a:gd name="connsiteX128" fmla="*/ 219075 w 1219200"/>
                <a:gd name="connsiteY128" fmla="*/ 835661 h 868681"/>
                <a:gd name="connsiteX129" fmla="*/ 227965 w 1219200"/>
                <a:gd name="connsiteY129" fmla="*/ 846456 h 868681"/>
                <a:gd name="connsiteX130" fmla="*/ 245041 w 1219200"/>
                <a:gd name="connsiteY130" fmla="*/ 839979 h 868681"/>
                <a:gd name="connsiteX131" fmla="*/ 241935 w 1219200"/>
                <a:gd name="connsiteY131" fmla="*/ 862966 h 868681"/>
                <a:gd name="connsiteX132" fmla="*/ 219709 w 1219200"/>
                <a:gd name="connsiteY132" fmla="*/ 868681 h 868681"/>
                <a:gd name="connsiteX133" fmla="*/ 195579 w 1219200"/>
                <a:gd name="connsiteY133" fmla="*/ 842011 h 868681"/>
                <a:gd name="connsiteX134" fmla="*/ 195579 w 1219200"/>
                <a:gd name="connsiteY134" fmla="*/ 798831 h 868681"/>
                <a:gd name="connsiteX135" fmla="*/ 179704 w 1219200"/>
                <a:gd name="connsiteY135" fmla="*/ 798831 h 868681"/>
                <a:gd name="connsiteX136" fmla="*/ 179704 w 1219200"/>
                <a:gd name="connsiteY136" fmla="*/ 777241 h 868681"/>
                <a:gd name="connsiteX137" fmla="*/ 195579 w 1219200"/>
                <a:gd name="connsiteY137" fmla="*/ 777241 h 868681"/>
                <a:gd name="connsiteX138" fmla="*/ 195579 w 1219200"/>
                <a:gd name="connsiteY138" fmla="*/ 753746 h 868681"/>
                <a:gd name="connsiteX139" fmla="*/ 749935 w 1219200"/>
                <a:gd name="connsiteY139" fmla="*/ 741681 h 868681"/>
                <a:gd name="connsiteX140" fmla="*/ 763269 w 1219200"/>
                <a:gd name="connsiteY140" fmla="*/ 755016 h 868681"/>
                <a:gd name="connsiteX141" fmla="*/ 749935 w 1219200"/>
                <a:gd name="connsiteY141" fmla="*/ 768351 h 868681"/>
                <a:gd name="connsiteX142" fmla="*/ 736599 w 1219200"/>
                <a:gd name="connsiteY142" fmla="*/ 755016 h 868681"/>
                <a:gd name="connsiteX143" fmla="*/ 749935 w 1219200"/>
                <a:gd name="connsiteY143" fmla="*/ 741681 h 868681"/>
                <a:gd name="connsiteX144" fmla="*/ 154939 w 1219200"/>
                <a:gd name="connsiteY144" fmla="*/ 741681 h 868681"/>
                <a:gd name="connsiteX145" fmla="*/ 168275 w 1219200"/>
                <a:gd name="connsiteY145" fmla="*/ 755016 h 868681"/>
                <a:gd name="connsiteX146" fmla="*/ 154939 w 1219200"/>
                <a:gd name="connsiteY146" fmla="*/ 768351 h 868681"/>
                <a:gd name="connsiteX147" fmla="*/ 141605 w 1219200"/>
                <a:gd name="connsiteY147" fmla="*/ 755016 h 868681"/>
                <a:gd name="connsiteX148" fmla="*/ 154939 w 1219200"/>
                <a:gd name="connsiteY148" fmla="*/ 741681 h 868681"/>
                <a:gd name="connsiteX149" fmla="*/ 856614 w 1219200"/>
                <a:gd name="connsiteY149" fmla="*/ 741046 h 868681"/>
                <a:gd name="connsiteX150" fmla="*/ 856614 w 1219200"/>
                <a:gd name="connsiteY150" fmla="*/ 866141 h 868681"/>
                <a:gd name="connsiteX151" fmla="*/ 833120 w 1219200"/>
                <a:gd name="connsiteY151" fmla="*/ 866141 h 868681"/>
                <a:gd name="connsiteX152" fmla="*/ 833120 w 1219200"/>
                <a:gd name="connsiteY152" fmla="*/ 860426 h 868681"/>
                <a:gd name="connsiteX153" fmla="*/ 812799 w 1219200"/>
                <a:gd name="connsiteY153" fmla="*/ 868046 h 868681"/>
                <a:gd name="connsiteX154" fmla="*/ 775970 w 1219200"/>
                <a:gd name="connsiteY154" fmla="*/ 820421 h 868681"/>
                <a:gd name="connsiteX155" fmla="*/ 812165 w 1219200"/>
                <a:gd name="connsiteY155" fmla="*/ 774066 h 868681"/>
                <a:gd name="connsiteX156" fmla="*/ 833120 w 1219200"/>
                <a:gd name="connsiteY156" fmla="*/ 781051 h 868681"/>
                <a:gd name="connsiteX157" fmla="*/ 833120 w 1219200"/>
                <a:gd name="connsiteY157" fmla="*/ 752476 h 868681"/>
                <a:gd name="connsiteX158" fmla="*/ 707390 w 1219200"/>
                <a:gd name="connsiteY158" fmla="*/ 741046 h 868681"/>
                <a:gd name="connsiteX159" fmla="*/ 724534 w 1219200"/>
                <a:gd name="connsiteY159" fmla="*/ 743586 h 868681"/>
                <a:gd name="connsiteX160" fmla="*/ 724534 w 1219200"/>
                <a:gd name="connsiteY160" fmla="*/ 744221 h 868681"/>
                <a:gd name="connsiteX161" fmla="*/ 724534 w 1219200"/>
                <a:gd name="connsiteY161" fmla="*/ 762636 h 868681"/>
                <a:gd name="connsiteX162" fmla="*/ 713105 w 1219200"/>
                <a:gd name="connsiteY162" fmla="*/ 760731 h 868681"/>
                <a:gd name="connsiteX163" fmla="*/ 703579 w 1219200"/>
                <a:gd name="connsiteY163" fmla="*/ 768351 h 868681"/>
                <a:gd name="connsiteX164" fmla="*/ 703579 w 1219200"/>
                <a:gd name="connsiteY164" fmla="*/ 775336 h 868681"/>
                <a:gd name="connsiteX165" fmla="*/ 722629 w 1219200"/>
                <a:gd name="connsiteY165" fmla="*/ 775336 h 868681"/>
                <a:gd name="connsiteX166" fmla="*/ 722629 w 1219200"/>
                <a:gd name="connsiteY166" fmla="*/ 796926 h 868681"/>
                <a:gd name="connsiteX167" fmla="*/ 703579 w 1219200"/>
                <a:gd name="connsiteY167" fmla="*/ 796926 h 868681"/>
                <a:gd name="connsiteX168" fmla="*/ 703579 w 1219200"/>
                <a:gd name="connsiteY168" fmla="*/ 865506 h 868681"/>
                <a:gd name="connsiteX169" fmla="*/ 680084 w 1219200"/>
                <a:gd name="connsiteY169" fmla="*/ 865506 h 868681"/>
                <a:gd name="connsiteX170" fmla="*/ 680084 w 1219200"/>
                <a:gd name="connsiteY170" fmla="*/ 796926 h 868681"/>
                <a:gd name="connsiteX171" fmla="*/ 667385 w 1219200"/>
                <a:gd name="connsiteY171" fmla="*/ 796926 h 868681"/>
                <a:gd name="connsiteX172" fmla="*/ 667385 w 1219200"/>
                <a:gd name="connsiteY172" fmla="*/ 775336 h 868681"/>
                <a:gd name="connsiteX173" fmla="*/ 680084 w 1219200"/>
                <a:gd name="connsiteY173" fmla="*/ 775336 h 868681"/>
                <a:gd name="connsiteX174" fmla="*/ 680084 w 1219200"/>
                <a:gd name="connsiteY174" fmla="*/ 764541 h 868681"/>
                <a:gd name="connsiteX175" fmla="*/ 707390 w 1219200"/>
                <a:gd name="connsiteY175" fmla="*/ 741046 h 868681"/>
                <a:gd name="connsiteX176" fmla="*/ 282575 w 1219200"/>
                <a:gd name="connsiteY176" fmla="*/ 741046 h 868681"/>
                <a:gd name="connsiteX177" fmla="*/ 282575 w 1219200"/>
                <a:gd name="connsiteY177" fmla="*/ 782321 h 868681"/>
                <a:gd name="connsiteX178" fmla="*/ 304799 w 1219200"/>
                <a:gd name="connsiteY178" fmla="*/ 774066 h 868681"/>
                <a:gd name="connsiteX179" fmla="*/ 336549 w 1219200"/>
                <a:gd name="connsiteY179" fmla="*/ 815341 h 868681"/>
                <a:gd name="connsiteX180" fmla="*/ 336549 w 1219200"/>
                <a:gd name="connsiteY180" fmla="*/ 866141 h 868681"/>
                <a:gd name="connsiteX181" fmla="*/ 313689 w 1219200"/>
                <a:gd name="connsiteY181" fmla="*/ 866141 h 868681"/>
                <a:gd name="connsiteX182" fmla="*/ 313689 w 1219200"/>
                <a:gd name="connsiteY182" fmla="*/ 817246 h 868681"/>
                <a:gd name="connsiteX183" fmla="*/ 298450 w 1219200"/>
                <a:gd name="connsiteY183" fmla="*/ 796291 h 868681"/>
                <a:gd name="connsiteX184" fmla="*/ 282575 w 1219200"/>
                <a:gd name="connsiteY184" fmla="*/ 816611 h 868681"/>
                <a:gd name="connsiteX185" fmla="*/ 282575 w 1219200"/>
                <a:gd name="connsiteY185" fmla="*/ 866141 h 868681"/>
                <a:gd name="connsiteX186" fmla="*/ 259079 w 1219200"/>
                <a:gd name="connsiteY186" fmla="*/ 866141 h 868681"/>
                <a:gd name="connsiteX187" fmla="*/ 259079 w 1219200"/>
                <a:gd name="connsiteY187" fmla="*/ 752476 h 868681"/>
                <a:gd name="connsiteX188" fmla="*/ 92709 w 1219200"/>
                <a:gd name="connsiteY188" fmla="*/ 648336 h 868681"/>
                <a:gd name="connsiteX189" fmla="*/ 92709 w 1219200"/>
                <a:gd name="connsiteY189" fmla="*/ 649606 h 868681"/>
                <a:gd name="connsiteX190" fmla="*/ 92427 w 1219200"/>
                <a:gd name="connsiteY190" fmla="*/ 648959 h 868681"/>
                <a:gd name="connsiteX191" fmla="*/ 230504 w 1219200"/>
                <a:gd name="connsiteY191" fmla="*/ 643256 h 868681"/>
                <a:gd name="connsiteX192" fmla="*/ 215900 w 1219200"/>
                <a:gd name="connsiteY192" fmla="*/ 654686 h 868681"/>
                <a:gd name="connsiteX193" fmla="*/ 228599 w 1219200"/>
                <a:gd name="connsiteY193" fmla="*/ 667386 h 868681"/>
                <a:gd name="connsiteX194" fmla="*/ 245745 w 1219200"/>
                <a:gd name="connsiteY194" fmla="*/ 658496 h 868681"/>
                <a:gd name="connsiteX195" fmla="*/ 245745 w 1219200"/>
                <a:gd name="connsiteY195" fmla="*/ 647066 h 868681"/>
                <a:gd name="connsiteX196" fmla="*/ 230504 w 1219200"/>
                <a:gd name="connsiteY196" fmla="*/ 643256 h 868681"/>
                <a:gd name="connsiteX197" fmla="*/ 321310 w 1219200"/>
                <a:gd name="connsiteY197" fmla="*/ 614046 h 868681"/>
                <a:gd name="connsiteX198" fmla="*/ 306704 w 1219200"/>
                <a:gd name="connsiteY198" fmla="*/ 622301 h 868681"/>
                <a:gd name="connsiteX199" fmla="*/ 306704 w 1219200"/>
                <a:gd name="connsiteY199" fmla="*/ 656591 h 868681"/>
                <a:gd name="connsiteX200" fmla="*/ 323215 w 1219200"/>
                <a:gd name="connsiteY200" fmla="*/ 664846 h 868681"/>
                <a:gd name="connsiteX201" fmla="*/ 339090 w 1219200"/>
                <a:gd name="connsiteY201" fmla="*/ 640716 h 868681"/>
                <a:gd name="connsiteX202" fmla="*/ 338454 w 1219200"/>
                <a:gd name="connsiteY202" fmla="*/ 640716 h 868681"/>
                <a:gd name="connsiteX203" fmla="*/ 321310 w 1219200"/>
                <a:gd name="connsiteY203" fmla="*/ 614046 h 868681"/>
                <a:gd name="connsiteX204" fmla="*/ 1179195 w 1219200"/>
                <a:gd name="connsiteY204" fmla="*/ 612776 h 868681"/>
                <a:gd name="connsiteX205" fmla="*/ 1163320 w 1219200"/>
                <a:gd name="connsiteY205" fmla="*/ 629921 h 868681"/>
                <a:gd name="connsiteX206" fmla="*/ 1163954 w 1219200"/>
                <a:gd name="connsiteY206" fmla="*/ 629921 h 868681"/>
                <a:gd name="connsiteX207" fmla="*/ 1195704 w 1219200"/>
                <a:gd name="connsiteY207" fmla="*/ 629921 h 868681"/>
                <a:gd name="connsiteX208" fmla="*/ 1179195 w 1219200"/>
                <a:gd name="connsiteY208" fmla="*/ 612776 h 868681"/>
                <a:gd name="connsiteX209" fmla="*/ 689610 w 1219200"/>
                <a:gd name="connsiteY209" fmla="*/ 612776 h 868681"/>
                <a:gd name="connsiteX210" fmla="*/ 673735 w 1219200"/>
                <a:gd name="connsiteY210" fmla="*/ 629921 h 868681"/>
                <a:gd name="connsiteX211" fmla="*/ 674370 w 1219200"/>
                <a:gd name="connsiteY211" fmla="*/ 629921 h 868681"/>
                <a:gd name="connsiteX212" fmla="*/ 706120 w 1219200"/>
                <a:gd name="connsiteY212" fmla="*/ 629921 h 868681"/>
                <a:gd name="connsiteX213" fmla="*/ 689610 w 1219200"/>
                <a:gd name="connsiteY213" fmla="*/ 612776 h 868681"/>
                <a:gd name="connsiteX214" fmla="*/ 410845 w 1219200"/>
                <a:gd name="connsiteY214" fmla="*/ 612776 h 868681"/>
                <a:gd name="connsiteX215" fmla="*/ 395605 w 1219200"/>
                <a:gd name="connsiteY215" fmla="*/ 629921 h 868681"/>
                <a:gd name="connsiteX216" fmla="*/ 427355 w 1219200"/>
                <a:gd name="connsiteY216" fmla="*/ 629921 h 868681"/>
                <a:gd name="connsiteX217" fmla="*/ 410845 w 1219200"/>
                <a:gd name="connsiteY217" fmla="*/ 612776 h 868681"/>
                <a:gd name="connsiteX218" fmla="*/ 991870 w 1219200"/>
                <a:gd name="connsiteY218" fmla="*/ 594361 h 868681"/>
                <a:gd name="connsiteX219" fmla="*/ 1014095 w 1219200"/>
                <a:gd name="connsiteY219" fmla="*/ 594361 h 868681"/>
                <a:gd name="connsiteX220" fmla="*/ 1014095 w 1219200"/>
                <a:gd name="connsiteY220" fmla="*/ 643256 h 868681"/>
                <a:gd name="connsiteX221" fmla="*/ 1029334 w 1219200"/>
                <a:gd name="connsiteY221" fmla="*/ 664846 h 868681"/>
                <a:gd name="connsiteX222" fmla="*/ 1044575 w 1219200"/>
                <a:gd name="connsiteY222" fmla="*/ 644526 h 868681"/>
                <a:gd name="connsiteX223" fmla="*/ 1044575 w 1219200"/>
                <a:gd name="connsiteY223" fmla="*/ 594996 h 868681"/>
                <a:gd name="connsiteX224" fmla="*/ 1066799 w 1219200"/>
                <a:gd name="connsiteY224" fmla="*/ 594996 h 868681"/>
                <a:gd name="connsiteX225" fmla="*/ 1066799 w 1219200"/>
                <a:gd name="connsiteY225" fmla="*/ 684531 h 868681"/>
                <a:gd name="connsiteX226" fmla="*/ 1044575 w 1219200"/>
                <a:gd name="connsiteY226" fmla="*/ 684531 h 868681"/>
                <a:gd name="connsiteX227" fmla="*/ 1044575 w 1219200"/>
                <a:gd name="connsiteY227" fmla="*/ 678181 h 868681"/>
                <a:gd name="connsiteX228" fmla="*/ 1023620 w 1219200"/>
                <a:gd name="connsiteY228" fmla="*/ 686436 h 868681"/>
                <a:gd name="connsiteX229" fmla="*/ 991870 w 1219200"/>
                <a:gd name="connsiteY229" fmla="*/ 645161 h 868681"/>
                <a:gd name="connsiteX230" fmla="*/ 836295 w 1219200"/>
                <a:gd name="connsiteY230" fmla="*/ 594361 h 868681"/>
                <a:gd name="connsiteX231" fmla="*/ 858519 w 1219200"/>
                <a:gd name="connsiteY231" fmla="*/ 594361 h 868681"/>
                <a:gd name="connsiteX232" fmla="*/ 858519 w 1219200"/>
                <a:gd name="connsiteY232" fmla="*/ 643256 h 868681"/>
                <a:gd name="connsiteX233" fmla="*/ 873760 w 1219200"/>
                <a:gd name="connsiteY233" fmla="*/ 664846 h 868681"/>
                <a:gd name="connsiteX234" fmla="*/ 889000 w 1219200"/>
                <a:gd name="connsiteY234" fmla="*/ 644526 h 868681"/>
                <a:gd name="connsiteX235" fmla="*/ 889000 w 1219200"/>
                <a:gd name="connsiteY235" fmla="*/ 594996 h 868681"/>
                <a:gd name="connsiteX236" fmla="*/ 911224 w 1219200"/>
                <a:gd name="connsiteY236" fmla="*/ 594996 h 868681"/>
                <a:gd name="connsiteX237" fmla="*/ 911224 w 1219200"/>
                <a:gd name="connsiteY237" fmla="*/ 684531 h 868681"/>
                <a:gd name="connsiteX238" fmla="*/ 889000 w 1219200"/>
                <a:gd name="connsiteY238" fmla="*/ 684531 h 868681"/>
                <a:gd name="connsiteX239" fmla="*/ 889000 w 1219200"/>
                <a:gd name="connsiteY239" fmla="*/ 678181 h 868681"/>
                <a:gd name="connsiteX240" fmla="*/ 868045 w 1219200"/>
                <a:gd name="connsiteY240" fmla="*/ 686436 h 868681"/>
                <a:gd name="connsiteX241" fmla="*/ 836295 w 1219200"/>
                <a:gd name="connsiteY241" fmla="*/ 645161 h 868681"/>
                <a:gd name="connsiteX242" fmla="*/ 1181099 w 1219200"/>
                <a:gd name="connsiteY242" fmla="*/ 592456 h 868681"/>
                <a:gd name="connsiteX243" fmla="*/ 1219200 w 1219200"/>
                <a:gd name="connsiteY243" fmla="*/ 639446 h 868681"/>
                <a:gd name="connsiteX244" fmla="*/ 1218564 w 1219200"/>
                <a:gd name="connsiteY244" fmla="*/ 639446 h 868681"/>
                <a:gd name="connsiteX245" fmla="*/ 1218564 w 1219200"/>
                <a:gd name="connsiteY245" fmla="*/ 647066 h 868681"/>
                <a:gd name="connsiteX246" fmla="*/ 1163954 w 1219200"/>
                <a:gd name="connsiteY246" fmla="*/ 647066 h 868681"/>
                <a:gd name="connsiteX247" fmla="*/ 1183004 w 1219200"/>
                <a:gd name="connsiteY247" fmla="*/ 664846 h 868681"/>
                <a:gd name="connsiteX248" fmla="*/ 1198879 w 1219200"/>
                <a:gd name="connsiteY248" fmla="*/ 658496 h 868681"/>
                <a:gd name="connsiteX249" fmla="*/ 1214754 w 1219200"/>
                <a:gd name="connsiteY249" fmla="*/ 671831 h 868681"/>
                <a:gd name="connsiteX250" fmla="*/ 1182370 w 1219200"/>
                <a:gd name="connsiteY250" fmla="*/ 686436 h 868681"/>
                <a:gd name="connsiteX251" fmla="*/ 1141095 w 1219200"/>
                <a:gd name="connsiteY251" fmla="*/ 639446 h 868681"/>
                <a:gd name="connsiteX252" fmla="*/ 1181099 w 1219200"/>
                <a:gd name="connsiteY252" fmla="*/ 592456 h 868681"/>
                <a:gd name="connsiteX253" fmla="*/ 691515 w 1219200"/>
                <a:gd name="connsiteY253" fmla="*/ 592456 h 868681"/>
                <a:gd name="connsiteX254" fmla="*/ 729614 w 1219200"/>
                <a:gd name="connsiteY254" fmla="*/ 639446 h 868681"/>
                <a:gd name="connsiteX255" fmla="*/ 728980 w 1219200"/>
                <a:gd name="connsiteY255" fmla="*/ 639446 h 868681"/>
                <a:gd name="connsiteX256" fmla="*/ 728980 w 1219200"/>
                <a:gd name="connsiteY256" fmla="*/ 647066 h 868681"/>
                <a:gd name="connsiteX257" fmla="*/ 674370 w 1219200"/>
                <a:gd name="connsiteY257" fmla="*/ 647066 h 868681"/>
                <a:gd name="connsiteX258" fmla="*/ 693420 w 1219200"/>
                <a:gd name="connsiteY258" fmla="*/ 664846 h 868681"/>
                <a:gd name="connsiteX259" fmla="*/ 709295 w 1219200"/>
                <a:gd name="connsiteY259" fmla="*/ 658496 h 868681"/>
                <a:gd name="connsiteX260" fmla="*/ 725170 w 1219200"/>
                <a:gd name="connsiteY260" fmla="*/ 671831 h 868681"/>
                <a:gd name="connsiteX261" fmla="*/ 692784 w 1219200"/>
                <a:gd name="connsiteY261" fmla="*/ 686436 h 868681"/>
                <a:gd name="connsiteX262" fmla="*/ 651510 w 1219200"/>
                <a:gd name="connsiteY262" fmla="*/ 639446 h 868681"/>
                <a:gd name="connsiteX263" fmla="*/ 691515 w 1219200"/>
                <a:gd name="connsiteY263" fmla="*/ 592456 h 868681"/>
                <a:gd name="connsiteX264" fmla="*/ 412114 w 1219200"/>
                <a:gd name="connsiteY264" fmla="*/ 592456 h 868681"/>
                <a:gd name="connsiteX265" fmla="*/ 448310 w 1219200"/>
                <a:gd name="connsiteY265" fmla="*/ 639446 h 868681"/>
                <a:gd name="connsiteX266" fmla="*/ 448310 w 1219200"/>
                <a:gd name="connsiteY266" fmla="*/ 647066 h 868681"/>
                <a:gd name="connsiteX267" fmla="*/ 395605 w 1219200"/>
                <a:gd name="connsiteY267" fmla="*/ 647066 h 868681"/>
                <a:gd name="connsiteX268" fmla="*/ 415290 w 1219200"/>
                <a:gd name="connsiteY268" fmla="*/ 664846 h 868681"/>
                <a:gd name="connsiteX269" fmla="*/ 430530 w 1219200"/>
                <a:gd name="connsiteY269" fmla="*/ 658496 h 868681"/>
                <a:gd name="connsiteX270" fmla="*/ 446405 w 1219200"/>
                <a:gd name="connsiteY270" fmla="*/ 671831 h 868681"/>
                <a:gd name="connsiteX271" fmla="*/ 413385 w 1219200"/>
                <a:gd name="connsiteY271" fmla="*/ 686436 h 868681"/>
                <a:gd name="connsiteX272" fmla="*/ 372110 w 1219200"/>
                <a:gd name="connsiteY272" fmla="*/ 640081 h 868681"/>
                <a:gd name="connsiteX273" fmla="*/ 412114 w 1219200"/>
                <a:gd name="connsiteY273" fmla="*/ 592456 h 868681"/>
                <a:gd name="connsiteX274" fmla="*/ 326390 w 1219200"/>
                <a:gd name="connsiteY274" fmla="*/ 592456 h 868681"/>
                <a:gd name="connsiteX275" fmla="*/ 361314 w 1219200"/>
                <a:gd name="connsiteY275" fmla="*/ 639446 h 868681"/>
                <a:gd name="connsiteX276" fmla="*/ 326390 w 1219200"/>
                <a:gd name="connsiteY276" fmla="*/ 686436 h 868681"/>
                <a:gd name="connsiteX277" fmla="*/ 306070 w 1219200"/>
                <a:gd name="connsiteY277" fmla="*/ 678816 h 868681"/>
                <a:gd name="connsiteX278" fmla="*/ 306070 w 1219200"/>
                <a:gd name="connsiteY278" fmla="*/ 706121 h 868681"/>
                <a:gd name="connsiteX279" fmla="*/ 283845 w 1219200"/>
                <a:gd name="connsiteY279" fmla="*/ 717551 h 868681"/>
                <a:gd name="connsiteX280" fmla="*/ 283845 w 1219200"/>
                <a:gd name="connsiteY280" fmla="*/ 594361 h 868681"/>
                <a:gd name="connsiteX281" fmla="*/ 306070 w 1219200"/>
                <a:gd name="connsiteY281" fmla="*/ 594361 h 868681"/>
                <a:gd name="connsiteX282" fmla="*/ 306070 w 1219200"/>
                <a:gd name="connsiteY282" fmla="*/ 600711 h 868681"/>
                <a:gd name="connsiteX283" fmla="*/ 326390 w 1219200"/>
                <a:gd name="connsiteY283" fmla="*/ 592456 h 868681"/>
                <a:gd name="connsiteX284" fmla="*/ 231775 w 1219200"/>
                <a:gd name="connsiteY284" fmla="*/ 592456 h 868681"/>
                <a:gd name="connsiteX285" fmla="*/ 268605 w 1219200"/>
                <a:gd name="connsiteY285" fmla="*/ 624206 h 868681"/>
                <a:gd name="connsiteX286" fmla="*/ 268605 w 1219200"/>
                <a:gd name="connsiteY286" fmla="*/ 684531 h 868681"/>
                <a:gd name="connsiteX287" fmla="*/ 267970 w 1219200"/>
                <a:gd name="connsiteY287" fmla="*/ 684531 h 868681"/>
                <a:gd name="connsiteX288" fmla="*/ 245745 w 1219200"/>
                <a:gd name="connsiteY288" fmla="*/ 684531 h 868681"/>
                <a:gd name="connsiteX289" fmla="*/ 245745 w 1219200"/>
                <a:gd name="connsiteY289" fmla="*/ 678181 h 868681"/>
                <a:gd name="connsiteX290" fmla="*/ 224790 w 1219200"/>
                <a:gd name="connsiteY290" fmla="*/ 686436 h 868681"/>
                <a:gd name="connsiteX291" fmla="*/ 193040 w 1219200"/>
                <a:gd name="connsiteY291" fmla="*/ 655321 h 868681"/>
                <a:gd name="connsiteX292" fmla="*/ 227965 w 1219200"/>
                <a:gd name="connsiteY292" fmla="*/ 624841 h 868681"/>
                <a:gd name="connsiteX293" fmla="*/ 245745 w 1219200"/>
                <a:gd name="connsiteY293" fmla="*/ 628651 h 868681"/>
                <a:gd name="connsiteX294" fmla="*/ 245745 w 1219200"/>
                <a:gd name="connsiteY294" fmla="*/ 623571 h 868681"/>
                <a:gd name="connsiteX295" fmla="*/ 230504 w 1219200"/>
                <a:gd name="connsiteY295" fmla="*/ 611506 h 868681"/>
                <a:gd name="connsiteX296" fmla="*/ 209549 w 1219200"/>
                <a:gd name="connsiteY296" fmla="*/ 617221 h 868681"/>
                <a:gd name="connsiteX297" fmla="*/ 200659 w 1219200"/>
                <a:gd name="connsiteY297" fmla="*/ 601346 h 868681"/>
                <a:gd name="connsiteX298" fmla="*/ 231775 w 1219200"/>
                <a:gd name="connsiteY298" fmla="*/ 592456 h 868681"/>
                <a:gd name="connsiteX299" fmla="*/ 1125855 w 1219200"/>
                <a:gd name="connsiteY299" fmla="*/ 591821 h 868681"/>
                <a:gd name="connsiteX300" fmla="*/ 1142364 w 1219200"/>
                <a:gd name="connsiteY300" fmla="*/ 598171 h 868681"/>
                <a:gd name="connsiteX301" fmla="*/ 1141730 w 1219200"/>
                <a:gd name="connsiteY301" fmla="*/ 598806 h 868681"/>
                <a:gd name="connsiteX302" fmla="*/ 1132840 w 1219200"/>
                <a:gd name="connsiteY302" fmla="*/ 621031 h 868681"/>
                <a:gd name="connsiteX303" fmla="*/ 1120140 w 1219200"/>
                <a:gd name="connsiteY303" fmla="*/ 615316 h 868681"/>
                <a:gd name="connsiteX304" fmla="*/ 1106805 w 1219200"/>
                <a:gd name="connsiteY304" fmla="*/ 635001 h 868681"/>
                <a:gd name="connsiteX305" fmla="*/ 1106805 w 1219200"/>
                <a:gd name="connsiteY305" fmla="*/ 683896 h 868681"/>
                <a:gd name="connsiteX306" fmla="*/ 1084579 w 1219200"/>
                <a:gd name="connsiteY306" fmla="*/ 683896 h 868681"/>
                <a:gd name="connsiteX307" fmla="*/ 1084579 w 1219200"/>
                <a:gd name="connsiteY307" fmla="*/ 593726 h 868681"/>
                <a:gd name="connsiteX308" fmla="*/ 1106805 w 1219200"/>
                <a:gd name="connsiteY308" fmla="*/ 593726 h 868681"/>
                <a:gd name="connsiteX309" fmla="*/ 1106805 w 1219200"/>
                <a:gd name="connsiteY309" fmla="*/ 600076 h 868681"/>
                <a:gd name="connsiteX310" fmla="*/ 1125855 w 1219200"/>
                <a:gd name="connsiteY310" fmla="*/ 591821 h 868681"/>
                <a:gd name="connsiteX311" fmla="*/ 47625 w 1219200"/>
                <a:gd name="connsiteY311" fmla="*/ 563881 h 868681"/>
                <a:gd name="connsiteX312" fmla="*/ 90170 w 1219200"/>
                <a:gd name="connsiteY312" fmla="*/ 582296 h 868681"/>
                <a:gd name="connsiteX313" fmla="*/ 73659 w 1219200"/>
                <a:gd name="connsiteY313" fmla="*/ 598806 h 868681"/>
                <a:gd name="connsiteX314" fmla="*/ 46355 w 1219200"/>
                <a:gd name="connsiteY314" fmla="*/ 586741 h 868681"/>
                <a:gd name="connsiteX315" fmla="*/ 28575 w 1219200"/>
                <a:gd name="connsiteY315" fmla="*/ 598171 h 868681"/>
                <a:gd name="connsiteX316" fmla="*/ 33655 w 1219200"/>
                <a:gd name="connsiteY316" fmla="*/ 606426 h 868681"/>
                <a:gd name="connsiteX317" fmla="*/ 52704 w 1219200"/>
                <a:gd name="connsiteY317" fmla="*/ 612776 h 868681"/>
                <a:gd name="connsiteX318" fmla="*/ 81915 w 1219200"/>
                <a:gd name="connsiteY318" fmla="*/ 624841 h 868681"/>
                <a:gd name="connsiteX319" fmla="*/ 92427 w 1219200"/>
                <a:gd name="connsiteY319" fmla="*/ 648959 h 868681"/>
                <a:gd name="connsiteX320" fmla="*/ 79454 w 1219200"/>
                <a:gd name="connsiteY320" fmla="*/ 677626 h 868681"/>
                <a:gd name="connsiteX321" fmla="*/ 47625 w 1219200"/>
                <a:gd name="connsiteY321" fmla="*/ 686436 h 868681"/>
                <a:gd name="connsiteX322" fmla="*/ 0 w 1219200"/>
                <a:gd name="connsiteY322" fmla="*/ 664846 h 868681"/>
                <a:gd name="connsiteX323" fmla="*/ 16510 w 1219200"/>
                <a:gd name="connsiteY323" fmla="*/ 650241 h 868681"/>
                <a:gd name="connsiteX324" fmla="*/ 46989 w 1219200"/>
                <a:gd name="connsiteY324" fmla="*/ 664211 h 868681"/>
                <a:gd name="connsiteX325" fmla="*/ 68579 w 1219200"/>
                <a:gd name="connsiteY325" fmla="*/ 649606 h 868681"/>
                <a:gd name="connsiteX326" fmla="*/ 61595 w 1219200"/>
                <a:gd name="connsiteY326" fmla="*/ 640081 h 868681"/>
                <a:gd name="connsiteX327" fmla="*/ 41909 w 1219200"/>
                <a:gd name="connsiteY327" fmla="*/ 634366 h 868681"/>
                <a:gd name="connsiteX328" fmla="*/ 14605 w 1219200"/>
                <a:gd name="connsiteY328" fmla="*/ 623571 h 868681"/>
                <a:gd name="connsiteX329" fmla="*/ 4444 w 1219200"/>
                <a:gd name="connsiteY329" fmla="*/ 599441 h 868681"/>
                <a:gd name="connsiteX330" fmla="*/ 47625 w 1219200"/>
                <a:gd name="connsiteY330" fmla="*/ 563881 h 868681"/>
                <a:gd name="connsiteX331" fmla="*/ 814070 w 1219200"/>
                <a:gd name="connsiteY331" fmla="*/ 560071 h 868681"/>
                <a:gd name="connsiteX332" fmla="*/ 830579 w 1219200"/>
                <a:gd name="connsiteY332" fmla="*/ 562611 h 868681"/>
                <a:gd name="connsiteX333" fmla="*/ 829945 w 1219200"/>
                <a:gd name="connsiteY333" fmla="*/ 562611 h 868681"/>
                <a:gd name="connsiteX334" fmla="*/ 829945 w 1219200"/>
                <a:gd name="connsiteY334" fmla="*/ 581026 h 868681"/>
                <a:gd name="connsiteX335" fmla="*/ 818515 w 1219200"/>
                <a:gd name="connsiteY335" fmla="*/ 579121 h 868681"/>
                <a:gd name="connsiteX336" fmla="*/ 808989 w 1219200"/>
                <a:gd name="connsiteY336" fmla="*/ 586741 h 868681"/>
                <a:gd name="connsiteX337" fmla="*/ 808989 w 1219200"/>
                <a:gd name="connsiteY337" fmla="*/ 594361 h 868681"/>
                <a:gd name="connsiteX338" fmla="*/ 824230 w 1219200"/>
                <a:gd name="connsiteY338" fmla="*/ 594361 h 868681"/>
                <a:gd name="connsiteX339" fmla="*/ 824230 w 1219200"/>
                <a:gd name="connsiteY339" fmla="*/ 615951 h 868681"/>
                <a:gd name="connsiteX340" fmla="*/ 808989 w 1219200"/>
                <a:gd name="connsiteY340" fmla="*/ 615951 h 868681"/>
                <a:gd name="connsiteX341" fmla="*/ 808989 w 1219200"/>
                <a:gd name="connsiteY341" fmla="*/ 684531 h 868681"/>
                <a:gd name="connsiteX342" fmla="*/ 786765 w 1219200"/>
                <a:gd name="connsiteY342" fmla="*/ 684531 h 868681"/>
                <a:gd name="connsiteX343" fmla="*/ 786765 w 1219200"/>
                <a:gd name="connsiteY343" fmla="*/ 615951 h 868681"/>
                <a:gd name="connsiteX344" fmla="*/ 775970 w 1219200"/>
                <a:gd name="connsiteY344" fmla="*/ 615951 h 868681"/>
                <a:gd name="connsiteX345" fmla="*/ 775970 w 1219200"/>
                <a:gd name="connsiteY345" fmla="*/ 594361 h 868681"/>
                <a:gd name="connsiteX346" fmla="*/ 786765 w 1219200"/>
                <a:gd name="connsiteY346" fmla="*/ 594361 h 868681"/>
                <a:gd name="connsiteX347" fmla="*/ 786765 w 1219200"/>
                <a:gd name="connsiteY347" fmla="*/ 583566 h 868681"/>
                <a:gd name="connsiteX348" fmla="*/ 814070 w 1219200"/>
                <a:gd name="connsiteY348" fmla="*/ 560071 h 868681"/>
                <a:gd name="connsiteX349" fmla="*/ 957579 w 1219200"/>
                <a:gd name="connsiteY349" fmla="*/ 559436 h 868681"/>
                <a:gd name="connsiteX350" fmla="*/ 957579 w 1219200"/>
                <a:gd name="connsiteY350" fmla="*/ 594361 h 868681"/>
                <a:gd name="connsiteX351" fmla="*/ 979170 w 1219200"/>
                <a:gd name="connsiteY351" fmla="*/ 594361 h 868681"/>
                <a:gd name="connsiteX352" fmla="*/ 979170 w 1219200"/>
                <a:gd name="connsiteY352" fmla="*/ 615951 h 868681"/>
                <a:gd name="connsiteX353" fmla="*/ 957579 w 1219200"/>
                <a:gd name="connsiteY353" fmla="*/ 615951 h 868681"/>
                <a:gd name="connsiteX354" fmla="*/ 957579 w 1219200"/>
                <a:gd name="connsiteY354" fmla="*/ 654051 h 868681"/>
                <a:gd name="connsiteX355" fmla="*/ 966470 w 1219200"/>
                <a:gd name="connsiteY355" fmla="*/ 664846 h 868681"/>
                <a:gd name="connsiteX356" fmla="*/ 981075 w 1219200"/>
                <a:gd name="connsiteY356" fmla="*/ 658496 h 868681"/>
                <a:gd name="connsiteX357" fmla="*/ 977900 w 1219200"/>
                <a:gd name="connsiteY357" fmla="*/ 681356 h 868681"/>
                <a:gd name="connsiteX358" fmla="*/ 959485 w 1219200"/>
                <a:gd name="connsiteY358" fmla="*/ 686436 h 868681"/>
                <a:gd name="connsiteX359" fmla="*/ 935355 w 1219200"/>
                <a:gd name="connsiteY359" fmla="*/ 659766 h 868681"/>
                <a:gd name="connsiteX360" fmla="*/ 935355 w 1219200"/>
                <a:gd name="connsiteY360" fmla="*/ 615951 h 868681"/>
                <a:gd name="connsiteX361" fmla="*/ 922655 w 1219200"/>
                <a:gd name="connsiteY361" fmla="*/ 615951 h 868681"/>
                <a:gd name="connsiteX362" fmla="*/ 922655 w 1219200"/>
                <a:gd name="connsiteY362" fmla="*/ 594361 h 868681"/>
                <a:gd name="connsiteX363" fmla="*/ 935355 w 1219200"/>
                <a:gd name="connsiteY363" fmla="*/ 594361 h 868681"/>
                <a:gd name="connsiteX364" fmla="*/ 935355 w 1219200"/>
                <a:gd name="connsiteY364" fmla="*/ 570866 h 868681"/>
                <a:gd name="connsiteX365" fmla="*/ 586739 w 1219200"/>
                <a:gd name="connsiteY365" fmla="*/ 559436 h 868681"/>
                <a:gd name="connsiteX366" fmla="*/ 586739 w 1219200"/>
                <a:gd name="connsiteY366" fmla="*/ 600711 h 868681"/>
                <a:gd name="connsiteX367" fmla="*/ 607695 w 1219200"/>
                <a:gd name="connsiteY367" fmla="*/ 592456 h 868681"/>
                <a:gd name="connsiteX368" fmla="*/ 639445 w 1219200"/>
                <a:gd name="connsiteY368" fmla="*/ 633731 h 868681"/>
                <a:gd name="connsiteX369" fmla="*/ 639445 w 1219200"/>
                <a:gd name="connsiteY369" fmla="*/ 684531 h 868681"/>
                <a:gd name="connsiteX370" fmla="*/ 617220 w 1219200"/>
                <a:gd name="connsiteY370" fmla="*/ 684531 h 868681"/>
                <a:gd name="connsiteX371" fmla="*/ 617220 w 1219200"/>
                <a:gd name="connsiteY371" fmla="*/ 635636 h 868681"/>
                <a:gd name="connsiteX372" fmla="*/ 601980 w 1219200"/>
                <a:gd name="connsiteY372" fmla="*/ 614681 h 868681"/>
                <a:gd name="connsiteX373" fmla="*/ 586739 w 1219200"/>
                <a:gd name="connsiteY373" fmla="*/ 635001 h 868681"/>
                <a:gd name="connsiteX374" fmla="*/ 586739 w 1219200"/>
                <a:gd name="connsiteY374" fmla="*/ 684531 h 868681"/>
                <a:gd name="connsiteX375" fmla="*/ 564515 w 1219200"/>
                <a:gd name="connsiteY375" fmla="*/ 684531 h 868681"/>
                <a:gd name="connsiteX376" fmla="*/ 564515 w 1219200"/>
                <a:gd name="connsiteY376" fmla="*/ 570866 h 868681"/>
                <a:gd name="connsiteX377" fmla="*/ 529590 w 1219200"/>
                <a:gd name="connsiteY377" fmla="*/ 559436 h 868681"/>
                <a:gd name="connsiteX378" fmla="*/ 529590 w 1219200"/>
                <a:gd name="connsiteY378" fmla="*/ 594361 h 868681"/>
                <a:gd name="connsiteX379" fmla="*/ 550545 w 1219200"/>
                <a:gd name="connsiteY379" fmla="*/ 594361 h 868681"/>
                <a:gd name="connsiteX380" fmla="*/ 550545 w 1219200"/>
                <a:gd name="connsiteY380" fmla="*/ 615951 h 868681"/>
                <a:gd name="connsiteX381" fmla="*/ 529590 w 1219200"/>
                <a:gd name="connsiteY381" fmla="*/ 615951 h 868681"/>
                <a:gd name="connsiteX382" fmla="*/ 529590 w 1219200"/>
                <a:gd name="connsiteY382" fmla="*/ 654051 h 868681"/>
                <a:gd name="connsiteX383" fmla="*/ 538480 w 1219200"/>
                <a:gd name="connsiteY383" fmla="*/ 664846 h 868681"/>
                <a:gd name="connsiteX384" fmla="*/ 553084 w 1219200"/>
                <a:gd name="connsiteY384" fmla="*/ 658496 h 868681"/>
                <a:gd name="connsiteX385" fmla="*/ 549909 w 1219200"/>
                <a:gd name="connsiteY385" fmla="*/ 681356 h 868681"/>
                <a:gd name="connsiteX386" fmla="*/ 531495 w 1219200"/>
                <a:gd name="connsiteY386" fmla="*/ 686436 h 868681"/>
                <a:gd name="connsiteX387" fmla="*/ 507364 w 1219200"/>
                <a:gd name="connsiteY387" fmla="*/ 659766 h 868681"/>
                <a:gd name="connsiteX388" fmla="*/ 507364 w 1219200"/>
                <a:gd name="connsiteY388" fmla="*/ 615951 h 868681"/>
                <a:gd name="connsiteX389" fmla="*/ 491489 w 1219200"/>
                <a:gd name="connsiteY389" fmla="*/ 615951 h 868681"/>
                <a:gd name="connsiteX390" fmla="*/ 491489 w 1219200"/>
                <a:gd name="connsiteY390" fmla="*/ 594361 h 868681"/>
                <a:gd name="connsiteX391" fmla="*/ 507364 w 1219200"/>
                <a:gd name="connsiteY391" fmla="*/ 594361 h 868681"/>
                <a:gd name="connsiteX392" fmla="*/ 507364 w 1219200"/>
                <a:gd name="connsiteY392" fmla="*/ 570866 h 868681"/>
                <a:gd name="connsiteX393" fmla="*/ 128269 w 1219200"/>
                <a:gd name="connsiteY393" fmla="*/ 559436 h 868681"/>
                <a:gd name="connsiteX394" fmla="*/ 128269 w 1219200"/>
                <a:gd name="connsiteY394" fmla="*/ 600711 h 868681"/>
                <a:gd name="connsiteX395" fmla="*/ 149224 w 1219200"/>
                <a:gd name="connsiteY395" fmla="*/ 592456 h 868681"/>
                <a:gd name="connsiteX396" fmla="*/ 180974 w 1219200"/>
                <a:gd name="connsiteY396" fmla="*/ 633731 h 868681"/>
                <a:gd name="connsiteX397" fmla="*/ 180974 w 1219200"/>
                <a:gd name="connsiteY397" fmla="*/ 684531 h 868681"/>
                <a:gd name="connsiteX398" fmla="*/ 158750 w 1219200"/>
                <a:gd name="connsiteY398" fmla="*/ 684531 h 868681"/>
                <a:gd name="connsiteX399" fmla="*/ 158750 w 1219200"/>
                <a:gd name="connsiteY399" fmla="*/ 635636 h 868681"/>
                <a:gd name="connsiteX400" fmla="*/ 143510 w 1219200"/>
                <a:gd name="connsiteY400" fmla="*/ 614681 h 868681"/>
                <a:gd name="connsiteX401" fmla="*/ 128269 w 1219200"/>
                <a:gd name="connsiteY401" fmla="*/ 635001 h 868681"/>
                <a:gd name="connsiteX402" fmla="*/ 128269 w 1219200"/>
                <a:gd name="connsiteY402" fmla="*/ 684531 h 868681"/>
                <a:gd name="connsiteX403" fmla="*/ 106045 w 1219200"/>
                <a:gd name="connsiteY403" fmla="*/ 684531 h 868681"/>
                <a:gd name="connsiteX404" fmla="*/ 106045 w 1219200"/>
                <a:gd name="connsiteY404" fmla="*/ 570866 h 868681"/>
                <a:gd name="connsiteX405" fmla="*/ 269875 w 1219200"/>
                <a:gd name="connsiteY405" fmla="*/ 635 h 868681"/>
                <a:gd name="connsiteX406" fmla="*/ 501015 w 1219200"/>
                <a:gd name="connsiteY406" fmla="*/ 635 h 868681"/>
                <a:gd name="connsiteX407" fmla="*/ 554989 w 1219200"/>
                <a:gd name="connsiteY407" fmla="*/ 94615 h 868681"/>
                <a:gd name="connsiteX408" fmla="*/ 391795 w 1219200"/>
                <a:gd name="connsiteY408" fmla="*/ 94615 h 868681"/>
                <a:gd name="connsiteX409" fmla="*/ 391795 w 1219200"/>
                <a:gd name="connsiteY409" fmla="*/ 161925 h 868681"/>
                <a:gd name="connsiteX410" fmla="*/ 539114 w 1219200"/>
                <a:gd name="connsiteY410" fmla="*/ 161925 h 868681"/>
                <a:gd name="connsiteX411" fmla="*/ 539114 w 1219200"/>
                <a:gd name="connsiteY411" fmla="*/ 247650 h 868681"/>
                <a:gd name="connsiteX412" fmla="*/ 391795 w 1219200"/>
                <a:gd name="connsiteY412" fmla="*/ 247650 h 868681"/>
                <a:gd name="connsiteX413" fmla="*/ 391795 w 1219200"/>
                <a:gd name="connsiteY413" fmla="*/ 314325 h 868681"/>
                <a:gd name="connsiteX414" fmla="*/ 595629 w 1219200"/>
                <a:gd name="connsiteY414" fmla="*/ 314325 h 868681"/>
                <a:gd name="connsiteX415" fmla="*/ 595629 w 1219200"/>
                <a:gd name="connsiteY415" fmla="*/ 408305 h 868681"/>
                <a:gd name="connsiteX416" fmla="*/ 269875 w 1219200"/>
                <a:gd name="connsiteY416" fmla="*/ 408305 h 868681"/>
                <a:gd name="connsiteX417" fmla="*/ 539114 w 1219200"/>
                <a:gd name="connsiteY417" fmla="*/ 0 h 868681"/>
                <a:gd name="connsiteX418" fmla="*/ 674370 w 1219200"/>
                <a:gd name="connsiteY418" fmla="*/ 0 h 868681"/>
                <a:gd name="connsiteX419" fmla="*/ 743584 w 1219200"/>
                <a:gd name="connsiteY419" fmla="*/ 132715 h 868681"/>
                <a:gd name="connsiteX420" fmla="*/ 812799 w 1219200"/>
                <a:gd name="connsiteY420" fmla="*/ 0 h 868681"/>
                <a:gd name="connsiteX421" fmla="*/ 946150 w 1219200"/>
                <a:gd name="connsiteY421" fmla="*/ 0 h 868681"/>
                <a:gd name="connsiteX422" fmla="*/ 803275 w 1219200"/>
                <a:gd name="connsiteY422" fmla="*/ 246380 h 868681"/>
                <a:gd name="connsiteX423" fmla="*/ 803275 w 1219200"/>
                <a:gd name="connsiteY423" fmla="*/ 407670 h 868681"/>
                <a:gd name="connsiteX424" fmla="*/ 681355 w 1219200"/>
                <a:gd name="connsiteY424" fmla="*/ 407670 h 868681"/>
                <a:gd name="connsiteX425" fmla="*/ 681355 w 1219200"/>
                <a:gd name="connsiteY425" fmla="*/ 246380 h 868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</a:cxnLst>
              <a:rect l="l" t="t" r="r" b="b"/>
              <a:pathLst>
                <a:path w="1219200" h="868681">
                  <a:moveTo>
                    <a:pt x="245110" y="839471"/>
                  </a:moveTo>
                  <a:lnTo>
                    <a:pt x="246379" y="839471"/>
                  </a:lnTo>
                  <a:lnTo>
                    <a:pt x="245041" y="839979"/>
                  </a:lnTo>
                  <a:close/>
                  <a:moveTo>
                    <a:pt x="522605" y="796926"/>
                  </a:moveTo>
                  <a:cubicBezTo>
                    <a:pt x="509905" y="796926"/>
                    <a:pt x="504189" y="807721"/>
                    <a:pt x="504189" y="821691"/>
                  </a:cubicBezTo>
                  <a:cubicBezTo>
                    <a:pt x="504189" y="831216"/>
                    <a:pt x="508000" y="845821"/>
                    <a:pt x="522605" y="845821"/>
                  </a:cubicBezTo>
                  <a:cubicBezTo>
                    <a:pt x="537845" y="845821"/>
                    <a:pt x="541019" y="831851"/>
                    <a:pt x="541019" y="821691"/>
                  </a:cubicBezTo>
                  <a:cubicBezTo>
                    <a:pt x="541019" y="807721"/>
                    <a:pt x="535305" y="796926"/>
                    <a:pt x="522605" y="796926"/>
                  </a:cubicBezTo>
                  <a:close/>
                  <a:moveTo>
                    <a:pt x="817245" y="796291"/>
                  </a:moveTo>
                  <a:cubicBezTo>
                    <a:pt x="803909" y="796291"/>
                    <a:pt x="800735" y="807086"/>
                    <a:pt x="800735" y="819786"/>
                  </a:cubicBezTo>
                  <a:cubicBezTo>
                    <a:pt x="800735" y="834391"/>
                    <a:pt x="805180" y="846456"/>
                    <a:pt x="817879" y="846456"/>
                  </a:cubicBezTo>
                  <a:cubicBezTo>
                    <a:pt x="824230" y="846456"/>
                    <a:pt x="828674" y="843281"/>
                    <a:pt x="833754" y="838836"/>
                  </a:cubicBezTo>
                  <a:lnTo>
                    <a:pt x="833754" y="838201"/>
                  </a:lnTo>
                  <a:lnTo>
                    <a:pt x="833754" y="803911"/>
                  </a:lnTo>
                  <a:cubicBezTo>
                    <a:pt x="828674" y="798831"/>
                    <a:pt x="824230" y="796291"/>
                    <a:pt x="817245" y="796291"/>
                  </a:cubicBezTo>
                  <a:close/>
                  <a:moveTo>
                    <a:pt x="1179195" y="794386"/>
                  </a:moveTo>
                  <a:cubicBezTo>
                    <a:pt x="1168400" y="794386"/>
                    <a:pt x="1163954" y="803911"/>
                    <a:pt x="1163320" y="811531"/>
                  </a:cubicBezTo>
                  <a:lnTo>
                    <a:pt x="1163954" y="811531"/>
                  </a:lnTo>
                  <a:lnTo>
                    <a:pt x="1195704" y="811531"/>
                  </a:lnTo>
                  <a:cubicBezTo>
                    <a:pt x="1195070" y="801371"/>
                    <a:pt x="1188720" y="794386"/>
                    <a:pt x="1179195" y="794386"/>
                  </a:cubicBezTo>
                  <a:close/>
                  <a:moveTo>
                    <a:pt x="909320" y="794386"/>
                  </a:moveTo>
                  <a:cubicBezTo>
                    <a:pt x="898525" y="794386"/>
                    <a:pt x="894079" y="803911"/>
                    <a:pt x="893445" y="811531"/>
                  </a:cubicBezTo>
                  <a:lnTo>
                    <a:pt x="894079" y="811531"/>
                  </a:lnTo>
                  <a:lnTo>
                    <a:pt x="925829" y="811531"/>
                  </a:lnTo>
                  <a:cubicBezTo>
                    <a:pt x="925195" y="801371"/>
                    <a:pt x="918845" y="794386"/>
                    <a:pt x="909320" y="794386"/>
                  </a:cubicBezTo>
                  <a:close/>
                  <a:moveTo>
                    <a:pt x="737870" y="775971"/>
                  </a:moveTo>
                  <a:lnTo>
                    <a:pt x="761364" y="775971"/>
                  </a:lnTo>
                  <a:lnTo>
                    <a:pt x="761364" y="866141"/>
                  </a:lnTo>
                  <a:lnTo>
                    <a:pt x="737870" y="866141"/>
                  </a:lnTo>
                  <a:close/>
                  <a:moveTo>
                    <a:pt x="143510" y="775971"/>
                  </a:moveTo>
                  <a:lnTo>
                    <a:pt x="167004" y="775971"/>
                  </a:lnTo>
                  <a:lnTo>
                    <a:pt x="167004" y="866141"/>
                  </a:lnTo>
                  <a:lnTo>
                    <a:pt x="143510" y="866141"/>
                  </a:lnTo>
                  <a:close/>
                  <a:moveTo>
                    <a:pt x="635" y="775971"/>
                  </a:moveTo>
                  <a:lnTo>
                    <a:pt x="26670" y="775971"/>
                  </a:lnTo>
                  <a:lnTo>
                    <a:pt x="40004" y="828041"/>
                  </a:lnTo>
                  <a:lnTo>
                    <a:pt x="55245" y="775971"/>
                  </a:lnTo>
                  <a:lnTo>
                    <a:pt x="76200" y="775971"/>
                  </a:lnTo>
                  <a:lnTo>
                    <a:pt x="91439" y="828041"/>
                  </a:lnTo>
                  <a:lnTo>
                    <a:pt x="105409" y="775971"/>
                  </a:lnTo>
                  <a:lnTo>
                    <a:pt x="130810" y="775971"/>
                  </a:lnTo>
                  <a:lnTo>
                    <a:pt x="102235" y="866141"/>
                  </a:lnTo>
                  <a:lnTo>
                    <a:pt x="80644" y="866141"/>
                  </a:lnTo>
                  <a:lnTo>
                    <a:pt x="65405" y="811531"/>
                  </a:lnTo>
                  <a:lnTo>
                    <a:pt x="50165" y="866141"/>
                  </a:lnTo>
                  <a:lnTo>
                    <a:pt x="28575" y="866141"/>
                  </a:lnTo>
                  <a:close/>
                  <a:moveTo>
                    <a:pt x="1181099" y="774066"/>
                  </a:moveTo>
                  <a:cubicBezTo>
                    <a:pt x="1204595" y="774066"/>
                    <a:pt x="1219200" y="795021"/>
                    <a:pt x="1219200" y="821056"/>
                  </a:cubicBezTo>
                  <a:lnTo>
                    <a:pt x="1218564" y="821056"/>
                  </a:lnTo>
                  <a:cubicBezTo>
                    <a:pt x="1218564" y="821056"/>
                    <a:pt x="1218564" y="827406"/>
                    <a:pt x="1218564" y="828676"/>
                  </a:cubicBezTo>
                  <a:lnTo>
                    <a:pt x="1163954" y="828676"/>
                  </a:lnTo>
                  <a:cubicBezTo>
                    <a:pt x="1165224" y="841376"/>
                    <a:pt x="1173480" y="846456"/>
                    <a:pt x="1183004" y="846456"/>
                  </a:cubicBezTo>
                  <a:cubicBezTo>
                    <a:pt x="1188720" y="846456"/>
                    <a:pt x="1193799" y="844551"/>
                    <a:pt x="1198879" y="840106"/>
                  </a:cubicBezTo>
                  <a:lnTo>
                    <a:pt x="1214754" y="853441"/>
                  </a:lnTo>
                  <a:cubicBezTo>
                    <a:pt x="1206500" y="864236"/>
                    <a:pt x="1193799" y="868046"/>
                    <a:pt x="1182370" y="868046"/>
                  </a:cubicBezTo>
                  <a:cubicBezTo>
                    <a:pt x="1156335" y="868046"/>
                    <a:pt x="1141095" y="847726"/>
                    <a:pt x="1141095" y="821056"/>
                  </a:cubicBezTo>
                  <a:cubicBezTo>
                    <a:pt x="1141095" y="792481"/>
                    <a:pt x="1158875" y="774066"/>
                    <a:pt x="1181099" y="774066"/>
                  </a:cubicBezTo>
                  <a:close/>
                  <a:moveTo>
                    <a:pt x="1097915" y="774066"/>
                  </a:moveTo>
                  <a:cubicBezTo>
                    <a:pt x="1113790" y="774066"/>
                    <a:pt x="1125220" y="781051"/>
                    <a:pt x="1133474" y="793751"/>
                  </a:cubicBezTo>
                  <a:lnTo>
                    <a:pt x="1118235" y="808991"/>
                  </a:lnTo>
                  <a:cubicBezTo>
                    <a:pt x="1113155" y="802006"/>
                    <a:pt x="1107439" y="796291"/>
                    <a:pt x="1097915" y="796291"/>
                  </a:cubicBezTo>
                  <a:cubicBezTo>
                    <a:pt x="1085215" y="796291"/>
                    <a:pt x="1078864" y="807086"/>
                    <a:pt x="1078864" y="820421"/>
                  </a:cubicBezTo>
                  <a:cubicBezTo>
                    <a:pt x="1078864" y="833121"/>
                    <a:pt x="1084579" y="845186"/>
                    <a:pt x="1097915" y="845186"/>
                  </a:cubicBezTo>
                  <a:cubicBezTo>
                    <a:pt x="1106170" y="845186"/>
                    <a:pt x="1113155" y="840741"/>
                    <a:pt x="1118235" y="833756"/>
                  </a:cubicBezTo>
                  <a:lnTo>
                    <a:pt x="1118870" y="834391"/>
                  </a:lnTo>
                  <a:lnTo>
                    <a:pt x="1133474" y="848361"/>
                  </a:lnTo>
                  <a:cubicBezTo>
                    <a:pt x="1125855" y="857886"/>
                    <a:pt x="1115060" y="868046"/>
                    <a:pt x="1097280" y="868046"/>
                  </a:cubicBezTo>
                  <a:cubicBezTo>
                    <a:pt x="1072515" y="868046"/>
                    <a:pt x="1054735" y="848361"/>
                    <a:pt x="1054735" y="821056"/>
                  </a:cubicBezTo>
                  <a:cubicBezTo>
                    <a:pt x="1054735" y="796291"/>
                    <a:pt x="1069974" y="774066"/>
                    <a:pt x="1097915" y="774066"/>
                  </a:cubicBezTo>
                  <a:close/>
                  <a:moveTo>
                    <a:pt x="1009015" y="774066"/>
                  </a:moveTo>
                  <a:cubicBezTo>
                    <a:pt x="1033144" y="774066"/>
                    <a:pt x="1041400" y="793116"/>
                    <a:pt x="1041400" y="815341"/>
                  </a:cubicBezTo>
                  <a:lnTo>
                    <a:pt x="1041400" y="866141"/>
                  </a:lnTo>
                  <a:lnTo>
                    <a:pt x="1017905" y="866141"/>
                  </a:lnTo>
                  <a:lnTo>
                    <a:pt x="1017905" y="817246"/>
                  </a:lnTo>
                  <a:cubicBezTo>
                    <a:pt x="1017905" y="804546"/>
                    <a:pt x="1014730" y="796291"/>
                    <a:pt x="1002665" y="796291"/>
                  </a:cubicBezTo>
                  <a:cubicBezTo>
                    <a:pt x="990599" y="796291"/>
                    <a:pt x="986790" y="803276"/>
                    <a:pt x="986790" y="816611"/>
                  </a:cubicBezTo>
                  <a:lnTo>
                    <a:pt x="986790" y="866141"/>
                  </a:lnTo>
                  <a:lnTo>
                    <a:pt x="963295" y="866141"/>
                  </a:lnTo>
                  <a:lnTo>
                    <a:pt x="963295" y="775971"/>
                  </a:lnTo>
                  <a:lnTo>
                    <a:pt x="986790" y="775971"/>
                  </a:lnTo>
                  <a:lnTo>
                    <a:pt x="986790" y="782321"/>
                  </a:lnTo>
                  <a:cubicBezTo>
                    <a:pt x="991870" y="777241"/>
                    <a:pt x="998855" y="774066"/>
                    <a:pt x="1009015" y="774066"/>
                  </a:cubicBezTo>
                  <a:close/>
                  <a:moveTo>
                    <a:pt x="911224" y="774066"/>
                  </a:moveTo>
                  <a:cubicBezTo>
                    <a:pt x="934720" y="774066"/>
                    <a:pt x="949325" y="795021"/>
                    <a:pt x="949325" y="821056"/>
                  </a:cubicBezTo>
                  <a:lnTo>
                    <a:pt x="948689" y="821056"/>
                  </a:lnTo>
                  <a:cubicBezTo>
                    <a:pt x="948689" y="821056"/>
                    <a:pt x="948689" y="827406"/>
                    <a:pt x="948689" y="828676"/>
                  </a:cubicBezTo>
                  <a:lnTo>
                    <a:pt x="894079" y="828676"/>
                  </a:lnTo>
                  <a:cubicBezTo>
                    <a:pt x="895349" y="841376"/>
                    <a:pt x="903605" y="846456"/>
                    <a:pt x="913129" y="846456"/>
                  </a:cubicBezTo>
                  <a:cubicBezTo>
                    <a:pt x="918845" y="846456"/>
                    <a:pt x="923924" y="844551"/>
                    <a:pt x="929004" y="840106"/>
                  </a:cubicBezTo>
                  <a:lnTo>
                    <a:pt x="944879" y="853441"/>
                  </a:lnTo>
                  <a:cubicBezTo>
                    <a:pt x="936625" y="864236"/>
                    <a:pt x="923924" y="868046"/>
                    <a:pt x="912495" y="868046"/>
                  </a:cubicBezTo>
                  <a:cubicBezTo>
                    <a:pt x="886459" y="868046"/>
                    <a:pt x="871220" y="847726"/>
                    <a:pt x="871220" y="821056"/>
                  </a:cubicBezTo>
                  <a:cubicBezTo>
                    <a:pt x="871220" y="792481"/>
                    <a:pt x="889000" y="774066"/>
                    <a:pt x="911224" y="774066"/>
                  </a:cubicBezTo>
                  <a:close/>
                  <a:moveTo>
                    <a:pt x="623570" y="774066"/>
                  </a:moveTo>
                  <a:cubicBezTo>
                    <a:pt x="647700" y="774066"/>
                    <a:pt x="655954" y="793116"/>
                    <a:pt x="655954" y="815341"/>
                  </a:cubicBezTo>
                  <a:lnTo>
                    <a:pt x="655954" y="866141"/>
                  </a:lnTo>
                  <a:lnTo>
                    <a:pt x="632459" y="866141"/>
                  </a:lnTo>
                  <a:lnTo>
                    <a:pt x="632459" y="817246"/>
                  </a:lnTo>
                  <a:cubicBezTo>
                    <a:pt x="632459" y="804546"/>
                    <a:pt x="629284" y="796291"/>
                    <a:pt x="617220" y="796291"/>
                  </a:cubicBezTo>
                  <a:cubicBezTo>
                    <a:pt x="605155" y="796291"/>
                    <a:pt x="601345" y="803276"/>
                    <a:pt x="601345" y="816611"/>
                  </a:cubicBezTo>
                  <a:lnTo>
                    <a:pt x="601345" y="866141"/>
                  </a:lnTo>
                  <a:lnTo>
                    <a:pt x="577849" y="866141"/>
                  </a:lnTo>
                  <a:lnTo>
                    <a:pt x="577849" y="775971"/>
                  </a:lnTo>
                  <a:lnTo>
                    <a:pt x="601345" y="775971"/>
                  </a:lnTo>
                  <a:lnTo>
                    <a:pt x="601345" y="782321"/>
                  </a:lnTo>
                  <a:cubicBezTo>
                    <a:pt x="606424" y="777241"/>
                    <a:pt x="613409" y="774066"/>
                    <a:pt x="623570" y="774066"/>
                  </a:cubicBezTo>
                  <a:close/>
                  <a:moveTo>
                    <a:pt x="522605" y="774066"/>
                  </a:moveTo>
                  <a:cubicBezTo>
                    <a:pt x="548004" y="774066"/>
                    <a:pt x="564515" y="793116"/>
                    <a:pt x="564515" y="821056"/>
                  </a:cubicBezTo>
                  <a:cubicBezTo>
                    <a:pt x="564515" y="848996"/>
                    <a:pt x="546735" y="868046"/>
                    <a:pt x="522605" y="868046"/>
                  </a:cubicBezTo>
                  <a:cubicBezTo>
                    <a:pt x="498474" y="868046"/>
                    <a:pt x="480695" y="848996"/>
                    <a:pt x="480695" y="821056"/>
                  </a:cubicBezTo>
                  <a:cubicBezTo>
                    <a:pt x="480695" y="794386"/>
                    <a:pt x="496570" y="774066"/>
                    <a:pt x="522605" y="774066"/>
                  </a:cubicBezTo>
                  <a:close/>
                  <a:moveTo>
                    <a:pt x="436879" y="774066"/>
                  </a:moveTo>
                  <a:cubicBezTo>
                    <a:pt x="452754" y="774066"/>
                    <a:pt x="464185" y="781051"/>
                    <a:pt x="472439" y="793751"/>
                  </a:cubicBezTo>
                  <a:lnTo>
                    <a:pt x="457200" y="808991"/>
                  </a:lnTo>
                  <a:cubicBezTo>
                    <a:pt x="452120" y="802006"/>
                    <a:pt x="446405" y="796291"/>
                    <a:pt x="436879" y="796291"/>
                  </a:cubicBezTo>
                  <a:cubicBezTo>
                    <a:pt x="424180" y="796291"/>
                    <a:pt x="417829" y="807086"/>
                    <a:pt x="417829" y="820421"/>
                  </a:cubicBezTo>
                  <a:cubicBezTo>
                    <a:pt x="417829" y="833121"/>
                    <a:pt x="423545" y="845186"/>
                    <a:pt x="436879" y="845186"/>
                  </a:cubicBezTo>
                  <a:cubicBezTo>
                    <a:pt x="445135" y="845186"/>
                    <a:pt x="452120" y="840741"/>
                    <a:pt x="457200" y="833756"/>
                  </a:cubicBezTo>
                  <a:lnTo>
                    <a:pt x="457834" y="834391"/>
                  </a:lnTo>
                  <a:lnTo>
                    <a:pt x="472439" y="848361"/>
                  </a:lnTo>
                  <a:cubicBezTo>
                    <a:pt x="464820" y="857886"/>
                    <a:pt x="454025" y="868046"/>
                    <a:pt x="436245" y="868046"/>
                  </a:cubicBezTo>
                  <a:cubicBezTo>
                    <a:pt x="411480" y="868046"/>
                    <a:pt x="393700" y="848361"/>
                    <a:pt x="393700" y="821056"/>
                  </a:cubicBezTo>
                  <a:cubicBezTo>
                    <a:pt x="393700" y="796291"/>
                    <a:pt x="408939" y="774066"/>
                    <a:pt x="436879" y="774066"/>
                  </a:cubicBezTo>
                  <a:close/>
                  <a:moveTo>
                    <a:pt x="219075" y="742316"/>
                  </a:moveTo>
                  <a:lnTo>
                    <a:pt x="219075" y="777241"/>
                  </a:lnTo>
                  <a:lnTo>
                    <a:pt x="245110" y="777241"/>
                  </a:lnTo>
                  <a:lnTo>
                    <a:pt x="245110" y="798831"/>
                  </a:lnTo>
                  <a:lnTo>
                    <a:pt x="219075" y="798831"/>
                  </a:lnTo>
                  <a:lnTo>
                    <a:pt x="219075" y="835661"/>
                  </a:lnTo>
                  <a:cubicBezTo>
                    <a:pt x="219075" y="843916"/>
                    <a:pt x="222250" y="846456"/>
                    <a:pt x="227965" y="846456"/>
                  </a:cubicBezTo>
                  <a:lnTo>
                    <a:pt x="245041" y="839979"/>
                  </a:lnTo>
                  <a:lnTo>
                    <a:pt x="241935" y="862966"/>
                  </a:lnTo>
                  <a:cubicBezTo>
                    <a:pt x="236855" y="866776"/>
                    <a:pt x="225424" y="868681"/>
                    <a:pt x="219709" y="868681"/>
                  </a:cubicBezTo>
                  <a:cubicBezTo>
                    <a:pt x="205739" y="868681"/>
                    <a:pt x="195579" y="857251"/>
                    <a:pt x="195579" y="842011"/>
                  </a:cubicBezTo>
                  <a:lnTo>
                    <a:pt x="195579" y="798831"/>
                  </a:lnTo>
                  <a:lnTo>
                    <a:pt x="179704" y="798831"/>
                  </a:lnTo>
                  <a:lnTo>
                    <a:pt x="179704" y="777241"/>
                  </a:lnTo>
                  <a:lnTo>
                    <a:pt x="195579" y="777241"/>
                  </a:lnTo>
                  <a:lnTo>
                    <a:pt x="195579" y="753746"/>
                  </a:lnTo>
                  <a:close/>
                  <a:moveTo>
                    <a:pt x="749935" y="741681"/>
                  </a:moveTo>
                  <a:cubicBezTo>
                    <a:pt x="757555" y="741681"/>
                    <a:pt x="763269" y="747396"/>
                    <a:pt x="763269" y="755016"/>
                  </a:cubicBezTo>
                  <a:cubicBezTo>
                    <a:pt x="763269" y="762636"/>
                    <a:pt x="757555" y="768351"/>
                    <a:pt x="749935" y="768351"/>
                  </a:cubicBezTo>
                  <a:cubicBezTo>
                    <a:pt x="742314" y="768351"/>
                    <a:pt x="736599" y="762636"/>
                    <a:pt x="736599" y="755016"/>
                  </a:cubicBezTo>
                  <a:cubicBezTo>
                    <a:pt x="736599" y="747396"/>
                    <a:pt x="742314" y="741681"/>
                    <a:pt x="749935" y="741681"/>
                  </a:cubicBezTo>
                  <a:close/>
                  <a:moveTo>
                    <a:pt x="154939" y="741681"/>
                  </a:moveTo>
                  <a:cubicBezTo>
                    <a:pt x="162560" y="741681"/>
                    <a:pt x="168275" y="747396"/>
                    <a:pt x="168275" y="755016"/>
                  </a:cubicBezTo>
                  <a:cubicBezTo>
                    <a:pt x="168275" y="762636"/>
                    <a:pt x="162560" y="768351"/>
                    <a:pt x="154939" y="768351"/>
                  </a:cubicBezTo>
                  <a:cubicBezTo>
                    <a:pt x="147320" y="768351"/>
                    <a:pt x="141605" y="762636"/>
                    <a:pt x="141605" y="755016"/>
                  </a:cubicBezTo>
                  <a:cubicBezTo>
                    <a:pt x="141605" y="747396"/>
                    <a:pt x="147320" y="741681"/>
                    <a:pt x="154939" y="741681"/>
                  </a:cubicBezTo>
                  <a:close/>
                  <a:moveTo>
                    <a:pt x="856614" y="741046"/>
                  </a:moveTo>
                  <a:lnTo>
                    <a:pt x="856614" y="866141"/>
                  </a:lnTo>
                  <a:lnTo>
                    <a:pt x="833120" y="866141"/>
                  </a:lnTo>
                  <a:lnTo>
                    <a:pt x="833120" y="860426"/>
                  </a:lnTo>
                  <a:cubicBezTo>
                    <a:pt x="825500" y="866141"/>
                    <a:pt x="821055" y="868046"/>
                    <a:pt x="812799" y="868046"/>
                  </a:cubicBezTo>
                  <a:cubicBezTo>
                    <a:pt x="786765" y="868046"/>
                    <a:pt x="775970" y="845821"/>
                    <a:pt x="775970" y="820421"/>
                  </a:cubicBezTo>
                  <a:cubicBezTo>
                    <a:pt x="775970" y="793116"/>
                    <a:pt x="788670" y="774066"/>
                    <a:pt x="812165" y="774066"/>
                  </a:cubicBezTo>
                  <a:cubicBezTo>
                    <a:pt x="819784" y="774066"/>
                    <a:pt x="827405" y="775971"/>
                    <a:pt x="833120" y="781051"/>
                  </a:cubicBezTo>
                  <a:lnTo>
                    <a:pt x="833120" y="752476"/>
                  </a:lnTo>
                  <a:close/>
                  <a:moveTo>
                    <a:pt x="707390" y="741046"/>
                  </a:moveTo>
                  <a:cubicBezTo>
                    <a:pt x="712470" y="741046"/>
                    <a:pt x="719454" y="741046"/>
                    <a:pt x="724534" y="743586"/>
                  </a:cubicBezTo>
                  <a:lnTo>
                    <a:pt x="724534" y="744221"/>
                  </a:lnTo>
                  <a:lnTo>
                    <a:pt x="724534" y="762636"/>
                  </a:lnTo>
                  <a:cubicBezTo>
                    <a:pt x="721360" y="761366"/>
                    <a:pt x="716280" y="760731"/>
                    <a:pt x="713105" y="760731"/>
                  </a:cubicBezTo>
                  <a:cubicBezTo>
                    <a:pt x="706120" y="760731"/>
                    <a:pt x="703579" y="762636"/>
                    <a:pt x="703579" y="768351"/>
                  </a:cubicBezTo>
                  <a:lnTo>
                    <a:pt x="703579" y="775336"/>
                  </a:lnTo>
                  <a:lnTo>
                    <a:pt x="722629" y="775336"/>
                  </a:lnTo>
                  <a:lnTo>
                    <a:pt x="722629" y="796926"/>
                  </a:lnTo>
                  <a:lnTo>
                    <a:pt x="703579" y="796926"/>
                  </a:lnTo>
                  <a:lnTo>
                    <a:pt x="703579" y="865506"/>
                  </a:lnTo>
                  <a:lnTo>
                    <a:pt x="680084" y="865506"/>
                  </a:lnTo>
                  <a:lnTo>
                    <a:pt x="680084" y="796926"/>
                  </a:lnTo>
                  <a:lnTo>
                    <a:pt x="667385" y="796926"/>
                  </a:lnTo>
                  <a:lnTo>
                    <a:pt x="667385" y="775336"/>
                  </a:lnTo>
                  <a:lnTo>
                    <a:pt x="680084" y="775336"/>
                  </a:lnTo>
                  <a:lnTo>
                    <a:pt x="680084" y="764541"/>
                  </a:lnTo>
                  <a:cubicBezTo>
                    <a:pt x="680084" y="748031"/>
                    <a:pt x="690879" y="741046"/>
                    <a:pt x="707390" y="741046"/>
                  </a:cubicBezTo>
                  <a:close/>
                  <a:moveTo>
                    <a:pt x="282575" y="741046"/>
                  </a:moveTo>
                  <a:lnTo>
                    <a:pt x="282575" y="782321"/>
                  </a:lnTo>
                  <a:cubicBezTo>
                    <a:pt x="287019" y="777241"/>
                    <a:pt x="295909" y="774066"/>
                    <a:pt x="304799" y="774066"/>
                  </a:cubicBezTo>
                  <a:cubicBezTo>
                    <a:pt x="328295" y="774066"/>
                    <a:pt x="336549" y="792481"/>
                    <a:pt x="336549" y="815341"/>
                  </a:cubicBezTo>
                  <a:lnTo>
                    <a:pt x="336549" y="866141"/>
                  </a:lnTo>
                  <a:lnTo>
                    <a:pt x="313689" y="866141"/>
                  </a:lnTo>
                  <a:lnTo>
                    <a:pt x="313689" y="817246"/>
                  </a:lnTo>
                  <a:cubicBezTo>
                    <a:pt x="313689" y="804546"/>
                    <a:pt x="310515" y="796291"/>
                    <a:pt x="298450" y="796291"/>
                  </a:cubicBezTo>
                  <a:cubicBezTo>
                    <a:pt x="286385" y="796291"/>
                    <a:pt x="282575" y="803276"/>
                    <a:pt x="282575" y="816611"/>
                  </a:cubicBezTo>
                  <a:lnTo>
                    <a:pt x="282575" y="866141"/>
                  </a:lnTo>
                  <a:lnTo>
                    <a:pt x="259079" y="866141"/>
                  </a:lnTo>
                  <a:lnTo>
                    <a:pt x="259079" y="752476"/>
                  </a:lnTo>
                  <a:close/>
                  <a:moveTo>
                    <a:pt x="92709" y="648336"/>
                  </a:moveTo>
                  <a:lnTo>
                    <a:pt x="92709" y="649606"/>
                  </a:lnTo>
                  <a:lnTo>
                    <a:pt x="92427" y="648959"/>
                  </a:lnTo>
                  <a:close/>
                  <a:moveTo>
                    <a:pt x="230504" y="643256"/>
                  </a:moveTo>
                  <a:cubicBezTo>
                    <a:pt x="220345" y="643256"/>
                    <a:pt x="215900" y="647701"/>
                    <a:pt x="215900" y="654686"/>
                  </a:cubicBezTo>
                  <a:cubicBezTo>
                    <a:pt x="215900" y="661671"/>
                    <a:pt x="220345" y="667386"/>
                    <a:pt x="228599" y="667386"/>
                  </a:cubicBezTo>
                  <a:cubicBezTo>
                    <a:pt x="233045" y="667386"/>
                    <a:pt x="240665" y="666116"/>
                    <a:pt x="245745" y="658496"/>
                  </a:cubicBezTo>
                  <a:lnTo>
                    <a:pt x="245745" y="647066"/>
                  </a:lnTo>
                  <a:cubicBezTo>
                    <a:pt x="241299" y="643891"/>
                    <a:pt x="234950" y="643256"/>
                    <a:pt x="230504" y="643256"/>
                  </a:cubicBezTo>
                  <a:close/>
                  <a:moveTo>
                    <a:pt x="321310" y="614046"/>
                  </a:moveTo>
                  <a:cubicBezTo>
                    <a:pt x="314959" y="614046"/>
                    <a:pt x="309879" y="617221"/>
                    <a:pt x="306704" y="622301"/>
                  </a:cubicBezTo>
                  <a:lnTo>
                    <a:pt x="306704" y="656591"/>
                  </a:lnTo>
                  <a:cubicBezTo>
                    <a:pt x="310515" y="661671"/>
                    <a:pt x="316230" y="664846"/>
                    <a:pt x="323215" y="664846"/>
                  </a:cubicBezTo>
                  <a:cubicBezTo>
                    <a:pt x="335915" y="664846"/>
                    <a:pt x="339090" y="653416"/>
                    <a:pt x="339090" y="640716"/>
                  </a:cubicBezTo>
                  <a:lnTo>
                    <a:pt x="338454" y="640716"/>
                  </a:lnTo>
                  <a:cubicBezTo>
                    <a:pt x="338454" y="627381"/>
                    <a:pt x="335280" y="614046"/>
                    <a:pt x="321310" y="614046"/>
                  </a:cubicBezTo>
                  <a:close/>
                  <a:moveTo>
                    <a:pt x="1179195" y="612776"/>
                  </a:moveTo>
                  <a:cubicBezTo>
                    <a:pt x="1168400" y="612776"/>
                    <a:pt x="1163954" y="622301"/>
                    <a:pt x="1163320" y="629921"/>
                  </a:cubicBezTo>
                  <a:lnTo>
                    <a:pt x="1163954" y="629921"/>
                  </a:lnTo>
                  <a:lnTo>
                    <a:pt x="1195704" y="629921"/>
                  </a:lnTo>
                  <a:cubicBezTo>
                    <a:pt x="1195070" y="619761"/>
                    <a:pt x="1188720" y="612776"/>
                    <a:pt x="1179195" y="612776"/>
                  </a:cubicBezTo>
                  <a:close/>
                  <a:moveTo>
                    <a:pt x="689610" y="612776"/>
                  </a:moveTo>
                  <a:cubicBezTo>
                    <a:pt x="678814" y="612776"/>
                    <a:pt x="674370" y="622301"/>
                    <a:pt x="673735" y="629921"/>
                  </a:cubicBezTo>
                  <a:lnTo>
                    <a:pt x="674370" y="629921"/>
                  </a:lnTo>
                  <a:lnTo>
                    <a:pt x="706120" y="629921"/>
                  </a:lnTo>
                  <a:cubicBezTo>
                    <a:pt x="705485" y="619761"/>
                    <a:pt x="699135" y="612776"/>
                    <a:pt x="689610" y="612776"/>
                  </a:cubicBezTo>
                  <a:close/>
                  <a:moveTo>
                    <a:pt x="410845" y="612776"/>
                  </a:moveTo>
                  <a:cubicBezTo>
                    <a:pt x="400685" y="612776"/>
                    <a:pt x="396239" y="622301"/>
                    <a:pt x="395605" y="629921"/>
                  </a:cubicBezTo>
                  <a:lnTo>
                    <a:pt x="427355" y="629921"/>
                  </a:lnTo>
                  <a:cubicBezTo>
                    <a:pt x="426084" y="619761"/>
                    <a:pt x="420370" y="612776"/>
                    <a:pt x="410845" y="612776"/>
                  </a:cubicBezTo>
                  <a:close/>
                  <a:moveTo>
                    <a:pt x="991870" y="594361"/>
                  </a:moveTo>
                  <a:lnTo>
                    <a:pt x="1014095" y="594361"/>
                  </a:lnTo>
                  <a:lnTo>
                    <a:pt x="1014095" y="643256"/>
                  </a:lnTo>
                  <a:cubicBezTo>
                    <a:pt x="1014095" y="655321"/>
                    <a:pt x="1016635" y="664846"/>
                    <a:pt x="1029334" y="664846"/>
                  </a:cubicBezTo>
                  <a:cubicBezTo>
                    <a:pt x="1042034" y="664846"/>
                    <a:pt x="1044575" y="655321"/>
                    <a:pt x="1044575" y="644526"/>
                  </a:cubicBezTo>
                  <a:lnTo>
                    <a:pt x="1044575" y="594996"/>
                  </a:lnTo>
                  <a:lnTo>
                    <a:pt x="1066799" y="594996"/>
                  </a:lnTo>
                  <a:lnTo>
                    <a:pt x="1066799" y="684531"/>
                  </a:lnTo>
                  <a:lnTo>
                    <a:pt x="1044575" y="684531"/>
                  </a:lnTo>
                  <a:lnTo>
                    <a:pt x="1044575" y="678181"/>
                  </a:lnTo>
                  <a:cubicBezTo>
                    <a:pt x="1039495" y="683896"/>
                    <a:pt x="1031875" y="686436"/>
                    <a:pt x="1023620" y="686436"/>
                  </a:cubicBezTo>
                  <a:cubicBezTo>
                    <a:pt x="1000125" y="686436"/>
                    <a:pt x="991870" y="669926"/>
                    <a:pt x="991870" y="645161"/>
                  </a:cubicBezTo>
                  <a:close/>
                  <a:moveTo>
                    <a:pt x="836295" y="594361"/>
                  </a:moveTo>
                  <a:lnTo>
                    <a:pt x="858519" y="594361"/>
                  </a:lnTo>
                  <a:lnTo>
                    <a:pt x="858519" y="643256"/>
                  </a:lnTo>
                  <a:cubicBezTo>
                    <a:pt x="858519" y="655321"/>
                    <a:pt x="861060" y="664846"/>
                    <a:pt x="873760" y="664846"/>
                  </a:cubicBezTo>
                  <a:cubicBezTo>
                    <a:pt x="886459" y="664846"/>
                    <a:pt x="889000" y="655321"/>
                    <a:pt x="889000" y="644526"/>
                  </a:cubicBezTo>
                  <a:lnTo>
                    <a:pt x="889000" y="594996"/>
                  </a:lnTo>
                  <a:lnTo>
                    <a:pt x="911224" y="594996"/>
                  </a:lnTo>
                  <a:lnTo>
                    <a:pt x="911224" y="684531"/>
                  </a:lnTo>
                  <a:lnTo>
                    <a:pt x="889000" y="684531"/>
                  </a:lnTo>
                  <a:lnTo>
                    <a:pt x="889000" y="678181"/>
                  </a:lnTo>
                  <a:cubicBezTo>
                    <a:pt x="883920" y="683896"/>
                    <a:pt x="876299" y="686436"/>
                    <a:pt x="868045" y="686436"/>
                  </a:cubicBezTo>
                  <a:cubicBezTo>
                    <a:pt x="844549" y="686436"/>
                    <a:pt x="836295" y="669926"/>
                    <a:pt x="836295" y="645161"/>
                  </a:cubicBezTo>
                  <a:close/>
                  <a:moveTo>
                    <a:pt x="1181099" y="592456"/>
                  </a:moveTo>
                  <a:cubicBezTo>
                    <a:pt x="1204595" y="592456"/>
                    <a:pt x="1219200" y="613411"/>
                    <a:pt x="1219200" y="639446"/>
                  </a:cubicBezTo>
                  <a:lnTo>
                    <a:pt x="1218564" y="639446"/>
                  </a:lnTo>
                  <a:cubicBezTo>
                    <a:pt x="1218564" y="639446"/>
                    <a:pt x="1218564" y="645796"/>
                    <a:pt x="1218564" y="647066"/>
                  </a:cubicBezTo>
                  <a:lnTo>
                    <a:pt x="1163954" y="647066"/>
                  </a:lnTo>
                  <a:cubicBezTo>
                    <a:pt x="1165224" y="659766"/>
                    <a:pt x="1173480" y="664846"/>
                    <a:pt x="1183004" y="664846"/>
                  </a:cubicBezTo>
                  <a:cubicBezTo>
                    <a:pt x="1188720" y="664846"/>
                    <a:pt x="1193799" y="662941"/>
                    <a:pt x="1198879" y="658496"/>
                  </a:cubicBezTo>
                  <a:lnTo>
                    <a:pt x="1214754" y="671831"/>
                  </a:lnTo>
                  <a:cubicBezTo>
                    <a:pt x="1206500" y="682626"/>
                    <a:pt x="1193799" y="686436"/>
                    <a:pt x="1182370" y="686436"/>
                  </a:cubicBezTo>
                  <a:cubicBezTo>
                    <a:pt x="1156335" y="686436"/>
                    <a:pt x="1141095" y="666116"/>
                    <a:pt x="1141095" y="639446"/>
                  </a:cubicBezTo>
                  <a:cubicBezTo>
                    <a:pt x="1141095" y="610871"/>
                    <a:pt x="1158875" y="592456"/>
                    <a:pt x="1181099" y="592456"/>
                  </a:cubicBezTo>
                  <a:close/>
                  <a:moveTo>
                    <a:pt x="691515" y="592456"/>
                  </a:moveTo>
                  <a:cubicBezTo>
                    <a:pt x="715010" y="592456"/>
                    <a:pt x="729614" y="613411"/>
                    <a:pt x="729614" y="639446"/>
                  </a:cubicBezTo>
                  <a:lnTo>
                    <a:pt x="728980" y="639446"/>
                  </a:lnTo>
                  <a:cubicBezTo>
                    <a:pt x="728980" y="639446"/>
                    <a:pt x="728980" y="645796"/>
                    <a:pt x="728980" y="647066"/>
                  </a:cubicBezTo>
                  <a:lnTo>
                    <a:pt x="674370" y="647066"/>
                  </a:lnTo>
                  <a:cubicBezTo>
                    <a:pt x="675640" y="659766"/>
                    <a:pt x="683894" y="664846"/>
                    <a:pt x="693420" y="664846"/>
                  </a:cubicBezTo>
                  <a:cubicBezTo>
                    <a:pt x="699135" y="664846"/>
                    <a:pt x="704215" y="662941"/>
                    <a:pt x="709295" y="658496"/>
                  </a:cubicBezTo>
                  <a:lnTo>
                    <a:pt x="725170" y="671831"/>
                  </a:lnTo>
                  <a:cubicBezTo>
                    <a:pt x="716915" y="682626"/>
                    <a:pt x="704215" y="686436"/>
                    <a:pt x="692784" y="686436"/>
                  </a:cubicBezTo>
                  <a:cubicBezTo>
                    <a:pt x="666750" y="686436"/>
                    <a:pt x="651510" y="666116"/>
                    <a:pt x="651510" y="639446"/>
                  </a:cubicBezTo>
                  <a:cubicBezTo>
                    <a:pt x="651510" y="610871"/>
                    <a:pt x="669290" y="592456"/>
                    <a:pt x="691515" y="592456"/>
                  </a:cubicBezTo>
                  <a:close/>
                  <a:moveTo>
                    <a:pt x="412114" y="592456"/>
                  </a:moveTo>
                  <a:cubicBezTo>
                    <a:pt x="437515" y="592456"/>
                    <a:pt x="448310" y="615316"/>
                    <a:pt x="448310" y="639446"/>
                  </a:cubicBezTo>
                  <a:cubicBezTo>
                    <a:pt x="448310" y="639446"/>
                    <a:pt x="448310" y="645796"/>
                    <a:pt x="448310" y="647066"/>
                  </a:cubicBezTo>
                  <a:lnTo>
                    <a:pt x="395605" y="647066"/>
                  </a:lnTo>
                  <a:cubicBezTo>
                    <a:pt x="396875" y="659766"/>
                    <a:pt x="405129" y="664846"/>
                    <a:pt x="415290" y="664846"/>
                  </a:cubicBezTo>
                  <a:cubicBezTo>
                    <a:pt x="421004" y="664846"/>
                    <a:pt x="426084" y="662941"/>
                    <a:pt x="430530" y="658496"/>
                  </a:cubicBezTo>
                  <a:lnTo>
                    <a:pt x="446405" y="671831"/>
                  </a:lnTo>
                  <a:cubicBezTo>
                    <a:pt x="438784" y="681991"/>
                    <a:pt x="425450" y="686436"/>
                    <a:pt x="413385" y="686436"/>
                  </a:cubicBezTo>
                  <a:cubicBezTo>
                    <a:pt x="387349" y="686436"/>
                    <a:pt x="372110" y="666116"/>
                    <a:pt x="372110" y="640081"/>
                  </a:cubicBezTo>
                  <a:cubicBezTo>
                    <a:pt x="372110" y="614046"/>
                    <a:pt x="388620" y="592456"/>
                    <a:pt x="412114" y="592456"/>
                  </a:cubicBezTo>
                  <a:close/>
                  <a:moveTo>
                    <a:pt x="326390" y="592456"/>
                  </a:moveTo>
                  <a:cubicBezTo>
                    <a:pt x="350519" y="592456"/>
                    <a:pt x="361314" y="615316"/>
                    <a:pt x="361314" y="639446"/>
                  </a:cubicBezTo>
                  <a:cubicBezTo>
                    <a:pt x="361314" y="662306"/>
                    <a:pt x="351790" y="686436"/>
                    <a:pt x="326390" y="686436"/>
                  </a:cubicBezTo>
                  <a:cubicBezTo>
                    <a:pt x="316230" y="686436"/>
                    <a:pt x="310515" y="682626"/>
                    <a:pt x="306070" y="678816"/>
                  </a:cubicBezTo>
                  <a:lnTo>
                    <a:pt x="306070" y="706121"/>
                  </a:lnTo>
                  <a:lnTo>
                    <a:pt x="283845" y="717551"/>
                  </a:lnTo>
                  <a:lnTo>
                    <a:pt x="283845" y="594361"/>
                  </a:lnTo>
                  <a:lnTo>
                    <a:pt x="306070" y="594361"/>
                  </a:lnTo>
                  <a:lnTo>
                    <a:pt x="306070" y="600711"/>
                  </a:lnTo>
                  <a:cubicBezTo>
                    <a:pt x="311784" y="595631"/>
                    <a:pt x="318135" y="592456"/>
                    <a:pt x="326390" y="592456"/>
                  </a:cubicBezTo>
                  <a:close/>
                  <a:moveTo>
                    <a:pt x="231775" y="592456"/>
                  </a:moveTo>
                  <a:cubicBezTo>
                    <a:pt x="254635" y="592456"/>
                    <a:pt x="268605" y="603251"/>
                    <a:pt x="268605" y="624206"/>
                  </a:cubicBezTo>
                  <a:lnTo>
                    <a:pt x="268605" y="684531"/>
                  </a:lnTo>
                  <a:lnTo>
                    <a:pt x="267970" y="684531"/>
                  </a:lnTo>
                  <a:lnTo>
                    <a:pt x="245745" y="684531"/>
                  </a:lnTo>
                  <a:lnTo>
                    <a:pt x="245745" y="678181"/>
                  </a:lnTo>
                  <a:cubicBezTo>
                    <a:pt x="240665" y="683261"/>
                    <a:pt x="233680" y="686436"/>
                    <a:pt x="224790" y="686436"/>
                  </a:cubicBezTo>
                  <a:cubicBezTo>
                    <a:pt x="207010" y="686436"/>
                    <a:pt x="193040" y="675006"/>
                    <a:pt x="193040" y="655321"/>
                  </a:cubicBezTo>
                  <a:cubicBezTo>
                    <a:pt x="193040" y="635636"/>
                    <a:pt x="206375" y="624841"/>
                    <a:pt x="227965" y="624841"/>
                  </a:cubicBezTo>
                  <a:cubicBezTo>
                    <a:pt x="233680" y="624841"/>
                    <a:pt x="239394" y="625476"/>
                    <a:pt x="245745" y="628651"/>
                  </a:cubicBezTo>
                  <a:lnTo>
                    <a:pt x="245745" y="623571"/>
                  </a:lnTo>
                  <a:cubicBezTo>
                    <a:pt x="245745" y="615316"/>
                    <a:pt x="240030" y="611506"/>
                    <a:pt x="230504" y="611506"/>
                  </a:cubicBezTo>
                  <a:cubicBezTo>
                    <a:pt x="223519" y="611506"/>
                    <a:pt x="216534" y="613411"/>
                    <a:pt x="209549" y="617221"/>
                  </a:cubicBezTo>
                  <a:lnTo>
                    <a:pt x="200659" y="601346"/>
                  </a:lnTo>
                  <a:cubicBezTo>
                    <a:pt x="210185" y="594996"/>
                    <a:pt x="219709" y="592456"/>
                    <a:pt x="231775" y="592456"/>
                  </a:cubicBezTo>
                  <a:close/>
                  <a:moveTo>
                    <a:pt x="1125855" y="591821"/>
                  </a:moveTo>
                  <a:cubicBezTo>
                    <a:pt x="1132204" y="591821"/>
                    <a:pt x="1137920" y="593726"/>
                    <a:pt x="1142364" y="598171"/>
                  </a:cubicBezTo>
                  <a:lnTo>
                    <a:pt x="1141730" y="598806"/>
                  </a:lnTo>
                  <a:lnTo>
                    <a:pt x="1132840" y="621031"/>
                  </a:lnTo>
                  <a:cubicBezTo>
                    <a:pt x="1129665" y="617856"/>
                    <a:pt x="1125220" y="615316"/>
                    <a:pt x="1120140" y="615316"/>
                  </a:cubicBezTo>
                  <a:cubicBezTo>
                    <a:pt x="1109345" y="615316"/>
                    <a:pt x="1106805" y="624206"/>
                    <a:pt x="1106805" y="635001"/>
                  </a:cubicBezTo>
                  <a:lnTo>
                    <a:pt x="1106805" y="683896"/>
                  </a:lnTo>
                  <a:lnTo>
                    <a:pt x="1084579" y="683896"/>
                  </a:lnTo>
                  <a:lnTo>
                    <a:pt x="1084579" y="593726"/>
                  </a:lnTo>
                  <a:lnTo>
                    <a:pt x="1106805" y="593726"/>
                  </a:lnTo>
                  <a:lnTo>
                    <a:pt x="1106805" y="600076"/>
                  </a:lnTo>
                  <a:cubicBezTo>
                    <a:pt x="1111885" y="594996"/>
                    <a:pt x="1118235" y="591821"/>
                    <a:pt x="1125855" y="591821"/>
                  </a:cubicBezTo>
                  <a:close/>
                  <a:moveTo>
                    <a:pt x="47625" y="563881"/>
                  </a:moveTo>
                  <a:cubicBezTo>
                    <a:pt x="66040" y="563881"/>
                    <a:pt x="79375" y="571501"/>
                    <a:pt x="90170" y="582296"/>
                  </a:cubicBezTo>
                  <a:lnTo>
                    <a:pt x="73659" y="598806"/>
                  </a:lnTo>
                  <a:cubicBezTo>
                    <a:pt x="66040" y="591186"/>
                    <a:pt x="58420" y="586741"/>
                    <a:pt x="46355" y="586741"/>
                  </a:cubicBezTo>
                  <a:cubicBezTo>
                    <a:pt x="36194" y="586741"/>
                    <a:pt x="28575" y="589916"/>
                    <a:pt x="28575" y="598171"/>
                  </a:cubicBezTo>
                  <a:cubicBezTo>
                    <a:pt x="28575" y="601981"/>
                    <a:pt x="29845" y="604521"/>
                    <a:pt x="33655" y="606426"/>
                  </a:cubicBezTo>
                  <a:cubicBezTo>
                    <a:pt x="38099" y="608966"/>
                    <a:pt x="43814" y="610236"/>
                    <a:pt x="52704" y="612776"/>
                  </a:cubicBezTo>
                  <a:cubicBezTo>
                    <a:pt x="63500" y="615951"/>
                    <a:pt x="73659" y="617856"/>
                    <a:pt x="81915" y="624841"/>
                  </a:cubicBezTo>
                  <a:lnTo>
                    <a:pt x="92427" y="648959"/>
                  </a:lnTo>
                  <a:lnTo>
                    <a:pt x="79454" y="677626"/>
                  </a:lnTo>
                  <a:cubicBezTo>
                    <a:pt x="71279" y="683738"/>
                    <a:pt x="60008" y="686436"/>
                    <a:pt x="47625" y="686436"/>
                  </a:cubicBezTo>
                  <a:cubicBezTo>
                    <a:pt x="29845" y="686436"/>
                    <a:pt x="10795" y="680721"/>
                    <a:pt x="0" y="664846"/>
                  </a:cubicBezTo>
                  <a:lnTo>
                    <a:pt x="16510" y="650241"/>
                  </a:lnTo>
                  <a:cubicBezTo>
                    <a:pt x="24129" y="659766"/>
                    <a:pt x="35560" y="664211"/>
                    <a:pt x="46989" y="664211"/>
                  </a:cubicBezTo>
                  <a:cubicBezTo>
                    <a:pt x="60325" y="664211"/>
                    <a:pt x="68579" y="657861"/>
                    <a:pt x="68579" y="649606"/>
                  </a:cubicBezTo>
                  <a:cubicBezTo>
                    <a:pt x="68579" y="646431"/>
                    <a:pt x="67310" y="642621"/>
                    <a:pt x="61595" y="640081"/>
                  </a:cubicBezTo>
                  <a:cubicBezTo>
                    <a:pt x="57150" y="638176"/>
                    <a:pt x="52069" y="636906"/>
                    <a:pt x="41909" y="634366"/>
                  </a:cubicBezTo>
                  <a:cubicBezTo>
                    <a:pt x="35560" y="633096"/>
                    <a:pt x="22860" y="629921"/>
                    <a:pt x="14605" y="623571"/>
                  </a:cubicBezTo>
                  <a:cubicBezTo>
                    <a:pt x="6349" y="617221"/>
                    <a:pt x="4444" y="607696"/>
                    <a:pt x="4444" y="599441"/>
                  </a:cubicBezTo>
                  <a:cubicBezTo>
                    <a:pt x="4444" y="574041"/>
                    <a:pt x="26034" y="563881"/>
                    <a:pt x="47625" y="563881"/>
                  </a:cubicBezTo>
                  <a:close/>
                  <a:moveTo>
                    <a:pt x="814070" y="560071"/>
                  </a:moveTo>
                  <a:cubicBezTo>
                    <a:pt x="820420" y="560071"/>
                    <a:pt x="824864" y="561341"/>
                    <a:pt x="830579" y="562611"/>
                  </a:cubicBezTo>
                  <a:lnTo>
                    <a:pt x="829945" y="562611"/>
                  </a:lnTo>
                  <a:lnTo>
                    <a:pt x="829945" y="581026"/>
                  </a:lnTo>
                  <a:cubicBezTo>
                    <a:pt x="824864" y="579756"/>
                    <a:pt x="821055" y="579121"/>
                    <a:pt x="818515" y="579121"/>
                  </a:cubicBezTo>
                  <a:cubicBezTo>
                    <a:pt x="810260" y="579121"/>
                    <a:pt x="808989" y="582296"/>
                    <a:pt x="808989" y="586741"/>
                  </a:cubicBezTo>
                  <a:lnTo>
                    <a:pt x="808989" y="594361"/>
                  </a:lnTo>
                  <a:lnTo>
                    <a:pt x="824230" y="594361"/>
                  </a:lnTo>
                  <a:lnTo>
                    <a:pt x="824230" y="615951"/>
                  </a:lnTo>
                  <a:lnTo>
                    <a:pt x="808989" y="615951"/>
                  </a:lnTo>
                  <a:lnTo>
                    <a:pt x="808989" y="684531"/>
                  </a:lnTo>
                  <a:lnTo>
                    <a:pt x="786765" y="684531"/>
                  </a:lnTo>
                  <a:lnTo>
                    <a:pt x="786765" y="615951"/>
                  </a:lnTo>
                  <a:lnTo>
                    <a:pt x="775970" y="615951"/>
                  </a:lnTo>
                  <a:lnTo>
                    <a:pt x="775970" y="594361"/>
                  </a:lnTo>
                  <a:lnTo>
                    <a:pt x="786765" y="594361"/>
                  </a:lnTo>
                  <a:lnTo>
                    <a:pt x="786765" y="583566"/>
                  </a:lnTo>
                  <a:cubicBezTo>
                    <a:pt x="786765" y="567691"/>
                    <a:pt x="795019" y="560071"/>
                    <a:pt x="814070" y="560071"/>
                  </a:cubicBezTo>
                  <a:close/>
                  <a:moveTo>
                    <a:pt x="957579" y="559436"/>
                  </a:moveTo>
                  <a:lnTo>
                    <a:pt x="957579" y="594361"/>
                  </a:lnTo>
                  <a:lnTo>
                    <a:pt x="979170" y="594361"/>
                  </a:lnTo>
                  <a:lnTo>
                    <a:pt x="979170" y="615951"/>
                  </a:lnTo>
                  <a:lnTo>
                    <a:pt x="957579" y="615951"/>
                  </a:lnTo>
                  <a:lnTo>
                    <a:pt x="957579" y="654051"/>
                  </a:lnTo>
                  <a:cubicBezTo>
                    <a:pt x="957579" y="661671"/>
                    <a:pt x="960754" y="664846"/>
                    <a:pt x="966470" y="664846"/>
                  </a:cubicBezTo>
                  <a:cubicBezTo>
                    <a:pt x="972185" y="664846"/>
                    <a:pt x="977900" y="661671"/>
                    <a:pt x="981075" y="658496"/>
                  </a:cubicBezTo>
                  <a:lnTo>
                    <a:pt x="977900" y="681356"/>
                  </a:lnTo>
                  <a:cubicBezTo>
                    <a:pt x="973454" y="685166"/>
                    <a:pt x="965200" y="686436"/>
                    <a:pt x="959485" y="686436"/>
                  </a:cubicBezTo>
                  <a:cubicBezTo>
                    <a:pt x="945515" y="686436"/>
                    <a:pt x="935355" y="676276"/>
                    <a:pt x="935355" y="659766"/>
                  </a:cubicBezTo>
                  <a:lnTo>
                    <a:pt x="935355" y="615951"/>
                  </a:lnTo>
                  <a:lnTo>
                    <a:pt x="922655" y="615951"/>
                  </a:lnTo>
                  <a:lnTo>
                    <a:pt x="922655" y="594361"/>
                  </a:lnTo>
                  <a:lnTo>
                    <a:pt x="935355" y="594361"/>
                  </a:lnTo>
                  <a:lnTo>
                    <a:pt x="935355" y="570866"/>
                  </a:lnTo>
                  <a:close/>
                  <a:moveTo>
                    <a:pt x="586739" y="559436"/>
                  </a:moveTo>
                  <a:lnTo>
                    <a:pt x="586739" y="600711"/>
                  </a:lnTo>
                  <a:cubicBezTo>
                    <a:pt x="591820" y="595631"/>
                    <a:pt x="597534" y="592456"/>
                    <a:pt x="607695" y="592456"/>
                  </a:cubicBezTo>
                  <a:cubicBezTo>
                    <a:pt x="631825" y="592456"/>
                    <a:pt x="639445" y="610871"/>
                    <a:pt x="639445" y="633731"/>
                  </a:cubicBezTo>
                  <a:lnTo>
                    <a:pt x="639445" y="684531"/>
                  </a:lnTo>
                  <a:lnTo>
                    <a:pt x="617220" y="684531"/>
                  </a:lnTo>
                  <a:lnTo>
                    <a:pt x="617220" y="635636"/>
                  </a:lnTo>
                  <a:cubicBezTo>
                    <a:pt x="617220" y="623571"/>
                    <a:pt x="614680" y="614681"/>
                    <a:pt x="601980" y="614681"/>
                  </a:cubicBezTo>
                  <a:cubicBezTo>
                    <a:pt x="589280" y="614681"/>
                    <a:pt x="586739" y="622936"/>
                    <a:pt x="586739" y="635001"/>
                  </a:cubicBezTo>
                  <a:lnTo>
                    <a:pt x="586739" y="684531"/>
                  </a:lnTo>
                  <a:lnTo>
                    <a:pt x="564515" y="684531"/>
                  </a:lnTo>
                  <a:lnTo>
                    <a:pt x="564515" y="570866"/>
                  </a:lnTo>
                  <a:close/>
                  <a:moveTo>
                    <a:pt x="529590" y="559436"/>
                  </a:moveTo>
                  <a:lnTo>
                    <a:pt x="529590" y="594361"/>
                  </a:lnTo>
                  <a:lnTo>
                    <a:pt x="550545" y="594361"/>
                  </a:lnTo>
                  <a:lnTo>
                    <a:pt x="550545" y="615951"/>
                  </a:lnTo>
                  <a:lnTo>
                    <a:pt x="529590" y="615951"/>
                  </a:lnTo>
                  <a:lnTo>
                    <a:pt x="529590" y="654051"/>
                  </a:lnTo>
                  <a:cubicBezTo>
                    <a:pt x="529590" y="661671"/>
                    <a:pt x="532765" y="664846"/>
                    <a:pt x="538480" y="664846"/>
                  </a:cubicBezTo>
                  <a:cubicBezTo>
                    <a:pt x="544195" y="664846"/>
                    <a:pt x="549275" y="661671"/>
                    <a:pt x="553084" y="658496"/>
                  </a:cubicBezTo>
                  <a:lnTo>
                    <a:pt x="549909" y="681356"/>
                  </a:lnTo>
                  <a:cubicBezTo>
                    <a:pt x="545465" y="685166"/>
                    <a:pt x="537209" y="686436"/>
                    <a:pt x="531495" y="686436"/>
                  </a:cubicBezTo>
                  <a:cubicBezTo>
                    <a:pt x="517525" y="686436"/>
                    <a:pt x="507364" y="676276"/>
                    <a:pt x="507364" y="659766"/>
                  </a:cubicBezTo>
                  <a:lnTo>
                    <a:pt x="507364" y="615951"/>
                  </a:lnTo>
                  <a:lnTo>
                    <a:pt x="491489" y="615951"/>
                  </a:lnTo>
                  <a:lnTo>
                    <a:pt x="491489" y="594361"/>
                  </a:lnTo>
                  <a:lnTo>
                    <a:pt x="507364" y="594361"/>
                  </a:lnTo>
                  <a:lnTo>
                    <a:pt x="507364" y="570866"/>
                  </a:lnTo>
                  <a:close/>
                  <a:moveTo>
                    <a:pt x="128269" y="559436"/>
                  </a:moveTo>
                  <a:lnTo>
                    <a:pt x="128269" y="600711"/>
                  </a:lnTo>
                  <a:cubicBezTo>
                    <a:pt x="133349" y="595631"/>
                    <a:pt x="139064" y="592456"/>
                    <a:pt x="149224" y="592456"/>
                  </a:cubicBezTo>
                  <a:cubicBezTo>
                    <a:pt x="173355" y="592456"/>
                    <a:pt x="180974" y="610871"/>
                    <a:pt x="180974" y="633731"/>
                  </a:cubicBezTo>
                  <a:lnTo>
                    <a:pt x="180974" y="684531"/>
                  </a:lnTo>
                  <a:lnTo>
                    <a:pt x="158750" y="684531"/>
                  </a:lnTo>
                  <a:lnTo>
                    <a:pt x="158750" y="635636"/>
                  </a:lnTo>
                  <a:cubicBezTo>
                    <a:pt x="158750" y="623571"/>
                    <a:pt x="156209" y="614681"/>
                    <a:pt x="143510" y="614681"/>
                  </a:cubicBezTo>
                  <a:cubicBezTo>
                    <a:pt x="130810" y="614681"/>
                    <a:pt x="128269" y="622936"/>
                    <a:pt x="128269" y="635001"/>
                  </a:cubicBezTo>
                  <a:lnTo>
                    <a:pt x="128269" y="684531"/>
                  </a:lnTo>
                  <a:lnTo>
                    <a:pt x="106045" y="684531"/>
                  </a:lnTo>
                  <a:lnTo>
                    <a:pt x="106045" y="570866"/>
                  </a:lnTo>
                  <a:close/>
                  <a:moveTo>
                    <a:pt x="269875" y="635"/>
                  </a:moveTo>
                  <a:lnTo>
                    <a:pt x="501015" y="635"/>
                  </a:lnTo>
                  <a:lnTo>
                    <a:pt x="554989" y="94615"/>
                  </a:lnTo>
                  <a:lnTo>
                    <a:pt x="391795" y="94615"/>
                  </a:lnTo>
                  <a:lnTo>
                    <a:pt x="391795" y="161925"/>
                  </a:lnTo>
                  <a:lnTo>
                    <a:pt x="539114" y="161925"/>
                  </a:lnTo>
                  <a:lnTo>
                    <a:pt x="539114" y="247650"/>
                  </a:lnTo>
                  <a:lnTo>
                    <a:pt x="391795" y="247650"/>
                  </a:lnTo>
                  <a:lnTo>
                    <a:pt x="391795" y="314325"/>
                  </a:lnTo>
                  <a:lnTo>
                    <a:pt x="595629" y="314325"/>
                  </a:lnTo>
                  <a:lnTo>
                    <a:pt x="595629" y="408305"/>
                  </a:lnTo>
                  <a:lnTo>
                    <a:pt x="269875" y="408305"/>
                  </a:lnTo>
                  <a:close/>
                  <a:moveTo>
                    <a:pt x="539114" y="0"/>
                  </a:moveTo>
                  <a:lnTo>
                    <a:pt x="674370" y="0"/>
                  </a:lnTo>
                  <a:lnTo>
                    <a:pt x="743584" y="132715"/>
                  </a:lnTo>
                  <a:lnTo>
                    <a:pt x="812799" y="0"/>
                  </a:lnTo>
                  <a:lnTo>
                    <a:pt x="946150" y="0"/>
                  </a:lnTo>
                  <a:lnTo>
                    <a:pt x="803275" y="246380"/>
                  </a:lnTo>
                  <a:lnTo>
                    <a:pt x="803275" y="407670"/>
                  </a:lnTo>
                  <a:lnTo>
                    <a:pt x="681355" y="407670"/>
                  </a:lnTo>
                  <a:lnTo>
                    <a:pt x="681355" y="246380"/>
                  </a:lnTo>
                  <a:close/>
                </a:path>
              </a:pathLst>
            </a:custGeom>
            <a:solidFill>
              <a:srgbClr val="FFFFFF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34EF81A0-CB40-42B3-5E1A-AA5D72BFB4DD}"/>
              </a:ext>
            </a:extLst>
          </p:cNvPr>
          <p:cNvGrpSpPr/>
          <p:nvPr userDrawn="1"/>
        </p:nvGrpSpPr>
        <p:grpSpPr>
          <a:xfrm>
            <a:off x="486029" y="6164633"/>
            <a:ext cx="4943508" cy="318770"/>
            <a:chOff x="485775" y="6164633"/>
            <a:chExt cx="4940935" cy="318770"/>
          </a:xfrm>
        </p:grpSpPr>
        <p:sp>
          <p:nvSpPr>
            <p:cNvPr id="24" name="Freeform 23">
              <a:extLst>
                <a:ext uri="{FF2B5EF4-FFF2-40B4-BE49-F238E27FC236}">
                  <a16:creationId xmlns:a16="http://schemas.microsoft.com/office/drawing/2014/main" id="{BDF3ED9A-57E4-25C5-BC4E-AC1C77798191}"/>
                </a:ext>
              </a:extLst>
            </p:cNvPr>
            <p:cNvSpPr/>
            <p:nvPr userDrawn="1"/>
          </p:nvSpPr>
          <p:spPr>
            <a:xfrm>
              <a:off x="485775" y="6164633"/>
              <a:ext cx="405765" cy="81280"/>
            </a:xfrm>
            <a:custGeom>
              <a:avLst/>
              <a:gdLst>
                <a:gd name="connsiteX0" fmla="*/ 324485 w 405765"/>
                <a:gd name="connsiteY0" fmla="*/ 0 h 81280"/>
                <a:gd name="connsiteX1" fmla="*/ 405765 w 405765"/>
                <a:gd name="connsiteY1" fmla="*/ 0 h 81280"/>
                <a:gd name="connsiteX2" fmla="*/ 405765 w 405765"/>
                <a:gd name="connsiteY2" fmla="*/ 81280 h 81280"/>
                <a:gd name="connsiteX3" fmla="*/ 324485 w 405765"/>
                <a:gd name="connsiteY3" fmla="*/ 81280 h 81280"/>
                <a:gd name="connsiteX4" fmla="*/ 161925 w 405765"/>
                <a:gd name="connsiteY4" fmla="*/ 0 h 81280"/>
                <a:gd name="connsiteX5" fmla="*/ 243205 w 405765"/>
                <a:gd name="connsiteY5" fmla="*/ 0 h 81280"/>
                <a:gd name="connsiteX6" fmla="*/ 243205 w 405765"/>
                <a:gd name="connsiteY6" fmla="*/ 81280 h 81280"/>
                <a:gd name="connsiteX7" fmla="*/ 161925 w 405765"/>
                <a:gd name="connsiteY7" fmla="*/ 81280 h 81280"/>
                <a:gd name="connsiteX8" fmla="*/ 0 w 405765"/>
                <a:gd name="connsiteY8" fmla="*/ 0 h 81280"/>
                <a:gd name="connsiteX9" fmla="*/ 81280 w 405765"/>
                <a:gd name="connsiteY9" fmla="*/ 0 h 81280"/>
                <a:gd name="connsiteX10" fmla="*/ 81280 w 405765"/>
                <a:gd name="connsiteY10" fmla="*/ 81280 h 81280"/>
                <a:gd name="connsiteX11" fmla="*/ 0 w 405765"/>
                <a:gd name="connsiteY11" fmla="*/ 81280 h 812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05765" h="81280">
                  <a:moveTo>
                    <a:pt x="324485" y="0"/>
                  </a:moveTo>
                  <a:lnTo>
                    <a:pt x="405765" y="0"/>
                  </a:lnTo>
                  <a:lnTo>
                    <a:pt x="405765" y="81280"/>
                  </a:lnTo>
                  <a:lnTo>
                    <a:pt x="324485" y="81280"/>
                  </a:lnTo>
                  <a:close/>
                  <a:moveTo>
                    <a:pt x="161925" y="0"/>
                  </a:moveTo>
                  <a:lnTo>
                    <a:pt x="243205" y="0"/>
                  </a:lnTo>
                  <a:lnTo>
                    <a:pt x="243205" y="81280"/>
                  </a:lnTo>
                  <a:lnTo>
                    <a:pt x="161925" y="81280"/>
                  </a:lnTo>
                  <a:close/>
                  <a:moveTo>
                    <a:pt x="0" y="0"/>
                  </a:moveTo>
                  <a:lnTo>
                    <a:pt x="81280" y="0"/>
                  </a:lnTo>
                  <a:lnTo>
                    <a:pt x="81280" y="81280"/>
                  </a:lnTo>
                  <a:lnTo>
                    <a:pt x="0" y="81280"/>
                  </a:lnTo>
                  <a:close/>
                </a:path>
              </a:pathLst>
            </a:custGeom>
            <a:solidFill>
              <a:srgbClr val="FFE600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25" name="Freeform 24">
              <a:extLst>
                <a:ext uri="{FF2B5EF4-FFF2-40B4-BE49-F238E27FC236}">
                  <a16:creationId xmlns:a16="http://schemas.microsoft.com/office/drawing/2014/main" id="{F8AD9B21-63CE-8D03-9802-DB2391C6BC13}"/>
                </a:ext>
              </a:extLst>
            </p:cNvPr>
            <p:cNvSpPr/>
            <p:nvPr userDrawn="1"/>
          </p:nvSpPr>
          <p:spPr bwMode="black">
            <a:xfrm>
              <a:off x="485779" y="6344974"/>
              <a:ext cx="4940931" cy="138429"/>
            </a:xfrm>
            <a:custGeom>
              <a:avLst/>
              <a:gdLst>
                <a:gd name="connsiteX0" fmla="*/ 1032512 w 4940931"/>
                <a:gd name="connsiteY0" fmla="*/ 137477 h 138429"/>
                <a:gd name="connsiteX1" fmla="*/ 1032512 w 4940931"/>
                <a:gd name="connsiteY1" fmla="*/ 137794 h 138429"/>
                <a:gd name="connsiteX2" fmla="*/ 1030607 w 4940931"/>
                <a:gd name="connsiteY2" fmla="*/ 138429 h 138429"/>
                <a:gd name="connsiteX3" fmla="*/ 4929501 w 4940931"/>
                <a:gd name="connsiteY3" fmla="*/ 87629 h 138429"/>
                <a:gd name="connsiteX4" fmla="*/ 4933946 w 4940931"/>
                <a:gd name="connsiteY4" fmla="*/ 88264 h 138429"/>
                <a:gd name="connsiteX5" fmla="*/ 4937756 w 4940931"/>
                <a:gd name="connsiteY5" fmla="*/ 90804 h 138429"/>
                <a:gd name="connsiteX6" fmla="*/ 4940296 w 4940931"/>
                <a:gd name="connsiteY6" fmla="*/ 94614 h 138429"/>
                <a:gd name="connsiteX7" fmla="*/ 4940931 w 4940931"/>
                <a:gd name="connsiteY7" fmla="*/ 99059 h 138429"/>
                <a:gd name="connsiteX8" fmla="*/ 4940296 w 4940931"/>
                <a:gd name="connsiteY8" fmla="*/ 103504 h 138429"/>
                <a:gd name="connsiteX9" fmla="*/ 4937756 w 4940931"/>
                <a:gd name="connsiteY9" fmla="*/ 107314 h 138429"/>
                <a:gd name="connsiteX10" fmla="*/ 4933946 w 4940931"/>
                <a:gd name="connsiteY10" fmla="*/ 109854 h 138429"/>
                <a:gd name="connsiteX11" fmla="*/ 4929501 w 4940931"/>
                <a:gd name="connsiteY11" fmla="*/ 110489 h 138429"/>
                <a:gd name="connsiteX12" fmla="*/ 4925056 w 4940931"/>
                <a:gd name="connsiteY12" fmla="*/ 109854 h 138429"/>
                <a:gd name="connsiteX13" fmla="*/ 4921246 w 4940931"/>
                <a:gd name="connsiteY13" fmla="*/ 107314 h 138429"/>
                <a:gd name="connsiteX14" fmla="*/ 4918706 w 4940931"/>
                <a:gd name="connsiteY14" fmla="*/ 103504 h 138429"/>
                <a:gd name="connsiteX15" fmla="*/ 4918071 w 4940931"/>
                <a:gd name="connsiteY15" fmla="*/ 99059 h 138429"/>
                <a:gd name="connsiteX16" fmla="*/ 4918706 w 4940931"/>
                <a:gd name="connsiteY16" fmla="*/ 94614 h 138429"/>
                <a:gd name="connsiteX17" fmla="*/ 4921246 w 4940931"/>
                <a:gd name="connsiteY17" fmla="*/ 90804 h 138429"/>
                <a:gd name="connsiteX18" fmla="*/ 4925056 w 4940931"/>
                <a:gd name="connsiteY18" fmla="*/ 88264 h 138429"/>
                <a:gd name="connsiteX19" fmla="*/ 4929501 w 4940931"/>
                <a:gd name="connsiteY19" fmla="*/ 87629 h 138429"/>
                <a:gd name="connsiteX20" fmla="*/ 3079110 w 4940931"/>
                <a:gd name="connsiteY20" fmla="*/ 87629 h 138429"/>
                <a:gd name="connsiteX21" fmla="*/ 3083555 w 4940931"/>
                <a:gd name="connsiteY21" fmla="*/ 88264 h 138429"/>
                <a:gd name="connsiteX22" fmla="*/ 3087365 w 4940931"/>
                <a:gd name="connsiteY22" fmla="*/ 90804 h 138429"/>
                <a:gd name="connsiteX23" fmla="*/ 3089905 w 4940931"/>
                <a:gd name="connsiteY23" fmla="*/ 94614 h 138429"/>
                <a:gd name="connsiteX24" fmla="*/ 3090540 w 4940931"/>
                <a:gd name="connsiteY24" fmla="*/ 99059 h 138429"/>
                <a:gd name="connsiteX25" fmla="*/ 3089905 w 4940931"/>
                <a:gd name="connsiteY25" fmla="*/ 103504 h 138429"/>
                <a:gd name="connsiteX26" fmla="*/ 3087365 w 4940931"/>
                <a:gd name="connsiteY26" fmla="*/ 107314 h 138429"/>
                <a:gd name="connsiteX27" fmla="*/ 3083555 w 4940931"/>
                <a:gd name="connsiteY27" fmla="*/ 109854 h 138429"/>
                <a:gd name="connsiteX28" fmla="*/ 3079110 w 4940931"/>
                <a:gd name="connsiteY28" fmla="*/ 110489 h 138429"/>
                <a:gd name="connsiteX29" fmla="*/ 3074665 w 4940931"/>
                <a:gd name="connsiteY29" fmla="*/ 109854 h 138429"/>
                <a:gd name="connsiteX30" fmla="*/ 3070855 w 4940931"/>
                <a:gd name="connsiteY30" fmla="*/ 107314 h 138429"/>
                <a:gd name="connsiteX31" fmla="*/ 3068315 w 4940931"/>
                <a:gd name="connsiteY31" fmla="*/ 103504 h 138429"/>
                <a:gd name="connsiteX32" fmla="*/ 3067680 w 4940931"/>
                <a:gd name="connsiteY32" fmla="*/ 99059 h 138429"/>
                <a:gd name="connsiteX33" fmla="*/ 3068315 w 4940931"/>
                <a:gd name="connsiteY33" fmla="*/ 94614 h 138429"/>
                <a:gd name="connsiteX34" fmla="*/ 3070855 w 4940931"/>
                <a:gd name="connsiteY34" fmla="*/ 90804 h 138429"/>
                <a:gd name="connsiteX35" fmla="*/ 3074665 w 4940931"/>
                <a:gd name="connsiteY35" fmla="*/ 88264 h 138429"/>
                <a:gd name="connsiteX36" fmla="*/ 3079110 w 4940931"/>
                <a:gd name="connsiteY36" fmla="*/ 87629 h 138429"/>
                <a:gd name="connsiteX37" fmla="*/ 1565275 w 4940931"/>
                <a:gd name="connsiteY37" fmla="*/ 87629 h 138429"/>
                <a:gd name="connsiteX38" fmla="*/ 1569720 w 4940931"/>
                <a:gd name="connsiteY38" fmla="*/ 88264 h 138429"/>
                <a:gd name="connsiteX39" fmla="*/ 1573529 w 4940931"/>
                <a:gd name="connsiteY39" fmla="*/ 90804 h 138429"/>
                <a:gd name="connsiteX40" fmla="*/ 1576069 w 4940931"/>
                <a:gd name="connsiteY40" fmla="*/ 94614 h 138429"/>
                <a:gd name="connsiteX41" fmla="*/ 1576705 w 4940931"/>
                <a:gd name="connsiteY41" fmla="*/ 99059 h 138429"/>
                <a:gd name="connsiteX42" fmla="*/ 1576069 w 4940931"/>
                <a:gd name="connsiteY42" fmla="*/ 103504 h 138429"/>
                <a:gd name="connsiteX43" fmla="*/ 1573529 w 4940931"/>
                <a:gd name="connsiteY43" fmla="*/ 107314 h 138429"/>
                <a:gd name="connsiteX44" fmla="*/ 1569720 w 4940931"/>
                <a:gd name="connsiteY44" fmla="*/ 109854 h 138429"/>
                <a:gd name="connsiteX45" fmla="*/ 1565275 w 4940931"/>
                <a:gd name="connsiteY45" fmla="*/ 110489 h 138429"/>
                <a:gd name="connsiteX46" fmla="*/ 1560830 w 4940931"/>
                <a:gd name="connsiteY46" fmla="*/ 109854 h 138429"/>
                <a:gd name="connsiteX47" fmla="*/ 1557020 w 4940931"/>
                <a:gd name="connsiteY47" fmla="*/ 107314 h 138429"/>
                <a:gd name="connsiteX48" fmla="*/ 1554479 w 4940931"/>
                <a:gd name="connsiteY48" fmla="*/ 103504 h 138429"/>
                <a:gd name="connsiteX49" fmla="*/ 1553844 w 4940931"/>
                <a:gd name="connsiteY49" fmla="*/ 99059 h 138429"/>
                <a:gd name="connsiteX50" fmla="*/ 1554479 w 4940931"/>
                <a:gd name="connsiteY50" fmla="*/ 94614 h 138429"/>
                <a:gd name="connsiteX51" fmla="*/ 1557020 w 4940931"/>
                <a:gd name="connsiteY51" fmla="*/ 90804 h 138429"/>
                <a:gd name="connsiteX52" fmla="*/ 1560830 w 4940931"/>
                <a:gd name="connsiteY52" fmla="*/ 88264 h 138429"/>
                <a:gd name="connsiteX53" fmla="*/ 1565275 w 4940931"/>
                <a:gd name="connsiteY53" fmla="*/ 87629 h 138429"/>
                <a:gd name="connsiteX54" fmla="*/ 2642230 w 4940931"/>
                <a:gd name="connsiteY54" fmla="*/ 73024 h 138429"/>
                <a:gd name="connsiteX55" fmla="*/ 2630800 w 4940931"/>
                <a:gd name="connsiteY55" fmla="*/ 76199 h 138429"/>
                <a:gd name="connsiteX56" fmla="*/ 2626355 w 4940931"/>
                <a:gd name="connsiteY56" fmla="*/ 84454 h 138429"/>
                <a:gd name="connsiteX57" fmla="*/ 2627625 w 4940931"/>
                <a:gd name="connsiteY57" fmla="*/ 90169 h 138429"/>
                <a:gd name="connsiteX58" fmla="*/ 2630800 w 4940931"/>
                <a:gd name="connsiteY58" fmla="*/ 93979 h 138429"/>
                <a:gd name="connsiteX59" fmla="*/ 2635245 w 4940931"/>
                <a:gd name="connsiteY59" fmla="*/ 96519 h 138429"/>
                <a:gd name="connsiteX60" fmla="*/ 2641595 w 4940931"/>
                <a:gd name="connsiteY60" fmla="*/ 97154 h 138429"/>
                <a:gd name="connsiteX61" fmla="*/ 2647310 w 4940931"/>
                <a:gd name="connsiteY61" fmla="*/ 96519 h 138429"/>
                <a:gd name="connsiteX62" fmla="*/ 2652390 w 4940931"/>
                <a:gd name="connsiteY62" fmla="*/ 93979 h 138429"/>
                <a:gd name="connsiteX63" fmla="*/ 2656835 w 4940931"/>
                <a:gd name="connsiteY63" fmla="*/ 90804 h 138429"/>
                <a:gd name="connsiteX64" fmla="*/ 2660010 w 4940931"/>
                <a:gd name="connsiteY64" fmla="*/ 86994 h 138429"/>
                <a:gd name="connsiteX65" fmla="*/ 2660010 w 4940931"/>
                <a:gd name="connsiteY65" fmla="*/ 75564 h 138429"/>
                <a:gd name="connsiteX66" fmla="*/ 2656200 w 4940931"/>
                <a:gd name="connsiteY66" fmla="*/ 74294 h 138429"/>
                <a:gd name="connsiteX67" fmla="*/ 2652390 w 4940931"/>
                <a:gd name="connsiteY67" fmla="*/ 73659 h 138429"/>
                <a:gd name="connsiteX68" fmla="*/ 2647945 w 4940931"/>
                <a:gd name="connsiteY68" fmla="*/ 73024 h 138429"/>
                <a:gd name="connsiteX69" fmla="*/ 2642230 w 4940931"/>
                <a:gd name="connsiteY69" fmla="*/ 73024 h 138429"/>
                <a:gd name="connsiteX70" fmla="*/ 4664706 w 4940931"/>
                <a:gd name="connsiteY70" fmla="*/ 43814 h 138429"/>
                <a:gd name="connsiteX71" fmla="*/ 4657086 w 4940931"/>
                <a:gd name="connsiteY71" fmla="*/ 45719 h 138429"/>
                <a:gd name="connsiteX72" fmla="*/ 4651371 w 4940931"/>
                <a:gd name="connsiteY72" fmla="*/ 50799 h 138429"/>
                <a:gd name="connsiteX73" fmla="*/ 4647561 w 4940931"/>
                <a:gd name="connsiteY73" fmla="*/ 59054 h 138429"/>
                <a:gd name="connsiteX74" fmla="*/ 4646291 w 4940931"/>
                <a:gd name="connsiteY74" fmla="*/ 69849 h 138429"/>
                <a:gd name="connsiteX75" fmla="*/ 4647561 w 4940931"/>
                <a:gd name="connsiteY75" fmla="*/ 81279 h 138429"/>
                <a:gd name="connsiteX76" fmla="*/ 4651371 w 4940931"/>
                <a:gd name="connsiteY76" fmla="*/ 89534 h 138429"/>
                <a:gd name="connsiteX77" fmla="*/ 4657721 w 4940931"/>
                <a:gd name="connsiteY77" fmla="*/ 94614 h 138429"/>
                <a:gd name="connsiteX78" fmla="*/ 4665341 w 4940931"/>
                <a:gd name="connsiteY78" fmla="*/ 96519 h 138429"/>
                <a:gd name="connsiteX79" fmla="*/ 4672961 w 4940931"/>
                <a:gd name="connsiteY79" fmla="*/ 94614 h 138429"/>
                <a:gd name="connsiteX80" fmla="*/ 4678676 w 4940931"/>
                <a:gd name="connsiteY80" fmla="*/ 88899 h 138429"/>
                <a:gd name="connsiteX81" fmla="*/ 4682486 w 4940931"/>
                <a:gd name="connsiteY81" fmla="*/ 80644 h 138429"/>
                <a:gd name="connsiteX82" fmla="*/ 4683756 w 4940931"/>
                <a:gd name="connsiteY82" fmla="*/ 70484 h 138429"/>
                <a:gd name="connsiteX83" fmla="*/ 4684391 w 4940931"/>
                <a:gd name="connsiteY83" fmla="*/ 69849 h 138429"/>
                <a:gd name="connsiteX84" fmla="*/ 4683121 w 4940931"/>
                <a:gd name="connsiteY84" fmla="*/ 59054 h 138429"/>
                <a:gd name="connsiteX85" fmla="*/ 4679311 w 4940931"/>
                <a:gd name="connsiteY85" fmla="*/ 50799 h 138429"/>
                <a:gd name="connsiteX86" fmla="*/ 4672961 w 4940931"/>
                <a:gd name="connsiteY86" fmla="*/ 45719 h 138429"/>
                <a:gd name="connsiteX87" fmla="*/ 4664706 w 4940931"/>
                <a:gd name="connsiteY87" fmla="*/ 43814 h 138429"/>
                <a:gd name="connsiteX88" fmla="*/ 4264020 w 4940931"/>
                <a:gd name="connsiteY88" fmla="*/ 43814 h 138429"/>
                <a:gd name="connsiteX89" fmla="*/ 4256400 w 4940931"/>
                <a:gd name="connsiteY89" fmla="*/ 45719 h 138429"/>
                <a:gd name="connsiteX90" fmla="*/ 4250685 w 4940931"/>
                <a:gd name="connsiteY90" fmla="*/ 50799 h 138429"/>
                <a:gd name="connsiteX91" fmla="*/ 4246875 w 4940931"/>
                <a:gd name="connsiteY91" fmla="*/ 59054 h 138429"/>
                <a:gd name="connsiteX92" fmla="*/ 4245605 w 4940931"/>
                <a:gd name="connsiteY92" fmla="*/ 69849 h 138429"/>
                <a:gd name="connsiteX93" fmla="*/ 4246875 w 4940931"/>
                <a:gd name="connsiteY93" fmla="*/ 81279 h 138429"/>
                <a:gd name="connsiteX94" fmla="*/ 4250685 w 4940931"/>
                <a:gd name="connsiteY94" fmla="*/ 89534 h 138429"/>
                <a:gd name="connsiteX95" fmla="*/ 4257035 w 4940931"/>
                <a:gd name="connsiteY95" fmla="*/ 94614 h 138429"/>
                <a:gd name="connsiteX96" fmla="*/ 4264655 w 4940931"/>
                <a:gd name="connsiteY96" fmla="*/ 96519 h 138429"/>
                <a:gd name="connsiteX97" fmla="*/ 4272275 w 4940931"/>
                <a:gd name="connsiteY97" fmla="*/ 94614 h 138429"/>
                <a:gd name="connsiteX98" fmla="*/ 4277990 w 4940931"/>
                <a:gd name="connsiteY98" fmla="*/ 88899 h 138429"/>
                <a:gd name="connsiteX99" fmla="*/ 4281800 w 4940931"/>
                <a:gd name="connsiteY99" fmla="*/ 80644 h 138429"/>
                <a:gd name="connsiteX100" fmla="*/ 4283070 w 4940931"/>
                <a:gd name="connsiteY100" fmla="*/ 70484 h 138429"/>
                <a:gd name="connsiteX101" fmla="*/ 4283705 w 4940931"/>
                <a:gd name="connsiteY101" fmla="*/ 69849 h 138429"/>
                <a:gd name="connsiteX102" fmla="*/ 4282435 w 4940931"/>
                <a:gd name="connsiteY102" fmla="*/ 59054 h 138429"/>
                <a:gd name="connsiteX103" fmla="*/ 4278625 w 4940931"/>
                <a:gd name="connsiteY103" fmla="*/ 50799 h 138429"/>
                <a:gd name="connsiteX104" fmla="*/ 4272275 w 4940931"/>
                <a:gd name="connsiteY104" fmla="*/ 45719 h 138429"/>
                <a:gd name="connsiteX105" fmla="*/ 4264020 w 4940931"/>
                <a:gd name="connsiteY105" fmla="*/ 43814 h 138429"/>
                <a:gd name="connsiteX106" fmla="*/ 1420495 w 4940931"/>
                <a:gd name="connsiteY106" fmla="*/ 43814 h 138429"/>
                <a:gd name="connsiteX107" fmla="*/ 1412875 w 4940931"/>
                <a:gd name="connsiteY107" fmla="*/ 45719 h 138429"/>
                <a:gd name="connsiteX108" fmla="*/ 1407160 w 4940931"/>
                <a:gd name="connsiteY108" fmla="*/ 50799 h 138429"/>
                <a:gd name="connsiteX109" fmla="*/ 1403350 w 4940931"/>
                <a:gd name="connsiteY109" fmla="*/ 59054 h 138429"/>
                <a:gd name="connsiteX110" fmla="*/ 1402080 w 4940931"/>
                <a:gd name="connsiteY110" fmla="*/ 69849 h 138429"/>
                <a:gd name="connsiteX111" fmla="*/ 1403350 w 4940931"/>
                <a:gd name="connsiteY111" fmla="*/ 81279 h 138429"/>
                <a:gd name="connsiteX112" fmla="*/ 1407160 w 4940931"/>
                <a:gd name="connsiteY112" fmla="*/ 89534 h 138429"/>
                <a:gd name="connsiteX113" fmla="*/ 1413510 w 4940931"/>
                <a:gd name="connsiteY113" fmla="*/ 94614 h 138429"/>
                <a:gd name="connsiteX114" fmla="*/ 1421130 w 4940931"/>
                <a:gd name="connsiteY114" fmla="*/ 96519 h 138429"/>
                <a:gd name="connsiteX115" fmla="*/ 1428750 w 4940931"/>
                <a:gd name="connsiteY115" fmla="*/ 94614 h 138429"/>
                <a:gd name="connsiteX116" fmla="*/ 1434465 w 4940931"/>
                <a:gd name="connsiteY116" fmla="*/ 88899 h 138429"/>
                <a:gd name="connsiteX117" fmla="*/ 1438275 w 4940931"/>
                <a:gd name="connsiteY117" fmla="*/ 80644 h 138429"/>
                <a:gd name="connsiteX118" fmla="*/ 1439545 w 4940931"/>
                <a:gd name="connsiteY118" fmla="*/ 70484 h 138429"/>
                <a:gd name="connsiteX119" fmla="*/ 1440180 w 4940931"/>
                <a:gd name="connsiteY119" fmla="*/ 69849 h 138429"/>
                <a:gd name="connsiteX120" fmla="*/ 1438910 w 4940931"/>
                <a:gd name="connsiteY120" fmla="*/ 59054 h 138429"/>
                <a:gd name="connsiteX121" fmla="*/ 1435100 w 4940931"/>
                <a:gd name="connsiteY121" fmla="*/ 50799 h 138429"/>
                <a:gd name="connsiteX122" fmla="*/ 1428750 w 4940931"/>
                <a:gd name="connsiteY122" fmla="*/ 45719 h 138429"/>
                <a:gd name="connsiteX123" fmla="*/ 1420495 w 4940931"/>
                <a:gd name="connsiteY123" fmla="*/ 43814 h 138429"/>
                <a:gd name="connsiteX124" fmla="*/ 4041770 w 4940931"/>
                <a:gd name="connsiteY124" fmla="*/ 43180 h 138429"/>
                <a:gd name="connsiteX125" fmla="*/ 4034785 w 4940931"/>
                <a:gd name="connsiteY125" fmla="*/ 44450 h 138429"/>
                <a:gd name="connsiteX126" fmla="*/ 4029705 w 4940931"/>
                <a:gd name="connsiteY126" fmla="*/ 48260 h 138429"/>
                <a:gd name="connsiteX127" fmla="*/ 4025895 w 4940931"/>
                <a:gd name="connsiteY127" fmla="*/ 54610 h 138429"/>
                <a:gd name="connsiteX128" fmla="*/ 4023990 w 4940931"/>
                <a:gd name="connsiteY128" fmla="*/ 62865 h 138429"/>
                <a:gd name="connsiteX129" fmla="*/ 4060185 w 4940931"/>
                <a:gd name="connsiteY129" fmla="*/ 62865 h 138429"/>
                <a:gd name="connsiteX130" fmla="*/ 4058915 w 4940931"/>
                <a:gd name="connsiteY130" fmla="*/ 55245 h 138429"/>
                <a:gd name="connsiteX131" fmla="*/ 4055740 w 4940931"/>
                <a:gd name="connsiteY131" fmla="*/ 48895 h 138429"/>
                <a:gd name="connsiteX132" fmla="*/ 4050025 w 4940931"/>
                <a:gd name="connsiteY132" fmla="*/ 44450 h 138429"/>
                <a:gd name="connsiteX133" fmla="*/ 4041770 w 4940931"/>
                <a:gd name="connsiteY133" fmla="*/ 43180 h 138429"/>
                <a:gd name="connsiteX134" fmla="*/ 3728081 w 4940931"/>
                <a:gd name="connsiteY134" fmla="*/ 43180 h 138429"/>
                <a:gd name="connsiteX135" fmla="*/ 3721096 w 4940931"/>
                <a:gd name="connsiteY135" fmla="*/ 44450 h 138429"/>
                <a:gd name="connsiteX136" fmla="*/ 3716016 w 4940931"/>
                <a:gd name="connsiteY136" fmla="*/ 48260 h 138429"/>
                <a:gd name="connsiteX137" fmla="*/ 3712206 w 4940931"/>
                <a:gd name="connsiteY137" fmla="*/ 54610 h 138429"/>
                <a:gd name="connsiteX138" fmla="*/ 3710301 w 4940931"/>
                <a:gd name="connsiteY138" fmla="*/ 62865 h 138429"/>
                <a:gd name="connsiteX139" fmla="*/ 3746496 w 4940931"/>
                <a:gd name="connsiteY139" fmla="*/ 62865 h 138429"/>
                <a:gd name="connsiteX140" fmla="*/ 3745226 w 4940931"/>
                <a:gd name="connsiteY140" fmla="*/ 55245 h 138429"/>
                <a:gd name="connsiteX141" fmla="*/ 3742051 w 4940931"/>
                <a:gd name="connsiteY141" fmla="*/ 48895 h 138429"/>
                <a:gd name="connsiteX142" fmla="*/ 3736336 w 4940931"/>
                <a:gd name="connsiteY142" fmla="*/ 44450 h 138429"/>
                <a:gd name="connsiteX143" fmla="*/ 3728081 w 4940931"/>
                <a:gd name="connsiteY143" fmla="*/ 43180 h 138429"/>
                <a:gd name="connsiteX144" fmla="*/ 3541391 w 4940931"/>
                <a:gd name="connsiteY144" fmla="*/ 43180 h 138429"/>
                <a:gd name="connsiteX145" fmla="*/ 3534406 w 4940931"/>
                <a:gd name="connsiteY145" fmla="*/ 44450 h 138429"/>
                <a:gd name="connsiteX146" fmla="*/ 3529326 w 4940931"/>
                <a:gd name="connsiteY146" fmla="*/ 48260 h 138429"/>
                <a:gd name="connsiteX147" fmla="*/ 3525516 w 4940931"/>
                <a:gd name="connsiteY147" fmla="*/ 54610 h 138429"/>
                <a:gd name="connsiteX148" fmla="*/ 3523611 w 4940931"/>
                <a:gd name="connsiteY148" fmla="*/ 62865 h 138429"/>
                <a:gd name="connsiteX149" fmla="*/ 3559806 w 4940931"/>
                <a:gd name="connsiteY149" fmla="*/ 62865 h 138429"/>
                <a:gd name="connsiteX150" fmla="*/ 3558536 w 4940931"/>
                <a:gd name="connsiteY150" fmla="*/ 55245 h 138429"/>
                <a:gd name="connsiteX151" fmla="*/ 3555361 w 4940931"/>
                <a:gd name="connsiteY151" fmla="*/ 48895 h 138429"/>
                <a:gd name="connsiteX152" fmla="*/ 3549646 w 4940931"/>
                <a:gd name="connsiteY152" fmla="*/ 44450 h 138429"/>
                <a:gd name="connsiteX153" fmla="*/ 3541391 w 4940931"/>
                <a:gd name="connsiteY153" fmla="*/ 43180 h 138429"/>
                <a:gd name="connsiteX154" fmla="*/ 3463285 w 4940931"/>
                <a:gd name="connsiteY154" fmla="*/ 43180 h 138429"/>
                <a:gd name="connsiteX155" fmla="*/ 3458205 w 4940931"/>
                <a:gd name="connsiteY155" fmla="*/ 43815 h 138429"/>
                <a:gd name="connsiteX156" fmla="*/ 3453125 w 4940931"/>
                <a:gd name="connsiteY156" fmla="*/ 45720 h 138429"/>
                <a:gd name="connsiteX157" fmla="*/ 3448680 w 4940931"/>
                <a:gd name="connsiteY157" fmla="*/ 48895 h 138429"/>
                <a:gd name="connsiteX158" fmla="*/ 3445505 w 4940931"/>
                <a:gd name="connsiteY158" fmla="*/ 52705 h 138429"/>
                <a:gd name="connsiteX159" fmla="*/ 3445505 w 4940931"/>
                <a:gd name="connsiteY159" fmla="*/ 85725 h 138429"/>
                <a:gd name="connsiteX160" fmla="*/ 3448680 w 4940931"/>
                <a:gd name="connsiteY160" fmla="*/ 89535 h 138429"/>
                <a:gd name="connsiteX161" fmla="*/ 3453125 w 4940931"/>
                <a:gd name="connsiteY161" fmla="*/ 92710 h 138429"/>
                <a:gd name="connsiteX162" fmla="*/ 3458205 w 4940931"/>
                <a:gd name="connsiteY162" fmla="*/ 95250 h 138429"/>
                <a:gd name="connsiteX163" fmla="*/ 3463920 w 4940931"/>
                <a:gd name="connsiteY163" fmla="*/ 95885 h 138429"/>
                <a:gd name="connsiteX164" fmla="*/ 3476620 w 4940931"/>
                <a:gd name="connsiteY164" fmla="*/ 89535 h 138429"/>
                <a:gd name="connsiteX165" fmla="*/ 3481065 w 4940931"/>
                <a:gd name="connsiteY165" fmla="*/ 71120 h 138429"/>
                <a:gd name="connsiteX166" fmla="*/ 3480430 w 4940931"/>
                <a:gd name="connsiteY166" fmla="*/ 71755 h 138429"/>
                <a:gd name="connsiteX167" fmla="*/ 3475985 w 4940931"/>
                <a:gd name="connsiteY167" fmla="*/ 50165 h 138429"/>
                <a:gd name="connsiteX168" fmla="*/ 3463285 w 4940931"/>
                <a:gd name="connsiteY168" fmla="*/ 43180 h 138429"/>
                <a:gd name="connsiteX169" fmla="*/ 3343271 w 4940931"/>
                <a:gd name="connsiteY169" fmla="*/ 43180 h 138429"/>
                <a:gd name="connsiteX170" fmla="*/ 3336286 w 4940931"/>
                <a:gd name="connsiteY170" fmla="*/ 44450 h 138429"/>
                <a:gd name="connsiteX171" fmla="*/ 3331206 w 4940931"/>
                <a:gd name="connsiteY171" fmla="*/ 48260 h 138429"/>
                <a:gd name="connsiteX172" fmla="*/ 3327396 w 4940931"/>
                <a:gd name="connsiteY172" fmla="*/ 54610 h 138429"/>
                <a:gd name="connsiteX173" fmla="*/ 3325491 w 4940931"/>
                <a:gd name="connsiteY173" fmla="*/ 62865 h 138429"/>
                <a:gd name="connsiteX174" fmla="*/ 3361686 w 4940931"/>
                <a:gd name="connsiteY174" fmla="*/ 62865 h 138429"/>
                <a:gd name="connsiteX175" fmla="*/ 3360416 w 4940931"/>
                <a:gd name="connsiteY175" fmla="*/ 55245 h 138429"/>
                <a:gd name="connsiteX176" fmla="*/ 3357241 w 4940931"/>
                <a:gd name="connsiteY176" fmla="*/ 48895 h 138429"/>
                <a:gd name="connsiteX177" fmla="*/ 3351526 w 4940931"/>
                <a:gd name="connsiteY177" fmla="*/ 44450 h 138429"/>
                <a:gd name="connsiteX178" fmla="*/ 3343271 w 4940931"/>
                <a:gd name="connsiteY178" fmla="*/ 43180 h 138429"/>
                <a:gd name="connsiteX179" fmla="*/ 2976876 w 4940931"/>
                <a:gd name="connsiteY179" fmla="*/ 43180 h 138429"/>
                <a:gd name="connsiteX180" fmla="*/ 2969891 w 4940931"/>
                <a:gd name="connsiteY180" fmla="*/ 44450 h 138429"/>
                <a:gd name="connsiteX181" fmla="*/ 2964811 w 4940931"/>
                <a:gd name="connsiteY181" fmla="*/ 48260 h 138429"/>
                <a:gd name="connsiteX182" fmla="*/ 2961001 w 4940931"/>
                <a:gd name="connsiteY182" fmla="*/ 54610 h 138429"/>
                <a:gd name="connsiteX183" fmla="*/ 2959096 w 4940931"/>
                <a:gd name="connsiteY183" fmla="*/ 62865 h 138429"/>
                <a:gd name="connsiteX184" fmla="*/ 2995291 w 4940931"/>
                <a:gd name="connsiteY184" fmla="*/ 62865 h 138429"/>
                <a:gd name="connsiteX185" fmla="*/ 2994021 w 4940931"/>
                <a:gd name="connsiteY185" fmla="*/ 55245 h 138429"/>
                <a:gd name="connsiteX186" fmla="*/ 2990846 w 4940931"/>
                <a:gd name="connsiteY186" fmla="*/ 48895 h 138429"/>
                <a:gd name="connsiteX187" fmla="*/ 2985131 w 4940931"/>
                <a:gd name="connsiteY187" fmla="*/ 44450 h 138429"/>
                <a:gd name="connsiteX188" fmla="*/ 2976876 w 4940931"/>
                <a:gd name="connsiteY188" fmla="*/ 43180 h 138429"/>
                <a:gd name="connsiteX189" fmla="*/ 2527930 w 4940931"/>
                <a:gd name="connsiteY189" fmla="*/ 43180 h 138429"/>
                <a:gd name="connsiteX190" fmla="*/ 2520945 w 4940931"/>
                <a:gd name="connsiteY190" fmla="*/ 44450 h 138429"/>
                <a:gd name="connsiteX191" fmla="*/ 2515865 w 4940931"/>
                <a:gd name="connsiteY191" fmla="*/ 48260 h 138429"/>
                <a:gd name="connsiteX192" fmla="*/ 2512055 w 4940931"/>
                <a:gd name="connsiteY192" fmla="*/ 54610 h 138429"/>
                <a:gd name="connsiteX193" fmla="*/ 2510150 w 4940931"/>
                <a:gd name="connsiteY193" fmla="*/ 62865 h 138429"/>
                <a:gd name="connsiteX194" fmla="*/ 2546345 w 4940931"/>
                <a:gd name="connsiteY194" fmla="*/ 62865 h 138429"/>
                <a:gd name="connsiteX195" fmla="*/ 2545075 w 4940931"/>
                <a:gd name="connsiteY195" fmla="*/ 55245 h 138429"/>
                <a:gd name="connsiteX196" fmla="*/ 2541900 w 4940931"/>
                <a:gd name="connsiteY196" fmla="*/ 48895 h 138429"/>
                <a:gd name="connsiteX197" fmla="*/ 2536185 w 4940931"/>
                <a:gd name="connsiteY197" fmla="*/ 44450 h 138429"/>
                <a:gd name="connsiteX198" fmla="*/ 2527930 w 4940931"/>
                <a:gd name="connsiteY198" fmla="*/ 43180 h 138429"/>
                <a:gd name="connsiteX199" fmla="*/ 2214240 w 4940931"/>
                <a:gd name="connsiteY199" fmla="*/ 43180 h 138429"/>
                <a:gd name="connsiteX200" fmla="*/ 2207255 w 4940931"/>
                <a:gd name="connsiteY200" fmla="*/ 44450 h 138429"/>
                <a:gd name="connsiteX201" fmla="*/ 2202175 w 4940931"/>
                <a:gd name="connsiteY201" fmla="*/ 48260 h 138429"/>
                <a:gd name="connsiteX202" fmla="*/ 2198365 w 4940931"/>
                <a:gd name="connsiteY202" fmla="*/ 54610 h 138429"/>
                <a:gd name="connsiteX203" fmla="*/ 2196460 w 4940931"/>
                <a:gd name="connsiteY203" fmla="*/ 62865 h 138429"/>
                <a:gd name="connsiteX204" fmla="*/ 2232655 w 4940931"/>
                <a:gd name="connsiteY204" fmla="*/ 62865 h 138429"/>
                <a:gd name="connsiteX205" fmla="*/ 2231385 w 4940931"/>
                <a:gd name="connsiteY205" fmla="*/ 55245 h 138429"/>
                <a:gd name="connsiteX206" fmla="*/ 2228210 w 4940931"/>
                <a:gd name="connsiteY206" fmla="*/ 48895 h 138429"/>
                <a:gd name="connsiteX207" fmla="*/ 2222495 w 4940931"/>
                <a:gd name="connsiteY207" fmla="*/ 44450 h 138429"/>
                <a:gd name="connsiteX208" fmla="*/ 2214240 w 4940931"/>
                <a:gd name="connsiteY208" fmla="*/ 43180 h 138429"/>
                <a:gd name="connsiteX209" fmla="*/ 2027551 w 4940931"/>
                <a:gd name="connsiteY209" fmla="*/ 43180 h 138429"/>
                <a:gd name="connsiteX210" fmla="*/ 2020566 w 4940931"/>
                <a:gd name="connsiteY210" fmla="*/ 44450 h 138429"/>
                <a:gd name="connsiteX211" fmla="*/ 2015486 w 4940931"/>
                <a:gd name="connsiteY211" fmla="*/ 48260 h 138429"/>
                <a:gd name="connsiteX212" fmla="*/ 2011676 w 4940931"/>
                <a:gd name="connsiteY212" fmla="*/ 54610 h 138429"/>
                <a:gd name="connsiteX213" fmla="*/ 2009771 w 4940931"/>
                <a:gd name="connsiteY213" fmla="*/ 62865 h 138429"/>
                <a:gd name="connsiteX214" fmla="*/ 2045966 w 4940931"/>
                <a:gd name="connsiteY214" fmla="*/ 62865 h 138429"/>
                <a:gd name="connsiteX215" fmla="*/ 2044696 w 4940931"/>
                <a:gd name="connsiteY215" fmla="*/ 55245 h 138429"/>
                <a:gd name="connsiteX216" fmla="*/ 2041521 w 4940931"/>
                <a:gd name="connsiteY216" fmla="*/ 48895 h 138429"/>
                <a:gd name="connsiteX217" fmla="*/ 2035806 w 4940931"/>
                <a:gd name="connsiteY217" fmla="*/ 44450 h 138429"/>
                <a:gd name="connsiteX218" fmla="*/ 2027551 w 4940931"/>
                <a:gd name="connsiteY218" fmla="*/ 43180 h 138429"/>
                <a:gd name="connsiteX219" fmla="*/ 1949445 w 4940931"/>
                <a:gd name="connsiteY219" fmla="*/ 43180 h 138429"/>
                <a:gd name="connsiteX220" fmla="*/ 1944365 w 4940931"/>
                <a:gd name="connsiteY220" fmla="*/ 43815 h 138429"/>
                <a:gd name="connsiteX221" fmla="*/ 1939285 w 4940931"/>
                <a:gd name="connsiteY221" fmla="*/ 45720 h 138429"/>
                <a:gd name="connsiteX222" fmla="*/ 1934840 w 4940931"/>
                <a:gd name="connsiteY222" fmla="*/ 48895 h 138429"/>
                <a:gd name="connsiteX223" fmla="*/ 1931665 w 4940931"/>
                <a:gd name="connsiteY223" fmla="*/ 52705 h 138429"/>
                <a:gd name="connsiteX224" fmla="*/ 1931665 w 4940931"/>
                <a:gd name="connsiteY224" fmla="*/ 85725 h 138429"/>
                <a:gd name="connsiteX225" fmla="*/ 1934840 w 4940931"/>
                <a:gd name="connsiteY225" fmla="*/ 89535 h 138429"/>
                <a:gd name="connsiteX226" fmla="*/ 1939285 w 4940931"/>
                <a:gd name="connsiteY226" fmla="*/ 92710 h 138429"/>
                <a:gd name="connsiteX227" fmla="*/ 1944365 w 4940931"/>
                <a:gd name="connsiteY227" fmla="*/ 95250 h 138429"/>
                <a:gd name="connsiteX228" fmla="*/ 1950080 w 4940931"/>
                <a:gd name="connsiteY228" fmla="*/ 95885 h 138429"/>
                <a:gd name="connsiteX229" fmla="*/ 1962780 w 4940931"/>
                <a:gd name="connsiteY229" fmla="*/ 89535 h 138429"/>
                <a:gd name="connsiteX230" fmla="*/ 1967225 w 4940931"/>
                <a:gd name="connsiteY230" fmla="*/ 71120 h 138429"/>
                <a:gd name="connsiteX231" fmla="*/ 1966590 w 4940931"/>
                <a:gd name="connsiteY231" fmla="*/ 71755 h 138429"/>
                <a:gd name="connsiteX232" fmla="*/ 1962145 w 4940931"/>
                <a:gd name="connsiteY232" fmla="*/ 50165 h 138429"/>
                <a:gd name="connsiteX233" fmla="*/ 1949445 w 4940931"/>
                <a:gd name="connsiteY233" fmla="*/ 43180 h 138429"/>
                <a:gd name="connsiteX234" fmla="*/ 1829431 w 4940931"/>
                <a:gd name="connsiteY234" fmla="*/ 43180 h 138429"/>
                <a:gd name="connsiteX235" fmla="*/ 1822446 w 4940931"/>
                <a:gd name="connsiteY235" fmla="*/ 44450 h 138429"/>
                <a:gd name="connsiteX236" fmla="*/ 1817366 w 4940931"/>
                <a:gd name="connsiteY236" fmla="*/ 48260 h 138429"/>
                <a:gd name="connsiteX237" fmla="*/ 1813556 w 4940931"/>
                <a:gd name="connsiteY237" fmla="*/ 54610 h 138429"/>
                <a:gd name="connsiteX238" fmla="*/ 1811651 w 4940931"/>
                <a:gd name="connsiteY238" fmla="*/ 62865 h 138429"/>
                <a:gd name="connsiteX239" fmla="*/ 1847846 w 4940931"/>
                <a:gd name="connsiteY239" fmla="*/ 62865 h 138429"/>
                <a:gd name="connsiteX240" fmla="*/ 1846576 w 4940931"/>
                <a:gd name="connsiteY240" fmla="*/ 55245 h 138429"/>
                <a:gd name="connsiteX241" fmla="*/ 1843401 w 4940931"/>
                <a:gd name="connsiteY241" fmla="*/ 48895 h 138429"/>
                <a:gd name="connsiteX242" fmla="*/ 1837686 w 4940931"/>
                <a:gd name="connsiteY242" fmla="*/ 44450 h 138429"/>
                <a:gd name="connsiteX243" fmla="*/ 1829431 w 4940931"/>
                <a:gd name="connsiteY243" fmla="*/ 43180 h 138429"/>
                <a:gd name="connsiteX244" fmla="*/ 1178561 w 4940931"/>
                <a:gd name="connsiteY244" fmla="*/ 43180 h 138429"/>
                <a:gd name="connsiteX245" fmla="*/ 1171576 w 4940931"/>
                <a:gd name="connsiteY245" fmla="*/ 44450 h 138429"/>
                <a:gd name="connsiteX246" fmla="*/ 1166496 w 4940931"/>
                <a:gd name="connsiteY246" fmla="*/ 48260 h 138429"/>
                <a:gd name="connsiteX247" fmla="*/ 1162686 w 4940931"/>
                <a:gd name="connsiteY247" fmla="*/ 54610 h 138429"/>
                <a:gd name="connsiteX248" fmla="*/ 1160781 w 4940931"/>
                <a:gd name="connsiteY248" fmla="*/ 62865 h 138429"/>
                <a:gd name="connsiteX249" fmla="*/ 1196976 w 4940931"/>
                <a:gd name="connsiteY249" fmla="*/ 62865 h 138429"/>
                <a:gd name="connsiteX250" fmla="*/ 1195706 w 4940931"/>
                <a:gd name="connsiteY250" fmla="*/ 55245 h 138429"/>
                <a:gd name="connsiteX251" fmla="*/ 1192531 w 4940931"/>
                <a:gd name="connsiteY251" fmla="*/ 48895 h 138429"/>
                <a:gd name="connsiteX252" fmla="*/ 1186816 w 4940931"/>
                <a:gd name="connsiteY252" fmla="*/ 44450 h 138429"/>
                <a:gd name="connsiteX253" fmla="*/ 1178561 w 4940931"/>
                <a:gd name="connsiteY253" fmla="*/ 43180 h 138429"/>
                <a:gd name="connsiteX254" fmla="*/ 898525 w 4940931"/>
                <a:gd name="connsiteY254" fmla="*/ 43180 h 138429"/>
                <a:gd name="connsiteX255" fmla="*/ 891540 w 4940931"/>
                <a:gd name="connsiteY255" fmla="*/ 44450 h 138429"/>
                <a:gd name="connsiteX256" fmla="*/ 886460 w 4940931"/>
                <a:gd name="connsiteY256" fmla="*/ 48260 h 138429"/>
                <a:gd name="connsiteX257" fmla="*/ 882650 w 4940931"/>
                <a:gd name="connsiteY257" fmla="*/ 54610 h 138429"/>
                <a:gd name="connsiteX258" fmla="*/ 880745 w 4940931"/>
                <a:gd name="connsiteY258" fmla="*/ 62865 h 138429"/>
                <a:gd name="connsiteX259" fmla="*/ 916940 w 4940931"/>
                <a:gd name="connsiteY259" fmla="*/ 62865 h 138429"/>
                <a:gd name="connsiteX260" fmla="*/ 915670 w 4940931"/>
                <a:gd name="connsiteY260" fmla="*/ 55245 h 138429"/>
                <a:gd name="connsiteX261" fmla="*/ 912495 w 4940931"/>
                <a:gd name="connsiteY261" fmla="*/ 48895 h 138429"/>
                <a:gd name="connsiteX262" fmla="*/ 906780 w 4940931"/>
                <a:gd name="connsiteY262" fmla="*/ 44450 h 138429"/>
                <a:gd name="connsiteX263" fmla="*/ 898525 w 4940931"/>
                <a:gd name="connsiteY263" fmla="*/ 43180 h 138429"/>
                <a:gd name="connsiteX264" fmla="*/ 584834 w 4940931"/>
                <a:gd name="connsiteY264" fmla="*/ 43180 h 138429"/>
                <a:gd name="connsiteX265" fmla="*/ 577849 w 4940931"/>
                <a:gd name="connsiteY265" fmla="*/ 44450 h 138429"/>
                <a:gd name="connsiteX266" fmla="*/ 572769 w 4940931"/>
                <a:gd name="connsiteY266" fmla="*/ 48260 h 138429"/>
                <a:gd name="connsiteX267" fmla="*/ 568959 w 4940931"/>
                <a:gd name="connsiteY267" fmla="*/ 54610 h 138429"/>
                <a:gd name="connsiteX268" fmla="*/ 567054 w 4940931"/>
                <a:gd name="connsiteY268" fmla="*/ 62865 h 138429"/>
                <a:gd name="connsiteX269" fmla="*/ 603249 w 4940931"/>
                <a:gd name="connsiteY269" fmla="*/ 62865 h 138429"/>
                <a:gd name="connsiteX270" fmla="*/ 601979 w 4940931"/>
                <a:gd name="connsiteY270" fmla="*/ 55245 h 138429"/>
                <a:gd name="connsiteX271" fmla="*/ 598804 w 4940931"/>
                <a:gd name="connsiteY271" fmla="*/ 48895 h 138429"/>
                <a:gd name="connsiteX272" fmla="*/ 593089 w 4940931"/>
                <a:gd name="connsiteY272" fmla="*/ 44450 h 138429"/>
                <a:gd name="connsiteX273" fmla="*/ 584834 w 4940931"/>
                <a:gd name="connsiteY273" fmla="*/ 43180 h 138429"/>
                <a:gd name="connsiteX274" fmla="*/ 398145 w 4940931"/>
                <a:gd name="connsiteY274" fmla="*/ 43180 h 138429"/>
                <a:gd name="connsiteX275" fmla="*/ 391160 w 4940931"/>
                <a:gd name="connsiteY275" fmla="*/ 44450 h 138429"/>
                <a:gd name="connsiteX276" fmla="*/ 386080 w 4940931"/>
                <a:gd name="connsiteY276" fmla="*/ 48260 h 138429"/>
                <a:gd name="connsiteX277" fmla="*/ 382270 w 4940931"/>
                <a:gd name="connsiteY277" fmla="*/ 54610 h 138429"/>
                <a:gd name="connsiteX278" fmla="*/ 380365 w 4940931"/>
                <a:gd name="connsiteY278" fmla="*/ 62865 h 138429"/>
                <a:gd name="connsiteX279" fmla="*/ 416560 w 4940931"/>
                <a:gd name="connsiteY279" fmla="*/ 62865 h 138429"/>
                <a:gd name="connsiteX280" fmla="*/ 415290 w 4940931"/>
                <a:gd name="connsiteY280" fmla="*/ 55245 h 138429"/>
                <a:gd name="connsiteX281" fmla="*/ 412115 w 4940931"/>
                <a:gd name="connsiteY281" fmla="*/ 48895 h 138429"/>
                <a:gd name="connsiteX282" fmla="*/ 406400 w 4940931"/>
                <a:gd name="connsiteY282" fmla="*/ 44450 h 138429"/>
                <a:gd name="connsiteX283" fmla="*/ 398145 w 4940931"/>
                <a:gd name="connsiteY283" fmla="*/ 43180 h 138429"/>
                <a:gd name="connsiteX284" fmla="*/ 320039 w 4940931"/>
                <a:gd name="connsiteY284" fmla="*/ 43180 h 138429"/>
                <a:gd name="connsiteX285" fmla="*/ 314959 w 4940931"/>
                <a:gd name="connsiteY285" fmla="*/ 43815 h 138429"/>
                <a:gd name="connsiteX286" fmla="*/ 309879 w 4940931"/>
                <a:gd name="connsiteY286" fmla="*/ 45720 h 138429"/>
                <a:gd name="connsiteX287" fmla="*/ 305434 w 4940931"/>
                <a:gd name="connsiteY287" fmla="*/ 48895 h 138429"/>
                <a:gd name="connsiteX288" fmla="*/ 302259 w 4940931"/>
                <a:gd name="connsiteY288" fmla="*/ 52705 h 138429"/>
                <a:gd name="connsiteX289" fmla="*/ 302259 w 4940931"/>
                <a:gd name="connsiteY289" fmla="*/ 85725 h 138429"/>
                <a:gd name="connsiteX290" fmla="*/ 305434 w 4940931"/>
                <a:gd name="connsiteY290" fmla="*/ 89535 h 138429"/>
                <a:gd name="connsiteX291" fmla="*/ 309879 w 4940931"/>
                <a:gd name="connsiteY291" fmla="*/ 92710 h 138429"/>
                <a:gd name="connsiteX292" fmla="*/ 314959 w 4940931"/>
                <a:gd name="connsiteY292" fmla="*/ 95250 h 138429"/>
                <a:gd name="connsiteX293" fmla="*/ 320674 w 4940931"/>
                <a:gd name="connsiteY293" fmla="*/ 95885 h 138429"/>
                <a:gd name="connsiteX294" fmla="*/ 333374 w 4940931"/>
                <a:gd name="connsiteY294" fmla="*/ 89535 h 138429"/>
                <a:gd name="connsiteX295" fmla="*/ 337819 w 4940931"/>
                <a:gd name="connsiteY295" fmla="*/ 71120 h 138429"/>
                <a:gd name="connsiteX296" fmla="*/ 337184 w 4940931"/>
                <a:gd name="connsiteY296" fmla="*/ 71755 h 138429"/>
                <a:gd name="connsiteX297" fmla="*/ 332739 w 4940931"/>
                <a:gd name="connsiteY297" fmla="*/ 50165 h 138429"/>
                <a:gd name="connsiteX298" fmla="*/ 320039 w 4940931"/>
                <a:gd name="connsiteY298" fmla="*/ 43180 h 138429"/>
                <a:gd name="connsiteX299" fmla="*/ 200025 w 4940931"/>
                <a:gd name="connsiteY299" fmla="*/ 43180 h 138429"/>
                <a:gd name="connsiteX300" fmla="*/ 193040 w 4940931"/>
                <a:gd name="connsiteY300" fmla="*/ 44450 h 138429"/>
                <a:gd name="connsiteX301" fmla="*/ 187960 w 4940931"/>
                <a:gd name="connsiteY301" fmla="*/ 48260 h 138429"/>
                <a:gd name="connsiteX302" fmla="*/ 184150 w 4940931"/>
                <a:gd name="connsiteY302" fmla="*/ 54610 h 138429"/>
                <a:gd name="connsiteX303" fmla="*/ 182245 w 4940931"/>
                <a:gd name="connsiteY303" fmla="*/ 62865 h 138429"/>
                <a:gd name="connsiteX304" fmla="*/ 218440 w 4940931"/>
                <a:gd name="connsiteY304" fmla="*/ 62865 h 138429"/>
                <a:gd name="connsiteX305" fmla="*/ 217170 w 4940931"/>
                <a:gd name="connsiteY305" fmla="*/ 55245 h 138429"/>
                <a:gd name="connsiteX306" fmla="*/ 213995 w 4940931"/>
                <a:gd name="connsiteY306" fmla="*/ 48895 h 138429"/>
                <a:gd name="connsiteX307" fmla="*/ 208280 w 4940931"/>
                <a:gd name="connsiteY307" fmla="*/ 44450 h 138429"/>
                <a:gd name="connsiteX308" fmla="*/ 200025 w 4940931"/>
                <a:gd name="connsiteY308" fmla="*/ 43180 h 138429"/>
                <a:gd name="connsiteX309" fmla="*/ 4439281 w 4940931"/>
                <a:gd name="connsiteY309" fmla="*/ 43179 h 138429"/>
                <a:gd name="connsiteX310" fmla="*/ 4426581 w 4940931"/>
                <a:gd name="connsiteY310" fmla="*/ 49529 h 138429"/>
                <a:gd name="connsiteX311" fmla="*/ 4422136 w 4940931"/>
                <a:gd name="connsiteY311" fmla="*/ 67944 h 138429"/>
                <a:gd name="connsiteX312" fmla="*/ 4423406 w 4940931"/>
                <a:gd name="connsiteY312" fmla="*/ 80644 h 138429"/>
                <a:gd name="connsiteX313" fmla="*/ 4426581 w 4940931"/>
                <a:gd name="connsiteY313" fmla="*/ 89534 h 138429"/>
                <a:gd name="connsiteX314" fmla="*/ 4432296 w 4940931"/>
                <a:gd name="connsiteY314" fmla="*/ 94614 h 138429"/>
                <a:gd name="connsiteX315" fmla="*/ 4439916 w 4940931"/>
                <a:gd name="connsiteY315" fmla="*/ 96519 h 138429"/>
                <a:gd name="connsiteX316" fmla="*/ 4444996 w 4940931"/>
                <a:gd name="connsiteY316" fmla="*/ 95884 h 138429"/>
                <a:gd name="connsiteX317" fmla="*/ 4450076 w 4940931"/>
                <a:gd name="connsiteY317" fmla="*/ 93344 h 138429"/>
                <a:gd name="connsiteX318" fmla="*/ 4454521 w 4940931"/>
                <a:gd name="connsiteY318" fmla="*/ 90169 h 138429"/>
                <a:gd name="connsiteX319" fmla="*/ 4457696 w 4940931"/>
                <a:gd name="connsiteY319" fmla="*/ 86359 h 138429"/>
                <a:gd name="connsiteX320" fmla="*/ 4457696 w 4940931"/>
                <a:gd name="connsiteY320" fmla="*/ 53339 h 138429"/>
                <a:gd name="connsiteX321" fmla="*/ 4454521 w 4940931"/>
                <a:gd name="connsiteY321" fmla="*/ 49529 h 138429"/>
                <a:gd name="connsiteX322" fmla="*/ 4450076 w 4940931"/>
                <a:gd name="connsiteY322" fmla="*/ 46354 h 138429"/>
                <a:gd name="connsiteX323" fmla="*/ 4444996 w 4940931"/>
                <a:gd name="connsiteY323" fmla="*/ 43814 h 138429"/>
                <a:gd name="connsiteX324" fmla="*/ 4439281 w 4940931"/>
                <a:gd name="connsiteY324" fmla="*/ 43179 h 138429"/>
                <a:gd name="connsiteX325" fmla="*/ 1014731 w 4940931"/>
                <a:gd name="connsiteY325" fmla="*/ 43179 h 138429"/>
                <a:gd name="connsiteX326" fmla="*/ 1002032 w 4940931"/>
                <a:gd name="connsiteY326" fmla="*/ 49529 h 138429"/>
                <a:gd name="connsiteX327" fmla="*/ 997587 w 4940931"/>
                <a:gd name="connsiteY327" fmla="*/ 67944 h 138429"/>
                <a:gd name="connsiteX328" fmla="*/ 1002032 w 4940931"/>
                <a:gd name="connsiteY328" fmla="*/ 88899 h 138429"/>
                <a:gd name="connsiteX329" fmla="*/ 1015367 w 4940931"/>
                <a:gd name="connsiteY329" fmla="*/ 95884 h 138429"/>
                <a:gd name="connsiteX330" fmla="*/ 1024891 w 4940931"/>
                <a:gd name="connsiteY330" fmla="*/ 93344 h 138429"/>
                <a:gd name="connsiteX331" fmla="*/ 1033147 w 4940931"/>
                <a:gd name="connsiteY331" fmla="*/ 86359 h 138429"/>
                <a:gd name="connsiteX332" fmla="*/ 1033147 w 4940931"/>
                <a:gd name="connsiteY332" fmla="*/ 53339 h 138429"/>
                <a:gd name="connsiteX333" fmla="*/ 1029971 w 4940931"/>
                <a:gd name="connsiteY333" fmla="*/ 49529 h 138429"/>
                <a:gd name="connsiteX334" fmla="*/ 1025526 w 4940931"/>
                <a:gd name="connsiteY334" fmla="*/ 46354 h 138429"/>
                <a:gd name="connsiteX335" fmla="*/ 1020446 w 4940931"/>
                <a:gd name="connsiteY335" fmla="*/ 43814 h 138429"/>
                <a:gd name="connsiteX336" fmla="*/ 1014731 w 4940931"/>
                <a:gd name="connsiteY336" fmla="*/ 43179 h 138429"/>
                <a:gd name="connsiteX337" fmla="*/ 4524370 w 4940931"/>
                <a:gd name="connsiteY337" fmla="*/ 31114 h 138429"/>
                <a:gd name="connsiteX338" fmla="*/ 4538975 w 4940931"/>
                <a:gd name="connsiteY338" fmla="*/ 31114 h 138429"/>
                <a:gd name="connsiteX339" fmla="*/ 4552310 w 4940931"/>
                <a:gd name="connsiteY339" fmla="*/ 84454 h 138429"/>
                <a:gd name="connsiteX340" fmla="*/ 4566915 w 4940931"/>
                <a:gd name="connsiteY340" fmla="*/ 31114 h 138429"/>
                <a:gd name="connsiteX341" fmla="*/ 4579615 w 4940931"/>
                <a:gd name="connsiteY341" fmla="*/ 31114 h 138429"/>
                <a:gd name="connsiteX342" fmla="*/ 4594220 w 4940931"/>
                <a:gd name="connsiteY342" fmla="*/ 84454 h 138429"/>
                <a:gd name="connsiteX343" fmla="*/ 4606920 w 4940931"/>
                <a:gd name="connsiteY343" fmla="*/ 31114 h 138429"/>
                <a:gd name="connsiteX344" fmla="*/ 4622160 w 4940931"/>
                <a:gd name="connsiteY344" fmla="*/ 31114 h 138429"/>
                <a:gd name="connsiteX345" fmla="*/ 4600570 w 4940931"/>
                <a:gd name="connsiteY345" fmla="*/ 108584 h 138429"/>
                <a:gd name="connsiteX346" fmla="*/ 4587235 w 4940931"/>
                <a:gd name="connsiteY346" fmla="*/ 108584 h 138429"/>
                <a:gd name="connsiteX347" fmla="*/ 4572630 w 4940931"/>
                <a:gd name="connsiteY347" fmla="*/ 54609 h 138429"/>
                <a:gd name="connsiteX348" fmla="*/ 4558660 w 4940931"/>
                <a:gd name="connsiteY348" fmla="*/ 108584 h 138429"/>
                <a:gd name="connsiteX349" fmla="*/ 4545325 w 4940931"/>
                <a:gd name="connsiteY349" fmla="*/ 108584 h 138429"/>
                <a:gd name="connsiteX350" fmla="*/ 4123686 w 4940931"/>
                <a:gd name="connsiteY350" fmla="*/ 31114 h 138429"/>
                <a:gd name="connsiteX351" fmla="*/ 4138926 w 4940931"/>
                <a:gd name="connsiteY351" fmla="*/ 31114 h 138429"/>
                <a:gd name="connsiteX352" fmla="*/ 4152261 w 4940931"/>
                <a:gd name="connsiteY352" fmla="*/ 84454 h 138429"/>
                <a:gd name="connsiteX353" fmla="*/ 4166866 w 4940931"/>
                <a:gd name="connsiteY353" fmla="*/ 31114 h 138429"/>
                <a:gd name="connsiteX354" fmla="*/ 4178931 w 4940931"/>
                <a:gd name="connsiteY354" fmla="*/ 31114 h 138429"/>
                <a:gd name="connsiteX355" fmla="*/ 4193536 w 4940931"/>
                <a:gd name="connsiteY355" fmla="*/ 84454 h 138429"/>
                <a:gd name="connsiteX356" fmla="*/ 4206871 w 4940931"/>
                <a:gd name="connsiteY356" fmla="*/ 31114 h 138429"/>
                <a:gd name="connsiteX357" fmla="*/ 4222111 w 4940931"/>
                <a:gd name="connsiteY357" fmla="*/ 31114 h 138429"/>
                <a:gd name="connsiteX358" fmla="*/ 4200521 w 4940931"/>
                <a:gd name="connsiteY358" fmla="*/ 108584 h 138429"/>
                <a:gd name="connsiteX359" fmla="*/ 4187186 w 4940931"/>
                <a:gd name="connsiteY359" fmla="*/ 108584 h 138429"/>
                <a:gd name="connsiteX360" fmla="*/ 4172581 w 4940931"/>
                <a:gd name="connsiteY360" fmla="*/ 54609 h 138429"/>
                <a:gd name="connsiteX361" fmla="*/ 4157976 w 4940931"/>
                <a:gd name="connsiteY361" fmla="*/ 108584 h 138429"/>
                <a:gd name="connsiteX362" fmla="*/ 4145276 w 4940931"/>
                <a:gd name="connsiteY362" fmla="*/ 108584 h 138429"/>
                <a:gd name="connsiteX363" fmla="*/ 2837811 w 4940931"/>
                <a:gd name="connsiteY363" fmla="*/ 31114 h 138429"/>
                <a:gd name="connsiteX364" fmla="*/ 2852416 w 4940931"/>
                <a:gd name="connsiteY364" fmla="*/ 31114 h 138429"/>
                <a:gd name="connsiteX365" fmla="*/ 2865751 w 4940931"/>
                <a:gd name="connsiteY365" fmla="*/ 84454 h 138429"/>
                <a:gd name="connsiteX366" fmla="*/ 2880356 w 4940931"/>
                <a:gd name="connsiteY366" fmla="*/ 31114 h 138429"/>
                <a:gd name="connsiteX367" fmla="*/ 2893056 w 4940931"/>
                <a:gd name="connsiteY367" fmla="*/ 31114 h 138429"/>
                <a:gd name="connsiteX368" fmla="*/ 2907661 w 4940931"/>
                <a:gd name="connsiteY368" fmla="*/ 84454 h 138429"/>
                <a:gd name="connsiteX369" fmla="*/ 2920361 w 4940931"/>
                <a:gd name="connsiteY369" fmla="*/ 31114 h 138429"/>
                <a:gd name="connsiteX370" fmla="*/ 2935601 w 4940931"/>
                <a:gd name="connsiteY370" fmla="*/ 31114 h 138429"/>
                <a:gd name="connsiteX371" fmla="*/ 2914011 w 4940931"/>
                <a:gd name="connsiteY371" fmla="*/ 108584 h 138429"/>
                <a:gd name="connsiteX372" fmla="*/ 2900676 w 4940931"/>
                <a:gd name="connsiteY372" fmla="*/ 108584 h 138429"/>
                <a:gd name="connsiteX373" fmla="*/ 2886706 w 4940931"/>
                <a:gd name="connsiteY373" fmla="*/ 54609 h 138429"/>
                <a:gd name="connsiteX374" fmla="*/ 2872101 w 4940931"/>
                <a:gd name="connsiteY374" fmla="*/ 108584 h 138429"/>
                <a:gd name="connsiteX375" fmla="*/ 2858766 w 4940931"/>
                <a:gd name="connsiteY375" fmla="*/ 108584 h 138429"/>
                <a:gd name="connsiteX376" fmla="*/ 1354455 w 4940931"/>
                <a:gd name="connsiteY376" fmla="*/ 31114 h 138429"/>
                <a:gd name="connsiteX377" fmla="*/ 1369695 w 4940931"/>
                <a:gd name="connsiteY377" fmla="*/ 31114 h 138429"/>
                <a:gd name="connsiteX378" fmla="*/ 1369695 w 4940931"/>
                <a:gd name="connsiteY378" fmla="*/ 109219 h 138429"/>
                <a:gd name="connsiteX379" fmla="*/ 1354455 w 4940931"/>
                <a:gd name="connsiteY379" fmla="*/ 109219 h 138429"/>
                <a:gd name="connsiteX380" fmla="*/ 2646040 w 4940931"/>
                <a:gd name="connsiteY380" fmla="*/ 29844 h 138429"/>
                <a:gd name="connsiteX381" fmla="*/ 2658105 w 4940931"/>
                <a:gd name="connsiteY381" fmla="*/ 31749 h 138429"/>
                <a:gd name="connsiteX382" fmla="*/ 2667630 w 4940931"/>
                <a:gd name="connsiteY382" fmla="*/ 36829 h 138429"/>
                <a:gd name="connsiteX383" fmla="*/ 2673345 w 4940931"/>
                <a:gd name="connsiteY383" fmla="*/ 45084 h 138429"/>
                <a:gd name="connsiteX384" fmla="*/ 2675250 w 4940931"/>
                <a:gd name="connsiteY384" fmla="*/ 56514 h 138429"/>
                <a:gd name="connsiteX385" fmla="*/ 2675250 w 4940931"/>
                <a:gd name="connsiteY385" fmla="*/ 109854 h 138429"/>
                <a:gd name="connsiteX386" fmla="*/ 2660010 w 4940931"/>
                <a:gd name="connsiteY386" fmla="*/ 109854 h 138429"/>
                <a:gd name="connsiteX387" fmla="*/ 2660010 w 4940931"/>
                <a:gd name="connsiteY387" fmla="*/ 108584 h 138429"/>
                <a:gd name="connsiteX388" fmla="*/ 2660010 w 4940931"/>
                <a:gd name="connsiteY388" fmla="*/ 100964 h 138429"/>
                <a:gd name="connsiteX389" fmla="*/ 2654930 w 4940931"/>
                <a:gd name="connsiteY389" fmla="*/ 104774 h 138429"/>
                <a:gd name="connsiteX390" fmla="*/ 2651120 w 4940931"/>
                <a:gd name="connsiteY390" fmla="*/ 107314 h 138429"/>
                <a:gd name="connsiteX391" fmla="*/ 2646040 w 4940931"/>
                <a:gd name="connsiteY391" fmla="*/ 109219 h 138429"/>
                <a:gd name="connsiteX392" fmla="*/ 2639055 w 4940931"/>
                <a:gd name="connsiteY392" fmla="*/ 109854 h 138429"/>
                <a:gd name="connsiteX393" fmla="*/ 2629530 w 4940931"/>
                <a:gd name="connsiteY393" fmla="*/ 108584 h 138429"/>
                <a:gd name="connsiteX394" fmla="*/ 2620640 w 4940931"/>
                <a:gd name="connsiteY394" fmla="*/ 104139 h 138429"/>
                <a:gd name="connsiteX395" fmla="*/ 2614290 w 4940931"/>
                <a:gd name="connsiteY395" fmla="*/ 95884 h 138429"/>
                <a:gd name="connsiteX396" fmla="*/ 2611750 w 4940931"/>
                <a:gd name="connsiteY396" fmla="*/ 83819 h 138429"/>
                <a:gd name="connsiteX397" fmla="*/ 2614290 w 4940931"/>
                <a:gd name="connsiteY397" fmla="*/ 72389 h 138429"/>
                <a:gd name="connsiteX398" fmla="*/ 2620640 w 4940931"/>
                <a:gd name="connsiteY398" fmla="*/ 64769 h 138429"/>
                <a:gd name="connsiteX399" fmla="*/ 2630800 w 4940931"/>
                <a:gd name="connsiteY399" fmla="*/ 60324 h 138429"/>
                <a:gd name="connsiteX400" fmla="*/ 2642865 w 4940931"/>
                <a:gd name="connsiteY400" fmla="*/ 59054 h 138429"/>
                <a:gd name="connsiteX401" fmla="*/ 2653025 w 4940931"/>
                <a:gd name="connsiteY401" fmla="*/ 59689 h 138429"/>
                <a:gd name="connsiteX402" fmla="*/ 2660010 w 4940931"/>
                <a:gd name="connsiteY402" fmla="*/ 61594 h 138429"/>
                <a:gd name="connsiteX403" fmla="*/ 2660010 w 4940931"/>
                <a:gd name="connsiteY403" fmla="*/ 55879 h 138429"/>
                <a:gd name="connsiteX404" fmla="*/ 2656200 w 4940931"/>
                <a:gd name="connsiteY404" fmla="*/ 46354 h 138429"/>
                <a:gd name="connsiteX405" fmla="*/ 2645405 w 4940931"/>
                <a:gd name="connsiteY405" fmla="*/ 43179 h 138429"/>
                <a:gd name="connsiteX406" fmla="*/ 2634610 w 4940931"/>
                <a:gd name="connsiteY406" fmla="*/ 44449 h 138429"/>
                <a:gd name="connsiteX407" fmla="*/ 2625085 w 4940931"/>
                <a:gd name="connsiteY407" fmla="*/ 48259 h 138429"/>
                <a:gd name="connsiteX408" fmla="*/ 2619370 w 4940931"/>
                <a:gd name="connsiteY408" fmla="*/ 36829 h 138429"/>
                <a:gd name="connsiteX409" fmla="*/ 2631435 w 4940931"/>
                <a:gd name="connsiteY409" fmla="*/ 31749 h 138429"/>
                <a:gd name="connsiteX410" fmla="*/ 2646040 w 4940931"/>
                <a:gd name="connsiteY410" fmla="*/ 29844 h 138429"/>
                <a:gd name="connsiteX411" fmla="*/ 1114426 w 4940931"/>
                <a:gd name="connsiteY411" fmla="*/ 29844 h 138429"/>
                <a:gd name="connsiteX412" fmla="*/ 1129666 w 4940931"/>
                <a:gd name="connsiteY412" fmla="*/ 29844 h 138429"/>
                <a:gd name="connsiteX413" fmla="*/ 1129666 w 4940931"/>
                <a:gd name="connsiteY413" fmla="*/ 107949 h 138429"/>
                <a:gd name="connsiteX414" fmla="*/ 1114426 w 4940931"/>
                <a:gd name="connsiteY414" fmla="*/ 107949 h 138429"/>
                <a:gd name="connsiteX415" fmla="*/ 1114426 w 4940931"/>
                <a:gd name="connsiteY415" fmla="*/ 100964 h 138429"/>
                <a:gd name="connsiteX416" fmla="*/ 1106171 w 4940931"/>
                <a:gd name="connsiteY416" fmla="*/ 107314 h 138429"/>
                <a:gd name="connsiteX417" fmla="*/ 1094741 w 4940931"/>
                <a:gd name="connsiteY417" fmla="*/ 109854 h 138429"/>
                <a:gd name="connsiteX418" fmla="*/ 1073786 w 4940931"/>
                <a:gd name="connsiteY418" fmla="*/ 100964 h 138429"/>
                <a:gd name="connsiteX419" fmla="*/ 1066800 w 4940931"/>
                <a:gd name="connsiteY419" fmla="*/ 74929 h 138429"/>
                <a:gd name="connsiteX420" fmla="*/ 1066800 w 4940931"/>
                <a:gd name="connsiteY420" fmla="*/ 30479 h 138429"/>
                <a:gd name="connsiteX421" fmla="*/ 1082040 w 4940931"/>
                <a:gd name="connsiteY421" fmla="*/ 30479 h 138429"/>
                <a:gd name="connsiteX422" fmla="*/ 1082040 w 4940931"/>
                <a:gd name="connsiteY422" fmla="*/ 74294 h 138429"/>
                <a:gd name="connsiteX423" fmla="*/ 1085851 w 4940931"/>
                <a:gd name="connsiteY423" fmla="*/ 90169 h 138429"/>
                <a:gd name="connsiteX424" fmla="*/ 1097916 w 4940931"/>
                <a:gd name="connsiteY424" fmla="*/ 95249 h 138429"/>
                <a:gd name="connsiteX425" fmla="*/ 1109981 w 4940931"/>
                <a:gd name="connsiteY425" fmla="*/ 90169 h 138429"/>
                <a:gd name="connsiteX426" fmla="*/ 1114426 w 4940931"/>
                <a:gd name="connsiteY426" fmla="*/ 75564 h 138429"/>
                <a:gd name="connsiteX427" fmla="*/ 1011556 w 4940931"/>
                <a:gd name="connsiteY427" fmla="*/ 29844 h 138429"/>
                <a:gd name="connsiteX428" fmla="*/ 1017272 w 4940931"/>
                <a:gd name="connsiteY428" fmla="*/ 30479 h 138429"/>
                <a:gd name="connsiteX429" fmla="*/ 1022352 w 4940931"/>
                <a:gd name="connsiteY429" fmla="*/ 32384 h 138429"/>
                <a:gd name="connsiteX430" fmla="*/ 1026797 w 4940931"/>
                <a:gd name="connsiteY430" fmla="*/ 35559 h 138429"/>
                <a:gd name="connsiteX431" fmla="*/ 1030607 w 4940931"/>
                <a:gd name="connsiteY431" fmla="*/ 38734 h 138429"/>
                <a:gd name="connsiteX432" fmla="*/ 1030607 w 4940931"/>
                <a:gd name="connsiteY432" fmla="*/ 31749 h 138429"/>
                <a:gd name="connsiteX433" fmla="*/ 1045847 w 4940931"/>
                <a:gd name="connsiteY433" fmla="*/ 31749 h 138429"/>
                <a:gd name="connsiteX434" fmla="*/ 1045847 w 4940931"/>
                <a:gd name="connsiteY434" fmla="*/ 130809 h 138429"/>
                <a:gd name="connsiteX435" fmla="*/ 1032512 w 4940931"/>
                <a:gd name="connsiteY435" fmla="*/ 137477 h 138429"/>
                <a:gd name="connsiteX436" fmla="*/ 1032512 w 4940931"/>
                <a:gd name="connsiteY436" fmla="*/ 101599 h 138429"/>
                <a:gd name="connsiteX437" fmla="*/ 1022986 w 4940931"/>
                <a:gd name="connsiteY437" fmla="*/ 107949 h 138429"/>
                <a:gd name="connsiteX438" fmla="*/ 1011556 w 4940931"/>
                <a:gd name="connsiteY438" fmla="*/ 110489 h 138429"/>
                <a:gd name="connsiteX439" fmla="*/ 999491 w 4940931"/>
                <a:gd name="connsiteY439" fmla="*/ 107949 h 138429"/>
                <a:gd name="connsiteX440" fmla="*/ 989966 w 4940931"/>
                <a:gd name="connsiteY440" fmla="*/ 100329 h 138429"/>
                <a:gd name="connsiteX441" fmla="*/ 983616 w 4940931"/>
                <a:gd name="connsiteY441" fmla="*/ 87629 h 138429"/>
                <a:gd name="connsiteX442" fmla="*/ 981076 w 4940931"/>
                <a:gd name="connsiteY442" fmla="*/ 68579 h 138429"/>
                <a:gd name="connsiteX443" fmla="*/ 983616 w 4940931"/>
                <a:gd name="connsiteY443" fmla="*/ 51434 h 138429"/>
                <a:gd name="connsiteX444" fmla="*/ 990601 w 4940931"/>
                <a:gd name="connsiteY444" fmla="*/ 39369 h 138429"/>
                <a:gd name="connsiteX445" fmla="*/ 1000126 w 4940931"/>
                <a:gd name="connsiteY445" fmla="*/ 32384 h 138429"/>
                <a:gd name="connsiteX446" fmla="*/ 1011556 w 4940931"/>
                <a:gd name="connsiteY446" fmla="*/ 29844 h 138429"/>
                <a:gd name="connsiteX447" fmla="*/ 4871716 w 4940931"/>
                <a:gd name="connsiteY447" fmla="*/ 29210 h 138429"/>
                <a:gd name="connsiteX448" fmla="*/ 4885686 w 4940931"/>
                <a:gd name="connsiteY448" fmla="*/ 31750 h 138429"/>
                <a:gd name="connsiteX449" fmla="*/ 4897751 w 4940931"/>
                <a:gd name="connsiteY449" fmla="*/ 38100 h 138429"/>
                <a:gd name="connsiteX450" fmla="*/ 4899021 w 4940931"/>
                <a:gd name="connsiteY450" fmla="*/ 38100 h 138429"/>
                <a:gd name="connsiteX451" fmla="*/ 4892036 w 4940931"/>
                <a:gd name="connsiteY451" fmla="*/ 50165 h 138429"/>
                <a:gd name="connsiteX452" fmla="*/ 4882511 w 4940931"/>
                <a:gd name="connsiteY452" fmla="*/ 45085 h 138429"/>
                <a:gd name="connsiteX453" fmla="*/ 4872351 w 4940931"/>
                <a:gd name="connsiteY453" fmla="*/ 43180 h 138429"/>
                <a:gd name="connsiteX454" fmla="*/ 4864096 w 4940931"/>
                <a:gd name="connsiteY454" fmla="*/ 45085 h 138429"/>
                <a:gd name="connsiteX455" fmla="*/ 4861556 w 4940931"/>
                <a:gd name="connsiteY455" fmla="*/ 50165 h 138429"/>
                <a:gd name="connsiteX456" fmla="*/ 4861556 w 4940931"/>
                <a:gd name="connsiteY456" fmla="*/ 52705 h 138429"/>
                <a:gd name="connsiteX457" fmla="*/ 4863461 w 4940931"/>
                <a:gd name="connsiteY457" fmla="*/ 55245 h 138429"/>
                <a:gd name="connsiteX458" fmla="*/ 4867906 w 4940931"/>
                <a:gd name="connsiteY458" fmla="*/ 57785 h 138429"/>
                <a:gd name="connsiteX459" fmla="*/ 4874891 w 4940931"/>
                <a:gd name="connsiteY459" fmla="*/ 60960 h 138429"/>
                <a:gd name="connsiteX460" fmla="*/ 4886321 w 4940931"/>
                <a:gd name="connsiteY460" fmla="*/ 66040 h 138429"/>
                <a:gd name="connsiteX461" fmla="*/ 4894576 w 4940931"/>
                <a:gd name="connsiteY461" fmla="*/ 71120 h 138429"/>
                <a:gd name="connsiteX462" fmla="*/ 4899656 w 4940931"/>
                <a:gd name="connsiteY462" fmla="*/ 78105 h 138429"/>
                <a:gd name="connsiteX463" fmla="*/ 4901561 w 4940931"/>
                <a:gd name="connsiteY463" fmla="*/ 87630 h 138429"/>
                <a:gd name="connsiteX464" fmla="*/ 4899021 w 4940931"/>
                <a:gd name="connsiteY464" fmla="*/ 98425 h 138429"/>
                <a:gd name="connsiteX465" fmla="*/ 4892671 w 4940931"/>
                <a:gd name="connsiteY465" fmla="*/ 105410 h 138429"/>
                <a:gd name="connsiteX466" fmla="*/ 4883146 w 4940931"/>
                <a:gd name="connsiteY466" fmla="*/ 109220 h 138429"/>
                <a:gd name="connsiteX467" fmla="*/ 4872351 w 4940931"/>
                <a:gd name="connsiteY467" fmla="*/ 110490 h 138429"/>
                <a:gd name="connsiteX468" fmla="*/ 4857111 w 4940931"/>
                <a:gd name="connsiteY468" fmla="*/ 107950 h 138429"/>
                <a:gd name="connsiteX469" fmla="*/ 4842506 w 4940931"/>
                <a:gd name="connsiteY469" fmla="*/ 100965 h 138429"/>
                <a:gd name="connsiteX470" fmla="*/ 4849491 w 4940931"/>
                <a:gd name="connsiteY470" fmla="*/ 89535 h 138429"/>
                <a:gd name="connsiteX471" fmla="*/ 4860921 w 4940931"/>
                <a:gd name="connsiteY471" fmla="*/ 95250 h 138429"/>
                <a:gd name="connsiteX472" fmla="*/ 4872351 w 4940931"/>
                <a:gd name="connsiteY472" fmla="*/ 97155 h 138429"/>
                <a:gd name="connsiteX473" fmla="*/ 4883146 w 4940931"/>
                <a:gd name="connsiteY473" fmla="*/ 94615 h 138429"/>
                <a:gd name="connsiteX474" fmla="*/ 4886321 w 4940931"/>
                <a:gd name="connsiteY474" fmla="*/ 88265 h 138429"/>
                <a:gd name="connsiteX475" fmla="*/ 4885051 w 4940931"/>
                <a:gd name="connsiteY475" fmla="*/ 84455 h 138429"/>
                <a:gd name="connsiteX476" fmla="*/ 4881241 w 4940931"/>
                <a:gd name="connsiteY476" fmla="*/ 81280 h 138429"/>
                <a:gd name="connsiteX477" fmla="*/ 4875526 w 4940931"/>
                <a:gd name="connsiteY477" fmla="*/ 78105 h 138429"/>
                <a:gd name="connsiteX478" fmla="*/ 4867906 w 4940931"/>
                <a:gd name="connsiteY478" fmla="*/ 74930 h 138429"/>
                <a:gd name="connsiteX479" fmla="*/ 4857111 w 4940931"/>
                <a:gd name="connsiteY479" fmla="*/ 69850 h 138429"/>
                <a:gd name="connsiteX480" fmla="*/ 4850126 w 4940931"/>
                <a:gd name="connsiteY480" fmla="*/ 64770 h 138429"/>
                <a:gd name="connsiteX481" fmla="*/ 4846316 w 4940931"/>
                <a:gd name="connsiteY481" fmla="*/ 58420 h 138429"/>
                <a:gd name="connsiteX482" fmla="*/ 4845046 w 4940931"/>
                <a:gd name="connsiteY482" fmla="*/ 50165 h 138429"/>
                <a:gd name="connsiteX483" fmla="*/ 4846951 w 4940931"/>
                <a:gd name="connsiteY483" fmla="*/ 40640 h 138429"/>
                <a:gd name="connsiteX484" fmla="*/ 4852666 w 4940931"/>
                <a:gd name="connsiteY484" fmla="*/ 34290 h 138429"/>
                <a:gd name="connsiteX485" fmla="*/ 4860921 w 4940931"/>
                <a:gd name="connsiteY485" fmla="*/ 30480 h 138429"/>
                <a:gd name="connsiteX486" fmla="*/ 4871716 w 4940931"/>
                <a:gd name="connsiteY486" fmla="*/ 29210 h 138429"/>
                <a:gd name="connsiteX487" fmla="*/ 4749796 w 4940931"/>
                <a:gd name="connsiteY487" fmla="*/ 29210 h 138429"/>
                <a:gd name="connsiteX488" fmla="*/ 4757416 w 4940931"/>
                <a:gd name="connsiteY488" fmla="*/ 29845 h 138429"/>
                <a:gd name="connsiteX489" fmla="*/ 4763131 w 4940931"/>
                <a:gd name="connsiteY489" fmla="*/ 32385 h 138429"/>
                <a:gd name="connsiteX490" fmla="*/ 4759321 w 4940931"/>
                <a:gd name="connsiteY490" fmla="*/ 46990 h 138429"/>
                <a:gd name="connsiteX491" fmla="*/ 4758051 w 4940931"/>
                <a:gd name="connsiteY491" fmla="*/ 46990 h 138429"/>
                <a:gd name="connsiteX492" fmla="*/ 4752971 w 4940931"/>
                <a:gd name="connsiteY492" fmla="*/ 45085 h 138429"/>
                <a:gd name="connsiteX493" fmla="*/ 4746621 w 4940931"/>
                <a:gd name="connsiteY493" fmla="*/ 44450 h 138429"/>
                <a:gd name="connsiteX494" fmla="*/ 4735191 w 4940931"/>
                <a:gd name="connsiteY494" fmla="*/ 49530 h 138429"/>
                <a:gd name="connsiteX495" fmla="*/ 4731381 w 4940931"/>
                <a:gd name="connsiteY495" fmla="*/ 64770 h 138429"/>
                <a:gd name="connsiteX496" fmla="*/ 4731381 w 4940931"/>
                <a:gd name="connsiteY496" fmla="*/ 109220 h 138429"/>
                <a:gd name="connsiteX497" fmla="*/ 4716141 w 4940931"/>
                <a:gd name="connsiteY497" fmla="*/ 109220 h 138429"/>
                <a:gd name="connsiteX498" fmla="*/ 4716141 w 4940931"/>
                <a:gd name="connsiteY498" fmla="*/ 31115 h 138429"/>
                <a:gd name="connsiteX499" fmla="*/ 4731381 w 4940931"/>
                <a:gd name="connsiteY499" fmla="*/ 31115 h 138429"/>
                <a:gd name="connsiteX500" fmla="*/ 4731381 w 4940931"/>
                <a:gd name="connsiteY500" fmla="*/ 38735 h 138429"/>
                <a:gd name="connsiteX501" fmla="*/ 4734556 w 4940931"/>
                <a:gd name="connsiteY501" fmla="*/ 34925 h 138429"/>
                <a:gd name="connsiteX502" fmla="*/ 4739001 w 4940931"/>
                <a:gd name="connsiteY502" fmla="*/ 31750 h 138429"/>
                <a:gd name="connsiteX503" fmla="*/ 4744081 w 4940931"/>
                <a:gd name="connsiteY503" fmla="*/ 29845 h 138429"/>
                <a:gd name="connsiteX504" fmla="*/ 4749796 w 4940931"/>
                <a:gd name="connsiteY504" fmla="*/ 29210 h 138429"/>
                <a:gd name="connsiteX505" fmla="*/ 4349110 w 4940931"/>
                <a:gd name="connsiteY505" fmla="*/ 29210 h 138429"/>
                <a:gd name="connsiteX506" fmla="*/ 4356730 w 4940931"/>
                <a:gd name="connsiteY506" fmla="*/ 29845 h 138429"/>
                <a:gd name="connsiteX507" fmla="*/ 4362445 w 4940931"/>
                <a:gd name="connsiteY507" fmla="*/ 32385 h 138429"/>
                <a:gd name="connsiteX508" fmla="*/ 4358635 w 4940931"/>
                <a:gd name="connsiteY508" fmla="*/ 46990 h 138429"/>
                <a:gd name="connsiteX509" fmla="*/ 4357365 w 4940931"/>
                <a:gd name="connsiteY509" fmla="*/ 46990 h 138429"/>
                <a:gd name="connsiteX510" fmla="*/ 4352285 w 4940931"/>
                <a:gd name="connsiteY510" fmla="*/ 45085 h 138429"/>
                <a:gd name="connsiteX511" fmla="*/ 4345935 w 4940931"/>
                <a:gd name="connsiteY511" fmla="*/ 44450 h 138429"/>
                <a:gd name="connsiteX512" fmla="*/ 4334505 w 4940931"/>
                <a:gd name="connsiteY512" fmla="*/ 49530 h 138429"/>
                <a:gd name="connsiteX513" fmla="*/ 4330695 w 4940931"/>
                <a:gd name="connsiteY513" fmla="*/ 64770 h 138429"/>
                <a:gd name="connsiteX514" fmla="*/ 4330695 w 4940931"/>
                <a:gd name="connsiteY514" fmla="*/ 109220 h 138429"/>
                <a:gd name="connsiteX515" fmla="*/ 4315455 w 4940931"/>
                <a:gd name="connsiteY515" fmla="*/ 109220 h 138429"/>
                <a:gd name="connsiteX516" fmla="*/ 4315455 w 4940931"/>
                <a:gd name="connsiteY516" fmla="*/ 31115 h 138429"/>
                <a:gd name="connsiteX517" fmla="*/ 4330695 w 4940931"/>
                <a:gd name="connsiteY517" fmla="*/ 31115 h 138429"/>
                <a:gd name="connsiteX518" fmla="*/ 4330695 w 4940931"/>
                <a:gd name="connsiteY518" fmla="*/ 38735 h 138429"/>
                <a:gd name="connsiteX519" fmla="*/ 4333870 w 4940931"/>
                <a:gd name="connsiteY519" fmla="*/ 34925 h 138429"/>
                <a:gd name="connsiteX520" fmla="*/ 4338315 w 4940931"/>
                <a:gd name="connsiteY520" fmla="*/ 31750 h 138429"/>
                <a:gd name="connsiteX521" fmla="*/ 4343395 w 4940931"/>
                <a:gd name="connsiteY521" fmla="*/ 29845 h 138429"/>
                <a:gd name="connsiteX522" fmla="*/ 4349110 w 4940931"/>
                <a:gd name="connsiteY522" fmla="*/ 29210 h 138429"/>
                <a:gd name="connsiteX523" fmla="*/ 4044310 w 4940931"/>
                <a:gd name="connsiteY523" fmla="*/ 29210 h 138429"/>
                <a:gd name="connsiteX524" fmla="*/ 4058915 w 4940931"/>
                <a:gd name="connsiteY524" fmla="*/ 32385 h 138429"/>
                <a:gd name="connsiteX525" fmla="*/ 4069075 w 4940931"/>
                <a:gd name="connsiteY525" fmla="*/ 40640 h 138429"/>
                <a:gd name="connsiteX526" fmla="*/ 4075425 w 4940931"/>
                <a:gd name="connsiteY526" fmla="*/ 53340 h 138429"/>
                <a:gd name="connsiteX527" fmla="*/ 4077330 w 4940931"/>
                <a:gd name="connsiteY527" fmla="*/ 68580 h 138429"/>
                <a:gd name="connsiteX528" fmla="*/ 4076060 w 4940931"/>
                <a:gd name="connsiteY528" fmla="*/ 68580 h 138429"/>
                <a:gd name="connsiteX529" fmla="*/ 4076060 w 4940931"/>
                <a:gd name="connsiteY529" fmla="*/ 72390 h 138429"/>
                <a:gd name="connsiteX530" fmla="*/ 4076060 w 4940931"/>
                <a:gd name="connsiteY530" fmla="*/ 75565 h 138429"/>
                <a:gd name="connsiteX531" fmla="*/ 4024625 w 4940931"/>
                <a:gd name="connsiteY531" fmla="*/ 75565 h 138429"/>
                <a:gd name="connsiteX532" fmla="*/ 4027165 w 4940931"/>
                <a:gd name="connsiteY532" fmla="*/ 85090 h 138429"/>
                <a:gd name="connsiteX533" fmla="*/ 4031610 w 4940931"/>
                <a:gd name="connsiteY533" fmla="*/ 91440 h 138429"/>
                <a:gd name="connsiteX534" fmla="*/ 4037325 w 4940931"/>
                <a:gd name="connsiteY534" fmla="*/ 95250 h 138429"/>
                <a:gd name="connsiteX535" fmla="*/ 4044310 w 4940931"/>
                <a:gd name="connsiteY535" fmla="*/ 96520 h 138429"/>
                <a:gd name="connsiteX536" fmla="*/ 4049390 w 4940931"/>
                <a:gd name="connsiteY536" fmla="*/ 96520 h 138429"/>
                <a:gd name="connsiteX537" fmla="*/ 4053835 w 4940931"/>
                <a:gd name="connsiteY537" fmla="*/ 95250 h 138429"/>
                <a:gd name="connsiteX538" fmla="*/ 4057645 w 4940931"/>
                <a:gd name="connsiteY538" fmla="*/ 93345 h 138429"/>
                <a:gd name="connsiteX539" fmla="*/ 4062090 w 4940931"/>
                <a:gd name="connsiteY539" fmla="*/ 90805 h 138429"/>
                <a:gd name="connsiteX540" fmla="*/ 4070980 w 4940931"/>
                <a:gd name="connsiteY540" fmla="*/ 100330 h 138429"/>
                <a:gd name="connsiteX541" fmla="*/ 4065265 w 4940931"/>
                <a:gd name="connsiteY541" fmla="*/ 104775 h 138429"/>
                <a:gd name="connsiteX542" fmla="*/ 4059550 w 4940931"/>
                <a:gd name="connsiteY542" fmla="*/ 107950 h 138429"/>
                <a:gd name="connsiteX543" fmla="*/ 4052565 w 4940931"/>
                <a:gd name="connsiteY543" fmla="*/ 109855 h 138429"/>
                <a:gd name="connsiteX544" fmla="*/ 4043675 w 4940931"/>
                <a:gd name="connsiteY544" fmla="*/ 110490 h 138429"/>
                <a:gd name="connsiteX545" fmla="*/ 4034150 w 4940931"/>
                <a:gd name="connsiteY545" fmla="*/ 109220 h 138429"/>
                <a:gd name="connsiteX546" fmla="*/ 4026530 w 4940931"/>
                <a:gd name="connsiteY546" fmla="*/ 105410 h 138429"/>
                <a:gd name="connsiteX547" fmla="*/ 4020180 w 4940931"/>
                <a:gd name="connsiteY547" fmla="*/ 100330 h 138429"/>
                <a:gd name="connsiteX548" fmla="*/ 4015100 w 4940931"/>
                <a:gd name="connsiteY548" fmla="*/ 92710 h 138429"/>
                <a:gd name="connsiteX549" fmla="*/ 4011290 w 4940931"/>
                <a:gd name="connsiteY549" fmla="*/ 82550 h 138429"/>
                <a:gd name="connsiteX550" fmla="*/ 4010020 w 4940931"/>
                <a:gd name="connsiteY550" fmla="*/ 69850 h 138429"/>
                <a:gd name="connsiteX551" fmla="*/ 4012560 w 4940931"/>
                <a:gd name="connsiteY551" fmla="*/ 52070 h 138429"/>
                <a:gd name="connsiteX552" fmla="*/ 4019545 w 4940931"/>
                <a:gd name="connsiteY552" fmla="*/ 39370 h 138429"/>
                <a:gd name="connsiteX553" fmla="*/ 4030340 w 4940931"/>
                <a:gd name="connsiteY553" fmla="*/ 31750 h 138429"/>
                <a:gd name="connsiteX554" fmla="*/ 4044310 w 4940931"/>
                <a:gd name="connsiteY554" fmla="*/ 29210 h 138429"/>
                <a:gd name="connsiteX555" fmla="*/ 3811900 w 4940931"/>
                <a:gd name="connsiteY555" fmla="*/ 29210 h 138429"/>
                <a:gd name="connsiteX556" fmla="*/ 3819520 w 4940931"/>
                <a:gd name="connsiteY556" fmla="*/ 29845 h 138429"/>
                <a:gd name="connsiteX557" fmla="*/ 3825235 w 4940931"/>
                <a:gd name="connsiteY557" fmla="*/ 32385 h 138429"/>
                <a:gd name="connsiteX558" fmla="*/ 3821425 w 4940931"/>
                <a:gd name="connsiteY558" fmla="*/ 46990 h 138429"/>
                <a:gd name="connsiteX559" fmla="*/ 3820155 w 4940931"/>
                <a:gd name="connsiteY559" fmla="*/ 46990 h 138429"/>
                <a:gd name="connsiteX560" fmla="*/ 3815075 w 4940931"/>
                <a:gd name="connsiteY560" fmla="*/ 45085 h 138429"/>
                <a:gd name="connsiteX561" fmla="*/ 3808725 w 4940931"/>
                <a:gd name="connsiteY561" fmla="*/ 44450 h 138429"/>
                <a:gd name="connsiteX562" fmla="*/ 3797295 w 4940931"/>
                <a:gd name="connsiteY562" fmla="*/ 49530 h 138429"/>
                <a:gd name="connsiteX563" fmla="*/ 3793485 w 4940931"/>
                <a:gd name="connsiteY563" fmla="*/ 64770 h 138429"/>
                <a:gd name="connsiteX564" fmla="*/ 3793485 w 4940931"/>
                <a:gd name="connsiteY564" fmla="*/ 109220 h 138429"/>
                <a:gd name="connsiteX565" fmla="*/ 3778245 w 4940931"/>
                <a:gd name="connsiteY565" fmla="*/ 109220 h 138429"/>
                <a:gd name="connsiteX566" fmla="*/ 3778245 w 4940931"/>
                <a:gd name="connsiteY566" fmla="*/ 31115 h 138429"/>
                <a:gd name="connsiteX567" fmla="*/ 3793485 w 4940931"/>
                <a:gd name="connsiteY567" fmla="*/ 31115 h 138429"/>
                <a:gd name="connsiteX568" fmla="*/ 3793485 w 4940931"/>
                <a:gd name="connsiteY568" fmla="*/ 38735 h 138429"/>
                <a:gd name="connsiteX569" fmla="*/ 3796660 w 4940931"/>
                <a:gd name="connsiteY569" fmla="*/ 34925 h 138429"/>
                <a:gd name="connsiteX570" fmla="*/ 3801105 w 4940931"/>
                <a:gd name="connsiteY570" fmla="*/ 31750 h 138429"/>
                <a:gd name="connsiteX571" fmla="*/ 3806185 w 4940931"/>
                <a:gd name="connsiteY571" fmla="*/ 29845 h 138429"/>
                <a:gd name="connsiteX572" fmla="*/ 3811900 w 4940931"/>
                <a:gd name="connsiteY572" fmla="*/ 29210 h 138429"/>
                <a:gd name="connsiteX573" fmla="*/ 3729986 w 4940931"/>
                <a:gd name="connsiteY573" fmla="*/ 29210 h 138429"/>
                <a:gd name="connsiteX574" fmla="*/ 3744591 w 4940931"/>
                <a:gd name="connsiteY574" fmla="*/ 32385 h 138429"/>
                <a:gd name="connsiteX575" fmla="*/ 3754751 w 4940931"/>
                <a:gd name="connsiteY575" fmla="*/ 40640 h 138429"/>
                <a:gd name="connsiteX576" fmla="*/ 3761101 w 4940931"/>
                <a:gd name="connsiteY576" fmla="*/ 53340 h 138429"/>
                <a:gd name="connsiteX577" fmla="*/ 3763006 w 4940931"/>
                <a:gd name="connsiteY577" fmla="*/ 68580 h 138429"/>
                <a:gd name="connsiteX578" fmla="*/ 3761736 w 4940931"/>
                <a:gd name="connsiteY578" fmla="*/ 68580 h 138429"/>
                <a:gd name="connsiteX579" fmla="*/ 3761736 w 4940931"/>
                <a:gd name="connsiteY579" fmla="*/ 72390 h 138429"/>
                <a:gd name="connsiteX580" fmla="*/ 3761736 w 4940931"/>
                <a:gd name="connsiteY580" fmla="*/ 75565 h 138429"/>
                <a:gd name="connsiteX581" fmla="*/ 3710301 w 4940931"/>
                <a:gd name="connsiteY581" fmla="*/ 75565 h 138429"/>
                <a:gd name="connsiteX582" fmla="*/ 3712841 w 4940931"/>
                <a:gd name="connsiteY582" fmla="*/ 85090 h 138429"/>
                <a:gd name="connsiteX583" fmla="*/ 3717286 w 4940931"/>
                <a:gd name="connsiteY583" fmla="*/ 91440 h 138429"/>
                <a:gd name="connsiteX584" fmla="*/ 3723001 w 4940931"/>
                <a:gd name="connsiteY584" fmla="*/ 95250 h 138429"/>
                <a:gd name="connsiteX585" fmla="*/ 3729986 w 4940931"/>
                <a:gd name="connsiteY585" fmla="*/ 96520 h 138429"/>
                <a:gd name="connsiteX586" fmla="*/ 3735066 w 4940931"/>
                <a:gd name="connsiteY586" fmla="*/ 96520 h 138429"/>
                <a:gd name="connsiteX587" fmla="*/ 3739511 w 4940931"/>
                <a:gd name="connsiteY587" fmla="*/ 95250 h 138429"/>
                <a:gd name="connsiteX588" fmla="*/ 3743321 w 4940931"/>
                <a:gd name="connsiteY588" fmla="*/ 93345 h 138429"/>
                <a:gd name="connsiteX589" fmla="*/ 3747766 w 4940931"/>
                <a:gd name="connsiteY589" fmla="*/ 90805 h 138429"/>
                <a:gd name="connsiteX590" fmla="*/ 3756656 w 4940931"/>
                <a:gd name="connsiteY590" fmla="*/ 100330 h 138429"/>
                <a:gd name="connsiteX591" fmla="*/ 3750941 w 4940931"/>
                <a:gd name="connsiteY591" fmla="*/ 104775 h 138429"/>
                <a:gd name="connsiteX592" fmla="*/ 3745226 w 4940931"/>
                <a:gd name="connsiteY592" fmla="*/ 107950 h 138429"/>
                <a:gd name="connsiteX593" fmla="*/ 3738241 w 4940931"/>
                <a:gd name="connsiteY593" fmla="*/ 109855 h 138429"/>
                <a:gd name="connsiteX594" fmla="*/ 3729351 w 4940931"/>
                <a:gd name="connsiteY594" fmla="*/ 110490 h 138429"/>
                <a:gd name="connsiteX595" fmla="*/ 3719826 w 4940931"/>
                <a:gd name="connsiteY595" fmla="*/ 109220 h 138429"/>
                <a:gd name="connsiteX596" fmla="*/ 3712206 w 4940931"/>
                <a:gd name="connsiteY596" fmla="*/ 105410 h 138429"/>
                <a:gd name="connsiteX597" fmla="*/ 3705856 w 4940931"/>
                <a:gd name="connsiteY597" fmla="*/ 100330 h 138429"/>
                <a:gd name="connsiteX598" fmla="*/ 3700776 w 4940931"/>
                <a:gd name="connsiteY598" fmla="*/ 92710 h 138429"/>
                <a:gd name="connsiteX599" fmla="*/ 3696966 w 4940931"/>
                <a:gd name="connsiteY599" fmla="*/ 82550 h 138429"/>
                <a:gd name="connsiteX600" fmla="*/ 3695696 w 4940931"/>
                <a:gd name="connsiteY600" fmla="*/ 69850 h 138429"/>
                <a:gd name="connsiteX601" fmla="*/ 3698236 w 4940931"/>
                <a:gd name="connsiteY601" fmla="*/ 52070 h 138429"/>
                <a:gd name="connsiteX602" fmla="*/ 3705221 w 4940931"/>
                <a:gd name="connsiteY602" fmla="*/ 39370 h 138429"/>
                <a:gd name="connsiteX603" fmla="*/ 3716016 w 4940931"/>
                <a:gd name="connsiteY603" fmla="*/ 31750 h 138429"/>
                <a:gd name="connsiteX604" fmla="*/ 3729986 w 4940931"/>
                <a:gd name="connsiteY604" fmla="*/ 29210 h 138429"/>
                <a:gd name="connsiteX605" fmla="*/ 3543296 w 4940931"/>
                <a:gd name="connsiteY605" fmla="*/ 29210 h 138429"/>
                <a:gd name="connsiteX606" fmla="*/ 3557901 w 4940931"/>
                <a:gd name="connsiteY606" fmla="*/ 32385 h 138429"/>
                <a:gd name="connsiteX607" fmla="*/ 3568061 w 4940931"/>
                <a:gd name="connsiteY607" fmla="*/ 40640 h 138429"/>
                <a:gd name="connsiteX608" fmla="*/ 3574411 w 4940931"/>
                <a:gd name="connsiteY608" fmla="*/ 53340 h 138429"/>
                <a:gd name="connsiteX609" fmla="*/ 3576316 w 4940931"/>
                <a:gd name="connsiteY609" fmla="*/ 68580 h 138429"/>
                <a:gd name="connsiteX610" fmla="*/ 3575046 w 4940931"/>
                <a:gd name="connsiteY610" fmla="*/ 68580 h 138429"/>
                <a:gd name="connsiteX611" fmla="*/ 3575046 w 4940931"/>
                <a:gd name="connsiteY611" fmla="*/ 72390 h 138429"/>
                <a:gd name="connsiteX612" fmla="*/ 3575046 w 4940931"/>
                <a:gd name="connsiteY612" fmla="*/ 75565 h 138429"/>
                <a:gd name="connsiteX613" fmla="*/ 3523611 w 4940931"/>
                <a:gd name="connsiteY613" fmla="*/ 75565 h 138429"/>
                <a:gd name="connsiteX614" fmla="*/ 3526151 w 4940931"/>
                <a:gd name="connsiteY614" fmla="*/ 85090 h 138429"/>
                <a:gd name="connsiteX615" fmla="*/ 3530596 w 4940931"/>
                <a:gd name="connsiteY615" fmla="*/ 91440 h 138429"/>
                <a:gd name="connsiteX616" fmla="*/ 3536311 w 4940931"/>
                <a:gd name="connsiteY616" fmla="*/ 95250 h 138429"/>
                <a:gd name="connsiteX617" fmla="*/ 3543296 w 4940931"/>
                <a:gd name="connsiteY617" fmla="*/ 96520 h 138429"/>
                <a:gd name="connsiteX618" fmla="*/ 3548376 w 4940931"/>
                <a:gd name="connsiteY618" fmla="*/ 96520 h 138429"/>
                <a:gd name="connsiteX619" fmla="*/ 3552821 w 4940931"/>
                <a:gd name="connsiteY619" fmla="*/ 95250 h 138429"/>
                <a:gd name="connsiteX620" fmla="*/ 3556631 w 4940931"/>
                <a:gd name="connsiteY620" fmla="*/ 93345 h 138429"/>
                <a:gd name="connsiteX621" fmla="*/ 3561076 w 4940931"/>
                <a:gd name="connsiteY621" fmla="*/ 90805 h 138429"/>
                <a:gd name="connsiteX622" fmla="*/ 3569966 w 4940931"/>
                <a:gd name="connsiteY622" fmla="*/ 100330 h 138429"/>
                <a:gd name="connsiteX623" fmla="*/ 3564251 w 4940931"/>
                <a:gd name="connsiteY623" fmla="*/ 104775 h 138429"/>
                <a:gd name="connsiteX624" fmla="*/ 3558536 w 4940931"/>
                <a:gd name="connsiteY624" fmla="*/ 107950 h 138429"/>
                <a:gd name="connsiteX625" fmla="*/ 3551551 w 4940931"/>
                <a:gd name="connsiteY625" fmla="*/ 109855 h 138429"/>
                <a:gd name="connsiteX626" fmla="*/ 3542661 w 4940931"/>
                <a:gd name="connsiteY626" fmla="*/ 110490 h 138429"/>
                <a:gd name="connsiteX627" fmla="*/ 3533136 w 4940931"/>
                <a:gd name="connsiteY627" fmla="*/ 109220 h 138429"/>
                <a:gd name="connsiteX628" fmla="*/ 3525516 w 4940931"/>
                <a:gd name="connsiteY628" fmla="*/ 105410 h 138429"/>
                <a:gd name="connsiteX629" fmla="*/ 3519166 w 4940931"/>
                <a:gd name="connsiteY629" fmla="*/ 100330 h 138429"/>
                <a:gd name="connsiteX630" fmla="*/ 3514086 w 4940931"/>
                <a:gd name="connsiteY630" fmla="*/ 92710 h 138429"/>
                <a:gd name="connsiteX631" fmla="*/ 3510276 w 4940931"/>
                <a:gd name="connsiteY631" fmla="*/ 82550 h 138429"/>
                <a:gd name="connsiteX632" fmla="*/ 3509006 w 4940931"/>
                <a:gd name="connsiteY632" fmla="*/ 69850 h 138429"/>
                <a:gd name="connsiteX633" fmla="*/ 3511546 w 4940931"/>
                <a:gd name="connsiteY633" fmla="*/ 52070 h 138429"/>
                <a:gd name="connsiteX634" fmla="*/ 3518531 w 4940931"/>
                <a:gd name="connsiteY634" fmla="*/ 39370 h 138429"/>
                <a:gd name="connsiteX635" fmla="*/ 3529326 w 4940931"/>
                <a:gd name="connsiteY635" fmla="*/ 31750 h 138429"/>
                <a:gd name="connsiteX636" fmla="*/ 3543296 w 4940931"/>
                <a:gd name="connsiteY636" fmla="*/ 29210 h 138429"/>
                <a:gd name="connsiteX637" fmla="*/ 3345176 w 4940931"/>
                <a:gd name="connsiteY637" fmla="*/ 29210 h 138429"/>
                <a:gd name="connsiteX638" fmla="*/ 3359781 w 4940931"/>
                <a:gd name="connsiteY638" fmla="*/ 32385 h 138429"/>
                <a:gd name="connsiteX639" fmla="*/ 3369941 w 4940931"/>
                <a:gd name="connsiteY639" fmla="*/ 40640 h 138429"/>
                <a:gd name="connsiteX640" fmla="*/ 3376291 w 4940931"/>
                <a:gd name="connsiteY640" fmla="*/ 53340 h 138429"/>
                <a:gd name="connsiteX641" fmla="*/ 3378196 w 4940931"/>
                <a:gd name="connsiteY641" fmla="*/ 68580 h 138429"/>
                <a:gd name="connsiteX642" fmla="*/ 3376926 w 4940931"/>
                <a:gd name="connsiteY642" fmla="*/ 68580 h 138429"/>
                <a:gd name="connsiteX643" fmla="*/ 3376926 w 4940931"/>
                <a:gd name="connsiteY643" fmla="*/ 72390 h 138429"/>
                <a:gd name="connsiteX644" fmla="*/ 3376926 w 4940931"/>
                <a:gd name="connsiteY644" fmla="*/ 75565 h 138429"/>
                <a:gd name="connsiteX645" fmla="*/ 3325491 w 4940931"/>
                <a:gd name="connsiteY645" fmla="*/ 75565 h 138429"/>
                <a:gd name="connsiteX646" fmla="*/ 3328031 w 4940931"/>
                <a:gd name="connsiteY646" fmla="*/ 85090 h 138429"/>
                <a:gd name="connsiteX647" fmla="*/ 3332476 w 4940931"/>
                <a:gd name="connsiteY647" fmla="*/ 91440 h 138429"/>
                <a:gd name="connsiteX648" fmla="*/ 3338191 w 4940931"/>
                <a:gd name="connsiteY648" fmla="*/ 95250 h 138429"/>
                <a:gd name="connsiteX649" fmla="*/ 3345176 w 4940931"/>
                <a:gd name="connsiteY649" fmla="*/ 96520 h 138429"/>
                <a:gd name="connsiteX650" fmla="*/ 3350256 w 4940931"/>
                <a:gd name="connsiteY650" fmla="*/ 96520 h 138429"/>
                <a:gd name="connsiteX651" fmla="*/ 3354701 w 4940931"/>
                <a:gd name="connsiteY651" fmla="*/ 95250 h 138429"/>
                <a:gd name="connsiteX652" fmla="*/ 3358511 w 4940931"/>
                <a:gd name="connsiteY652" fmla="*/ 93345 h 138429"/>
                <a:gd name="connsiteX653" fmla="*/ 3362956 w 4940931"/>
                <a:gd name="connsiteY653" fmla="*/ 90805 h 138429"/>
                <a:gd name="connsiteX654" fmla="*/ 3371846 w 4940931"/>
                <a:gd name="connsiteY654" fmla="*/ 100330 h 138429"/>
                <a:gd name="connsiteX655" fmla="*/ 3366131 w 4940931"/>
                <a:gd name="connsiteY655" fmla="*/ 104775 h 138429"/>
                <a:gd name="connsiteX656" fmla="*/ 3360416 w 4940931"/>
                <a:gd name="connsiteY656" fmla="*/ 107950 h 138429"/>
                <a:gd name="connsiteX657" fmla="*/ 3353431 w 4940931"/>
                <a:gd name="connsiteY657" fmla="*/ 109855 h 138429"/>
                <a:gd name="connsiteX658" fmla="*/ 3344541 w 4940931"/>
                <a:gd name="connsiteY658" fmla="*/ 110490 h 138429"/>
                <a:gd name="connsiteX659" fmla="*/ 3335016 w 4940931"/>
                <a:gd name="connsiteY659" fmla="*/ 109220 h 138429"/>
                <a:gd name="connsiteX660" fmla="*/ 3327396 w 4940931"/>
                <a:gd name="connsiteY660" fmla="*/ 105410 h 138429"/>
                <a:gd name="connsiteX661" fmla="*/ 3321046 w 4940931"/>
                <a:gd name="connsiteY661" fmla="*/ 100330 h 138429"/>
                <a:gd name="connsiteX662" fmla="*/ 3315966 w 4940931"/>
                <a:gd name="connsiteY662" fmla="*/ 92710 h 138429"/>
                <a:gd name="connsiteX663" fmla="*/ 3312156 w 4940931"/>
                <a:gd name="connsiteY663" fmla="*/ 82550 h 138429"/>
                <a:gd name="connsiteX664" fmla="*/ 3310886 w 4940931"/>
                <a:gd name="connsiteY664" fmla="*/ 69850 h 138429"/>
                <a:gd name="connsiteX665" fmla="*/ 3313426 w 4940931"/>
                <a:gd name="connsiteY665" fmla="*/ 52070 h 138429"/>
                <a:gd name="connsiteX666" fmla="*/ 3320411 w 4940931"/>
                <a:gd name="connsiteY666" fmla="*/ 39370 h 138429"/>
                <a:gd name="connsiteX667" fmla="*/ 3331206 w 4940931"/>
                <a:gd name="connsiteY667" fmla="*/ 31750 h 138429"/>
                <a:gd name="connsiteX668" fmla="*/ 3345176 w 4940931"/>
                <a:gd name="connsiteY668" fmla="*/ 29210 h 138429"/>
                <a:gd name="connsiteX669" fmla="*/ 3060696 w 4940931"/>
                <a:gd name="connsiteY669" fmla="*/ 29210 h 138429"/>
                <a:gd name="connsiteX670" fmla="*/ 3068316 w 4940931"/>
                <a:gd name="connsiteY670" fmla="*/ 29845 h 138429"/>
                <a:gd name="connsiteX671" fmla="*/ 3074031 w 4940931"/>
                <a:gd name="connsiteY671" fmla="*/ 32385 h 138429"/>
                <a:gd name="connsiteX672" fmla="*/ 3070221 w 4940931"/>
                <a:gd name="connsiteY672" fmla="*/ 46990 h 138429"/>
                <a:gd name="connsiteX673" fmla="*/ 3068951 w 4940931"/>
                <a:gd name="connsiteY673" fmla="*/ 46990 h 138429"/>
                <a:gd name="connsiteX674" fmla="*/ 3063871 w 4940931"/>
                <a:gd name="connsiteY674" fmla="*/ 45085 h 138429"/>
                <a:gd name="connsiteX675" fmla="*/ 3057521 w 4940931"/>
                <a:gd name="connsiteY675" fmla="*/ 44450 h 138429"/>
                <a:gd name="connsiteX676" fmla="*/ 3046091 w 4940931"/>
                <a:gd name="connsiteY676" fmla="*/ 49530 h 138429"/>
                <a:gd name="connsiteX677" fmla="*/ 3042281 w 4940931"/>
                <a:gd name="connsiteY677" fmla="*/ 64770 h 138429"/>
                <a:gd name="connsiteX678" fmla="*/ 3042281 w 4940931"/>
                <a:gd name="connsiteY678" fmla="*/ 109220 h 138429"/>
                <a:gd name="connsiteX679" fmla="*/ 3027041 w 4940931"/>
                <a:gd name="connsiteY679" fmla="*/ 109220 h 138429"/>
                <a:gd name="connsiteX680" fmla="*/ 3027041 w 4940931"/>
                <a:gd name="connsiteY680" fmla="*/ 31115 h 138429"/>
                <a:gd name="connsiteX681" fmla="*/ 3042281 w 4940931"/>
                <a:gd name="connsiteY681" fmla="*/ 31115 h 138429"/>
                <a:gd name="connsiteX682" fmla="*/ 3042281 w 4940931"/>
                <a:gd name="connsiteY682" fmla="*/ 38735 h 138429"/>
                <a:gd name="connsiteX683" fmla="*/ 3045456 w 4940931"/>
                <a:gd name="connsiteY683" fmla="*/ 34925 h 138429"/>
                <a:gd name="connsiteX684" fmla="*/ 3049901 w 4940931"/>
                <a:gd name="connsiteY684" fmla="*/ 31750 h 138429"/>
                <a:gd name="connsiteX685" fmla="*/ 3054981 w 4940931"/>
                <a:gd name="connsiteY685" fmla="*/ 29845 h 138429"/>
                <a:gd name="connsiteX686" fmla="*/ 3060696 w 4940931"/>
                <a:gd name="connsiteY686" fmla="*/ 29210 h 138429"/>
                <a:gd name="connsiteX687" fmla="*/ 2978781 w 4940931"/>
                <a:gd name="connsiteY687" fmla="*/ 29210 h 138429"/>
                <a:gd name="connsiteX688" fmla="*/ 2993386 w 4940931"/>
                <a:gd name="connsiteY688" fmla="*/ 32385 h 138429"/>
                <a:gd name="connsiteX689" fmla="*/ 3003546 w 4940931"/>
                <a:gd name="connsiteY689" fmla="*/ 40640 h 138429"/>
                <a:gd name="connsiteX690" fmla="*/ 3009896 w 4940931"/>
                <a:gd name="connsiteY690" fmla="*/ 53340 h 138429"/>
                <a:gd name="connsiteX691" fmla="*/ 3011801 w 4940931"/>
                <a:gd name="connsiteY691" fmla="*/ 68580 h 138429"/>
                <a:gd name="connsiteX692" fmla="*/ 3010531 w 4940931"/>
                <a:gd name="connsiteY692" fmla="*/ 68580 h 138429"/>
                <a:gd name="connsiteX693" fmla="*/ 3010531 w 4940931"/>
                <a:gd name="connsiteY693" fmla="*/ 72390 h 138429"/>
                <a:gd name="connsiteX694" fmla="*/ 3010531 w 4940931"/>
                <a:gd name="connsiteY694" fmla="*/ 75565 h 138429"/>
                <a:gd name="connsiteX695" fmla="*/ 2959096 w 4940931"/>
                <a:gd name="connsiteY695" fmla="*/ 75565 h 138429"/>
                <a:gd name="connsiteX696" fmla="*/ 2961636 w 4940931"/>
                <a:gd name="connsiteY696" fmla="*/ 85090 h 138429"/>
                <a:gd name="connsiteX697" fmla="*/ 2966081 w 4940931"/>
                <a:gd name="connsiteY697" fmla="*/ 91440 h 138429"/>
                <a:gd name="connsiteX698" fmla="*/ 2971796 w 4940931"/>
                <a:gd name="connsiteY698" fmla="*/ 95250 h 138429"/>
                <a:gd name="connsiteX699" fmla="*/ 2978781 w 4940931"/>
                <a:gd name="connsiteY699" fmla="*/ 96520 h 138429"/>
                <a:gd name="connsiteX700" fmla="*/ 2983861 w 4940931"/>
                <a:gd name="connsiteY700" fmla="*/ 96520 h 138429"/>
                <a:gd name="connsiteX701" fmla="*/ 2988306 w 4940931"/>
                <a:gd name="connsiteY701" fmla="*/ 95250 h 138429"/>
                <a:gd name="connsiteX702" fmla="*/ 2992116 w 4940931"/>
                <a:gd name="connsiteY702" fmla="*/ 93345 h 138429"/>
                <a:gd name="connsiteX703" fmla="*/ 2996561 w 4940931"/>
                <a:gd name="connsiteY703" fmla="*/ 90805 h 138429"/>
                <a:gd name="connsiteX704" fmla="*/ 3005451 w 4940931"/>
                <a:gd name="connsiteY704" fmla="*/ 100330 h 138429"/>
                <a:gd name="connsiteX705" fmla="*/ 2999736 w 4940931"/>
                <a:gd name="connsiteY705" fmla="*/ 104775 h 138429"/>
                <a:gd name="connsiteX706" fmla="*/ 2994021 w 4940931"/>
                <a:gd name="connsiteY706" fmla="*/ 107950 h 138429"/>
                <a:gd name="connsiteX707" fmla="*/ 2987036 w 4940931"/>
                <a:gd name="connsiteY707" fmla="*/ 109855 h 138429"/>
                <a:gd name="connsiteX708" fmla="*/ 2978146 w 4940931"/>
                <a:gd name="connsiteY708" fmla="*/ 110490 h 138429"/>
                <a:gd name="connsiteX709" fmla="*/ 2968621 w 4940931"/>
                <a:gd name="connsiteY709" fmla="*/ 109220 h 138429"/>
                <a:gd name="connsiteX710" fmla="*/ 2961001 w 4940931"/>
                <a:gd name="connsiteY710" fmla="*/ 105410 h 138429"/>
                <a:gd name="connsiteX711" fmla="*/ 2954651 w 4940931"/>
                <a:gd name="connsiteY711" fmla="*/ 100330 h 138429"/>
                <a:gd name="connsiteX712" fmla="*/ 2949571 w 4940931"/>
                <a:gd name="connsiteY712" fmla="*/ 92710 h 138429"/>
                <a:gd name="connsiteX713" fmla="*/ 2945761 w 4940931"/>
                <a:gd name="connsiteY713" fmla="*/ 82550 h 138429"/>
                <a:gd name="connsiteX714" fmla="*/ 2944491 w 4940931"/>
                <a:gd name="connsiteY714" fmla="*/ 69850 h 138429"/>
                <a:gd name="connsiteX715" fmla="*/ 2947031 w 4940931"/>
                <a:gd name="connsiteY715" fmla="*/ 52070 h 138429"/>
                <a:gd name="connsiteX716" fmla="*/ 2954016 w 4940931"/>
                <a:gd name="connsiteY716" fmla="*/ 39370 h 138429"/>
                <a:gd name="connsiteX717" fmla="*/ 2964811 w 4940931"/>
                <a:gd name="connsiteY717" fmla="*/ 31750 h 138429"/>
                <a:gd name="connsiteX718" fmla="*/ 2978781 w 4940931"/>
                <a:gd name="connsiteY718" fmla="*/ 29210 h 138429"/>
                <a:gd name="connsiteX719" fmla="*/ 2798440 w 4940931"/>
                <a:gd name="connsiteY719" fmla="*/ 29210 h 138429"/>
                <a:gd name="connsiteX720" fmla="*/ 2813045 w 4940931"/>
                <a:gd name="connsiteY720" fmla="*/ 31750 h 138429"/>
                <a:gd name="connsiteX721" fmla="*/ 2825110 w 4940931"/>
                <a:gd name="connsiteY721" fmla="*/ 38100 h 138429"/>
                <a:gd name="connsiteX722" fmla="*/ 2827015 w 4940931"/>
                <a:gd name="connsiteY722" fmla="*/ 38100 h 138429"/>
                <a:gd name="connsiteX723" fmla="*/ 2820030 w 4940931"/>
                <a:gd name="connsiteY723" fmla="*/ 50165 h 138429"/>
                <a:gd name="connsiteX724" fmla="*/ 2810505 w 4940931"/>
                <a:gd name="connsiteY724" fmla="*/ 45085 h 138429"/>
                <a:gd name="connsiteX725" fmla="*/ 2799710 w 4940931"/>
                <a:gd name="connsiteY725" fmla="*/ 43180 h 138429"/>
                <a:gd name="connsiteX726" fmla="*/ 2791455 w 4940931"/>
                <a:gd name="connsiteY726" fmla="*/ 45085 h 138429"/>
                <a:gd name="connsiteX727" fmla="*/ 2788915 w 4940931"/>
                <a:gd name="connsiteY727" fmla="*/ 50165 h 138429"/>
                <a:gd name="connsiteX728" fmla="*/ 2788915 w 4940931"/>
                <a:gd name="connsiteY728" fmla="*/ 52705 h 138429"/>
                <a:gd name="connsiteX729" fmla="*/ 2790820 w 4940931"/>
                <a:gd name="connsiteY729" fmla="*/ 55245 h 138429"/>
                <a:gd name="connsiteX730" fmla="*/ 2795265 w 4940931"/>
                <a:gd name="connsiteY730" fmla="*/ 57785 h 138429"/>
                <a:gd name="connsiteX731" fmla="*/ 2802250 w 4940931"/>
                <a:gd name="connsiteY731" fmla="*/ 60960 h 138429"/>
                <a:gd name="connsiteX732" fmla="*/ 2813680 w 4940931"/>
                <a:gd name="connsiteY732" fmla="*/ 66040 h 138429"/>
                <a:gd name="connsiteX733" fmla="*/ 2821935 w 4940931"/>
                <a:gd name="connsiteY733" fmla="*/ 71120 h 138429"/>
                <a:gd name="connsiteX734" fmla="*/ 2827015 w 4940931"/>
                <a:gd name="connsiteY734" fmla="*/ 78105 h 138429"/>
                <a:gd name="connsiteX735" fmla="*/ 2828920 w 4940931"/>
                <a:gd name="connsiteY735" fmla="*/ 87630 h 138429"/>
                <a:gd name="connsiteX736" fmla="*/ 2826380 w 4940931"/>
                <a:gd name="connsiteY736" fmla="*/ 98425 h 138429"/>
                <a:gd name="connsiteX737" fmla="*/ 2820030 w 4940931"/>
                <a:gd name="connsiteY737" fmla="*/ 105410 h 138429"/>
                <a:gd name="connsiteX738" fmla="*/ 2810505 w 4940931"/>
                <a:gd name="connsiteY738" fmla="*/ 109220 h 138429"/>
                <a:gd name="connsiteX739" fmla="*/ 2799710 w 4940931"/>
                <a:gd name="connsiteY739" fmla="*/ 110490 h 138429"/>
                <a:gd name="connsiteX740" fmla="*/ 2783835 w 4940931"/>
                <a:gd name="connsiteY740" fmla="*/ 107950 h 138429"/>
                <a:gd name="connsiteX741" fmla="*/ 2769230 w 4940931"/>
                <a:gd name="connsiteY741" fmla="*/ 100965 h 138429"/>
                <a:gd name="connsiteX742" fmla="*/ 2776215 w 4940931"/>
                <a:gd name="connsiteY742" fmla="*/ 89535 h 138429"/>
                <a:gd name="connsiteX743" fmla="*/ 2787645 w 4940931"/>
                <a:gd name="connsiteY743" fmla="*/ 95250 h 138429"/>
                <a:gd name="connsiteX744" fmla="*/ 2799075 w 4940931"/>
                <a:gd name="connsiteY744" fmla="*/ 97155 h 138429"/>
                <a:gd name="connsiteX745" fmla="*/ 2809870 w 4940931"/>
                <a:gd name="connsiteY745" fmla="*/ 94615 h 138429"/>
                <a:gd name="connsiteX746" fmla="*/ 2813045 w 4940931"/>
                <a:gd name="connsiteY746" fmla="*/ 88265 h 138429"/>
                <a:gd name="connsiteX747" fmla="*/ 2811775 w 4940931"/>
                <a:gd name="connsiteY747" fmla="*/ 84455 h 138429"/>
                <a:gd name="connsiteX748" fmla="*/ 2807965 w 4940931"/>
                <a:gd name="connsiteY748" fmla="*/ 81280 h 138429"/>
                <a:gd name="connsiteX749" fmla="*/ 2802250 w 4940931"/>
                <a:gd name="connsiteY749" fmla="*/ 78105 h 138429"/>
                <a:gd name="connsiteX750" fmla="*/ 2794630 w 4940931"/>
                <a:gd name="connsiteY750" fmla="*/ 74930 h 138429"/>
                <a:gd name="connsiteX751" fmla="*/ 2783835 w 4940931"/>
                <a:gd name="connsiteY751" fmla="*/ 69850 h 138429"/>
                <a:gd name="connsiteX752" fmla="*/ 2776850 w 4940931"/>
                <a:gd name="connsiteY752" fmla="*/ 64770 h 138429"/>
                <a:gd name="connsiteX753" fmla="*/ 2773040 w 4940931"/>
                <a:gd name="connsiteY753" fmla="*/ 58420 h 138429"/>
                <a:gd name="connsiteX754" fmla="*/ 2771770 w 4940931"/>
                <a:gd name="connsiteY754" fmla="*/ 50165 h 138429"/>
                <a:gd name="connsiteX755" fmla="*/ 2773675 w 4940931"/>
                <a:gd name="connsiteY755" fmla="*/ 40640 h 138429"/>
                <a:gd name="connsiteX756" fmla="*/ 2779390 w 4940931"/>
                <a:gd name="connsiteY756" fmla="*/ 34290 h 138429"/>
                <a:gd name="connsiteX757" fmla="*/ 2787645 w 4940931"/>
                <a:gd name="connsiteY757" fmla="*/ 30480 h 138429"/>
                <a:gd name="connsiteX758" fmla="*/ 2798440 w 4940931"/>
                <a:gd name="connsiteY758" fmla="*/ 29210 h 138429"/>
                <a:gd name="connsiteX759" fmla="*/ 2723510 w 4940931"/>
                <a:gd name="connsiteY759" fmla="*/ 29210 h 138429"/>
                <a:gd name="connsiteX760" fmla="*/ 2729225 w 4940931"/>
                <a:gd name="connsiteY760" fmla="*/ 29210 h 138429"/>
                <a:gd name="connsiteX761" fmla="*/ 2741290 w 4940931"/>
                <a:gd name="connsiteY761" fmla="*/ 31750 h 138429"/>
                <a:gd name="connsiteX762" fmla="*/ 2750180 w 4940931"/>
                <a:gd name="connsiteY762" fmla="*/ 38100 h 138429"/>
                <a:gd name="connsiteX763" fmla="*/ 2755260 w 4940931"/>
                <a:gd name="connsiteY763" fmla="*/ 48895 h 138429"/>
                <a:gd name="connsiteX764" fmla="*/ 2757165 w 4940931"/>
                <a:gd name="connsiteY764" fmla="*/ 64135 h 138429"/>
                <a:gd name="connsiteX765" fmla="*/ 2757165 w 4940931"/>
                <a:gd name="connsiteY765" fmla="*/ 108585 h 138429"/>
                <a:gd name="connsiteX766" fmla="*/ 2741925 w 4940931"/>
                <a:gd name="connsiteY766" fmla="*/ 108585 h 138429"/>
                <a:gd name="connsiteX767" fmla="*/ 2741290 w 4940931"/>
                <a:gd name="connsiteY767" fmla="*/ 108585 h 138429"/>
                <a:gd name="connsiteX768" fmla="*/ 2741290 w 4940931"/>
                <a:gd name="connsiteY768" fmla="*/ 64770 h 138429"/>
                <a:gd name="connsiteX769" fmla="*/ 2737480 w 4940931"/>
                <a:gd name="connsiteY769" fmla="*/ 48895 h 138429"/>
                <a:gd name="connsiteX770" fmla="*/ 2725415 w 4940931"/>
                <a:gd name="connsiteY770" fmla="*/ 43180 h 138429"/>
                <a:gd name="connsiteX771" fmla="*/ 2718430 w 4940931"/>
                <a:gd name="connsiteY771" fmla="*/ 44450 h 138429"/>
                <a:gd name="connsiteX772" fmla="*/ 2713350 w 4940931"/>
                <a:gd name="connsiteY772" fmla="*/ 48260 h 138429"/>
                <a:gd name="connsiteX773" fmla="*/ 2710175 w 4940931"/>
                <a:gd name="connsiteY773" fmla="*/ 54610 h 138429"/>
                <a:gd name="connsiteX774" fmla="*/ 2709540 w 4940931"/>
                <a:gd name="connsiteY774" fmla="*/ 62865 h 138429"/>
                <a:gd name="connsiteX775" fmla="*/ 2709540 w 4940931"/>
                <a:gd name="connsiteY775" fmla="*/ 108585 h 138429"/>
                <a:gd name="connsiteX776" fmla="*/ 2694300 w 4940931"/>
                <a:gd name="connsiteY776" fmla="*/ 108585 h 138429"/>
                <a:gd name="connsiteX777" fmla="*/ 2694300 w 4940931"/>
                <a:gd name="connsiteY777" fmla="*/ 30480 h 138429"/>
                <a:gd name="connsiteX778" fmla="*/ 2709540 w 4940931"/>
                <a:gd name="connsiteY778" fmla="*/ 30480 h 138429"/>
                <a:gd name="connsiteX779" fmla="*/ 2709540 w 4940931"/>
                <a:gd name="connsiteY779" fmla="*/ 38100 h 138429"/>
                <a:gd name="connsiteX780" fmla="*/ 2713350 w 4940931"/>
                <a:gd name="connsiteY780" fmla="*/ 34290 h 138429"/>
                <a:gd name="connsiteX781" fmla="*/ 2717795 w 4940931"/>
                <a:gd name="connsiteY781" fmla="*/ 31115 h 138429"/>
                <a:gd name="connsiteX782" fmla="*/ 2723510 w 4940931"/>
                <a:gd name="connsiteY782" fmla="*/ 29210 h 138429"/>
                <a:gd name="connsiteX783" fmla="*/ 2530470 w 4940931"/>
                <a:gd name="connsiteY783" fmla="*/ 29210 h 138429"/>
                <a:gd name="connsiteX784" fmla="*/ 2545075 w 4940931"/>
                <a:gd name="connsiteY784" fmla="*/ 32385 h 138429"/>
                <a:gd name="connsiteX785" fmla="*/ 2555235 w 4940931"/>
                <a:gd name="connsiteY785" fmla="*/ 40640 h 138429"/>
                <a:gd name="connsiteX786" fmla="*/ 2561585 w 4940931"/>
                <a:gd name="connsiteY786" fmla="*/ 53340 h 138429"/>
                <a:gd name="connsiteX787" fmla="*/ 2563490 w 4940931"/>
                <a:gd name="connsiteY787" fmla="*/ 68580 h 138429"/>
                <a:gd name="connsiteX788" fmla="*/ 2562220 w 4940931"/>
                <a:gd name="connsiteY788" fmla="*/ 68580 h 138429"/>
                <a:gd name="connsiteX789" fmla="*/ 2562220 w 4940931"/>
                <a:gd name="connsiteY789" fmla="*/ 72390 h 138429"/>
                <a:gd name="connsiteX790" fmla="*/ 2562220 w 4940931"/>
                <a:gd name="connsiteY790" fmla="*/ 75565 h 138429"/>
                <a:gd name="connsiteX791" fmla="*/ 2510785 w 4940931"/>
                <a:gd name="connsiteY791" fmla="*/ 75565 h 138429"/>
                <a:gd name="connsiteX792" fmla="*/ 2513325 w 4940931"/>
                <a:gd name="connsiteY792" fmla="*/ 85090 h 138429"/>
                <a:gd name="connsiteX793" fmla="*/ 2517770 w 4940931"/>
                <a:gd name="connsiteY793" fmla="*/ 91440 h 138429"/>
                <a:gd name="connsiteX794" fmla="*/ 2523485 w 4940931"/>
                <a:gd name="connsiteY794" fmla="*/ 95250 h 138429"/>
                <a:gd name="connsiteX795" fmla="*/ 2530470 w 4940931"/>
                <a:gd name="connsiteY795" fmla="*/ 96520 h 138429"/>
                <a:gd name="connsiteX796" fmla="*/ 2535550 w 4940931"/>
                <a:gd name="connsiteY796" fmla="*/ 96520 h 138429"/>
                <a:gd name="connsiteX797" fmla="*/ 2539995 w 4940931"/>
                <a:gd name="connsiteY797" fmla="*/ 95250 h 138429"/>
                <a:gd name="connsiteX798" fmla="*/ 2543805 w 4940931"/>
                <a:gd name="connsiteY798" fmla="*/ 93345 h 138429"/>
                <a:gd name="connsiteX799" fmla="*/ 2548250 w 4940931"/>
                <a:gd name="connsiteY799" fmla="*/ 90805 h 138429"/>
                <a:gd name="connsiteX800" fmla="*/ 2557140 w 4940931"/>
                <a:gd name="connsiteY800" fmla="*/ 100330 h 138429"/>
                <a:gd name="connsiteX801" fmla="*/ 2551425 w 4940931"/>
                <a:gd name="connsiteY801" fmla="*/ 104775 h 138429"/>
                <a:gd name="connsiteX802" fmla="*/ 2545710 w 4940931"/>
                <a:gd name="connsiteY802" fmla="*/ 107950 h 138429"/>
                <a:gd name="connsiteX803" fmla="*/ 2538725 w 4940931"/>
                <a:gd name="connsiteY803" fmla="*/ 109855 h 138429"/>
                <a:gd name="connsiteX804" fmla="*/ 2529835 w 4940931"/>
                <a:gd name="connsiteY804" fmla="*/ 110490 h 138429"/>
                <a:gd name="connsiteX805" fmla="*/ 2520310 w 4940931"/>
                <a:gd name="connsiteY805" fmla="*/ 109220 h 138429"/>
                <a:gd name="connsiteX806" fmla="*/ 2512690 w 4940931"/>
                <a:gd name="connsiteY806" fmla="*/ 105410 h 138429"/>
                <a:gd name="connsiteX807" fmla="*/ 2506340 w 4940931"/>
                <a:gd name="connsiteY807" fmla="*/ 100330 h 138429"/>
                <a:gd name="connsiteX808" fmla="*/ 2501260 w 4940931"/>
                <a:gd name="connsiteY808" fmla="*/ 92710 h 138429"/>
                <a:gd name="connsiteX809" fmla="*/ 2497450 w 4940931"/>
                <a:gd name="connsiteY809" fmla="*/ 82550 h 138429"/>
                <a:gd name="connsiteX810" fmla="*/ 2496180 w 4940931"/>
                <a:gd name="connsiteY810" fmla="*/ 69850 h 138429"/>
                <a:gd name="connsiteX811" fmla="*/ 2498720 w 4940931"/>
                <a:gd name="connsiteY811" fmla="*/ 52070 h 138429"/>
                <a:gd name="connsiteX812" fmla="*/ 2505705 w 4940931"/>
                <a:gd name="connsiteY812" fmla="*/ 39370 h 138429"/>
                <a:gd name="connsiteX813" fmla="*/ 2516500 w 4940931"/>
                <a:gd name="connsiteY813" fmla="*/ 31750 h 138429"/>
                <a:gd name="connsiteX814" fmla="*/ 2530470 w 4940931"/>
                <a:gd name="connsiteY814" fmla="*/ 29210 h 138429"/>
                <a:gd name="connsiteX815" fmla="*/ 2298061 w 4940931"/>
                <a:gd name="connsiteY815" fmla="*/ 29210 h 138429"/>
                <a:gd name="connsiteX816" fmla="*/ 2305681 w 4940931"/>
                <a:gd name="connsiteY816" fmla="*/ 29845 h 138429"/>
                <a:gd name="connsiteX817" fmla="*/ 2311396 w 4940931"/>
                <a:gd name="connsiteY817" fmla="*/ 32385 h 138429"/>
                <a:gd name="connsiteX818" fmla="*/ 2307586 w 4940931"/>
                <a:gd name="connsiteY818" fmla="*/ 46990 h 138429"/>
                <a:gd name="connsiteX819" fmla="*/ 2306316 w 4940931"/>
                <a:gd name="connsiteY819" fmla="*/ 46990 h 138429"/>
                <a:gd name="connsiteX820" fmla="*/ 2301236 w 4940931"/>
                <a:gd name="connsiteY820" fmla="*/ 45085 h 138429"/>
                <a:gd name="connsiteX821" fmla="*/ 2294886 w 4940931"/>
                <a:gd name="connsiteY821" fmla="*/ 44450 h 138429"/>
                <a:gd name="connsiteX822" fmla="*/ 2283456 w 4940931"/>
                <a:gd name="connsiteY822" fmla="*/ 49530 h 138429"/>
                <a:gd name="connsiteX823" fmla="*/ 2279646 w 4940931"/>
                <a:gd name="connsiteY823" fmla="*/ 64770 h 138429"/>
                <a:gd name="connsiteX824" fmla="*/ 2279646 w 4940931"/>
                <a:gd name="connsiteY824" fmla="*/ 109220 h 138429"/>
                <a:gd name="connsiteX825" fmla="*/ 2264406 w 4940931"/>
                <a:gd name="connsiteY825" fmla="*/ 109220 h 138429"/>
                <a:gd name="connsiteX826" fmla="*/ 2264406 w 4940931"/>
                <a:gd name="connsiteY826" fmla="*/ 31115 h 138429"/>
                <a:gd name="connsiteX827" fmla="*/ 2279646 w 4940931"/>
                <a:gd name="connsiteY827" fmla="*/ 31115 h 138429"/>
                <a:gd name="connsiteX828" fmla="*/ 2279646 w 4940931"/>
                <a:gd name="connsiteY828" fmla="*/ 38735 h 138429"/>
                <a:gd name="connsiteX829" fmla="*/ 2282821 w 4940931"/>
                <a:gd name="connsiteY829" fmla="*/ 34925 h 138429"/>
                <a:gd name="connsiteX830" fmla="*/ 2287266 w 4940931"/>
                <a:gd name="connsiteY830" fmla="*/ 31750 h 138429"/>
                <a:gd name="connsiteX831" fmla="*/ 2292346 w 4940931"/>
                <a:gd name="connsiteY831" fmla="*/ 29845 h 138429"/>
                <a:gd name="connsiteX832" fmla="*/ 2298061 w 4940931"/>
                <a:gd name="connsiteY832" fmla="*/ 29210 h 138429"/>
                <a:gd name="connsiteX833" fmla="*/ 2216145 w 4940931"/>
                <a:gd name="connsiteY833" fmla="*/ 29210 h 138429"/>
                <a:gd name="connsiteX834" fmla="*/ 2230750 w 4940931"/>
                <a:gd name="connsiteY834" fmla="*/ 32385 h 138429"/>
                <a:gd name="connsiteX835" fmla="*/ 2240910 w 4940931"/>
                <a:gd name="connsiteY835" fmla="*/ 40640 h 138429"/>
                <a:gd name="connsiteX836" fmla="*/ 2247260 w 4940931"/>
                <a:gd name="connsiteY836" fmla="*/ 53340 h 138429"/>
                <a:gd name="connsiteX837" fmla="*/ 2249165 w 4940931"/>
                <a:gd name="connsiteY837" fmla="*/ 68580 h 138429"/>
                <a:gd name="connsiteX838" fmla="*/ 2247895 w 4940931"/>
                <a:gd name="connsiteY838" fmla="*/ 68580 h 138429"/>
                <a:gd name="connsiteX839" fmla="*/ 2247895 w 4940931"/>
                <a:gd name="connsiteY839" fmla="*/ 72390 h 138429"/>
                <a:gd name="connsiteX840" fmla="*/ 2247895 w 4940931"/>
                <a:gd name="connsiteY840" fmla="*/ 75565 h 138429"/>
                <a:gd name="connsiteX841" fmla="*/ 2196460 w 4940931"/>
                <a:gd name="connsiteY841" fmla="*/ 75565 h 138429"/>
                <a:gd name="connsiteX842" fmla="*/ 2199000 w 4940931"/>
                <a:gd name="connsiteY842" fmla="*/ 85090 h 138429"/>
                <a:gd name="connsiteX843" fmla="*/ 2203445 w 4940931"/>
                <a:gd name="connsiteY843" fmla="*/ 91440 h 138429"/>
                <a:gd name="connsiteX844" fmla="*/ 2209160 w 4940931"/>
                <a:gd name="connsiteY844" fmla="*/ 95250 h 138429"/>
                <a:gd name="connsiteX845" fmla="*/ 2216145 w 4940931"/>
                <a:gd name="connsiteY845" fmla="*/ 96520 h 138429"/>
                <a:gd name="connsiteX846" fmla="*/ 2221225 w 4940931"/>
                <a:gd name="connsiteY846" fmla="*/ 96520 h 138429"/>
                <a:gd name="connsiteX847" fmla="*/ 2225670 w 4940931"/>
                <a:gd name="connsiteY847" fmla="*/ 95250 h 138429"/>
                <a:gd name="connsiteX848" fmla="*/ 2229480 w 4940931"/>
                <a:gd name="connsiteY848" fmla="*/ 93345 h 138429"/>
                <a:gd name="connsiteX849" fmla="*/ 2233925 w 4940931"/>
                <a:gd name="connsiteY849" fmla="*/ 90805 h 138429"/>
                <a:gd name="connsiteX850" fmla="*/ 2242815 w 4940931"/>
                <a:gd name="connsiteY850" fmla="*/ 100330 h 138429"/>
                <a:gd name="connsiteX851" fmla="*/ 2237100 w 4940931"/>
                <a:gd name="connsiteY851" fmla="*/ 104775 h 138429"/>
                <a:gd name="connsiteX852" fmla="*/ 2231385 w 4940931"/>
                <a:gd name="connsiteY852" fmla="*/ 107950 h 138429"/>
                <a:gd name="connsiteX853" fmla="*/ 2224400 w 4940931"/>
                <a:gd name="connsiteY853" fmla="*/ 109855 h 138429"/>
                <a:gd name="connsiteX854" fmla="*/ 2215510 w 4940931"/>
                <a:gd name="connsiteY854" fmla="*/ 110490 h 138429"/>
                <a:gd name="connsiteX855" fmla="*/ 2205985 w 4940931"/>
                <a:gd name="connsiteY855" fmla="*/ 109220 h 138429"/>
                <a:gd name="connsiteX856" fmla="*/ 2198365 w 4940931"/>
                <a:gd name="connsiteY856" fmla="*/ 105410 h 138429"/>
                <a:gd name="connsiteX857" fmla="*/ 2192015 w 4940931"/>
                <a:gd name="connsiteY857" fmla="*/ 100330 h 138429"/>
                <a:gd name="connsiteX858" fmla="*/ 2186935 w 4940931"/>
                <a:gd name="connsiteY858" fmla="*/ 92710 h 138429"/>
                <a:gd name="connsiteX859" fmla="*/ 2183125 w 4940931"/>
                <a:gd name="connsiteY859" fmla="*/ 82550 h 138429"/>
                <a:gd name="connsiteX860" fmla="*/ 2181855 w 4940931"/>
                <a:gd name="connsiteY860" fmla="*/ 69850 h 138429"/>
                <a:gd name="connsiteX861" fmla="*/ 2184395 w 4940931"/>
                <a:gd name="connsiteY861" fmla="*/ 52070 h 138429"/>
                <a:gd name="connsiteX862" fmla="*/ 2191380 w 4940931"/>
                <a:gd name="connsiteY862" fmla="*/ 39370 h 138429"/>
                <a:gd name="connsiteX863" fmla="*/ 2202175 w 4940931"/>
                <a:gd name="connsiteY863" fmla="*/ 31750 h 138429"/>
                <a:gd name="connsiteX864" fmla="*/ 2216145 w 4940931"/>
                <a:gd name="connsiteY864" fmla="*/ 29210 h 138429"/>
                <a:gd name="connsiteX865" fmla="*/ 2029456 w 4940931"/>
                <a:gd name="connsiteY865" fmla="*/ 29210 h 138429"/>
                <a:gd name="connsiteX866" fmla="*/ 2044061 w 4940931"/>
                <a:gd name="connsiteY866" fmla="*/ 32385 h 138429"/>
                <a:gd name="connsiteX867" fmla="*/ 2054221 w 4940931"/>
                <a:gd name="connsiteY867" fmla="*/ 40640 h 138429"/>
                <a:gd name="connsiteX868" fmla="*/ 2060571 w 4940931"/>
                <a:gd name="connsiteY868" fmla="*/ 53340 h 138429"/>
                <a:gd name="connsiteX869" fmla="*/ 2062476 w 4940931"/>
                <a:gd name="connsiteY869" fmla="*/ 68580 h 138429"/>
                <a:gd name="connsiteX870" fmla="*/ 2061206 w 4940931"/>
                <a:gd name="connsiteY870" fmla="*/ 68580 h 138429"/>
                <a:gd name="connsiteX871" fmla="*/ 2061206 w 4940931"/>
                <a:gd name="connsiteY871" fmla="*/ 72390 h 138429"/>
                <a:gd name="connsiteX872" fmla="*/ 2061206 w 4940931"/>
                <a:gd name="connsiteY872" fmla="*/ 75565 h 138429"/>
                <a:gd name="connsiteX873" fmla="*/ 2009771 w 4940931"/>
                <a:gd name="connsiteY873" fmla="*/ 75565 h 138429"/>
                <a:gd name="connsiteX874" fmla="*/ 2012311 w 4940931"/>
                <a:gd name="connsiteY874" fmla="*/ 85090 h 138429"/>
                <a:gd name="connsiteX875" fmla="*/ 2016756 w 4940931"/>
                <a:gd name="connsiteY875" fmla="*/ 91440 h 138429"/>
                <a:gd name="connsiteX876" fmla="*/ 2022471 w 4940931"/>
                <a:gd name="connsiteY876" fmla="*/ 95250 h 138429"/>
                <a:gd name="connsiteX877" fmla="*/ 2029456 w 4940931"/>
                <a:gd name="connsiteY877" fmla="*/ 96520 h 138429"/>
                <a:gd name="connsiteX878" fmla="*/ 2034536 w 4940931"/>
                <a:gd name="connsiteY878" fmla="*/ 96520 h 138429"/>
                <a:gd name="connsiteX879" fmla="*/ 2038981 w 4940931"/>
                <a:gd name="connsiteY879" fmla="*/ 95250 h 138429"/>
                <a:gd name="connsiteX880" fmla="*/ 2042791 w 4940931"/>
                <a:gd name="connsiteY880" fmla="*/ 93345 h 138429"/>
                <a:gd name="connsiteX881" fmla="*/ 2047236 w 4940931"/>
                <a:gd name="connsiteY881" fmla="*/ 90805 h 138429"/>
                <a:gd name="connsiteX882" fmla="*/ 2056126 w 4940931"/>
                <a:gd name="connsiteY882" fmla="*/ 100330 h 138429"/>
                <a:gd name="connsiteX883" fmla="*/ 2050411 w 4940931"/>
                <a:gd name="connsiteY883" fmla="*/ 104775 h 138429"/>
                <a:gd name="connsiteX884" fmla="*/ 2044696 w 4940931"/>
                <a:gd name="connsiteY884" fmla="*/ 107950 h 138429"/>
                <a:gd name="connsiteX885" fmla="*/ 2037711 w 4940931"/>
                <a:gd name="connsiteY885" fmla="*/ 109855 h 138429"/>
                <a:gd name="connsiteX886" fmla="*/ 2028821 w 4940931"/>
                <a:gd name="connsiteY886" fmla="*/ 110490 h 138429"/>
                <a:gd name="connsiteX887" fmla="*/ 2019296 w 4940931"/>
                <a:gd name="connsiteY887" fmla="*/ 109220 h 138429"/>
                <a:gd name="connsiteX888" fmla="*/ 2011676 w 4940931"/>
                <a:gd name="connsiteY888" fmla="*/ 105410 h 138429"/>
                <a:gd name="connsiteX889" fmla="*/ 2005326 w 4940931"/>
                <a:gd name="connsiteY889" fmla="*/ 100330 h 138429"/>
                <a:gd name="connsiteX890" fmla="*/ 2000246 w 4940931"/>
                <a:gd name="connsiteY890" fmla="*/ 92710 h 138429"/>
                <a:gd name="connsiteX891" fmla="*/ 1996436 w 4940931"/>
                <a:gd name="connsiteY891" fmla="*/ 82550 h 138429"/>
                <a:gd name="connsiteX892" fmla="*/ 1995166 w 4940931"/>
                <a:gd name="connsiteY892" fmla="*/ 69850 h 138429"/>
                <a:gd name="connsiteX893" fmla="*/ 1997706 w 4940931"/>
                <a:gd name="connsiteY893" fmla="*/ 52070 h 138429"/>
                <a:gd name="connsiteX894" fmla="*/ 2004691 w 4940931"/>
                <a:gd name="connsiteY894" fmla="*/ 39370 h 138429"/>
                <a:gd name="connsiteX895" fmla="*/ 2015486 w 4940931"/>
                <a:gd name="connsiteY895" fmla="*/ 31750 h 138429"/>
                <a:gd name="connsiteX896" fmla="*/ 2029456 w 4940931"/>
                <a:gd name="connsiteY896" fmla="*/ 29210 h 138429"/>
                <a:gd name="connsiteX897" fmla="*/ 1831336 w 4940931"/>
                <a:gd name="connsiteY897" fmla="*/ 29210 h 138429"/>
                <a:gd name="connsiteX898" fmla="*/ 1845941 w 4940931"/>
                <a:gd name="connsiteY898" fmla="*/ 32385 h 138429"/>
                <a:gd name="connsiteX899" fmla="*/ 1856101 w 4940931"/>
                <a:gd name="connsiteY899" fmla="*/ 40640 h 138429"/>
                <a:gd name="connsiteX900" fmla="*/ 1862451 w 4940931"/>
                <a:gd name="connsiteY900" fmla="*/ 53340 h 138429"/>
                <a:gd name="connsiteX901" fmla="*/ 1864356 w 4940931"/>
                <a:gd name="connsiteY901" fmla="*/ 68580 h 138429"/>
                <a:gd name="connsiteX902" fmla="*/ 1863086 w 4940931"/>
                <a:gd name="connsiteY902" fmla="*/ 68580 h 138429"/>
                <a:gd name="connsiteX903" fmla="*/ 1863086 w 4940931"/>
                <a:gd name="connsiteY903" fmla="*/ 72390 h 138429"/>
                <a:gd name="connsiteX904" fmla="*/ 1863086 w 4940931"/>
                <a:gd name="connsiteY904" fmla="*/ 75565 h 138429"/>
                <a:gd name="connsiteX905" fmla="*/ 1811651 w 4940931"/>
                <a:gd name="connsiteY905" fmla="*/ 75565 h 138429"/>
                <a:gd name="connsiteX906" fmla="*/ 1814191 w 4940931"/>
                <a:gd name="connsiteY906" fmla="*/ 85090 h 138429"/>
                <a:gd name="connsiteX907" fmla="*/ 1818636 w 4940931"/>
                <a:gd name="connsiteY907" fmla="*/ 91440 h 138429"/>
                <a:gd name="connsiteX908" fmla="*/ 1824351 w 4940931"/>
                <a:gd name="connsiteY908" fmla="*/ 95250 h 138429"/>
                <a:gd name="connsiteX909" fmla="*/ 1831336 w 4940931"/>
                <a:gd name="connsiteY909" fmla="*/ 96520 h 138429"/>
                <a:gd name="connsiteX910" fmla="*/ 1836416 w 4940931"/>
                <a:gd name="connsiteY910" fmla="*/ 96520 h 138429"/>
                <a:gd name="connsiteX911" fmla="*/ 1840861 w 4940931"/>
                <a:gd name="connsiteY911" fmla="*/ 95250 h 138429"/>
                <a:gd name="connsiteX912" fmla="*/ 1844671 w 4940931"/>
                <a:gd name="connsiteY912" fmla="*/ 93345 h 138429"/>
                <a:gd name="connsiteX913" fmla="*/ 1849116 w 4940931"/>
                <a:gd name="connsiteY913" fmla="*/ 90805 h 138429"/>
                <a:gd name="connsiteX914" fmla="*/ 1858006 w 4940931"/>
                <a:gd name="connsiteY914" fmla="*/ 100330 h 138429"/>
                <a:gd name="connsiteX915" fmla="*/ 1852291 w 4940931"/>
                <a:gd name="connsiteY915" fmla="*/ 104775 h 138429"/>
                <a:gd name="connsiteX916" fmla="*/ 1846576 w 4940931"/>
                <a:gd name="connsiteY916" fmla="*/ 107950 h 138429"/>
                <a:gd name="connsiteX917" fmla="*/ 1839591 w 4940931"/>
                <a:gd name="connsiteY917" fmla="*/ 109855 h 138429"/>
                <a:gd name="connsiteX918" fmla="*/ 1830701 w 4940931"/>
                <a:gd name="connsiteY918" fmla="*/ 110490 h 138429"/>
                <a:gd name="connsiteX919" fmla="*/ 1821176 w 4940931"/>
                <a:gd name="connsiteY919" fmla="*/ 109220 h 138429"/>
                <a:gd name="connsiteX920" fmla="*/ 1813556 w 4940931"/>
                <a:gd name="connsiteY920" fmla="*/ 105410 h 138429"/>
                <a:gd name="connsiteX921" fmla="*/ 1807206 w 4940931"/>
                <a:gd name="connsiteY921" fmla="*/ 100330 h 138429"/>
                <a:gd name="connsiteX922" fmla="*/ 1802126 w 4940931"/>
                <a:gd name="connsiteY922" fmla="*/ 92710 h 138429"/>
                <a:gd name="connsiteX923" fmla="*/ 1798316 w 4940931"/>
                <a:gd name="connsiteY923" fmla="*/ 82550 h 138429"/>
                <a:gd name="connsiteX924" fmla="*/ 1797046 w 4940931"/>
                <a:gd name="connsiteY924" fmla="*/ 69850 h 138429"/>
                <a:gd name="connsiteX925" fmla="*/ 1799586 w 4940931"/>
                <a:gd name="connsiteY925" fmla="*/ 52070 h 138429"/>
                <a:gd name="connsiteX926" fmla="*/ 1806571 w 4940931"/>
                <a:gd name="connsiteY926" fmla="*/ 39370 h 138429"/>
                <a:gd name="connsiteX927" fmla="*/ 1817366 w 4940931"/>
                <a:gd name="connsiteY927" fmla="*/ 31750 h 138429"/>
                <a:gd name="connsiteX928" fmla="*/ 1831336 w 4940931"/>
                <a:gd name="connsiteY928" fmla="*/ 29210 h 138429"/>
                <a:gd name="connsiteX929" fmla="*/ 1501140 w 4940931"/>
                <a:gd name="connsiteY929" fmla="*/ 29210 h 138429"/>
                <a:gd name="connsiteX930" fmla="*/ 1506856 w 4940931"/>
                <a:gd name="connsiteY930" fmla="*/ 29210 h 138429"/>
                <a:gd name="connsiteX931" fmla="*/ 1518920 w 4940931"/>
                <a:gd name="connsiteY931" fmla="*/ 31750 h 138429"/>
                <a:gd name="connsiteX932" fmla="*/ 1527811 w 4940931"/>
                <a:gd name="connsiteY932" fmla="*/ 38100 h 138429"/>
                <a:gd name="connsiteX933" fmla="*/ 1532891 w 4940931"/>
                <a:gd name="connsiteY933" fmla="*/ 48895 h 138429"/>
                <a:gd name="connsiteX934" fmla="*/ 1534796 w 4940931"/>
                <a:gd name="connsiteY934" fmla="*/ 64135 h 138429"/>
                <a:gd name="connsiteX935" fmla="*/ 1534796 w 4940931"/>
                <a:gd name="connsiteY935" fmla="*/ 108585 h 138429"/>
                <a:gd name="connsiteX936" fmla="*/ 1519556 w 4940931"/>
                <a:gd name="connsiteY936" fmla="*/ 108585 h 138429"/>
                <a:gd name="connsiteX937" fmla="*/ 1518920 w 4940931"/>
                <a:gd name="connsiteY937" fmla="*/ 108585 h 138429"/>
                <a:gd name="connsiteX938" fmla="*/ 1518920 w 4940931"/>
                <a:gd name="connsiteY938" fmla="*/ 64770 h 138429"/>
                <a:gd name="connsiteX939" fmla="*/ 1515111 w 4940931"/>
                <a:gd name="connsiteY939" fmla="*/ 48895 h 138429"/>
                <a:gd name="connsiteX940" fmla="*/ 1503046 w 4940931"/>
                <a:gd name="connsiteY940" fmla="*/ 43180 h 138429"/>
                <a:gd name="connsiteX941" fmla="*/ 1496061 w 4940931"/>
                <a:gd name="connsiteY941" fmla="*/ 44450 h 138429"/>
                <a:gd name="connsiteX942" fmla="*/ 1490981 w 4940931"/>
                <a:gd name="connsiteY942" fmla="*/ 48260 h 138429"/>
                <a:gd name="connsiteX943" fmla="*/ 1487806 w 4940931"/>
                <a:gd name="connsiteY943" fmla="*/ 54610 h 138429"/>
                <a:gd name="connsiteX944" fmla="*/ 1487170 w 4940931"/>
                <a:gd name="connsiteY944" fmla="*/ 62865 h 138429"/>
                <a:gd name="connsiteX945" fmla="*/ 1487170 w 4940931"/>
                <a:gd name="connsiteY945" fmla="*/ 108585 h 138429"/>
                <a:gd name="connsiteX946" fmla="*/ 1471931 w 4940931"/>
                <a:gd name="connsiteY946" fmla="*/ 108585 h 138429"/>
                <a:gd name="connsiteX947" fmla="*/ 1471931 w 4940931"/>
                <a:gd name="connsiteY947" fmla="*/ 30480 h 138429"/>
                <a:gd name="connsiteX948" fmla="*/ 1487170 w 4940931"/>
                <a:gd name="connsiteY948" fmla="*/ 30480 h 138429"/>
                <a:gd name="connsiteX949" fmla="*/ 1487170 w 4940931"/>
                <a:gd name="connsiteY949" fmla="*/ 38100 h 138429"/>
                <a:gd name="connsiteX950" fmla="*/ 1490981 w 4940931"/>
                <a:gd name="connsiteY950" fmla="*/ 34290 h 138429"/>
                <a:gd name="connsiteX951" fmla="*/ 1495426 w 4940931"/>
                <a:gd name="connsiteY951" fmla="*/ 31115 h 138429"/>
                <a:gd name="connsiteX952" fmla="*/ 1501140 w 4940931"/>
                <a:gd name="connsiteY952" fmla="*/ 29210 h 138429"/>
                <a:gd name="connsiteX953" fmla="*/ 1250316 w 4940931"/>
                <a:gd name="connsiteY953" fmla="*/ 29210 h 138429"/>
                <a:gd name="connsiteX954" fmla="*/ 1264286 w 4940931"/>
                <a:gd name="connsiteY954" fmla="*/ 31750 h 138429"/>
                <a:gd name="connsiteX955" fmla="*/ 1276350 w 4940931"/>
                <a:gd name="connsiteY955" fmla="*/ 38100 h 138429"/>
                <a:gd name="connsiteX956" fmla="*/ 1278256 w 4940931"/>
                <a:gd name="connsiteY956" fmla="*/ 38100 h 138429"/>
                <a:gd name="connsiteX957" fmla="*/ 1271271 w 4940931"/>
                <a:gd name="connsiteY957" fmla="*/ 50165 h 138429"/>
                <a:gd name="connsiteX958" fmla="*/ 1261746 w 4940931"/>
                <a:gd name="connsiteY958" fmla="*/ 45085 h 138429"/>
                <a:gd name="connsiteX959" fmla="*/ 1250951 w 4940931"/>
                <a:gd name="connsiteY959" fmla="*/ 43180 h 138429"/>
                <a:gd name="connsiteX960" fmla="*/ 1242696 w 4940931"/>
                <a:gd name="connsiteY960" fmla="*/ 45085 h 138429"/>
                <a:gd name="connsiteX961" fmla="*/ 1240156 w 4940931"/>
                <a:gd name="connsiteY961" fmla="*/ 50165 h 138429"/>
                <a:gd name="connsiteX962" fmla="*/ 1240156 w 4940931"/>
                <a:gd name="connsiteY962" fmla="*/ 52705 h 138429"/>
                <a:gd name="connsiteX963" fmla="*/ 1242061 w 4940931"/>
                <a:gd name="connsiteY963" fmla="*/ 55245 h 138429"/>
                <a:gd name="connsiteX964" fmla="*/ 1246506 w 4940931"/>
                <a:gd name="connsiteY964" fmla="*/ 57785 h 138429"/>
                <a:gd name="connsiteX965" fmla="*/ 1253491 w 4940931"/>
                <a:gd name="connsiteY965" fmla="*/ 60960 h 138429"/>
                <a:gd name="connsiteX966" fmla="*/ 1264921 w 4940931"/>
                <a:gd name="connsiteY966" fmla="*/ 66040 h 138429"/>
                <a:gd name="connsiteX967" fmla="*/ 1273176 w 4940931"/>
                <a:gd name="connsiteY967" fmla="*/ 71120 h 138429"/>
                <a:gd name="connsiteX968" fmla="*/ 1278256 w 4940931"/>
                <a:gd name="connsiteY968" fmla="*/ 78105 h 138429"/>
                <a:gd name="connsiteX969" fmla="*/ 1280161 w 4940931"/>
                <a:gd name="connsiteY969" fmla="*/ 87630 h 138429"/>
                <a:gd name="connsiteX970" fmla="*/ 1277621 w 4940931"/>
                <a:gd name="connsiteY970" fmla="*/ 98425 h 138429"/>
                <a:gd name="connsiteX971" fmla="*/ 1271271 w 4940931"/>
                <a:gd name="connsiteY971" fmla="*/ 105410 h 138429"/>
                <a:gd name="connsiteX972" fmla="*/ 1261746 w 4940931"/>
                <a:gd name="connsiteY972" fmla="*/ 109220 h 138429"/>
                <a:gd name="connsiteX973" fmla="*/ 1250951 w 4940931"/>
                <a:gd name="connsiteY973" fmla="*/ 110490 h 138429"/>
                <a:gd name="connsiteX974" fmla="*/ 1235711 w 4940931"/>
                <a:gd name="connsiteY974" fmla="*/ 107950 h 138429"/>
                <a:gd name="connsiteX975" fmla="*/ 1221106 w 4940931"/>
                <a:gd name="connsiteY975" fmla="*/ 100965 h 138429"/>
                <a:gd name="connsiteX976" fmla="*/ 1228091 w 4940931"/>
                <a:gd name="connsiteY976" fmla="*/ 89535 h 138429"/>
                <a:gd name="connsiteX977" fmla="*/ 1239521 w 4940931"/>
                <a:gd name="connsiteY977" fmla="*/ 95250 h 138429"/>
                <a:gd name="connsiteX978" fmla="*/ 1250951 w 4940931"/>
                <a:gd name="connsiteY978" fmla="*/ 97155 h 138429"/>
                <a:gd name="connsiteX979" fmla="*/ 1261746 w 4940931"/>
                <a:gd name="connsiteY979" fmla="*/ 94615 h 138429"/>
                <a:gd name="connsiteX980" fmla="*/ 1264921 w 4940931"/>
                <a:gd name="connsiteY980" fmla="*/ 88265 h 138429"/>
                <a:gd name="connsiteX981" fmla="*/ 1263650 w 4940931"/>
                <a:gd name="connsiteY981" fmla="*/ 84455 h 138429"/>
                <a:gd name="connsiteX982" fmla="*/ 1259841 w 4940931"/>
                <a:gd name="connsiteY982" fmla="*/ 81280 h 138429"/>
                <a:gd name="connsiteX983" fmla="*/ 1254125 w 4940931"/>
                <a:gd name="connsiteY983" fmla="*/ 78105 h 138429"/>
                <a:gd name="connsiteX984" fmla="*/ 1246506 w 4940931"/>
                <a:gd name="connsiteY984" fmla="*/ 74930 h 138429"/>
                <a:gd name="connsiteX985" fmla="*/ 1235711 w 4940931"/>
                <a:gd name="connsiteY985" fmla="*/ 69850 h 138429"/>
                <a:gd name="connsiteX986" fmla="*/ 1228726 w 4940931"/>
                <a:gd name="connsiteY986" fmla="*/ 64770 h 138429"/>
                <a:gd name="connsiteX987" fmla="*/ 1224916 w 4940931"/>
                <a:gd name="connsiteY987" fmla="*/ 58420 h 138429"/>
                <a:gd name="connsiteX988" fmla="*/ 1223646 w 4940931"/>
                <a:gd name="connsiteY988" fmla="*/ 50165 h 138429"/>
                <a:gd name="connsiteX989" fmla="*/ 1225551 w 4940931"/>
                <a:gd name="connsiteY989" fmla="*/ 40640 h 138429"/>
                <a:gd name="connsiteX990" fmla="*/ 1231266 w 4940931"/>
                <a:gd name="connsiteY990" fmla="*/ 34290 h 138429"/>
                <a:gd name="connsiteX991" fmla="*/ 1239521 w 4940931"/>
                <a:gd name="connsiteY991" fmla="*/ 30480 h 138429"/>
                <a:gd name="connsiteX992" fmla="*/ 1250316 w 4940931"/>
                <a:gd name="connsiteY992" fmla="*/ 29210 h 138429"/>
                <a:gd name="connsiteX993" fmla="*/ 1180466 w 4940931"/>
                <a:gd name="connsiteY993" fmla="*/ 29210 h 138429"/>
                <a:gd name="connsiteX994" fmla="*/ 1195071 w 4940931"/>
                <a:gd name="connsiteY994" fmla="*/ 32385 h 138429"/>
                <a:gd name="connsiteX995" fmla="*/ 1205231 w 4940931"/>
                <a:gd name="connsiteY995" fmla="*/ 40640 h 138429"/>
                <a:gd name="connsiteX996" fmla="*/ 1211581 w 4940931"/>
                <a:gd name="connsiteY996" fmla="*/ 53340 h 138429"/>
                <a:gd name="connsiteX997" fmla="*/ 1213486 w 4940931"/>
                <a:gd name="connsiteY997" fmla="*/ 68580 h 138429"/>
                <a:gd name="connsiteX998" fmla="*/ 1212216 w 4940931"/>
                <a:gd name="connsiteY998" fmla="*/ 68580 h 138429"/>
                <a:gd name="connsiteX999" fmla="*/ 1212216 w 4940931"/>
                <a:gd name="connsiteY999" fmla="*/ 72390 h 138429"/>
                <a:gd name="connsiteX1000" fmla="*/ 1212216 w 4940931"/>
                <a:gd name="connsiteY1000" fmla="*/ 75565 h 138429"/>
                <a:gd name="connsiteX1001" fmla="*/ 1160781 w 4940931"/>
                <a:gd name="connsiteY1001" fmla="*/ 75565 h 138429"/>
                <a:gd name="connsiteX1002" fmla="*/ 1163321 w 4940931"/>
                <a:gd name="connsiteY1002" fmla="*/ 85090 h 138429"/>
                <a:gd name="connsiteX1003" fmla="*/ 1167766 w 4940931"/>
                <a:gd name="connsiteY1003" fmla="*/ 91440 h 138429"/>
                <a:gd name="connsiteX1004" fmla="*/ 1173481 w 4940931"/>
                <a:gd name="connsiteY1004" fmla="*/ 95250 h 138429"/>
                <a:gd name="connsiteX1005" fmla="*/ 1180466 w 4940931"/>
                <a:gd name="connsiteY1005" fmla="*/ 96520 h 138429"/>
                <a:gd name="connsiteX1006" fmla="*/ 1185546 w 4940931"/>
                <a:gd name="connsiteY1006" fmla="*/ 96520 h 138429"/>
                <a:gd name="connsiteX1007" fmla="*/ 1189991 w 4940931"/>
                <a:gd name="connsiteY1007" fmla="*/ 95250 h 138429"/>
                <a:gd name="connsiteX1008" fmla="*/ 1193801 w 4940931"/>
                <a:gd name="connsiteY1008" fmla="*/ 93345 h 138429"/>
                <a:gd name="connsiteX1009" fmla="*/ 1198246 w 4940931"/>
                <a:gd name="connsiteY1009" fmla="*/ 90805 h 138429"/>
                <a:gd name="connsiteX1010" fmla="*/ 1207136 w 4940931"/>
                <a:gd name="connsiteY1010" fmla="*/ 100330 h 138429"/>
                <a:gd name="connsiteX1011" fmla="*/ 1201421 w 4940931"/>
                <a:gd name="connsiteY1011" fmla="*/ 104775 h 138429"/>
                <a:gd name="connsiteX1012" fmla="*/ 1195706 w 4940931"/>
                <a:gd name="connsiteY1012" fmla="*/ 107950 h 138429"/>
                <a:gd name="connsiteX1013" fmla="*/ 1188721 w 4940931"/>
                <a:gd name="connsiteY1013" fmla="*/ 109855 h 138429"/>
                <a:gd name="connsiteX1014" fmla="*/ 1179831 w 4940931"/>
                <a:gd name="connsiteY1014" fmla="*/ 110490 h 138429"/>
                <a:gd name="connsiteX1015" fmla="*/ 1170306 w 4940931"/>
                <a:gd name="connsiteY1015" fmla="*/ 109220 h 138429"/>
                <a:gd name="connsiteX1016" fmla="*/ 1162686 w 4940931"/>
                <a:gd name="connsiteY1016" fmla="*/ 105410 h 138429"/>
                <a:gd name="connsiteX1017" fmla="*/ 1156336 w 4940931"/>
                <a:gd name="connsiteY1017" fmla="*/ 100330 h 138429"/>
                <a:gd name="connsiteX1018" fmla="*/ 1151256 w 4940931"/>
                <a:gd name="connsiteY1018" fmla="*/ 92710 h 138429"/>
                <a:gd name="connsiteX1019" fmla="*/ 1147446 w 4940931"/>
                <a:gd name="connsiteY1019" fmla="*/ 82550 h 138429"/>
                <a:gd name="connsiteX1020" fmla="*/ 1146176 w 4940931"/>
                <a:gd name="connsiteY1020" fmla="*/ 69850 h 138429"/>
                <a:gd name="connsiteX1021" fmla="*/ 1148716 w 4940931"/>
                <a:gd name="connsiteY1021" fmla="*/ 52070 h 138429"/>
                <a:gd name="connsiteX1022" fmla="*/ 1155701 w 4940931"/>
                <a:gd name="connsiteY1022" fmla="*/ 39370 h 138429"/>
                <a:gd name="connsiteX1023" fmla="*/ 1166496 w 4940931"/>
                <a:gd name="connsiteY1023" fmla="*/ 31750 h 138429"/>
                <a:gd name="connsiteX1024" fmla="*/ 1180466 w 4940931"/>
                <a:gd name="connsiteY1024" fmla="*/ 29210 h 138429"/>
                <a:gd name="connsiteX1025" fmla="*/ 901065 w 4940931"/>
                <a:gd name="connsiteY1025" fmla="*/ 29210 h 138429"/>
                <a:gd name="connsiteX1026" fmla="*/ 915670 w 4940931"/>
                <a:gd name="connsiteY1026" fmla="*/ 32385 h 138429"/>
                <a:gd name="connsiteX1027" fmla="*/ 925830 w 4940931"/>
                <a:gd name="connsiteY1027" fmla="*/ 40640 h 138429"/>
                <a:gd name="connsiteX1028" fmla="*/ 932180 w 4940931"/>
                <a:gd name="connsiteY1028" fmla="*/ 53340 h 138429"/>
                <a:gd name="connsiteX1029" fmla="*/ 934085 w 4940931"/>
                <a:gd name="connsiteY1029" fmla="*/ 68580 h 138429"/>
                <a:gd name="connsiteX1030" fmla="*/ 932815 w 4940931"/>
                <a:gd name="connsiteY1030" fmla="*/ 68580 h 138429"/>
                <a:gd name="connsiteX1031" fmla="*/ 932815 w 4940931"/>
                <a:gd name="connsiteY1031" fmla="*/ 72390 h 138429"/>
                <a:gd name="connsiteX1032" fmla="*/ 932815 w 4940931"/>
                <a:gd name="connsiteY1032" fmla="*/ 75565 h 138429"/>
                <a:gd name="connsiteX1033" fmla="*/ 881380 w 4940931"/>
                <a:gd name="connsiteY1033" fmla="*/ 75565 h 138429"/>
                <a:gd name="connsiteX1034" fmla="*/ 883920 w 4940931"/>
                <a:gd name="connsiteY1034" fmla="*/ 85090 h 138429"/>
                <a:gd name="connsiteX1035" fmla="*/ 888365 w 4940931"/>
                <a:gd name="connsiteY1035" fmla="*/ 91440 h 138429"/>
                <a:gd name="connsiteX1036" fmla="*/ 894080 w 4940931"/>
                <a:gd name="connsiteY1036" fmla="*/ 95250 h 138429"/>
                <a:gd name="connsiteX1037" fmla="*/ 901065 w 4940931"/>
                <a:gd name="connsiteY1037" fmla="*/ 96520 h 138429"/>
                <a:gd name="connsiteX1038" fmla="*/ 906145 w 4940931"/>
                <a:gd name="connsiteY1038" fmla="*/ 96520 h 138429"/>
                <a:gd name="connsiteX1039" fmla="*/ 910590 w 4940931"/>
                <a:gd name="connsiteY1039" fmla="*/ 95250 h 138429"/>
                <a:gd name="connsiteX1040" fmla="*/ 914400 w 4940931"/>
                <a:gd name="connsiteY1040" fmla="*/ 93345 h 138429"/>
                <a:gd name="connsiteX1041" fmla="*/ 918845 w 4940931"/>
                <a:gd name="connsiteY1041" fmla="*/ 90805 h 138429"/>
                <a:gd name="connsiteX1042" fmla="*/ 927735 w 4940931"/>
                <a:gd name="connsiteY1042" fmla="*/ 100330 h 138429"/>
                <a:gd name="connsiteX1043" fmla="*/ 922020 w 4940931"/>
                <a:gd name="connsiteY1043" fmla="*/ 104775 h 138429"/>
                <a:gd name="connsiteX1044" fmla="*/ 916305 w 4940931"/>
                <a:gd name="connsiteY1044" fmla="*/ 107950 h 138429"/>
                <a:gd name="connsiteX1045" fmla="*/ 909320 w 4940931"/>
                <a:gd name="connsiteY1045" fmla="*/ 109855 h 138429"/>
                <a:gd name="connsiteX1046" fmla="*/ 900430 w 4940931"/>
                <a:gd name="connsiteY1046" fmla="*/ 110490 h 138429"/>
                <a:gd name="connsiteX1047" fmla="*/ 890905 w 4940931"/>
                <a:gd name="connsiteY1047" fmla="*/ 109220 h 138429"/>
                <a:gd name="connsiteX1048" fmla="*/ 883285 w 4940931"/>
                <a:gd name="connsiteY1048" fmla="*/ 105410 h 138429"/>
                <a:gd name="connsiteX1049" fmla="*/ 876935 w 4940931"/>
                <a:gd name="connsiteY1049" fmla="*/ 100330 h 138429"/>
                <a:gd name="connsiteX1050" fmla="*/ 871855 w 4940931"/>
                <a:gd name="connsiteY1050" fmla="*/ 92710 h 138429"/>
                <a:gd name="connsiteX1051" fmla="*/ 868045 w 4940931"/>
                <a:gd name="connsiteY1051" fmla="*/ 82550 h 138429"/>
                <a:gd name="connsiteX1052" fmla="*/ 866775 w 4940931"/>
                <a:gd name="connsiteY1052" fmla="*/ 69850 h 138429"/>
                <a:gd name="connsiteX1053" fmla="*/ 869315 w 4940931"/>
                <a:gd name="connsiteY1053" fmla="*/ 52070 h 138429"/>
                <a:gd name="connsiteX1054" fmla="*/ 876300 w 4940931"/>
                <a:gd name="connsiteY1054" fmla="*/ 39370 h 138429"/>
                <a:gd name="connsiteX1055" fmla="*/ 887095 w 4940931"/>
                <a:gd name="connsiteY1055" fmla="*/ 31750 h 138429"/>
                <a:gd name="connsiteX1056" fmla="*/ 901065 w 4940931"/>
                <a:gd name="connsiteY1056" fmla="*/ 29210 h 138429"/>
                <a:gd name="connsiteX1057" fmla="*/ 668656 w 4940931"/>
                <a:gd name="connsiteY1057" fmla="*/ 29210 h 138429"/>
                <a:gd name="connsiteX1058" fmla="*/ 676275 w 4940931"/>
                <a:gd name="connsiteY1058" fmla="*/ 29845 h 138429"/>
                <a:gd name="connsiteX1059" fmla="*/ 681991 w 4940931"/>
                <a:gd name="connsiteY1059" fmla="*/ 32385 h 138429"/>
                <a:gd name="connsiteX1060" fmla="*/ 678181 w 4940931"/>
                <a:gd name="connsiteY1060" fmla="*/ 46990 h 138429"/>
                <a:gd name="connsiteX1061" fmla="*/ 676910 w 4940931"/>
                <a:gd name="connsiteY1061" fmla="*/ 46990 h 138429"/>
                <a:gd name="connsiteX1062" fmla="*/ 671830 w 4940931"/>
                <a:gd name="connsiteY1062" fmla="*/ 45085 h 138429"/>
                <a:gd name="connsiteX1063" fmla="*/ 665480 w 4940931"/>
                <a:gd name="connsiteY1063" fmla="*/ 44450 h 138429"/>
                <a:gd name="connsiteX1064" fmla="*/ 654050 w 4940931"/>
                <a:gd name="connsiteY1064" fmla="*/ 49530 h 138429"/>
                <a:gd name="connsiteX1065" fmla="*/ 650240 w 4940931"/>
                <a:gd name="connsiteY1065" fmla="*/ 64770 h 138429"/>
                <a:gd name="connsiteX1066" fmla="*/ 650240 w 4940931"/>
                <a:gd name="connsiteY1066" fmla="*/ 109220 h 138429"/>
                <a:gd name="connsiteX1067" fmla="*/ 635000 w 4940931"/>
                <a:gd name="connsiteY1067" fmla="*/ 109220 h 138429"/>
                <a:gd name="connsiteX1068" fmla="*/ 635000 w 4940931"/>
                <a:gd name="connsiteY1068" fmla="*/ 31115 h 138429"/>
                <a:gd name="connsiteX1069" fmla="*/ 650240 w 4940931"/>
                <a:gd name="connsiteY1069" fmla="*/ 31115 h 138429"/>
                <a:gd name="connsiteX1070" fmla="*/ 650240 w 4940931"/>
                <a:gd name="connsiteY1070" fmla="*/ 38735 h 138429"/>
                <a:gd name="connsiteX1071" fmla="*/ 653416 w 4940931"/>
                <a:gd name="connsiteY1071" fmla="*/ 34925 h 138429"/>
                <a:gd name="connsiteX1072" fmla="*/ 657861 w 4940931"/>
                <a:gd name="connsiteY1072" fmla="*/ 31750 h 138429"/>
                <a:gd name="connsiteX1073" fmla="*/ 662940 w 4940931"/>
                <a:gd name="connsiteY1073" fmla="*/ 29845 h 138429"/>
                <a:gd name="connsiteX1074" fmla="*/ 668656 w 4940931"/>
                <a:gd name="connsiteY1074" fmla="*/ 29210 h 138429"/>
                <a:gd name="connsiteX1075" fmla="*/ 586739 w 4940931"/>
                <a:gd name="connsiteY1075" fmla="*/ 29210 h 138429"/>
                <a:gd name="connsiteX1076" fmla="*/ 601344 w 4940931"/>
                <a:gd name="connsiteY1076" fmla="*/ 32385 h 138429"/>
                <a:gd name="connsiteX1077" fmla="*/ 611504 w 4940931"/>
                <a:gd name="connsiteY1077" fmla="*/ 40640 h 138429"/>
                <a:gd name="connsiteX1078" fmla="*/ 617854 w 4940931"/>
                <a:gd name="connsiteY1078" fmla="*/ 53340 h 138429"/>
                <a:gd name="connsiteX1079" fmla="*/ 619759 w 4940931"/>
                <a:gd name="connsiteY1079" fmla="*/ 68580 h 138429"/>
                <a:gd name="connsiteX1080" fmla="*/ 618489 w 4940931"/>
                <a:gd name="connsiteY1080" fmla="*/ 68580 h 138429"/>
                <a:gd name="connsiteX1081" fmla="*/ 618489 w 4940931"/>
                <a:gd name="connsiteY1081" fmla="*/ 72390 h 138429"/>
                <a:gd name="connsiteX1082" fmla="*/ 618489 w 4940931"/>
                <a:gd name="connsiteY1082" fmla="*/ 75565 h 138429"/>
                <a:gd name="connsiteX1083" fmla="*/ 567054 w 4940931"/>
                <a:gd name="connsiteY1083" fmla="*/ 75565 h 138429"/>
                <a:gd name="connsiteX1084" fmla="*/ 569594 w 4940931"/>
                <a:gd name="connsiteY1084" fmla="*/ 85090 h 138429"/>
                <a:gd name="connsiteX1085" fmla="*/ 574039 w 4940931"/>
                <a:gd name="connsiteY1085" fmla="*/ 91440 h 138429"/>
                <a:gd name="connsiteX1086" fmla="*/ 579754 w 4940931"/>
                <a:gd name="connsiteY1086" fmla="*/ 95250 h 138429"/>
                <a:gd name="connsiteX1087" fmla="*/ 586739 w 4940931"/>
                <a:gd name="connsiteY1087" fmla="*/ 96520 h 138429"/>
                <a:gd name="connsiteX1088" fmla="*/ 591819 w 4940931"/>
                <a:gd name="connsiteY1088" fmla="*/ 96520 h 138429"/>
                <a:gd name="connsiteX1089" fmla="*/ 596264 w 4940931"/>
                <a:gd name="connsiteY1089" fmla="*/ 95250 h 138429"/>
                <a:gd name="connsiteX1090" fmla="*/ 600074 w 4940931"/>
                <a:gd name="connsiteY1090" fmla="*/ 93345 h 138429"/>
                <a:gd name="connsiteX1091" fmla="*/ 604519 w 4940931"/>
                <a:gd name="connsiteY1091" fmla="*/ 90805 h 138429"/>
                <a:gd name="connsiteX1092" fmla="*/ 613409 w 4940931"/>
                <a:gd name="connsiteY1092" fmla="*/ 100330 h 138429"/>
                <a:gd name="connsiteX1093" fmla="*/ 607694 w 4940931"/>
                <a:gd name="connsiteY1093" fmla="*/ 104775 h 138429"/>
                <a:gd name="connsiteX1094" fmla="*/ 601979 w 4940931"/>
                <a:gd name="connsiteY1094" fmla="*/ 107950 h 138429"/>
                <a:gd name="connsiteX1095" fmla="*/ 594994 w 4940931"/>
                <a:gd name="connsiteY1095" fmla="*/ 109855 h 138429"/>
                <a:gd name="connsiteX1096" fmla="*/ 586104 w 4940931"/>
                <a:gd name="connsiteY1096" fmla="*/ 110490 h 138429"/>
                <a:gd name="connsiteX1097" fmla="*/ 576579 w 4940931"/>
                <a:gd name="connsiteY1097" fmla="*/ 109220 h 138429"/>
                <a:gd name="connsiteX1098" fmla="*/ 568959 w 4940931"/>
                <a:gd name="connsiteY1098" fmla="*/ 105410 h 138429"/>
                <a:gd name="connsiteX1099" fmla="*/ 562609 w 4940931"/>
                <a:gd name="connsiteY1099" fmla="*/ 100330 h 138429"/>
                <a:gd name="connsiteX1100" fmla="*/ 557529 w 4940931"/>
                <a:gd name="connsiteY1100" fmla="*/ 92710 h 138429"/>
                <a:gd name="connsiteX1101" fmla="*/ 553719 w 4940931"/>
                <a:gd name="connsiteY1101" fmla="*/ 82550 h 138429"/>
                <a:gd name="connsiteX1102" fmla="*/ 552449 w 4940931"/>
                <a:gd name="connsiteY1102" fmla="*/ 69850 h 138429"/>
                <a:gd name="connsiteX1103" fmla="*/ 554989 w 4940931"/>
                <a:gd name="connsiteY1103" fmla="*/ 52070 h 138429"/>
                <a:gd name="connsiteX1104" fmla="*/ 561974 w 4940931"/>
                <a:gd name="connsiteY1104" fmla="*/ 39370 h 138429"/>
                <a:gd name="connsiteX1105" fmla="*/ 572769 w 4940931"/>
                <a:gd name="connsiteY1105" fmla="*/ 31750 h 138429"/>
                <a:gd name="connsiteX1106" fmla="*/ 586739 w 4940931"/>
                <a:gd name="connsiteY1106" fmla="*/ 29210 h 138429"/>
                <a:gd name="connsiteX1107" fmla="*/ 400050 w 4940931"/>
                <a:gd name="connsiteY1107" fmla="*/ 29210 h 138429"/>
                <a:gd name="connsiteX1108" fmla="*/ 414655 w 4940931"/>
                <a:gd name="connsiteY1108" fmla="*/ 32385 h 138429"/>
                <a:gd name="connsiteX1109" fmla="*/ 424815 w 4940931"/>
                <a:gd name="connsiteY1109" fmla="*/ 40640 h 138429"/>
                <a:gd name="connsiteX1110" fmla="*/ 431165 w 4940931"/>
                <a:gd name="connsiteY1110" fmla="*/ 53340 h 138429"/>
                <a:gd name="connsiteX1111" fmla="*/ 433070 w 4940931"/>
                <a:gd name="connsiteY1111" fmla="*/ 68580 h 138429"/>
                <a:gd name="connsiteX1112" fmla="*/ 431800 w 4940931"/>
                <a:gd name="connsiteY1112" fmla="*/ 68580 h 138429"/>
                <a:gd name="connsiteX1113" fmla="*/ 431800 w 4940931"/>
                <a:gd name="connsiteY1113" fmla="*/ 72390 h 138429"/>
                <a:gd name="connsiteX1114" fmla="*/ 431800 w 4940931"/>
                <a:gd name="connsiteY1114" fmla="*/ 75565 h 138429"/>
                <a:gd name="connsiteX1115" fmla="*/ 380365 w 4940931"/>
                <a:gd name="connsiteY1115" fmla="*/ 75565 h 138429"/>
                <a:gd name="connsiteX1116" fmla="*/ 382905 w 4940931"/>
                <a:gd name="connsiteY1116" fmla="*/ 85090 h 138429"/>
                <a:gd name="connsiteX1117" fmla="*/ 387350 w 4940931"/>
                <a:gd name="connsiteY1117" fmla="*/ 91440 h 138429"/>
                <a:gd name="connsiteX1118" fmla="*/ 393065 w 4940931"/>
                <a:gd name="connsiteY1118" fmla="*/ 95250 h 138429"/>
                <a:gd name="connsiteX1119" fmla="*/ 400050 w 4940931"/>
                <a:gd name="connsiteY1119" fmla="*/ 96520 h 138429"/>
                <a:gd name="connsiteX1120" fmla="*/ 405130 w 4940931"/>
                <a:gd name="connsiteY1120" fmla="*/ 96520 h 138429"/>
                <a:gd name="connsiteX1121" fmla="*/ 409575 w 4940931"/>
                <a:gd name="connsiteY1121" fmla="*/ 95250 h 138429"/>
                <a:gd name="connsiteX1122" fmla="*/ 413385 w 4940931"/>
                <a:gd name="connsiteY1122" fmla="*/ 93345 h 138429"/>
                <a:gd name="connsiteX1123" fmla="*/ 417830 w 4940931"/>
                <a:gd name="connsiteY1123" fmla="*/ 90805 h 138429"/>
                <a:gd name="connsiteX1124" fmla="*/ 426720 w 4940931"/>
                <a:gd name="connsiteY1124" fmla="*/ 100330 h 138429"/>
                <a:gd name="connsiteX1125" fmla="*/ 421005 w 4940931"/>
                <a:gd name="connsiteY1125" fmla="*/ 104775 h 138429"/>
                <a:gd name="connsiteX1126" fmla="*/ 415290 w 4940931"/>
                <a:gd name="connsiteY1126" fmla="*/ 107950 h 138429"/>
                <a:gd name="connsiteX1127" fmla="*/ 408305 w 4940931"/>
                <a:gd name="connsiteY1127" fmla="*/ 109855 h 138429"/>
                <a:gd name="connsiteX1128" fmla="*/ 399415 w 4940931"/>
                <a:gd name="connsiteY1128" fmla="*/ 110490 h 138429"/>
                <a:gd name="connsiteX1129" fmla="*/ 389890 w 4940931"/>
                <a:gd name="connsiteY1129" fmla="*/ 109220 h 138429"/>
                <a:gd name="connsiteX1130" fmla="*/ 382270 w 4940931"/>
                <a:gd name="connsiteY1130" fmla="*/ 105410 h 138429"/>
                <a:gd name="connsiteX1131" fmla="*/ 375920 w 4940931"/>
                <a:gd name="connsiteY1131" fmla="*/ 100330 h 138429"/>
                <a:gd name="connsiteX1132" fmla="*/ 370840 w 4940931"/>
                <a:gd name="connsiteY1132" fmla="*/ 92710 h 138429"/>
                <a:gd name="connsiteX1133" fmla="*/ 367030 w 4940931"/>
                <a:gd name="connsiteY1133" fmla="*/ 82550 h 138429"/>
                <a:gd name="connsiteX1134" fmla="*/ 365760 w 4940931"/>
                <a:gd name="connsiteY1134" fmla="*/ 69850 h 138429"/>
                <a:gd name="connsiteX1135" fmla="*/ 368300 w 4940931"/>
                <a:gd name="connsiteY1135" fmla="*/ 52070 h 138429"/>
                <a:gd name="connsiteX1136" fmla="*/ 375285 w 4940931"/>
                <a:gd name="connsiteY1136" fmla="*/ 39370 h 138429"/>
                <a:gd name="connsiteX1137" fmla="*/ 386080 w 4940931"/>
                <a:gd name="connsiteY1137" fmla="*/ 31750 h 138429"/>
                <a:gd name="connsiteX1138" fmla="*/ 400050 w 4940931"/>
                <a:gd name="connsiteY1138" fmla="*/ 29210 h 138429"/>
                <a:gd name="connsiteX1139" fmla="*/ 201930 w 4940931"/>
                <a:gd name="connsiteY1139" fmla="*/ 29210 h 138429"/>
                <a:gd name="connsiteX1140" fmla="*/ 216535 w 4940931"/>
                <a:gd name="connsiteY1140" fmla="*/ 32385 h 138429"/>
                <a:gd name="connsiteX1141" fmla="*/ 226695 w 4940931"/>
                <a:gd name="connsiteY1141" fmla="*/ 40640 h 138429"/>
                <a:gd name="connsiteX1142" fmla="*/ 233045 w 4940931"/>
                <a:gd name="connsiteY1142" fmla="*/ 53340 h 138429"/>
                <a:gd name="connsiteX1143" fmla="*/ 234950 w 4940931"/>
                <a:gd name="connsiteY1143" fmla="*/ 68580 h 138429"/>
                <a:gd name="connsiteX1144" fmla="*/ 233680 w 4940931"/>
                <a:gd name="connsiteY1144" fmla="*/ 68580 h 138429"/>
                <a:gd name="connsiteX1145" fmla="*/ 233680 w 4940931"/>
                <a:gd name="connsiteY1145" fmla="*/ 72390 h 138429"/>
                <a:gd name="connsiteX1146" fmla="*/ 233680 w 4940931"/>
                <a:gd name="connsiteY1146" fmla="*/ 75565 h 138429"/>
                <a:gd name="connsiteX1147" fmla="*/ 182245 w 4940931"/>
                <a:gd name="connsiteY1147" fmla="*/ 75565 h 138429"/>
                <a:gd name="connsiteX1148" fmla="*/ 184785 w 4940931"/>
                <a:gd name="connsiteY1148" fmla="*/ 85090 h 138429"/>
                <a:gd name="connsiteX1149" fmla="*/ 189230 w 4940931"/>
                <a:gd name="connsiteY1149" fmla="*/ 91440 h 138429"/>
                <a:gd name="connsiteX1150" fmla="*/ 194945 w 4940931"/>
                <a:gd name="connsiteY1150" fmla="*/ 95250 h 138429"/>
                <a:gd name="connsiteX1151" fmla="*/ 201930 w 4940931"/>
                <a:gd name="connsiteY1151" fmla="*/ 96520 h 138429"/>
                <a:gd name="connsiteX1152" fmla="*/ 207010 w 4940931"/>
                <a:gd name="connsiteY1152" fmla="*/ 96520 h 138429"/>
                <a:gd name="connsiteX1153" fmla="*/ 211455 w 4940931"/>
                <a:gd name="connsiteY1153" fmla="*/ 95250 h 138429"/>
                <a:gd name="connsiteX1154" fmla="*/ 215265 w 4940931"/>
                <a:gd name="connsiteY1154" fmla="*/ 93345 h 138429"/>
                <a:gd name="connsiteX1155" fmla="*/ 219710 w 4940931"/>
                <a:gd name="connsiteY1155" fmla="*/ 90805 h 138429"/>
                <a:gd name="connsiteX1156" fmla="*/ 228600 w 4940931"/>
                <a:gd name="connsiteY1156" fmla="*/ 100330 h 138429"/>
                <a:gd name="connsiteX1157" fmla="*/ 222885 w 4940931"/>
                <a:gd name="connsiteY1157" fmla="*/ 104775 h 138429"/>
                <a:gd name="connsiteX1158" fmla="*/ 217170 w 4940931"/>
                <a:gd name="connsiteY1158" fmla="*/ 107950 h 138429"/>
                <a:gd name="connsiteX1159" fmla="*/ 210185 w 4940931"/>
                <a:gd name="connsiteY1159" fmla="*/ 109855 h 138429"/>
                <a:gd name="connsiteX1160" fmla="*/ 201295 w 4940931"/>
                <a:gd name="connsiteY1160" fmla="*/ 110490 h 138429"/>
                <a:gd name="connsiteX1161" fmla="*/ 191770 w 4940931"/>
                <a:gd name="connsiteY1161" fmla="*/ 109220 h 138429"/>
                <a:gd name="connsiteX1162" fmla="*/ 184150 w 4940931"/>
                <a:gd name="connsiteY1162" fmla="*/ 105410 h 138429"/>
                <a:gd name="connsiteX1163" fmla="*/ 177800 w 4940931"/>
                <a:gd name="connsiteY1163" fmla="*/ 100330 h 138429"/>
                <a:gd name="connsiteX1164" fmla="*/ 172720 w 4940931"/>
                <a:gd name="connsiteY1164" fmla="*/ 92710 h 138429"/>
                <a:gd name="connsiteX1165" fmla="*/ 168910 w 4940931"/>
                <a:gd name="connsiteY1165" fmla="*/ 82550 h 138429"/>
                <a:gd name="connsiteX1166" fmla="*/ 167640 w 4940931"/>
                <a:gd name="connsiteY1166" fmla="*/ 69850 h 138429"/>
                <a:gd name="connsiteX1167" fmla="*/ 170180 w 4940931"/>
                <a:gd name="connsiteY1167" fmla="*/ 52070 h 138429"/>
                <a:gd name="connsiteX1168" fmla="*/ 177165 w 4940931"/>
                <a:gd name="connsiteY1168" fmla="*/ 39370 h 138429"/>
                <a:gd name="connsiteX1169" fmla="*/ 187960 w 4940931"/>
                <a:gd name="connsiteY1169" fmla="*/ 31750 h 138429"/>
                <a:gd name="connsiteX1170" fmla="*/ 201930 w 4940931"/>
                <a:gd name="connsiteY1170" fmla="*/ 29210 h 138429"/>
                <a:gd name="connsiteX1171" fmla="*/ 4664706 w 4940931"/>
                <a:gd name="connsiteY1171" fmla="*/ 28574 h 138429"/>
                <a:gd name="connsiteX1172" fmla="*/ 4678676 w 4940931"/>
                <a:gd name="connsiteY1172" fmla="*/ 31749 h 138429"/>
                <a:gd name="connsiteX1173" fmla="*/ 4689471 w 4940931"/>
                <a:gd name="connsiteY1173" fmla="*/ 40004 h 138429"/>
                <a:gd name="connsiteX1174" fmla="*/ 4696456 w 4940931"/>
                <a:gd name="connsiteY1174" fmla="*/ 52704 h 138429"/>
                <a:gd name="connsiteX1175" fmla="*/ 4698996 w 4940931"/>
                <a:gd name="connsiteY1175" fmla="*/ 69214 h 138429"/>
                <a:gd name="connsiteX1176" fmla="*/ 4699631 w 4940931"/>
                <a:gd name="connsiteY1176" fmla="*/ 69214 h 138429"/>
                <a:gd name="connsiteX1177" fmla="*/ 4697091 w 4940931"/>
                <a:gd name="connsiteY1177" fmla="*/ 86359 h 138429"/>
                <a:gd name="connsiteX1178" fmla="*/ 4689471 w 4940931"/>
                <a:gd name="connsiteY1178" fmla="*/ 99059 h 138429"/>
                <a:gd name="connsiteX1179" fmla="*/ 4678041 w 4940931"/>
                <a:gd name="connsiteY1179" fmla="*/ 107314 h 138429"/>
                <a:gd name="connsiteX1180" fmla="*/ 4664071 w 4940931"/>
                <a:gd name="connsiteY1180" fmla="*/ 109854 h 138429"/>
                <a:gd name="connsiteX1181" fmla="*/ 4650101 w 4940931"/>
                <a:gd name="connsiteY1181" fmla="*/ 106679 h 138429"/>
                <a:gd name="connsiteX1182" fmla="*/ 4639306 w 4940931"/>
                <a:gd name="connsiteY1182" fmla="*/ 98424 h 138429"/>
                <a:gd name="connsiteX1183" fmla="*/ 4632321 w 4940931"/>
                <a:gd name="connsiteY1183" fmla="*/ 85724 h 138429"/>
                <a:gd name="connsiteX1184" fmla="*/ 4629781 w 4940931"/>
                <a:gd name="connsiteY1184" fmla="*/ 69214 h 138429"/>
                <a:gd name="connsiteX1185" fmla="*/ 4632321 w 4940931"/>
                <a:gd name="connsiteY1185" fmla="*/ 52069 h 138429"/>
                <a:gd name="connsiteX1186" fmla="*/ 4639941 w 4940931"/>
                <a:gd name="connsiteY1186" fmla="*/ 39369 h 138429"/>
                <a:gd name="connsiteX1187" fmla="*/ 4650736 w 4940931"/>
                <a:gd name="connsiteY1187" fmla="*/ 31114 h 138429"/>
                <a:gd name="connsiteX1188" fmla="*/ 4664706 w 4940931"/>
                <a:gd name="connsiteY1188" fmla="*/ 28574 h 138429"/>
                <a:gd name="connsiteX1189" fmla="*/ 4264655 w 4940931"/>
                <a:gd name="connsiteY1189" fmla="*/ 28574 h 138429"/>
                <a:gd name="connsiteX1190" fmla="*/ 4278625 w 4940931"/>
                <a:gd name="connsiteY1190" fmla="*/ 31749 h 138429"/>
                <a:gd name="connsiteX1191" fmla="*/ 4289420 w 4940931"/>
                <a:gd name="connsiteY1191" fmla="*/ 40004 h 138429"/>
                <a:gd name="connsiteX1192" fmla="*/ 4296405 w 4940931"/>
                <a:gd name="connsiteY1192" fmla="*/ 52704 h 138429"/>
                <a:gd name="connsiteX1193" fmla="*/ 4298945 w 4940931"/>
                <a:gd name="connsiteY1193" fmla="*/ 69214 h 138429"/>
                <a:gd name="connsiteX1194" fmla="*/ 4299580 w 4940931"/>
                <a:gd name="connsiteY1194" fmla="*/ 69214 h 138429"/>
                <a:gd name="connsiteX1195" fmla="*/ 4297040 w 4940931"/>
                <a:gd name="connsiteY1195" fmla="*/ 86359 h 138429"/>
                <a:gd name="connsiteX1196" fmla="*/ 4289420 w 4940931"/>
                <a:gd name="connsiteY1196" fmla="*/ 99059 h 138429"/>
                <a:gd name="connsiteX1197" fmla="*/ 4277990 w 4940931"/>
                <a:gd name="connsiteY1197" fmla="*/ 107314 h 138429"/>
                <a:gd name="connsiteX1198" fmla="*/ 4264020 w 4940931"/>
                <a:gd name="connsiteY1198" fmla="*/ 109854 h 138429"/>
                <a:gd name="connsiteX1199" fmla="*/ 4250050 w 4940931"/>
                <a:gd name="connsiteY1199" fmla="*/ 106679 h 138429"/>
                <a:gd name="connsiteX1200" fmla="*/ 4239255 w 4940931"/>
                <a:gd name="connsiteY1200" fmla="*/ 98424 h 138429"/>
                <a:gd name="connsiteX1201" fmla="*/ 4232270 w 4940931"/>
                <a:gd name="connsiteY1201" fmla="*/ 85724 h 138429"/>
                <a:gd name="connsiteX1202" fmla="*/ 4229730 w 4940931"/>
                <a:gd name="connsiteY1202" fmla="*/ 69214 h 138429"/>
                <a:gd name="connsiteX1203" fmla="*/ 4232270 w 4940931"/>
                <a:gd name="connsiteY1203" fmla="*/ 52069 h 138429"/>
                <a:gd name="connsiteX1204" fmla="*/ 4239890 w 4940931"/>
                <a:gd name="connsiteY1204" fmla="*/ 39369 h 138429"/>
                <a:gd name="connsiteX1205" fmla="*/ 4250685 w 4940931"/>
                <a:gd name="connsiteY1205" fmla="*/ 31114 h 138429"/>
                <a:gd name="connsiteX1206" fmla="*/ 4264655 w 4940931"/>
                <a:gd name="connsiteY1206" fmla="*/ 28574 h 138429"/>
                <a:gd name="connsiteX1207" fmla="*/ 1420495 w 4940931"/>
                <a:gd name="connsiteY1207" fmla="*/ 28574 h 138429"/>
                <a:gd name="connsiteX1208" fmla="*/ 1434465 w 4940931"/>
                <a:gd name="connsiteY1208" fmla="*/ 31749 h 138429"/>
                <a:gd name="connsiteX1209" fmla="*/ 1445260 w 4940931"/>
                <a:gd name="connsiteY1209" fmla="*/ 40004 h 138429"/>
                <a:gd name="connsiteX1210" fmla="*/ 1452245 w 4940931"/>
                <a:gd name="connsiteY1210" fmla="*/ 52704 h 138429"/>
                <a:gd name="connsiteX1211" fmla="*/ 1454785 w 4940931"/>
                <a:gd name="connsiteY1211" fmla="*/ 69214 h 138429"/>
                <a:gd name="connsiteX1212" fmla="*/ 1455420 w 4940931"/>
                <a:gd name="connsiteY1212" fmla="*/ 69214 h 138429"/>
                <a:gd name="connsiteX1213" fmla="*/ 1452880 w 4940931"/>
                <a:gd name="connsiteY1213" fmla="*/ 86359 h 138429"/>
                <a:gd name="connsiteX1214" fmla="*/ 1445260 w 4940931"/>
                <a:gd name="connsiteY1214" fmla="*/ 99059 h 138429"/>
                <a:gd name="connsiteX1215" fmla="*/ 1433830 w 4940931"/>
                <a:gd name="connsiteY1215" fmla="*/ 107314 h 138429"/>
                <a:gd name="connsiteX1216" fmla="*/ 1419860 w 4940931"/>
                <a:gd name="connsiteY1216" fmla="*/ 109854 h 138429"/>
                <a:gd name="connsiteX1217" fmla="*/ 1405890 w 4940931"/>
                <a:gd name="connsiteY1217" fmla="*/ 106679 h 138429"/>
                <a:gd name="connsiteX1218" fmla="*/ 1395095 w 4940931"/>
                <a:gd name="connsiteY1218" fmla="*/ 98424 h 138429"/>
                <a:gd name="connsiteX1219" fmla="*/ 1388110 w 4940931"/>
                <a:gd name="connsiteY1219" fmla="*/ 85724 h 138429"/>
                <a:gd name="connsiteX1220" fmla="*/ 1385570 w 4940931"/>
                <a:gd name="connsiteY1220" fmla="*/ 69214 h 138429"/>
                <a:gd name="connsiteX1221" fmla="*/ 1388110 w 4940931"/>
                <a:gd name="connsiteY1221" fmla="*/ 52069 h 138429"/>
                <a:gd name="connsiteX1222" fmla="*/ 1395730 w 4940931"/>
                <a:gd name="connsiteY1222" fmla="*/ 39369 h 138429"/>
                <a:gd name="connsiteX1223" fmla="*/ 1406525 w 4940931"/>
                <a:gd name="connsiteY1223" fmla="*/ 31114 h 138429"/>
                <a:gd name="connsiteX1224" fmla="*/ 1420495 w 4940931"/>
                <a:gd name="connsiteY1224" fmla="*/ 28574 h 138429"/>
                <a:gd name="connsiteX1225" fmla="*/ 3143245 w 4940931"/>
                <a:gd name="connsiteY1225" fmla="*/ 5079 h 138429"/>
                <a:gd name="connsiteX1226" fmla="*/ 3219445 w 4940931"/>
                <a:gd name="connsiteY1226" fmla="*/ 5079 h 138429"/>
                <a:gd name="connsiteX1227" fmla="*/ 3219445 w 4940931"/>
                <a:gd name="connsiteY1227" fmla="*/ 20319 h 138429"/>
                <a:gd name="connsiteX1228" fmla="*/ 3188965 w 4940931"/>
                <a:gd name="connsiteY1228" fmla="*/ 20319 h 138429"/>
                <a:gd name="connsiteX1229" fmla="*/ 3188965 w 4940931"/>
                <a:gd name="connsiteY1229" fmla="*/ 108584 h 138429"/>
                <a:gd name="connsiteX1230" fmla="*/ 3173090 w 4940931"/>
                <a:gd name="connsiteY1230" fmla="*/ 108584 h 138429"/>
                <a:gd name="connsiteX1231" fmla="*/ 3173090 w 4940931"/>
                <a:gd name="connsiteY1231" fmla="*/ 20319 h 138429"/>
                <a:gd name="connsiteX1232" fmla="*/ 3143245 w 4940931"/>
                <a:gd name="connsiteY1232" fmla="*/ 20319 h 138429"/>
                <a:gd name="connsiteX1233" fmla="*/ 1628774 w 4940931"/>
                <a:gd name="connsiteY1233" fmla="*/ 5079 h 138429"/>
                <a:gd name="connsiteX1234" fmla="*/ 1704970 w 4940931"/>
                <a:gd name="connsiteY1234" fmla="*/ 5079 h 138429"/>
                <a:gd name="connsiteX1235" fmla="*/ 1704970 w 4940931"/>
                <a:gd name="connsiteY1235" fmla="*/ 20319 h 138429"/>
                <a:gd name="connsiteX1236" fmla="*/ 1675129 w 4940931"/>
                <a:gd name="connsiteY1236" fmla="*/ 20319 h 138429"/>
                <a:gd name="connsiteX1237" fmla="*/ 1675129 w 4940931"/>
                <a:gd name="connsiteY1237" fmla="*/ 108584 h 138429"/>
                <a:gd name="connsiteX1238" fmla="*/ 1659255 w 4940931"/>
                <a:gd name="connsiteY1238" fmla="*/ 108584 h 138429"/>
                <a:gd name="connsiteX1239" fmla="*/ 1659255 w 4940931"/>
                <a:gd name="connsiteY1239" fmla="*/ 20319 h 138429"/>
                <a:gd name="connsiteX1240" fmla="*/ 1628774 w 4940931"/>
                <a:gd name="connsiteY1240" fmla="*/ 20319 h 138429"/>
                <a:gd name="connsiteX1241" fmla="*/ 0 w 4940931"/>
                <a:gd name="connsiteY1241" fmla="*/ 5079 h 138429"/>
                <a:gd name="connsiteX1242" fmla="*/ 76200 w 4940931"/>
                <a:gd name="connsiteY1242" fmla="*/ 5079 h 138429"/>
                <a:gd name="connsiteX1243" fmla="*/ 76200 w 4940931"/>
                <a:gd name="connsiteY1243" fmla="*/ 20319 h 138429"/>
                <a:gd name="connsiteX1244" fmla="*/ 45720 w 4940931"/>
                <a:gd name="connsiteY1244" fmla="*/ 20319 h 138429"/>
                <a:gd name="connsiteX1245" fmla="*/ 45720 w 4940931"/>
                <a:gd name="connsiteY1245" fmla="*/ 108584 h 138429"/>
                <a:gd name="connsiteX1246" fmla="*/ 29845 w 4940931"/>
                <a:gd name="connsiteY1246" fmla="*/ 108584 h 138429"/>
                <a:gd name="connsiteX1247" fmla="*/ 29845 w 4940931"/>
                <a:gd name="connsiteY1247" fmla="*/ 20319 h 138429"/>
                <a:gd name="connsiteX1248" fmla="*/ 0 w 4940931"/>
                <a:gd name="connsiteY1248" fmla="*/ 20319 h 138429"/>
                <a:gd name="connsiteX1249" fmla="*/ 1362075 w 4940931"/>
                <a:gd name="connsiteY1249" fmla="*/ 1269 h 138429"/>
                <a:gd name="connsiteX1250" fmla="*/ 1365885 w 4940931"/>
                <a:gd name="connsiteY1250" fmla="*/ 1904 h 138429"/>
                <a:gd name="connsiteX1251" fmla="*/ 1369060 w 4940931"/>
                <a:gd name="connsiteY1251" fmla="*/ 3809 h 138429"/>
                <a:gd name="connsiteX1252" fmla="*/ 1370965 w 4940931"/>
                <a:gd name="connsiteY1252" fmla="*/ 6984 h 138429"/>
                <a:gd name="connsiteX1253" fmla="*/ 1371600 w 4940931"/>
                <a:gd name="connsiteY1253" fmla="*/ 10794 h 138429"/>
                <a:gd name="connsiteX1254" fmla="*/ 1370965 w 4940931"/>
                <a:gd name="connsiteY1254" fmla="*/ 14604 h 138429"/>
                <a:gd name="connsiteX1255" fmla="*/ 1369060 w 4940931"/>
                <a:gd name="connsiteY1255" fmla="*/ 17779 h 138429"/>
                <a:gd name="connsiteX1256" fmla="*/ 1365885 w 4940931"/>
                <a:gd name="connsiteY1256" fmla="*/ 19684 h 138429"/>
                <a:gd name="connsiteX1257" fmla="*/ 1362075 w 4940931"/>
                <a:gd name="connsiteY1257" fmla="*/ 20319 h 138429"/>
                <a:gd name="connsiteX1258" fmla="*/ 1358265 w 4940931"/>
                <a:gd name="connsiteY1258" fmla="*/ 19684 h 138429"/>
                <a:gd name="connsiteX1259" fmla="*/ 1355090 w 4940931"/>
                <a:gd name="connsiteY1259" fmla="*/ 17779 h 138429"/>
                <a:gd name="connsiteX1260" fmla="*/ 1353185 w 4940931"/>
                <a:gd name="connsiteY1260" fmla="*/ 14604 h 138429"/>
                <a:gd name="connsiteX1261" fmla="*/ 1352550 w 4940931"/>
                <a:gd name="connsiteY1261" fmla="*/ 10794 h 138429"/>
                <a:gd name="connsiteX1262" fmla="*/ 1353185 w 4940931"/>
                <a:gd name="connsiteY1262" fmla="*/ 6984 h 138429"/>
                <a:gd name="connsiteX1263" fmla="*/ 1355090 w 4940931"/>
                <a:gd name="connsiteY1263" fmla="*/ 3809 h 138429"/>
                <a:gd name="connsiteX1264" fmla="*/ 1358265 w 4940931"/>
                <a:gd name="connsiteY1264" fmla="*/ 1904 h 138429"/>
                <a:gd name="connsiteX1265" fmla="*/ 1362075 w 4940931"/>
                <a:gd name="connsiteY1265" fmla="*/ 1269 h 138429"/>
                <a:gd name="connsiteX1266" fmla="*/ 4789801 w 4940931"/>
                <a:gd name="connsiteY1266" fmla="*/ 634 h 138429"/>
                <a:gd name="connsiteX1267" fmla="*/ 4789801 w 4940931"/>
                <a:gd name="connsiteY1267" fmla="*/ 65404 h 138429"/>
                <a:gd name="connsiteX1268" fmla="*/ 4814566 w 4940931"/>
                <a:gd name="connsiteY1268" fmla="*/ 31114 h 138429"/>
                <a:gd name="connsiteX1269" fmla="*/ 4831711 w 4940931"/>
                <a:gd name="connsiteY1269" fmla="*/ 31114 h 138429"/>
                <a:gd name="connsiteX1270" fmla="*/ 4812026 w 4940931"/>
                <a:gd name="connsiteY1270" fmla="*/ 57149 h 138429"/>
                <a:gd name="connsiteX1271" fmla="*/ 4835521 w 4940931"/>
                <a:gd name="connsiteY1271" fmla="*/ 108584 h 138429"/>
                <a:gd name="connsiteX1272" fmla="*/ 4819011 w 4940931"/>
                <a:gd name="connsiteY1272" fmla="*/ 108584 h 138429"/>
                <a:gd name="connsiteX1273" fmla="*/ 4801866 w 4940931"/>
                <a:gd name="connsiteY1273" fmla="*/ 69849 h 138429"/>
                <a:gd name="connsiteX1274" fmla="*/ 4789801 w 4940931"/>
                <a:gd name="connsiteY1274" fmla="*/ 85724 h 138429"/>
                <a:gd name="connsiteX1275" fmla="*/ 4789801 w 4940931"/>
                <a:gd name="connsiteY1275" fmla="*/ 108584 h 138429"/>
                <a:gd name="connsiteX1276" fmla="*/ 4774561 w 4940931"/>
                <a:gd name="connsiteY1276" fmla="*/ 108584 h 138429"/>
                <a:gd name="connsiteX1277" fmla="*/ 4774561 w 4940931"/>
                <a:gd name="connsiteY1277" fmla="*/ 8889 h 138429"/>
                <a:gd name="connsiteX1278" fmla="*/ 4472301 w 4940931"/>
                <a:gd name="connsiteY1278" fmla="*/ 634 h 138429"/>
                <a:gd name="connsiteX1279" fmla="*/ 4472301 w 4940931"/>
                <a:gd name="connsiteY1279" fmla="*/ 109219 h 138429"/>
                <a:gd name="connsiteX1280" fmla="*/ 4457061 w 4940931"/>
                <a:gd name="connsiteY1280" fmla="*/ 109219 h 138429"/>
                <a:gd name="connsiteX1281" fmla="*/ 4457696 w 4940931"/>
                <a:gd name="connsiteY1281" fmla="*/ 108584 h 138429"/>
                <a:gd name="connsiteX1282" fmla="*/ 4457696 w 4940931"/>
                <a:gd name="connsiteY1282" fmla="*/ 100964 h 138429"/>
                <a:gd name="connsiteX1283" fmla="*/ 4453251 w 4940931"/>
                <a:gd name="connsiteY1283" fmla="*/ 104774 h 138429"/>
                <a:gd name="connsiteX1284" fmla="*/ 4448171 w 4940931"/>
                <a:gd name="connsiteY1284" fmla="*/ 107949 h 138429"/>
                <a:gd name="connsiteX1285" fmla="*/ 4443091 w 4940931"/>
                <a:gd name="connsiteY1285" fmla="*/ 109854 h 138429"/>
                <a:gd name="connsiteX1286" fmla="*/ 4437376 w 4940931"/>
                <a:gd name="connsiteY1286" fmla="*/ 109854 h 138429"/>
                <a:gd name="connsiteX1287" fmla="*/ 4425946 w 4940931"/>
                <a:gd name="connsiteY1287" fmla="*/ 107314 h 138429"/>
                <a:gd name="connsiteX1288" fmla="*/ 4416421 w 4940931"/>
                <a:gd name="connsiteY1288" fmla="*/ 99694 h 138429"/>
                <a:gd name="connsiteX1289" fmla="*/ 4410071 w 4940931"/>
                <a:gd name="connsiteY1289" fmla="*/ 86994 h 138429"/>
                <a:gd name="connsiteX1290" fmla="*/ 4407531 w 4940931"/>
                <a:gd name="connsiteY1290" fmla="*/ 67944 h 138429"/>
                <a:gd name="connsiteX1291" fmla="*/ 4410071 w 4940931"/>
                <a:gd name="connsiteY1291" fmla="*/ 50799 h 138429"/>
                <a:gd name="connsiteX1292" fmla="*/ 4417056 w 4940931"/>
                <a:gd name="connsiteY1292" fmla="*/ 38734 h 138429"/>
                <a:gd name="connsiteX1293" fmla="*/ 4426581 w 4940931"/>
                <a:gd name="connsiteY1293" fmla="*/ 31749 h 138429"/>
                <a:gd name="connsiteX1294" fmla="*/ 4438011 w 4940931"/>
                <a:gd name="connsiteY1294" fmla="*/ 29209 h 138429"/>
                <a:gd name="connsiteX1295" fmla="*/ 4443726 w 4940931"/>
                <a:gd name="connsiteY1295" fmla="*/ 29844 h 138429"/>
                <a:gd name="connsiteX1296" fmla="*/ 4448806 w 4940931"/>
                <a:gd name="connsiteY1296" fmla="*/ 31749 h 138429"/>
                <a:gd name="connsiteX1297" fmla="*/ 4453251 w 4940931"/>
                <a:gd name="connsiteY1297" fmla="*/ 34924 h 138429"/>
                <a:gd name="connsiteX1298" fmla="*/ 4457061 w 4940931"/>
                <a:gd name="connsiteY1298" fmla="*/ 38099 h 138429"/>
                <a:gd name="connsiteX1299" fmla="*/ 4457061 w 4940931"/>
                <a:gd name="connsiteY1299" fmla="*/ 8254 h 138429"/>
                <a:gd name="connsiteX1300" fmla="*/ 4390385 w 4940931"/>
                <a:gd name="connsiteY1300" fmla="*/ 634 h 138429"/>
                <a:gd name="connsiteX1301" fmla="*/ 4390385 w 4940931"/>
                <a:gd name="connsiteY1301" fmla="*/ 108584 h 138429"/>
                <a:gd name="connsiteX1302" fmla="*/ 4375145 w 4940931"/>
                <a:gd name="connsiteY1302" fmla="*/ 108584 h 138429"/>
                <a:gd name="connsiteX1303" fmla="*/ 4375145 w 4940931"/>
                <a:gd name="connsiteY1303" fmla="*/ 8889 h 138429"/>
                <a:gd name="connsiteX1304" fmla="*/ 3946521 w 4940931"/>
                <a:gd name="connsiteY1304" fmla="*/ 634 h 138429"/>
                <a:gd name="connsiteX1305" fmla="*/ 3946521 w 4940931"/>
                <a:gd name="connsiteY1305" fmla="*/ 38099 h 138429"/>
                <a:gd name="connsiteX1306" fmla="*/ 3950331 w 4940931"/>
                <a:gd name="connsiteY1306" fmla="*/ 34289 h 138429"/>
                <a:gd name="connsiteX1307" fmla="*/ 3954776 w 4940931"/>
                <a:gd name="connsiteY1307" fmla="*/ 31114 h 138429"/>
                <a:gd name="connsiteX1308" fmla="*/ 3960491 w 4940931"/>
                <a:gd name="connsiteY1308" fmla="*/ 29209 h 138429"/>
                <a:gd name="connsiteX1309" fmla="*/ 3966206 w 4940931"/>
                <a:gd name="connsiteY1309" fmla="*/ 29209 h 138429"/>
                <a:gd name="connsiteX1310" fmla="*/ 3978271 w 4940931"/>
                <a:gd name="connsiteY1310" fmla="*/ 31749 h 138429"/>
                <a:gd name="connsiteX1311" fmla="*/ 3987161 w 4940931"/>
                <a:gd name="connsiteY1311" fmla="*/ 38099 h 138429"/>
                <a:gd name="connsiteX1312" fmla="*/ 3992241 w 4940931"/>
                <a:gd name="connsiteY1312" fmla="*/ 49529 h 138429"/>
                <a:gd name="connsiteX1313" fmla="*/ 3994146 w 4940931"/>
                <a:gd name="connsiteY1313" fmla="*/ 64134 h 138429"/>
                <a:gd name="connsiteX1314" fmla="*/ 3994146 w 4940931"/>
                <a:gd name="connsiteY1314" fmla="*/ 108584 h 138429"/>
                <a:gd name="connsiteX1315" fmla="*/ 3978906 w 4940931"/>
                <a:gd name="connsiteY1315" fmla="*/ 108584 h 138429"/>
                <a:gd name="connsiteX1316" fmla="*/ 3978271 w 4940931"/>
                <a:gd name="connsiteY1316" fmla="*/ 108584 h 138429"/>
                <a:gd name="connsiteX1317" fmla="*/ 3978271 w 4940931"/>
                <a:gd name="connsiteY1317" fmla="*/ 64769 h 138429"/>
                <a:gd name="connsiteX1318" fmla="*/ 3974461 w 4940931"/>
                <a:gd name="connsiteY1318" fmla="*/ 48894 h 138429"/>
                <a:gd name="connsiteX1319" fmla="*/ 3962396 w 4940931"/>
                <a:gd name="connsiteY1319" fmla="*/ 43814 h 138429"/>
                <a:gd name="connsiteX1320" fmla="*/ 3956046 w 4940931"/>
                <a:gd name="connsiteY1320" fmla="*/ 45084 h 138429"/>
                <a:gd name="connsiteX1321" fmla="*/ 3950966 w 4940931"/>
                <a:gd name="connsiteY1321" fmla="*/ 48894 h 138429"/>
                <a:gd name="connsiteX1322" fmla="*/ 3947791 w 4940931"/>
                <a:gd name="connsiteY1322" fmla="*/ 55244 h 138429"/>
                <a:gd name="connsiteX1323" fmla="*/ 3946521 w 4940931"/>
                <a:gd name="connsiteY1323" fmla="*/ 63499 h 138429"/>
                <a:gd name="connsiteX1324" fmla="*/ 3946521 w 4940931"/>
                <a:gd name="connsiteY1324" fmla="*/ 109219 h 138429"/>
                <a:gd name="connsiteX1325" fmla="*/ 3931281 w 4940931"/>
                <a:gd name="connsiteY1325" fmla="*/ 109219 h 138429"/>
                <a:gd name="connsiteX1326" fmla="*/ 3931281 w 4940931"/>
                <a:gd name="connsiteY1326" fmla="*/ 8889 h 138429"/>
                <a:gd name="connsiteX1327" fmla="*/ 3248021 w 4940931"/>
                <a:gd name="connsiteY1327" fmla="*/ 634 h 138429"/>
                <a:gd name="connsiteX1328" fmla="*/ 3248021 w 4940931"/>
                <a:gd name="connsiteY1328" fmla="*/ 38099 h 138429"/>
                <a:gd name="connsiteX1329" fmla="*/ 3251831 w 4940931"/>
                <a:gd name="connsiteY1329" fmla="*/ 34289 h 138429"/>
                <a:gd name="connsiteX1330" fmla="*/ 3256276 w 4940931"/>
                <a:gd name="connsiteY1330" fmla="*/ 31114 h 138429"/>
                <a:gd name="connsiteX1331" fmla="*/ 3261991 w 4940931"/>
                <a:gd name="connsiteY1331" fmla="*/ 29209 h 138429"/>
                <a:gd name="connsiteX1332" fmla="*/ 3267706 w 4940931"/>
                <a:gd name="connsiteY1332" fmla="*/ 29209 h 138429"/>
                <a:gd name="connsiteX1333" fmla="*/ 3279771 w 4940931"/>
                <a:gd name="connsiteY1333" fmla="*/ 31749 h 138429"/>
                <a:gd name="connsiteX1334" fmla="*/ 3288661 w 4940931"/>
                <a:gd name="connsiteY1334" fmla="*/ 38099 h 138429"/>
                <a:gd name="connsiteX1335" fmla="*/ 3293741 w 4940931"/>
                <a:gd name="connsiteY1335" fmla="*/ 49529 h 138429"/>
                <a:gd name="connsiteX1336" fmla="*/ 3295646 w 4940931"/>
                <a:gd name="connsiteY1336" fmla="*/ 64134 h 138429"/>
                <a:gd name="connsiteX1337" fmla="*/ 3295646 w 4940931"/>
                <a:gd name="connsiteY1337" fmla="*/ 108584 h 138429"/>
                <a:gd name="connsiteX1338" fmla="*/ 3280406 w 4940931"/>
                <a:gd name="connsiteY1338" fmla="*/ 108584 h 138429"/>
                <a:gd name="connsiteX1339" fmla="*/ 3279771 w 4940931"/>
                <a:gd name="connsiteY1339" fmla="*/ 108584 h 138429"/>
                <a:gd name="connsiteX1340" fmla="*/ 3279771 w 4940931"/>
                <a:gd name="connsiteY1340" fmla="*/ 64769 h 138429"/>
                <a:gd name="connsiteX1341" fmla="*/ 3275961 w 4940931"/>
                <a:gd name="connsiteY1341" fmla="*/ 48894 h 138429"/>
                <a:gd name="connsiteX1342" fmla="*/ 3263896 w 4940931"/>
                <a:gd name="connsiteY1342" fmla="*/ 43814 h 138429"/>
                <a:gd name="connsiteX1343" fmla="*/ 3257546 w 4940931"/>
                <a:gd name="connsiteY1343" fmla="*/ 45084 h 138429"/>
                <a:gd name="connsiteX1344" fmla="*/ 3252466 w 4940931"/>
                <a:gd name="connsiteY1344" fmla="*/ 48894 h 138429"/>
                <a:gd name="connsiteX1345" fmla="*/ 3249291 w 4940931"/>
                <a:gd name="connsiteY1345" fmla="*/ 55244 h 138429"/>
                <a:gd name="connsiteX1346" fmla="*/ 3248021 w 4940931"/>
                <a:gd name="connsiteY1346" fmla="*/ 63499 h 138429"/>
                <a:gd name="connsiteX1347" fmla="*/ 3248021 w 4940931"/>
                <a:gd name="connsiteY1347" fmla="*/ 109219 h 138429"/>
                <a:gd name="connsiteX1348" fmla="*/ 3232781 w 4940931"/>
                <a:gd name="connsiteY1348" fmla="*/ 109219 h 138429"/>
                <a:gd name="connsiteX1349" fmla="*/ 3232781 w 4940931"/>
                <a:gd name="connsiteY1349" fmla="*/ 8889 h 138429"/>
                <a:gd name="connsiteX1350" fmla="*/ 2432681 w 4940931"/>
                <a:gd name="connsiteY1350" fmla="*/ 634 h 138429"/>
                <a:gd name="connsiteX1351" fmla="*/ 2432681 w 4940931"/>
                <a:gd name="connsiteY1351" fmla="*/ 38099 h 138429"/>
                <a:gd name="connsiteX1352" fmla="*/ 2436491 w 4940931"/>
                <a:gd name="connsiteY1352" fmla="*/ 34289 h 138429"/>
                <a:gd name="connsiteX1353" fmla="*/ 2440936 w 4940931"/>
                <a:gd name="connsiteY1353" fmla="*/ 31114 h 138429"/>
                <a:gd name="connsiteX1354" fmla="*/ 2446651 w 4940931"/>
                <a:gd name="connsiteY1354" fmla="*/ 29209 h 138429"/>
                <a:gd name="connsiteX1355" fmla="*/ 2452366 w 4940931"/>
                <a:gd name="connsiteY1355" fmla="*/ 29209 h 138429"/>
                <a:gd name="connsiteX1356" fmla="*/ 2464431 w 4940931"/>
                <a:gd name="connsiteY1356" fmla="*/ 31749 h 138429"/>
                <a:gd name="connsiteX1357" fmla="*/ 2473321 w 4940931"/>
                <a:gd name="connsiteY1357" fmla="*/ 38099 h 138429"/>
                <a:gd name="connsiteX1358" fmla="*/ 2478401 w 4940931"/>
                <a:gd name="connsiteY1358" fmla="*/ 49529 h 138429"/>
                <a:gd name="connsiteX1359" fmla="*/ 2480306 w 4940931"/>
                <a:gd name="connsiteY1359" fmla="*/ 64134 h 138429"/>
                <a:gd name="connsiteX1360" fmla="*/ 2480306 w 4940931"/>
                <a:gd name="connsiteY1360" fmla="*/ 108584 h 138429"/>
                <a:gd name="connsiteX1361" fmla="*/ 2465066 w 4940931"/>
                <a:gd name="connsiteY1361" fmla="*/ 108584 h 138429"/>
                <a:gd name="connsiteX1362" fmla="*/ 2464431 w 4940931"/>
                <a:gd name="connsiteY1362" fmla="*/ 108584 h 138429"/>
                <a:gd name="connsiteX1363" fmla="*/ 2464431 w 4940931"/>
                <a:gd name="connsiteY1363" fmla="*/ 64769 h 138429"/>
                <a:gd name="connsiteX1364" fmla="*/ 2460621 w 4940931"/>
                <a:gd name="connsiteY1364" fmla="*/ 48894 h 138429"/>
                <a:gd name="connsiteX1365" fmla="*/ 2448556 w 4940931"/>
                <a:gd name="connsiteY1365" fmla="*/ 43814 h 138429"/>
                <a:gd name="connsiteX1366" fmla="*/ 2442206 w 4940931"/>
                <a:gd name="connsiteY1366" fmla="*/ 45084 h 138429"/>
                <a:gd name="connsiteX1367" fmla="*/ 2437126 w 4940931"/>
                <a:gd name="connsiteY1367" fmla="*/ 48894 h 138429"/>
                <a:gd name="connsiteX1368" fmla="*/ 2433951 w 4940931"/>
                <a:gd name="connsiteY1368" fmla="*/ 55244 h 138429"/>
                <a:gd name="connsiteX1369" fmla="*/ 2432681 w 4940931"/>
                <a:gd name="connsiteY1369" fmla="*/ 63499 h 138429"/>
                <a:gd name="connsiteX1370" fmla="*/ 2432681 w 4940931"/>
                <a:gd name="connsiteY1370" fmla="*/ 109219 h 138429"/>
                <a:gd name="connsiteX1371" fmla="*/ 2417441 w 4940931"/>
                <a:gd name="connsiteY1371" fmla="*/ 109219 h 138429"/>
                <a:gd name="connsiteX1372" fmla="*/ 2417441 w 4940931"/>
                <a:gd name="connsiteY1372" fmla="*/ 8889 h 138429"/>
                <a:gd name="connsiteX1373" fmla="*/ 1734181 w 4940931"/>
                <a:gd name="connsiteY1373" fmla="*/ 634 h 138429"/>
                <a:gd name="connsiteX1374" fmla="*/ 1734181 w 4940931"/>
                <a:gd name="connsiteY1374" fmla="*/ 38099 h 138429"/>
                <a:gd name="connsiteX1375" fmla="*/ 1737991 w 4940931"/>
                <a:gd name="connsiteY1375" fmla="*/ 34289 h 138429"/>
                <a:gd name="connsiteX1376" fmla="*/ 1742436 w 4940931"/>
                <a:gd name="connsiteY1376" fmla="*/ 31114 h 138429"/>
                <a:gd name="connsiteX1377" fmla="*/ 1748151 w 4940931"/>
                <a:gd name="connsiteY1377" fmla="*/ 29209 h 138429"/>
                <a:gd name="connsiteX1378" fmla="*/ 1753866 w 4940931"/>
                <a:gd name="connsiteY1378" fmla="*/ 29209 h 138429"/>
                <a:gd name="connsiteX1379" fmla="*/ 1765931 w 4940931"/>
                <a:gd name="connsiteY1379" fmla="*/ 31749 h 138429"/>
                <a:gd name="connsiteX1380" fmla="*/ 1774821 w 4940931"/>
                <a:gd name="connsiteY1380" fmla="*/ 38099 h 138429"/>
                <a:gd name="connsiteX1381" fmla="*/ 1779901 w 4940931"/>
                <a:gd name="connsiteY1381" fmla="*/ 49529 h 138429"/>
                <a:gd name="connsiteX1382" fmla="*/ 1781806 w 4940931"/>
                <a:gd name="connsiteY1382" fmla="*/ 64134 h 138429"/>
                <a:gd name="connsiteX1383" fmla="*/ 1781806 w 4940931"/>
                <a:gd name="connsiteY1383" fmla="*/ 108584 h 138429"/>
                <a:gd name="connsiteX1384" fmla="*/ 1766566 w 4940931"/>
                <a:gd name="connsiteY1384" fmla="*/ 108584 h 138429"/>
                <a:gd name="connsiteX1385" fmla="*/ 1765931 w 4940931"/>
                <a:gd name="connsiteY1385" fmla="*/ 108584 h 138429"/>
                <a:gd name="connsiteX1386" fmla="*/ 1765931 w 4940931"/>
                <a:gd name="connsiteY1386" fmla="*/ 64769 h 138429"/>
                <a:gd name="connsiteX1387" fmla="*/ 1762121 w 4940931"/>
                <a:gd name="connsiteY1387" fmla="*/ 48894 h 138429"/>
                <a:gd name="connsiteX1388" fmla="*/ 1750056 w 4940931"/>
                <a:gd name="connsiteY1388" fmla="*/ 43814 h 138429"/>
                <a:gd name="connsiteX1389" fmla="*/ 1743706 w 4940931"/>
                <a:gd name="connsiteY1389" fmla="*/ 45084 h 138429"/>
                <a:gd name="connsiteX1390" fmla="*/ 1738626 w 4940931"/>
                <a:gd name="connsiteY1390" fmla="*/ 48894 h 138429"/>
                <a:gd name="connsiteX1391" fmla="*/ 1735451 w 4940931"/>
                <a:gd name="connsiteY1391" fmla="*/ 55244 h 138429"/>
                <a:gd name="connsiteX1392" fmla="*/ 1734181 w 4940931"/>
                <a:gd name="connsiteY1392" fmla="*/ 63499 h 138429"/>
                <a:gd name="connsiteX1393" fmla="*/ 1734181 w 4940931"/>
                <a:gd name="connsiteY1393" fmla="*/ 109219 h 138429"/>
                <a:gd name="connsiteX1394" fmla="*/ 1718941 w 4940931"/>
                <a:gd name="connsiteY1394" fmla="*/ 109219 h 138429"/>
                <a:gd name="connsiteX1395" fmla="*/ 1718941 w 4940931"/>
                <a:gd name="connsiteY1395" fmla="*/ 8889 h 138429"/>
                <a:gd name="connsiteX1396" fmla="*/ 803275 w 4940931"/>
                <a:gd name="connsiteY1396" fmla="*/ 634 h 138429"/>
                <a:gd name="connsiteX1397" fmla="*/ 803275 w 4940931"/>
                <a:gd name="connsiteY1397" fmla="*/ 38099 h 138429"/>
                <a:gd name="connsiteX1398" fmla="*/ 807085 w 4940931"/>
                <a:gd name="connsiteY1398" fmla="*/ 34289 h 138429"/>
                <a:gd name="connsiteX1399" fmla="*/ 811530 w 4940931"/>
                <a:gd name="connsiteY1399" fmla="*/ 31114 h 138429"/>
                <a:gd name="connsiteX1400" fmla="*/ 817245 w 4940931"/>
                <a:gd name="connsiteY1400" fmla="*/ 29209 h 138429"/>
                <a:gd name="connsiteX1401" fmla="*/ 822960 w 4940931"/>
                <a:gd name="connsiteY1401" fmla="*/ 29209 h 138429"/>
                <a:gd name="connsiteX1402" fmla="*/ 835025 w 4940931"/>
                <a:gd name="connsiteY1402" fmla="*/ 31749 h 138429"/>
                <a:gd name="connsiteX1403" fmla="*/ 843915 w 4940931"/>
                <a:gd name="connsiteY1403" fmla="*/ 38099 h 138429"/>
                <a:gd name="connsiteX1404" fmla="*/ 848995 w 4940931"/>
                <a:gd name="connsiteY1404" fmla="*/ 49529 h 138429"/>
                <a:gd name="connsiteX1405" fmla="*/ 850900 w 4940931"/>
                <a:gd name="connsiteY1405" fmla="*/ 64134 h 138429"/>
                <a:gd name="connsiteX1406" fmla="*/ 850900 w 4940931"/>
                <a:gd name="connsiteY1406" fmla="*/ 108584 h 138429"/>
                <a:gd name="connsiteX1407" fmla="*/ 835660 w 4940931"/>
                <a:gd name="connsiteY1407" fmla="*/ 108584 h 138429"/>
                <a:gd name="connsiteX1408" fmla="*/ 835025 w 4940931"/>
                <a:gd name="connsiteY1408" fmla="*/ 108584 h 138429"/>
                <a:gd name="connsiteX1409" fmla="*/ 835025 w 4940931"/>
                <a:gd name="connsiteY1409" fmla="*/ 64769 h 138429"/>
                <a:gd name="connsiteX1410" fmla="*/ 831215 w 4940931"/>
                <a:gd name="connsiteY1410" fmla="*/ 48894 h 138429"/>
                <a:gd name="connsiteX1411" fmla="*/ 819150 w 4940931"/>
                <a:gd name="connsiteY1411" fmla="*/ 43814 h 138429"/>
                <a:gd name="connsiteX1412" fmla="*/ 812800 w 4940931"/>
                <a:gd name="connsiteY1412" fmla="*/ 45084 h 138429"/>
                <a:gd name="connsiteX1413" fmla="*/ 807720 w 4940931"/>
                <a:gd name="connsiteY1413" fmla="*/ 48894 h 138429"/>
                <a:gd name="connsiteX1414" fmla="*/ 804545 w 4940931"/>
                <a:gd name="connsiteY1414" fmla="*/ 55244 h 138429"/>
                <a:gd name="connsiteX1415" fmla="*/ 803275 w 4940931"/>
                <a:gd name="connsiteY1415" fmla="*/ 63499 h 138429"/>
                <a:gd name="connsiteX1416" fmla="*/ 803275 w 4940931"/>
                <a:gd name="connsiteY1416" fmla="*/ 109219 h 138429"/>
                <a:gd name="connsiteX1417" fmla="*/ 788035 w 4940931"/>
                <a:gd name="connsiteY1417" fmla="*/ 109219 h 138429"/>
                <a:gd name="connsiteX1418" fmla="*/ 788035 w 4940931"/>
                <a:gd name="connsiteY1418" fmla="*/ 8889 h 138429"/>
                <a:gd name="connsiteX1419" fmla="*/ 104774 w 4940931"/>
                <a:gd name="connsiteY1419" fmla="*/ 634 h 138429"/>
                <a:gd name="connsiteX1420" fmla="*/ 104774 w 4940931"/>
                <a:gd name="connsiteY1420" fmla="*/ 38099 h 138429"/>
                <a:gd name="connsiteX1421" fmla="*/ 108584 w 4940931"/>
                <a:gd name="connsiteY1421" fmla="*/ 34289 h 138429"/>
                <a:gd name="connsiteX1422" fmla="*/ 113029 w 4940931"/>
                <a:gd name="connsiteY1422" fmla="*/ 31114 h 138429"/>
                <a:gd name="connsiteX1423" fmla="*/ 118744 w 4940931"/>
                <a:gd name="connsiteY1423" fmla="*/ 29209 h 138429"/>
                <a:gd name="connsiteX1424" fmla="*/ 124459 w 4940931"/>
                <a:gd name="connsiteY1424" fmla="*/ 29209 h 138429"/>
                <a:gd name="connsiteX1425" fmla="*/ 136524 w 4940931"/>
                <a:gd name="connsiteY1425" fmla="*/ 31749 h 138429"/>
                <a:gd name="connsiteX1426" fmla="*/ 145414 w 4940931"/>
                <a:gd name="connsiteY1426" fmla="*/ 38099 h 138429"/>
                <a:gd name="connsiteX1427" fmla="*/ 150494 w 4940931"/>
                <a:gd name="connsiteY1427" fmla="*/ 49529 h 138429"/>
                <a:gd name="connsiteX1428" fmla="*/ 152399 w 4940931"/>
                <a:gd name="connsiteY1428" fmla="*/ 64134 h 138429"/>
                <a:gd name="connsiteX1429" fmla="*/ 152399 w 4940931"/>
                <a:gd name="connsiteY1429" fmla="*/ 108584 h 138429"/>
                <a:gd name="connsiteX1430" fmla="*/ 137159 w 4940931"/>
                <a:gd name="connsiteY1430" fmla="*/ 108584 h 138429"/>
                <a:gd name="connsiteX1431" fmla="*/ 136524 w 4940931"/>
                <a:gd name="connsiteY1431" fmla="*/ 108584 h 138429"/>
                <a:gd name="connsiteX1432" fmla="*/ 136524 w 4940931"/>
                <a:gd name="connsiteY1432" fmla="*/ 64769 h 138429"/>
                <a:gd name="connsiteX1433" fmla="*/ 132714 w 4940931"/>
                <a:gd name="connsiteY1433" fmla="*/ 48894 h 138429"/>
                <a:gd name="connsiteX1434" fmla="*/ 120649 w 4940931"/>
                <a:gd name="connsiteY1434" fmla="*/ 43814 h 138429"/>
                <a:gd name="connsiteX1435" fmla="*/ 114299 w 4940931"/>
                <a:gd name="connsiteY1435" fmla="*/ 45084 h 138429"/>
                <a:gd name="connsiteX1436" fmla="*/ 109219 w 4940931"/>
                <a:gd name="connsiteY1436" fmla="*/ 48894 h 138429"/>
                <a:gd name="connsiteX1437" fmla="*/ 106044 w 4940931"/>
                <a:gd name="connsiteY1437" fmla="*/ 55244 h 138429"/>
                <a:gd name="connsiteX1438" fmla="*/ 104774 w 4940931"/>
                <a:gd name="connsiteY1438" fmla="*/ 63499 h 138429"/>
                <a:gd name="connsiteX1439" fmla="*/ 104774 w 4940931"/>
                <a:gd name="connsiteY1439" fmla="*/ 109219 h 138429"/>
                <a:gd name="connsiteX1440" fmla="*/ 89534 w 4940931"/>
                <a:gd name="connsiteY1440" fmla="*/ 109219 h 138429"/>
                <a:gd name="connsiteX1441" fmla="*/ 89534 w 4940931"/>
                <a:gd name="connsiteY1441" fmla="*/ 8889 h 138429"/>
                <a:gd name="connsiteX1442" fmla="*/ 3894450 w 4940931"/>
                <a:gd name="connsiteY1442" fmla="*/ 0 h 138429"/>
                <a:gd name="connsiteX1443" fmla="*/ 3894450 w 4940931"/>
                <a:gd name="connsiteY1443" fmla="*/ 30480 h 138429"/>
                <a:gd name="connsiteX1444" fmla="*/ 3913500 w 4940931"/>
                <a:gd name="connsiteY1444" fmla="*/ 30480 h 138429"/>
                <a:gd name="connsiteX1445" fmla="*/ 3913500 w 4940931"/>
                <a:gd name="connsiteY1445" fmla="*/ 44450 h 138429"/>
                <a:gd name="connsiteX1446" fmla="*/ 3894450 w 4940931"/>
                <a:gd name="connsiteY1446" fmla="*/ 44450 h 138429"/>
                <a:gd name="connsiteX1447" fmla="*/ 3894450 w 4940931"/>
                <a:gd name="connsiteY1447" fmla="*/ 86995 h 138429"/>
                <a:gd name="connsiteX1448" fmla="*/ 3894450 w 4940931"/>
                <a:gd name="connsiteY1448" fmla="*/ 91440 h 138429"/>
                <a:gd name="connsiteX1449" fmla="*/ 3895720 w 4940931"/>
                <a:gd name="connsiteY1449" fmla="*/ 94615 h 138429"/>
                <a:gd name="connsiteX1450" fmla="*/ 3898260 w 4940931"/>
                <a:gd name="connsiteY1450" fmla="*/ 95885 h 138429"/>
                <a:gd name="connsiteX1451" fmla="*/ 3902070 w 4940931"/>
                <a:gd name="connsiteY1451" fmla="*/ 95885 h 138429"/>
                <a:gd name="connsiteX1452" fmla="*/ 3908420 w 4940931"/>
                <a:gd name="connsiteY1452" fmla="*/ 95250 h 138429"/>
                <a:gd name="connsiteX1453" fmla="*/ 3913500 w 4940931"/>
                <a:gd name="connsiteY1453" fmla="*/ 93345 h 138429"/>
                <a:gd name="connsiteX1454" fmla="*/ 3911595 w 4940931"/>
                <a:gd name="connsiteY1454" fmla="*/ 106680 h 138429"/>
                <a:gd name="connsiteX1455" fmla="*/ 3905245 w 4940931"/>
                <a:gd name="connsiteY1455" fmla="*/ 109220 h 138429"/>
                <a:gd name="connsiteX1456" fmla="*/ 3896990 w 4940931"/>
                <a:gd name="connsiteY1456" fmla="*/ 110490 h 138429"/>
                <a:gd name="connsiteX1457" fmla="*/ 3890005 w 4940931"/>
                <a:gd name="connsiteY1457" fmla="*/ 109220 h 138429"/>
                <a:gd name="connsiteX1458" fmla="*/ 3884290 w 4940931"/>
                <a:gd name="connsiteY1458" fmla="*/ 105410 h 138429"/>
                <a:gd name="connsiteX1459" fmla="*/ 3880480 w 4940931"/>
                <a:gd name="connsiteY1459" fmla="*/ 99060 h 138429"/>
                <a:gd name="connsiteX1460" fmla="*/ 3879210 w 4940931"/>
                <a:gd name="connsiteY1460" fmla="*/ 89535 h 138429"/>
                <a:gd name="connsiteX1461" fmla="*/ 3879210 w 4940931"/>
                <a:gd name="connsiteY1461" fmla="*/ 44450 h 138429"/>
                <a:gd name="connsiteX1462" fmla="*/ 3868415 w 4940931"/>
                <a:gd name="connsiteY1462" fmla="*/ 44450 h 138429"/>
                <a:gd name="connsiteX1463" fmla="*/ 3868415 w 4940931"/>
                <a:gd name="connsiteY1463" fmla="*/ 30480 h 138429"/>
                <a:gd name="connsiteX1464" fmla="*/ 3879210 w 4940931"/>
                <a:gd name="connsiteY1464" fmla="*/ 30480 h 138429"/>
                <a:gd name="connsiteX1465" fmla="*/ 3879210 w 4940931"/>
                <a:gd name="connsiteY1465" fmla="*/ 8255 h 138429"/>
                <a:gd name="connsiteX1466" fmla="*/ 3664581 w 4940931"/>
                <a:gd name="connsiteY1466" fmla="*/ 0 h 138429"/>
                <a:gd name="connsiteX1467" fmla="*/ 3664581 w 4940931"/>
                <a:gd name="connsiteY1467" fmla="*/ 30480 h 138429"/>
                <a:gd name="connsiteX1468" fmla="*/ 3683631 w 4940931"/>
                <a:gd name="connsiteY1468" fmla="*/ 30480 h 138429"/>
                <a:gd name="connsiteX1469" fmla="*/ 3683631 w 4940931"/>
                <a:gd name="connsiteY1469" fmla="*/ 44450 h 138429"/>
                <a:gd name="connsiteX1470" fmla="*/ 3664581 w 4940931"/>
                <a:gd name="connsiteY1470" fmla="*/ 44450 h 138429"/>
                <a:gd name="connsiteX1471" fmla="*/ 3664581 w 4940931"/>
                <a:gd name="connsiteY1471" fmla="*/ 86995 h 138429"/>
                <a:gd name="connsiteX1472" fmla="*/ 3664581 w 4940931"/>
                <a:gd name="connsiteY1472" fmla="*/ 91440 h 138429"/>
                <a:gd name="connsiteX1473" fmla="*/ 3665851 w 4940931"/>
                <a:gd name="connsiteY1473" fmla="*/ 94615 h 138429"/>
                <a:gd name="connsiteX1474" fmla="*/ 3668391 w 4940931"/>
                <a:gd name="connsiteY1474" fmla="*/ 95885 h 138429"/>
                <a:gd name="connsiteX1475" fmla="*/ 3672201 w 4940931"/>
                <a:gd name="connsiteY1475" fmla="*/ 95885 h 138429"/>
                <a:gd name="connsiteX1476" fmla="*/ 3678551 w 4940931"/>
                <a:gd name="connsiteY1476" fmla="*/ 95250 h 138429"/>
                <a:gd name="connsiteX1477" fmla="*/ 3683631 w 4940931"/>
                <a:gd name="connsiteY1477" fmla="*/ 93345 h 138429"/>
                <a:gd name="connsiteX1478" fmla="*/ 3681726 w 4940931"/>
                <a:gd name="connsiteY1478" fmla="*/ 106680 h 138429"/>
                <a:gd name="connsiteX1479" fmla="*/ 3675376 w 4940931"/>
                <a:gd name="connsiteY1479" fmla="*/ 109220 h 138429"/>
                <a:gd name="connsiteX1480" fmla="*/ 3667121 w 4940931"/>
                <a:gd name="connsiteY1480" fmla="*/ 110490 h 138429"/>
                <a:gd name="connsiteX1481" fmla="*/ 3660136 w 4940931"/>
                <a:gd name="connsiteY1481" fmla="*/ 109220 h 138429"/>
                <a:gd name="connsiteX1482" fmla="*/ 3654421 w 4940931"/>
                <a:gd name="connsiteY1482" fmla="*/ 105410 h 138429"/>
                <a:gd name="connsiteX1483" fmla="*/ 3650611 w 4940931"/>
                <a:gd name="connsiteY1483" fmla="*/ 99060 h 138429"/>
                <a:gd name="connsiteX1484" fmla="*/ 3649341 w 4940931"/>
                <a:gd name="connsiteY1484" fmla="*/ 89535 h 138429"/>
                <a:gd name="connsiteX1485" fmla="*/ 3649341 w 4940931"/>
                <a:gd name="connsiteY1485" fmla="*/ 44450 h 138429"/>
                <a:gd name="connsiteX1486" fmla="*/ 3638546 w 4940931"/>
                <a:gd name="connsiteY1486" fmla="*/ 44450 h 138429"/>
                <a:gd name="connsiteX1487" fmla="*/ 3638546 w 4940931"/>
                <a:gd name="connsiteY1487" fmla="*/ 30480 h 138429"/>
                <a:gd name="connsiteX1488" fmla="*/ 3649341 w 4940931"/>
                <a:gd name="connsiteY1488" fmla="*/ 30480 h 138429"/>
                <a:gd name="connsiteX1489" fmla="*/ 3649341 w 4940931"/>
                <a:gd name="connsiteY1489" fmla="*/ 8255 h 138429"/>
                <a:gd name="connsiteX1490" fmla="*/ 3610605 w 4940931"/>
                <a:gd name="connsiteY1490" fmla="*/ 0 h 138429"/>
                <a:gd name="connsiteX1491" fmla="*/ 3610605 w 4940931"/>
                <a:gd name="connsiteY1491" fmla="*/ 30480 h 138429"/>
                <a:gd name="connsiteX1492" fmla="*/ 3629655 w 4940931"/>
                <a:gd name="connsiteY1492" fmla="*/ 30480 h 138429"/>
                <a:gd name="connsiteX1493" fmla="*/ 3629655 w 4940931"/>
                <a:gd name="connsiteY1493" fmla="*/ 44450 h 138429"/>
                <a:gd name="connsiteX1494" fmla="*/ 3610605 w 4940931"/>
                <a:gd name="connsiteY1494" fmla="*/ 44450 h 138429"/>
                <a:gd name="connsiteX1495" fmla="*/ 3610605 w 4940931"/>
                <a:gd name="connsiteY1495" fmla="*/ 86995 h 138429"/>
                <a:gd name="connsiteX1496" fmla="*/ 3610605 w 4940931"/>
                <a:gd name="connsiteY1496" fmla="*/ 91440 h 138429"/>
                <a:gd name="connsiteX1497" fmla="*/ 3611875 w 4940931"/>
                <a:gd name="connsiteY1497" fmla="*/ 94615 h 138429"/>
                <a:gd name="connsiteX1498" fmla="*/ 3614415 w 4940931"/>
                <a:gd name="connsiteY1498" fmla="*/ 95885 h 138429"/>
                <a:gd name="connsiteX1499" fmla="*/ 3618225 w 4940931"/>
                <a:gd name="connsiteY1499" fmla="*/ 95885 h 138429"/>
                <a:gd name="connsiteX1500" fmla="*/ 3624575 w 4940931"/>
                <a:gd name="connsiteY1500" fmla="*/ 95250 h 138429"/>
                <a:gd name="connsiteX1501" fmla="*/ 3629655 w 4940931"/>
                <a:gd name="connsiteY1501" fmla="*/ 93345 h 138429"/>
                <a:gd name="connsiteX1502" fmla="*/ 3627750 w 4940931"/>
                <a:gd name="connsiteY1502" fmla="*/ 106680 h 138429"/>
                <a:gd name="connsiteX1503" fmla="*/ 3621400 w 4940931"/>
                <a:gd name="connsiteY1503" fmla="*/ 109220 h 138429"/>
                <a:gd name="connsiteX1504" fmla="*/ 3613145 w 4940931"/>
                <a:gd name="connsiteY1504" fmla="*/ 110490 h 138429"/>
                <a:gd name="connsiteX1505" fmla="*/ 3606160 w 4940931"/>
                <a:gd name="connsiteY1505" fmla="*/ 109220 h 138429"/>
                <a:gd name="connsiteX1506" fmla="*/ 3600445 w 4940931"/>
                <a:gd name="connsiteY1506" fmla="*/ 105410 h 138429"/>
                <a:gd name="connsiteX1507" fmla="*/ 3596635 w 4940931"/>
                <a:gd name="connsiteY1507" fmla="*/ 99060 h 138429"/>
                <a:gd name="connsiteX1508" fmla="*/ 3595365 w 4940931"/>
                <a:gd name="connsiteY1508" fmla="*/ 89535 h 138429"/>
                <a:gd name="connsiteX1509" fmla="*/ 3595365 w 4940931"/>
                <a:gd name="connsiteY1509" fmla="*/ 44450 h 138429"/>
                <a:gd name="connsiteX1510" fmla="*/ 3584570 w 4940931"/>
                <a:gd name="connsiteY1510" fmla="*/ 44450 h 138429"/>
                <a:gd name="connsiteX1511" fmla="*/ 3584570 w 4940931"/>
                <a:gd name="connsiteY1511" fmla="*/ 30480 h 138429"/>
                <a:gd name="connsiteX1512" fmla="*/ 3595365 w 4940931"/>
                <a:gd name="connsiteY1512" fmla="*/ 30480 h 138429"/>
                <a:gd name="connsiteX1513" fmla="*/ 3595365 w 4940931"/>
                <a:gd name="connsiteY1513" fmla="*/ 8255 h 138429"/>
                <a:gd name="connsiteX1514" fmla="*/ 3445505 w 4940931"/>
                <a:gd name="connsiteY1514" fmla="*/ 0 h 138429"/>
                <a:gd name="connsiteX1515" fmla="*/ 3445505 w 4940931"/>
                <a:gd name="connsiteY1515" fmla="*/ 37465 h 138429"/>
                <a:gd name="connsiteX1516" fmla="*/ 3449950 w 4940931"/>
                <a:gd name="connsiteY1516" fmla="*/ 33655 h 138429"/>
                <a:gd name="connsiteX1517" fmla="*/ 3453760 w 4940931"/>
                <a:gd name="connsiteY1517" fmla="*/ 31115 h 138429"/>
                <a:gd name="connsiteX1518" fmla="*/ 3458840 w 4940931"/>
                <a:gd name="connsiteY1518" fmla="*/ 29210 h 138429"/>
                <a:gd name="connsiteX1519" fmla="*/ 3465825 w 4940931"/>
                <a:gd name="connsiteY1519" fmla="*/ 28575 h 138429"/>
                <a:gd name="connsiteX1520" fmla="*/ 3477890 w 4940931"/>
                <a:gd name="connsiteY1520" fmla="*/ 31115 h 138429"/>
                <a:gd name="connsiteX1521" fmla="*/ 3487415 w 4940931"/>
                <a:gd name="connsiteY1521" fmla="*/ 38735 h 138429"/>
                <a:gd name="connsiteX1522" fmla="*/ 3493765 w 4940931"/>
                <a:gd name="connsiteY1522" fmla="*/ 51435 h 138429"/>
                <a:gd name="connsiteX1523" fmla="*/ 3496305 w 4940931"/>
                <a:gd name="connsiteY1523" fmla="*/ 70485 h 138429"/>
                <a:gd name="connsiteX1524" fmla="*/ 3495670 w 4940931"/>
                <a:gd name="connsiteY1524" fmla="*/ 71120 h 138429"/>
                <a:gd name="connsiteX1525" fmla="*/ 3493130 w 4940931"/>
                <a:gd name="connsiteY1525" fmla="*/ 88265 h 138429"/>
                <a:gd name="connsiteX1526" fmla="*/ 3486145 w 4940931"/>
                <a:gd name="connsiteY1526" fmla="*/ 100330 h 138429"/>
                <a:gd name="connsiteX1527" fmla="*/ 3476620 w 4940931"/>
                <a:gd name="connsiteY1527" fmla="*/ 107315 h 138429"/>
                <a:gd name="connsiteX1528" fmla="*/ 3465190 w 4940931"/>
                <a:gd name="connsiteY1528" fmla="*/ 109855 h 138429"/>
                <a:gd name="connsiteX1529" fmla="*/ 3454395 w 4940931"/>
                <a:gd name="connsiteY1529" fmla="*/ 107315 h 138429"/>
                <a:gd name="connsiteX1530" fmla="*/ 3445505 w 4940931"/>
                <a:gd name="connsiteY1530" fmla="*/ 100965 h 138429"/>
                <a:gd name="connsiteX1531" fmla="*/ 3445505 w 4940931"/>
                <a:gd name="connsiteY1531" fmla="*/ 107950 h 138429"/>
                <a:gd name="connsiteX1532" fmla="*/ 3430265 w 4940931"/>
                <a:gd name="connsiteY1532" fmla="*/ 107950 h 138429"/>
                <a:gd name="connsiteX1533" fmla="*/ 3430265 w 4940931"/>
                <a:gd name="connsiteY1533" fmla="*/ 7620 h 138429"/>
                <a:gd name="connsiteX1534" fmla="*/ 2380611 w 4940931"/>
                <a:gd name="connsiteY1534" fmla="*/ 0 h 138429"/>
                <a:gd name="connsiteX1535" fmla="*/ 2380611 w 4940931"/>
                <a:gd name="connsiteY1535" fmla="*/ 30480 h 138429"/>
                <a:gd name="connsiteX1536" fmla="*/ 2399661 w 4940931"/>
                <a:gd name="connsiteY1536" fmla="*/ 30480 h 138429"/>
                <a:gd name="connsiteX1537" fmla="*/ 2399661 w 4940931"/>
                <a:gd name="connsiteY1537" fmla="*/ 44450 h 138429"/>
                <a:gd name="connsiteX1538" fmla="*/ 2380611 w 4940931"/>
                <a:gd name="connsiteY1538" fmla="*/ 44450 h 138429"/>
                <a:gd name="connsiteX1539" fmla="*/ 2380611 w 4940931"/>
                <a:gd name="connsiteY1539" fmla="*/ 86995 h 138429"/>
                <a:gd name="connsiteX1540" fmla="*/ 2380611 w 4940931"/>
                <a:gd name="connsiteY1540" fmla="*/ 91440 h 138429"/>
                <a:gd name="connsiteX1541" fmla="*/ 2381881 w 4940931"/>
                <a:gd name="connsiteY1541" fmla="*/ 94615 h 138429"/>
                <a:gd name="connsiteX1542" fmla="*/ 2384421 w 4940931"/>
                <a:gd name="connsiteY1542" fmla="*/ 95885 h 138429"/>
                <a:gd name="connsiteX1543" fmla="*/ 2388231 w 4940931"/>
                <a:gd name="connsiteY1543" fmla="*/ 95885 h 138429"/>
                <a:gd name="connsiteX1544" fmla="*/ 2394581 w 4940931"/>
                <a:gd name="connsiteY1544" fmla="*/ 95250 h 138429"/>
                <a:gd name="connsiteX1545" fmla="*/ 2399661 w 4940931"/>
                <a:gd name="connsiteY1545" fmla="*/ 93345 h 138429"/>
                <a:gd name="connsiteX1546" fmla="*/ 2397756 w 4940931"/>
                <a:gd name="connsiteY1546" fmla="*/ 106680 h 138429"/>
                <a:gd name="connsiteX1547" fmla="*/ 2391406 w 4940931"/>
                <a:gd name="connsiteY1547" fmla="*/ 109220 h 138429"/>
                <a:gd name="connsiteX1548" fmla="*/ 2383151 w 4940931"/>
                <a:gd name="connsiteY1548" fmla="*/ 110490 h 138429"/>
                <a:gd name="connsiteX1549" fmla="*/ 2376166 w 4940931"/>
                <a:gd name="connsiteY1549" fmla="*/ 109220 h 138429"/>
                <a:gd name="connsiteX1550" fmla="*/ 2370451 w 4940931"/>
                <a:gd name="connsiteY1550" fmla="*/ 105410 h 138429"/>
                <a:gd name="connsiteX1551" fmla="*/ 2366641 w 4940931"/>
                <a:gd name="connsiteY1551" fmla="*/ 99060 h 138429"/>
                <a:gd name="connsiteX1552" fmla="*/ 2365371 w 4940931"/>
                <a:gd name="connsiteY1552" fmla="*/ 89535 h 138429"/>
                <a:gd name="connsiteX1553" fmla="*/ 2365371 w 4940931"/>
                <a:gd name="connsiteY1553" fmla="*/ 44450 h 138429"/>
                <a:gd name="connsiteX1554" fmla="*/ 2354576 w 4940931"/>
                <a:gd name="connsiteY1554" fmla="*/ 44450 h 138429"/>
                <a:gd name="connsiteX1555" fmla="*/ 2354576 w 4940931"/>
                <a:gd name="connsiteY1555" fmla="*/ 30480 h 138429"/>
                <a:gd name="connsiteX1556" fmla="*/ 2365371 w 4940931"/>
                <a:gd name="connsiteY1556" fmla="*/ 30480 h 138429"/>
                <a:gd name="connsiteX1557" fmla="*/ 2365371 w 4940931"/>
                <a:gd name="connsiteY1557" fmla="*/ 8255 h 138429"/>
                <a:gd name="connsiteX1558" fmla="*/ 2150741 w 4940931"/>
                <a:gd name="connsiteY1558" fmla="*/ 0 h 138429"/>
                <a:gd name="connsiteX1559" fmla="*/ 2150741 w 4940931"/>
                <a:gd name="connsiteY1559" fmla="*/ 30480 h 138429"/>
                <a:gd name="connsiteX1560" fmla="*/ 2169791 w 4940931"/>
                <a:gd name="connsiteY1560" fmla="*/ 30480 h 138429"/>
                <a:gd name="connsiteX1561" fmla="*/ 2169791 w 4940931"/>
                <a:gd name="connsiteY1561" fmla="*/ 44450 h 138429"/>
                <a:gd name="connsiteX1562" fmla="*/ 2150741 w 4940931"/>
                <a:gd name="connsiteY1562" fmla="*/ 44450 h 138429"/>
                <a:gd name="connsiteX1563" fmla="*/ 2150741 w 4940931"/>
                <a:gd name="connsiteY1563" fmla="*/ 86995 h 138429"/>
                <a:gd name="connsiteX1564" fmla="*/ 2150741 w 4940931"/>
                <a:gd name="connsiteY1564" fmla="*/ 91440 h 138429"/>
                <a:gd name="connsiteX1565" fmla="*/ 2152011 w 4940931"/>
                <a:gd name="connsiteY1565" fmla="*/ 94615 h 138429"/>
                <a:gd name="connsiteX1566" fmla="*/ 2154551 w 4940931"/>
                <a:gd name="connsiteY1566" fmla="*/ 95885 h 138429"/>
                <a:gd name="connsiteX1567" fmla="*/ 2158361 w 4940931"/>
                <a:gd name="connsiteY1567" fmla="*/ 95885 h 138429"/>
                <a:gd name="connsiteX1568" fmla="*/ 2164711 w 4940931"/>
                <a:gd name="connsiteY1568" fmla="*/ 95250 h 138429"/>
                <a:gd name="connsiteX1569" fmla="*/ 2169791 w 4940931"/>
                <a:gd name="connsiteY1569" fmla="*/ 93345 h 138429"/>
                <a:gd name="connsiteX1570" fmla="*/ 2167886 w 4940931"/>
                <a:gd name="connsiteY1570" fmla="*/ 106680 h 138429"/>
                <a:gd name="connsiteX1571" fmla="*/ 2161536 w 4940931"/>
                <a:gd name="connsiteY1571" fmla="*/ 109220 h 138429"/>
                <a:gd name="connsiteX1572" fmla="*/ 2153281 w 4940931"/>
                <a:gd name="connsiteY1572" fmla="*/ 110490 h 138429"/>
                <a:gd name="connsiteX1573" fmla="*/ 2146296 w 4940931"/>
                <a:gd name="connsiteY1573" fmla="*/ 109220 h 138429"/>
                <a:gd name="connsiteX1574" fmla="*/ 2140581 w 4940931"/>
                <a:gd name="connsiteY1574" fmla="*/ 105410 h 138429"/>
                <a:gd name="connsiteX1575" fmla="*/ 2136771 w 4940931"/>
                <a:gd name="connsiteY1575" fmla="*/ 99060 h 138429"/>
                <a:gd name="connsiteX1576" fmla="*/ 2135501 w 4940931"/>
                <a:gd name="connsiteY1576" fmla="*/ 89535 h 138429"/>
                <a:gd name="connsiteX1577" fmla="*/ 2135501 w 4940931"/>
                <a:gd name="connsiteY1577" fmla="*/ 44450 h 138429"/>
                <a:gd name="connsiteX1578" fmla="*/ 2124706 w 4940931"/>
                <a:gd name="connsiteY1578" fmla="*/ 44450 h 138429"/>
                <a:gd name="connsiteX1579" fmla="*/ 2124706 w 4940931"/>
                <a:gd name="connsiteY1579" fmla="*/ 30480 h 138429"/>
                <a:gd name="connsiteX1580" fmla="*/ 2135501 w 4940931"/>
                <a:gd name="connsiteY1580" fmla="*/ 30480 h 138429"/>
                <a:gd name="connsiteX1581" fmla="*/ 2135501 w 4940931"/>
                <a:gd name="connsiteY1581" fmla="*/ 8255 h 138429"/>
                <a:gd name="connsiteX1582" fmla="*/ 2096131 w 4940931"/>
                <a:gd name="connsiteY1582" fmla="*/ 0 h 138429"/>
                <a:gd name="connsiteX1583" fmla="*/ 2096131 w 4940931"/>
                <a:gd name="connsiteY1583" fmla="*/ 30480 h 138429"/>
                <a:gd name="connsiteX1584" fmla="*/ 2115181 w 4940931"/>
                <a:gd name="connsiteY1584" fmla="*/ 30480 h 138429"/>
                <a:gd name="connsiteX1585" fmla="*/ 2115181 w 4940931"/>
                <a:gd name="connsiteY1585" fmla="*/ 44450 h 138429"/>
                <a:gd name="connsiteX1586" fmla="*/ 2096131 w 4940931"/>
                <a:gd name="connsiteY1586" fmla="*/ 44450 h 138429"/>
                <a:gd name="connsiteX1587" fmla="*/ 2096131 w 4940931"/>
                <a:gd name="connsiteY1587" fmla="*/ 86995 h 138429"/>
                <a:gd name="connsiteX1588" fmla="*/ 2096131 w 4940931"/>
                <a:gd name="connsiteY1588" fmla="*/ 91440 h 138429"/>
                <a:gd name="connsiteX1589" fmla="*/ 2097401 w 4940931"/>
                <a:gd name="connsiteY1589" fmla="*/ 94615 h 138429"/>
                <a:gd name="connsiteX1590" fmla="*/ 2099941 w 4940931"/>
                <a:gd name="connsiteY1590" fmla="*/ 95885 h 138429"/>
                <a:gd name="connsiteX1591" fmla="*/ 2103751 w 4940931"/>
                <a:gd name="connsiteY1591" fmla="*/ 95885 h 138429"/>
                <a:gd name="connsiteX1592" fmla="*/ 2110101 w 4940931"/>
                <a:gd name="connsiteY1592" fmla="*/ 95250 h 138429"/>
                <a:gd name="connsiteX1593" fmla="*/ 2115181 w 4940931"/>
                <a:gd name="connsiteY1593" fmla="*/ 93345 h 138429"/>
                <a:gd name="connsiteX1594" fmla="*/ 2113276 w 4940931"/>
                <a:gd name="connsiteY1594" fmla="*/ 106680 h 138429"/>
                <a:gd name="connsiteX1595" fmla="*/ 2106926 w 4940931"/>
                <a:gd name="connsiteY1595" fmla="*/ 109220 h 138429"/>
                <a:gd name="connsiteX1596" fmla="*/ 2098671 w 4940931"/>
                <a:gd name="connsiteY1596" fmla="*/ 110490 h 138429"/>
                <a:gd name="connsiteX1597" fmla="*/ 2091686 w 4940931"/>
                <a:gd name="connsiteY1597" fmla="*/ 109220 h 138429"/>
                <a:gd name="connsiteX1598" fmla="*/ 2085971 w 4940931"/>
                <a:gd name="connsiteY1598" fmla="*/ 105410 h 138429"/>
                <a:gd name="connsiteX1599" fmla="*/ 2082161 w 4940931"/>
                <a:gd name="connsiteY1599" fmla="*/ 99060 h 138429"/>
                <a:gd name="connsiteX1600" fmla="*/ 2080891 w 4940931"/>
                <a:gd name="connsiteY1600" fmla="*/ 89535 h 138429"/>
                <a:gd name="connsiteX1601" fmla="*/ 2080891 w 4940931"/>
                <a:gd name="connsiteY1601" fmla="*/ 44450 h 138429"/>
                <a:gd name="connsiteX1602" fmla="*/ 2070096 w 4940931"/>
                <a:gd name="connsiteY1602" fmla="*/ 44450 h 138429"/>
                <a:gd name="connsiteX1603" fmla="*/ 2070096 w 4940931"/>
                <a:gd name="connsiteY1603" fmla="*/ 30480 h 138429"/>
                <a:gd name="connsiteX1604" fmla="*/ 2080891 w 4940931"/>
                <a:gd name="connsiteY1604" fmla="*/ 30480 h 138429"/>
                <a:gd name="connsiteX1605" fmla="*/ 2080891 w 4940931"/>
                <a:gd name="connsiteY1605" fmla="*/ 8255 h 138429"/>
                <a:gd name="connsiteX1606" fmla="*/ 1931665 w 4940931"/>
                <a:gd name="connsiteY1606" fmla="*/ 0 h 138429"/>
                <a:gd name="connsiteX1607" fmla="*/ 1931665 w 4940931"/>
                <a:gd name="connsiteY1607" fmla="*/ 37465 h 138429"/>
                <a:gd name="connsiteX1608" fmla="*/ 1936110 w 4940931"/>
                <a:gd name="connsiteY1608" fmla="*/ 33655 h 138429"/>
                <a:gd name="connsiteX1609" fmla="*/ 1939920 w 4940931"/>
                <a:gd name="connsiteY1609" fmla="*/ 31115 h 138429"/>
                <a:gd name="connsiteX1610" fmla="*/ 1945000 w 4940931"/>
                <a:gd name="connsiteY1610" fmla="*/ 29210 h 138429"/>
                <a:gd name="connsiteX1611" fmla="*/ 1951985 w 4940931"/>
                <a:gd name="connsiteY1611" fmla="*/ 28575 h 138429"/>
                <a:gd name="connsiteX1612" fmla="*/ 1964050 w 4940931"/>
                <a:gd name="connsiteY1612" fmla="*/ 31115 h 138429"/>
                <a:gd name="connsiteX1613" fmla="*/ 1973575 w 4940931"/>
                <a:gd name="connsiteY1613" fmla="*/ 38735 h 138429"/>
                <a:gd name="connsiteX1614" fmla="*/ 1979925 w 4940931"/>
                <a:gd name="connsiteY1614" fmla="*/ 51435 h 138429"/>
                <a:gd name="connsiteX1615" fmla="*/ 1982465 w 4940931"/>
                <a:gd name="connsiteY1615" fmla="*/ 70485 h 138429"/>
                <a:gd name="connsiteX1616" fmla="*/ 1981830 w 4940931"/>
                <a:gd name="connsiteY1616" fmla="*/ 71120 h 138429"/>
                <a:gd name="connsiteX1617" fmla="*/ 1979290 w 4940931"/>
                <a:gd name="connsiteY1617" fmla="*/ 88265 h 138429"/>
                <a:gd name="connsiteX1618" fmla="*/ 1972305 w 4940931"/>
                <a:gd name="connsiteY1618" fmla="*/ 100330 h 138429"/>
                <a:gd name="connsiteX1619" fmla="*/ 1962780 w 4940931"/>
                <a:gd name="connsiteY1619" fmla="*/ 107315 h 138429"/>
                <a:gd name="connsiteX1620" fmla="*/ 1951350 w 4940931"/>
                <a:gd name="connsiteY1620" fmla="*/ 109855 h 138429"/>
                <a:gd name="connsiteX1621" fmla="*/ 1940555 w 4940931"/>
                <a:gd name="connsiteY1621" fmla="*/ 107315 h 138429"/>
                <a:gd name="connsiteX1622" fmla="*/ 1931665 w 4940931"/>
                <a:gd name="connsiteY1622" fmla="*/ 100965 h 138429"/>
                <a:gd name="connsiteX1623" fmla="*/ 1931665 w 4940931"/>
                <a:gd name="connsiteY1623" fmla="*/ 107950 h 138429"/>
                <a:gd name="connsiteX1624" fmla="*/ 1916425 w 4940931"/>
                <a:gd name="connsiteY1624" fmla="*/ 107950 h 138429"/>
                <a:gd name="connsiteX1625" fmla="*/ 1916425 w 4940931"/>
                <a:gd name="connsiteY1625" fmla="*/ 7620 h 138429"/>
                <a:gd name="connsiteX1626" fmla="*/ 1316991 w 4940931"/>
                <a:gd name="connsiteY1626" fmla="*/ 0 h 138429"/>
                <a:gd name="connsiteX1627" fmla="*/ 1316991 w 4940931"/>
                <a:gd name="connsiteY1627" fmla="*/ 30480 h 138429"/>
                <a:gd name="connsiteX1628" fmla="*/ 1336041 w 4940931"/>
                <a:gd name="connsiteY1628" fmla="*/ 30480 h 138429"/>
                <a:gd name="connsiteX1629" fmla="*/ 1336041 w 4940931"/>
                <a:gd name="connsiteY1629" fmla="*/ 44450 h 138429"/>
                <a:gd name="connsiteX1630" fmla="*/ 1316991 w 4940931"/>
                <a:gd name="connsiteY1630" fmla="*/ 44450 h 138429"/>
                <a:gd name="connsiteX1631" fmla="*/ 1316991 w 4940931"/>
                <a:gd name="connsiteY1631" fmla="*/ 86995 h 138429"/>
                <a:gd name="connsiteX1632" fmla="*/ 1316991 w 4940931"/>
                <a:gd name="connsiteY1632" fmla="*/ 91440 h 138429"/>
                <a:gd name="connsiteX1633" fmla="*/ 1318261 w 4940931"/>
                <a:gd name="connsiteY1633" fmla="*/ 94615 h 138429"/>
                <a:gd name="connsiteX1634" fmla="*/ 1320801 w 4940931"/>
                <a:gd name="connsiteY1634" fmla="*/ 95885 h 138429"/>
                <a:gd name="connsiteX1635" fmla="*/ 1324611 w 4940931"/>
                <a:gd name="connsiteY1635" fmla="*/ 95885 h 138429"/>
                <a:gd name="connsiteX1636" fmla="*/ 1330961 w 4940931"/>
                <a:gd name="connsiteY1636" fmla="*/ 95250 h 138429"/>
                <a:gd name="connsiteX1637" fmla="*/ 1336041 w 4940931"/>
                <a:gd name="connsiteY1637" fmla="*/ 93345 h 138429"/>
                <a:gd name="connsiteX1638" fmla="*/ 1334136 w 4940931"/>
                <a:gd name="connsiteY1638" fmla="*/ 106680 h 138429"/>
                <a:gd name="connsiteX1639" fmla="*/ 1327786 w 4940931"/>
                <a:gd name="connsiteY1639" fmla="*/ 109220 h 138429"/>
                <a:gd name="connsiteX1640" fmla="*/ 1319531 w 4940931"/>
                <a:gd name="connsiteY1640" fmla="*/ 110490 h 138429"/>
                <a:gd name="connsiteX1641" fmla="*/ 1312546 w 4940931"/>
                <a:gd name="connsiteY1641" fmla="*/ 109220 h 138429"/>
                <a:gd name="connsiteX1642" fmla="*/ 1306831 w 4940931"/>
                <a:gd name="connsiteY1642" fmla="*/ 105410 h 138429"/>
                <a:gd name="connsiteX1643" fmla="*/ 1303021 w 4940931"/>
                <a:gd name="connsiteY1643" fmla="*/ 99060 h 138429"/>
                <a:gd name="connsiteX1644" fmla="*/ 1301751 w 4940931"/>
                <a:gd name="connsiteY1644" fmla="*/ 89535 h 138429"/>
                <a:gd name="connsiteX1645" fmla="*/ 1301751 w 4940931"/>
                <a:gd name="connsiteY1645" fmla="*/ 44450 h 138429"/>
                <a:gd name="connsiteX1646" fmla="*/ 1290956 w 4940931"/>
                <a:gd name="connsiteY1646" fmla="*/ 44450 h 138429"/>
                <a:gd name="connsiteX1647" fmla="*/ 1290956 w 4940931"/>
                <a:gd name="connsiteY1647" fmla="*/ 30480 h 138429"/>
                <a:gd name="connsiteX1648" fmla="*/ 1301751 w 4940931"/>
                <a:gd name="connsiteY1648" fmla="*/ 30480 h 138429"/>
                <a:gd name="connsiteX1649" fmla="*/ 1301751 w 4940931"/>
                <a:gd name="connsiteY1649" fmla="*/ 8255 h 138429"/>
                <a:gd name="connsiteX1650" fmla="*/ 751206 w 4940931"/>
                <a:gd name="connsiteY1650" fmla="*/ 0 h 138429"/>
                <a:gd name="connsiteX1651" fmla="*/ 751206 w 4940931"/>
                <a:gd name="connsiteY1651" fmla="*/ 30480 h 138429"/>
                <a:gd name="connsiteX1652" fmla="*/ 770256 w 4940931"/>
                <a:gd name="connsiteY1652" fmla="*/ 30480 h 138429"/>
                <a:gd name="connsiteX1653" fmla="*/ 770256 w 4940931"/>
                <a:gd name="connsiteY1653" fmla="*/ 44450 h 138429"/>
                <a:gd name="connsiteX1654" fmla="*/ 751206 w 4940931"/>
                <a:gd name="connsiteY1654" fmla="*/ 44450 h 138429"/>
                <a:gd name="connsiteX1655" fmla="*/ 751206 w 4940931"/>
                <a:gd name="connsiteY1655" fmla="*/ 86995 h 138429"/>
                <a:gd name="connsiteX1656" fmla="*/ 751206 w 4940931"/>
                <a:gd name="connsiteY1656" fmla="*/ 91440 h 138429"/>
                <a:gd name="connsiteX1657" fmla="*/ 752476 w 4940931"/>
                <a:gd name="connsiteY1657" fmla="*/ 94615 h 138429"/>
                <a:gd name="connsiteX1658" fmla="*/ 755016 w 4940931"/>
                <a:gd name="connsiteY1658" fmla="*/ 95885 h 138429"/>
                <a:gd name="connsiteX1659" fmla="*/ 758826 w 4940931"/>
                <a:gd name="connsiteY1659" fmla="*/ 95885 h 138429"/>
                <a:gd name="connsiteX1660" fmla="*/ 765176 w 4940931"/>
                <a:gd name="connsiteY1660" fmla="*/ 95250 h 138429"/>
                <a:gd name="connsiteX1661" fmla="*/ 770256 w 4940931"/>
                <a:gd name="connsiteY1661" fmla="*/ 93345 h 138429"/>
                <a:gd name="connsiteX1662" fmla="*/ 768351 w 4940931"/>
                <a:gd name="connsiteY1662" fmla="*/ 106680 h 138429"/>
                <a:gd name="connsiteX1663" fmla="*/ 762001 w 4940931"/>
                <a:gd name="connsiteY1663" fmla="*/ 109220 h 138429"/>
                <a:gd name="connsiteX1664" fmla="*/ 753746 w 4940931"/>
                <a:gd name="connsiteY1664" fmla="*/ 110490 h 138429"/>
                <a:gd name="connsiteX1665" fmla="*/ 746761 w 4940931"/>
                <a:gd name="connsiteY1665" fmla="*/ 109220 h 138429"/>
                <a:gd name="connsiteX1666" fmla="*/ 741045 w 4940931"/>
                <a:gd name="connsiteY1666" fmla="*/ 105410 h 138429"/>
                <a:gd name="connsiteX1667" fmla="*/ 737236 w 4940931"/>
                <a:gd name="connsiteY1667" fmla="*/ 99060 h 138429"/>
                <a:gd name="connsiteX1668" fmla="*/ 735966 w 4940931"/>
                <a:gd name="connsiteY1668" fmla="*/ 89535 h 138429"/>
                <a:gd name="connsiteX1669" fmla="*/ 735966 w 4940931"/>
                <a:gd name="connsiteY1669" fmla="*/ 44450 h 138429"/>
                <a:gd name="connsiteX1670" fmla="*/ 725171 w 4940931"/>
                <a:gd name="connsiteY1670" fmla="*/ 44450 h 138429"/>
                <a:gd name="connsiteX1671" fmla="*/ 725171 w 4940931"/>
                <a:gd name="connsiteY1671" fmla="*/ 30480 h 138429"/>
                <a:gd name="connsiteX1672" fmla="*/ 735966 w 4940931"/>
                <a:gd name="connsiteY1672" fmla="*/ 30480 h 138429"/>
                <a:gd name="connsiteX1673" fmla="*/ 735966 w 4940931"/>
                <a:gd name="connsiteY1673" fmla="*/ 8255 h 138429"/>
                <a:gd name="connsiteX1674" fmla="*/ 521335 w 4940931"/>
                <a:gd name="connsiteY1674" fmla="*/ 0 h 138429"/>
                <a:gd name="connsiteX1675" fmla="*/ 521335 w 4940931"/>
                <a:gd name="connsiteY1675" fmla="*/ 30480 h 138429"/>
                <a:gd name="connsiteX1676" fmla="*/ 540385 w 4940931"/>
                <a:gd name="connsiteY1676" fmla="*/ 30480 h 138429"/>
                <a:gd name="connsiteX1677" fmla="*/ 540385 w 4940931"/>
                <a:gd name="connsiteY1677" fmla="*/ 44450 h 138429"/>
                <a:gd name="connsiteX1678" fmla="*/ 521335 w 4940931"/>
                <a:gd name="connsiteY1678" fmla="*/ 44450 h 138429"/>
                <a:gd name="connsiteX1679" fmla="*/ 521335 w 4940931"/>
                <a:gd name="connsiteY1679" fmla="*/ 86995 h 138429"/>
                <a:gd name="connsiteX1680" fmla="*/ 521335 w 4940931"/>
                <a:gd name="connsiteY1680" fmla="*/ 91440 h 138429"/>
                <a:gd name="connsiteX1681" fmla="*/ 522605 w 4940931"/>
                <a:gd name="connsiteY1681" fmla="*/ 94615 h 138429"/>
                <a:gd name="connsiteX1682" fmla="*/ 525145 w 4940931"/>
                <a:gd name="connsiteY1682" fmla="*/ 95885 h 138429"/>
                <a:gd name="connsiteX1683" fmla="*/ 528955 w 4940931"/>
                <a:gd name="connsiteY1683" fmla="*/ 95885 h 138429"/>
                <a:gd name="connsiteX1684" fmla="*/ 535305 w 4940931"/>
                <a:gd name="connsiteY1684" fmla="*/ 95250 h 138429"/>
                <a:gd name="connsiteX1685" fmla="*/ 540385 w 4940931"/>
                <a:gd name="connsiteY1685" fmla="*/ 93345 h 138429"/>
                <a:gd name="connsiteX1686" fmla="*/ 538480 w 4940931"/>
                <a:gd name="connsiteY1686" fmla="*/ 106680 h 138429"/>
                <a:gd name="connsiteX1687" fmla="*/ 532130 w 4940931"/>
                <a:gd name="connsiteY1687" fmla="*/ 109220 h 138429"/>
                <a:gd name="connsiteX1688" fmla="*/ 523875 w 4940931"/>
                <a:gd name="connsiteY1688" fmla="*/ 110490 h 138429"/>
                <a:gd name="connsiteX1689" fmla="*/ 516890 w 4940931"/>
                <a:gd name="connsiteY1689" fmla="*/ 109220 h 138429"/>
                <a:gd name="connsiteX1690" fmla="*/ 511175 w 4940931"/>
                <a:gd name="connsiteY1690" fmla="*/ 105410 h 138429"/>
                <a:gd name="connsiteX1691" fmla="*/ 507365 w 4940931"/>
                <a:gd name="connsiteY1691" fmla="*/ 99060 h 138429"/>
                <a:gd name="connsiteX1692" fmla="*/ 506095 w 4940931"/>
                <a:gd name="connsiteY1692" fmla="*/ 89535 h 138429"/>
                <a:gd name="connsiteX1693" fmla="*/ 506095 w 4940931"/>
                <a:gd name="connsiteY1693" fmla="*/ 44450 h 138429"/>
                <a:gd name="connsiteX1694" fmla="*/ 495300 w 4940931"/>
                <a:gd name="connsiteY1694" fmla="*/ 44450 h 138429"/>
                <a:gd name="connsiteX1695" fmla="*/ 495300 w 4940931"/>
                <a:gd name="connsiteY1695" fmla="*/ 30480 h 138429"/>
                <a:gd name="connsiteX1696" fmla="*/ 506095 w 4940931"/>
                <a:gd name="connsiteY1696" fmla="*/ 30480 h 138429"/>
                <a:gd name="connsiteX1697" fmla="*/ 506095 w 4940931"/>
                <a:gd name="connsiteY1697" fmla="*/ 8255 h 138429"/>
                <a:gd name="connsiteX1698" fmla="*/ 466724 w 4940931"/>
                <a:gd name="connsiteY1698" fmla="*/ 0 h 138429"/>
                <a:gd name="connsiteX1699" fmla="*/ 466724 w 4940931"/>
                <a:gd name="connsiteY1699" fmla="*/ 30480 h 138429"/>
                <a:gd name="connsiteX1700" fmla="*/ 485774 w 4940931"/>
                <a:gd name="connsiteY1700" fmla="*/ 30480 h 138429"/>
                <a:gd name="connsiteX1701" fmla="*/ 485774 w 4940931"/>
                <a:gd name="connsiteY1701" fmla="*/ 44450 h 138429"/>
                <a:gd name="connsiteX1702" fmla="*/ 466724 w 4940931"/>
                <a:gd name="connsiteY1702" fmla="*/ 44450 h 138429"/>
                <a:gd name="connsiteX1703" fmla="*/ 466724 w 4940931"/>
                <a:gd name="connsiteY1703" fmla="*/ 86995 h 138429"/>
                <a:gd name="connsiteX1704" fmla="*/ 466724 w 4940931"/>
                <a:gd name="connsiteY1704" fmla="*/ 91440 h 138429"/>
                <a:gd name="connsiteX1705" fmla="*/ 467994 w 4940931"/>
                <a:gd name="connsiteY1705" fmla="*/ 94615 h 138429"/>
                <a:gd name="connsiteX1706" fmla="*/ 470534 w 4940931"/>
                <a:gd name="connsiteY1706" fmla="*/ 95885 h 138429"/>
                <a:gd name="connsiteX1707" fmla="*/ 474344 w 4940931"/>
                <a:gd name="connsiteY1707" fmla="*/ 95885 h 138429"/>
                <a:gd name="connsiteX1708" fmla="*/ 480694 w 4940931"/>
                <a:gd name="connsiteY1708" fmla="*/ 95250 h 138429"/>
                <a:gd name="connsiteX1709" fmla="*/ 485774 w 4940931"/>
                <a:gd name="connsiteY1709" fmla="*/ 93345 h 138429"/>
                <a:gd name="connsiteX1710" fmla="*/ 483869 w 4940931"/>
                <a:gd name="connsiteY1710" fmla="*/ 106680 h 138429"/>
                <a:gd name="connsiteX1711" fmla="*/ 477519 w 4940931"/>
                <a:gd name="connsiteY1711" fmla="*/ 109220 h 138429"/>
                <a:gd name="connsiteX1712" fmla="*/ 469264 w 4940931"/>
                <a:gd name="connsiteY1712" fmla="*/ 110490 h 138429"/>
                <a:gd name="connsiteX1713" fmla="*/ 462279 w 4940931"/>
                <a:gd name="connsiteY1713" fmla="*/ 109220 h 138429"/>
                <a:gd name="connsiteX1714" fmla="*/ 456564 w 4940931"/>
                <a:gd name="connsiteY1714" fmla="*/ 105410 h 138429"/>
                <a:gd name="connsiteX1715" fmla="*/ 452754 w 4940931"/>
                <a:gd name="connsiteY1715" fmla="*/ 99060 h 138429"/>
                <a:gd name="connsiteX1716" fmla="*/ 451484 w 4940931"/>
                <a:gd name="connsiteY1716" fmla="*/ 89535 h 138429"/>
                <a:gd name="connsiteX1717" fmla="*/ 451484 w 4940931"/>
                <a:gd name="connsiteY1717" fmla="*/ 44450 h 138429"/>
                <a:gd name="connsiteX1718" fmla="*/ 440689 w 4940931"/>
                <a:gd name="connsiteY1718" fmla="*/ 44450 h 138429"/>
                <a:gd name="connsiteX1719" fmla="*/ 440689 w 4940931"/>
                <a:gd name="connsiteY1719" fmla="*/ 30480 h 138429"/>
                <a:gd name="connsiteX1720" fmla="*/ 451484 w 4940931"/>
                <a:gd name="connsiteY1720" fmla="*/ 30480 h 138429"/>
                <a:gd name="connsiteX1721" fmla="*/ 451484 w 4940931"/>
                <a:gd name="connsiteY1721" fmla="*/ 8255 h 138429"/>
                <a:gd name="connsiteX1722" fmla="*/ 302259 w 4940931"/>
                <a:gd name="connsiteY1722" fmla="*/ 0 h 138429"/>
                <a:gd name="connsiteX1723" fmla="*/ 302259 w 4940931"/>
                <a:gd name="connsiteY1723" fmla="*/ 37465 h 138429"/>
                <a:gd name="connsiteX1724" fmla="*/ 306704 w 4940931"/>
                <a:gd name="connsiteY1724" fmla="*/ 33655 h 138429"/>
                <a:gd name="connsiteX1725" fmla="*/ 310514 w 4940931"/>
                <a:gd name="connsiteY1725" fmla="*/ 31115 h 138429"/>
                <a:gd name="connsiteX1726" fmla="*/ 315594 w 4940931"/>
                <a:gd name="connsiteY1726" fmla="*/ 29210 h 138429"/>
                <a:gd name="connsiteX1727" fmla="*/ 322579 w 4940931"/>
                <a:gd name="connsiteY1727" fmla="*/ 28575 h 138429"/>
                <a:gd name="connsiteX1728" fmla="*/ 334644 w 4940931"/>
                <a:gd name="connsiteY1728" fmla="*/ 31115 h 138429"/>
                <a:gd name="connsiteX1729" fmla="*/ 344169 w 4940931"/>
                <a:gd name="connsiteY1729" fmla="*/ 38735 h 138429"/>
                <a:gd name="connsiteX1730" fmla="*/ 350519 w 4940931"/>
                <a:gd name="connsiteY1730" fmla="*/ 51435 h 138429"/>
                <a:gd name="connsiteX1731" fmla="*/ 353059 w 4940931"/>
                <a:gd name="connsiteY1731" fmla="*/ 70485 h 138429"/>
                <a:gd name="connsiteX1732" fmla="*/ 352424 w 4940931"/>
                <a:gd name="connsiteY1732" fmla="*/ 71120 h 138429"/>
                <a:gd name="connsiteX1733" fmla="*/ 349884 w 4940931"/>
                <a:gd name="connsiteY1733" fmla="*/ 88265 h 138429"/>
                <a:gd name="connsiteX1734" fmla="*/ 342899 w 4940931"/>
                <a:gd name="connsiteY1734" fmla="*/ 100330 h 138429"/>
                <a:gd name="connsiteX1735" fmla="*/ 333374 w 4940931"/>
                <a:gd name="connsiteY1735" fmla="*/ 107315 h 138429"/>
                <a:gd name="connsiteX1736" fmla="*/ 321944 w 4940931"/>
                <a:gd name="connsiteY1736" fmla="*/ 109855 h 138429"/>
                <a:gd name="connsiteX1737" fmla="*/ 311149 w 4940931"/>
                <a:gd name="connsiteY1737" fmla="*/ 107315 h 138429"/>
                <a:gd name="connsiteX1738" fmla="*/ 302259 w 4940931"/>
                <a:gd name="connsiteY1738" fmla="*/ 100965 h 138429"/>
                <a:gd name="connsiteX1739" fmla="*/ 302259 w 4940931"/>
                <a:gd name="connsiteY1739" fmla="*/ 107950 h 138429"/>
                <a:gd name="connsiteX1740" fmla="*/ 287019 w 4940931"/>
                <a:gd name="connsiteY1740" fmla="*/ 107950 h 138429"/>
                <a:gd name="connsiteX1741" fmla="*/ 287019 w 4940931"/>
                <a:gd name="connsiteY1741" fmla="*/ 7620 h 138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  <a:cxn ang="0">
                  <a:pos x="connsiteX1535" y="connsiteY1535"/>
                </a:cxn>
                <a:cxn ang="0">
                  <a:pos x="connsiteX1536" y="connsiteY1536"/>
                </a:cxn>
                <a:cxn ang="0">
                  <a:pos x="connsiteX1537" y="connsiteY1537"/>
                </a:cxn>
                <a:cxn ang="0">
                  <a:pos x="connsiteX1538" y="connsiteY1538"/>
                </a:cxn>
                <a:cxn ang="0">
                  <a:pos x="connsiteX1539" y="connsiteY1539"/>
                </a:cxn>
                <a:cxn ang="0">
                  <a:pos x="connsiteX1540" y="connsiteY1540"/>
                </a:cxn>
                <a:cxn ang="0">
                  <a:pos x="connsiteX1541" y="connsiteY1541"/>
                </a:cxn>
                <a:cxn ang="0">
                  <a:pos x="connsiteX1542" y="connsiteY1542"/>
                </a:cxn>
                <a:cxn ang="0">
                  <a:pos x="connsiteX1543" y="connsiteY1543"/>
                </a:cxn>
                <a:cxn ang="0">
                  <a:pos x="connsiteX1544" y="connsiteY1544"/>
                </a:cxn>
                <a:cxn ang="0">
                  <a:pos x="connsiteX1545" y="connsiteY1545"/>
                </a:cxn>
                <a:cxn ang="0">
                  <a:pos x="connsiteX1546" y="connsiteY1546"/>
                </a:cxn>
                <a:cxn ang="0">
                  <a:pos x="connsiteX1547" y="connsiteY1547"/>
                </a:cxn>
                <a:cxn ang="0">
                  <a:pos x="connsiteX1548" y="connsiteY1548"/>
                </a:cxn>
                <a:cxn ang="0">
                  <a:pos x="connsiteX1549" y="connsiteY1549"/>
                </a:cxn>
                <a:cxn ang="0">
                  <a:pos x="connsiteX1550" y="connsiteY1550"/>
                </a:cxn>
                <a:cxn ang="0">
                  <a:pos x="connsiteX1551" y="connsiteY1551"/>
                </a:cxn>
                <a:cxn ang="0">
                  <a:pos x="connsiteX1552" y="connsiteY1552"/>
                </a:cxn>
                <a:cxn ang="0">
                  <a:pos x="connsiteX1553" y="connsiteY1553"/>
                </a:cxn>
                <a:cxn ang="0">
                  <a:pos x="connsiteX1554" y="connsiteY1554"/>
                </a:cxn>
                <a:cxn ang="0">
                  <a:pos x="connsiteX1555" y="connsiteY1555"/>
                </a:cxn>
                <a:cxn ang="0">
                  <a:pos x="connsiteX1556" y="connsiteY1556"/>
                </a:cxn>
                <a:cxn ang="0">
                  <a:pos x="connsiteX1557" y="connsiteY1557"/>
                </a:cxn>
                <a:cxn ang="0">
                  <a:pos x="connsiteX1558" y="connsiteY1558"/>
                </a:cxn>
                <a:cxn ang="0">
                  <a:pos x="connsiteX1559" y="connsiteY1559"/>
                </a:cxn>
                <a:cxn ang="0">
                  <a:pos x="connsiteX1560" y="connsiteY1560"/>
                </a:cxn>
                <a:cxn ang="0">
                  <a:pos x="connsiteX1561" y="connsiteY1561"/>
                </a:cxn>
                <a:cxn ang="0">
                  <a:pos x="connsiteX1562" y="connsiteY1562"/>
                </a:cxn>
                <a:cxn ang="0">
                  <a:pos x="connsiteX1563" y="connsiteY1563"/>
                </a:cxn>
                <a:cxn ang="0">
                  <a:pos x="connsiteX1564" y="connsiteY1564"/>
                </a:cxn>
                <a:cxn ang="0">
                  <a:pos x="connsiteX1565" y="connsiteY1565"/>
                </a:cxn>
                <a:cxn ang="0">
                  <a:pos x="connsiteX1566" y="connsiteY1566"/>
                </a:cxn>
                <a:cxn ang="0">
                  <a:pos x="connsiteX1567" y="connsiteY1567"/>
                </a:cxn>
                <a:cxn ang="0">
                  <a:pos x="connsiteX1568" y="connsiteY1568"/>
                </a:cxn>
                <a:cxn ang="0">
                  <a:pos x="connsiteX1569" y="connsiteY1569"/>
                </a:cxn>
                <a:cxn ang="0">
                  <a:pos x="connsiteX1570" y="connsiteY1570"/>
                </a:cxn>
                <a:cxn ang="0">
                  <a:pos x="connsiteX1571" y="connsiteY1571"/>
                </a:cxn>
                <a:cxn ang="0">
                  <a:pos x="connsiteX1572" y="connsiteY1572"/>
                </a:cxn>
                <a:cxn ang="0">
                  <a:pos x="connsiteX1573" y="connsiteY1573"/>
                </a:cxn>
                <a:cxn ang="0">
                  <a:pos x="connsiteX1574" y="connsiteY1574"/>
                </a:cxn>
                <a:cxn ang="0">
                  <a:pos x="connsiteX1575" y="connsiteY1575"/>
                </a:cxn>
                <a:cxn ang="0">
                  <a:pos x="connsiteX1576" y="connsiteY1576"/>
                </a:cxn>
                <a:cxn ang="0">
                  <a:pos x="connsiteX1577" y="connsiteY1577"/>
                </a:cxn>
                <a:cxn ang="0">
                  <a:pos x="connsiteX1578" y="connsiteY1578"/>
                </a:cxn>
                <a:cxn ang="0">
                  <a:pos x="connsiteX1579" y="connsiteY1579"/>
                </a:cxn>
                <a:cxn ang="0">
                  <a:pos x="connsiteX1580" y="connsiteY1580"/>
                </a:cxn>
                <a:cxn ang="0">
                  <a:pos x="connsiteX1581" y="connsiteY1581"/>
                </a:cxn>
                <a:cxn ang="0">
                  <a:pos x="connsiteX1582" y="connsiteY1582"/>
                </a:cxn>
                <a:cxn ang="0">
                  <a:pos x="connsiteX1583" y="connsiteY1583"/>
                </a:cxn>
                <a:cxn ang="0">
                  <a:pos x="connsiteX1584" y="connsiteY1584"/>
                </a:cxn>
                <a:cxn ang="0">
                  <a:pos x="connsiteX1585" y="connsiteY1585"/>
                </a:cxn>
                <a:cxn ang="0">
                  <a:pos x="connsiteX1586" y="connsiteY1586"/>
                </a:cxn>
                <a:cxn ang="0">
                  <a:pos x="connsiteX1587" y="connsiteY1587"/>
                </a:cxn>
                <a:cxn ang="0">
                  <a:pos x="connsiteX1588" y="connsiteY1588"/>
                </a:cxn>
                <a:cxn ang="0">
                  <a:pos x="connsiteX1589" y="connsiteY1589"/>
                </a:cxn>
                <a:cxn ang="0">
                  <a:pos x="connsiteX1590" y="connsiteY1590"/>
                </a:cxn>
                <a:cxn ang="0">
                  <a:pos x="connsiteX1591" y="connsiteY1591"/>
                </a:cxn>
                <a:cxn ang="0">
                  <a:pos x="connsiteX1592" y="connsiteY1592"/>
                </a:cxn>
                <a:cxn ang="0">
                  <a:pos x="connsiteX1593" y="connsiteY1593"/>
                </a:cxn>
                <a:cxn ang="0">
                  <a:pos x="connsiteX1594" y="connsiteY1594"/>
                </a:cxn>
                <a:cxn ang="0">
                  <a:pos x="connsiteX1595" y="connsiteY1595"/>
                </a:cxn>
                <a:cxn ang="0">
                  <a:pos x="connsiteX1596" y="connsiteY1596"/>
                </a:cxn>
                <a:cxn ang="0">
                  <a:pos x="connsiteX1597" y="connsiteY1597"/>
                </a:cxn>
                <a:cxn ang="0">
                  <a:pos x="connsiteX1598" y="connsiteY1598"/>
                </a:cxn>
                <a:cxn ang="0">
                  <a:pos x="connsiteX1599" y="connsiteY1599"/>
                </a:cxn>
                <a:cxn ang="0">
                  <a:pos x="connsiteX1600" y="connsiteY1600"/>
                </a:cxn>
                <a:cxn ang="0">
                  <a:pos x="connsiteX1601" y="connsiteY1601"/>
                </a:cxn>
                <a:cxn ang="0">
                  <a:pos x="connsiteX1602" y="connsiteY1602"/>
                </a:cxn>
                <a:cxn ang="0">
                  <a:pos x="connsiteX1603" y="connsiteY1603"/>
                </a:cxn>
                <a:cxn ang="0">
                  <a:pos x="connsiteX1604" y="connsiteY1604"/>
                </a:cxn>
                <a:cxn ang="0">
                  <a:pos x="connsiteX1605" y="connsiteY1605"/>
                </a:cxn>
                <a:cxn ang="0">
                  <a:pos x="connsiteX1606" y="connsiteY1606"/>
                </a:cxn>
                <a:cxn ang="0">
                  <a:pos x="connsiteX1607" y="connsiteY1607"/>
                </a:cxn>
                <a:cxn ang="0">
                  <a:pos x="connsiteX1608" y="connsiteY1608"/>
                </a:cxn>
                <a:cxn ang="0">
                  <a:pos x="connsiteX1609" y="connsiteY1609"/>
                </a:cxn>
                <a:cxn ang="0">
                  <a:pos x="connsiteX1610" y="connsiteY1610"/>
                </a:cxn>
                <a:cxn ang="0">
                  <a:pos x="connsiteX1611" y="connsiteY1611"/>
                </a:cxn>
                <a:cxn ang="0">
                  <a:pos x="connsiteX1612" y="connsiteY1612"/>
                </a:cxn>
                <a:cxn ang="0">
                  <a:pos x="connsiteX1613" y="connsiteY1613"/>
                </a:cxn>
                <a:cxn ang="0">
                  <a:pos x="connsiteX1614" y="connsiteY1614"/>
                </a:cxn>
                <a:cxn ang="0">
                  <a:pos x="connsiteX1615" y="connsiteY1615"/>
                </a:cxn>
                <a:cxn ang="0">
                  <a:pos x="connsiteX1616" y="connsiteY1616"/>
                </a:cxn>
                <a:cxn ang="0">
                  <a:pos x="connsiteX1617" y="connsiteY1617"/>
                </a:cxn>
                <a:cxn ang="0">
                  <a:pos x="connsiteX1618" y="connsiteY1618"/>
                </a:cxn>
                <a:cxn ang="0">
                  <a:pos x="connsiteX1619" y="connsiteY1619"/>
                </a:cxn>
                <a:cxn ang="0">
                  <a:pos x="connsiteX1620" y="connsiteY1620"/>
                </a:cxn>
                <a:cxn ang="0">
                  <a:pos x="connsiteX1621" y="connsiteY1621"/>
                </a:cxn>
                <a:cxn ang="0">
                  <a:pos x="connsiteX1622" y="connsiteY1622"/>
                </a:cxn>
                <a:cxn ang="0">
                  <a:pos x="connsiteX1623" y="connsiteY1623"/>
                </a:cxn>
                <a:cxn ang="0">
                  <a:pos x="connsiteX1624" y="connsiteY1624"/>
                </a:cxn>
                <a:cxn ang="0">
                  <a:pos x="connsiteX1625" y="connsiteY1625"/>
                </a:cxn>
                <a:cxn ang="0">
                  <a:pos x="connsiteX1626" y="connsiteY1626"/>
                </a:cxn>
                <a:cxn ang="0">
                  <a:pos x="connsiteX1627" y="connsiteY1627"/>
                </a:cxn>
                <a:cxn ang="0">
                  <a:pos x="connsiteX1628" y="connsiteY1628"/>
                </a:cxn>
                <a:cxn ang="0">
                  <a:pos x="connsiteX1629" y="connsiteY1629"/>
                </a:cxn>
                <a:cxn ang="0">
                  <a:pos x="connsiteX1630" y="connsiteY1630"/>
                </a:cxn>
                <a:cxn ang="0">
                  <a:pos x="connsiteX1631" y="connsiteY1631"/>
                </a:cxn>
                <a:cxn ang="0">
                  <a:pos x="connsiteX1632" y="connsiteY1632"/>
                </a:cxn>
                <a:cxn ang="0">
                  <a:pos x="connsiteX1633" y="connsiteY1633"/>
                </a:cxn>
                <a:cxn ang="0">
                  <a:pos x="connsiteX1634" y="connsiteY1634"/>
                </a:cxn>
                <a:cxn ang="0">
                  <a:pos x="connsiteX1635" y="connsiteY1635"/>
                </a:cxn>
                <a:cxn ang="0">
                  <a:pos x="connsiteX1636" y="connsiteY1636"/>
                </a:cxn>
                <a:cxn ang="0">
                  <a:pos x="connsiteX1637" y="connsiteY1637"/>
                </a:cxn>
                <a:cxn ang="0">
                  <a:pos x="connsiteX1638" y="connsiteY1638"/>
                </a:cxn>
                <a:cxn ang="0">
                  <a:pos x="connsiteX1639" y="connsiteY1639"/>
                </a:cxn>
                <a:cxn ang="0">
                  <a:pos x="connsiteX1640" y="connsiteY1640"/>
                </a:cxn>
                <a:cxn ang="0">
                  <a:pos x="connsiteX1641" y="connsiteY1641"/>
                </a:cxn>
                <a:cxn ang="0">
                  <a:pos x="connsiteX1642" y="connsiteY1642"/>
                </a:cxn>
                <a:cxn ang="0">
                  <a:pos x="connsiteX1643" y="connsiteY1643"/>
                </a:cxn>
                <a:cxn ang="0">
                  <a:pos x="connsiteX1644" y="connsiteY1644"/>
                </a:cxn>
                <a:cxn ang="0">
                  <a:pos x="connsiteX1645" y="connsiteY1645"/>
                </a:cxn>
                <a:cxn ang="0">
                  <a:pos x="connsiteX1646" y="connsiteY1646"/>
                </a:cxn>
                <a:cxn ang="0">
                  <a:pos x="connsiteX1647" y="connsiteY1647"/>
                </a:cxn>
                <a:cxn ang="0">
                  <a:pos x="connsiteX1648" y="connsiteY1648"/>
                </a:cxn>
                <a:cxn ang="0">
                  <a:pos x="connsiteX1649" y="connsiteY1649"/>
                </a:cxn>
                <a:cxn ang="0">
                  <a:pos x="connsiteX1650" y="connsiteY1650"/>
                </a:cxn>
                <a:cxn ang="0">
                  <a:pos x="connsiteX1651" y="connsiteY1651"/>
                </a:cxn>
                <a:cxn ang="0">
                  <a:pos x="connsiteX1652" y="connsiteY1652"/>
                </a:cxn>
                <a:cxn ang="0">
                  <a:pos x="connsiteX1653" y="connsiteY1653"/>
                </a:cxn>
                <a:cxn ang="0">
                  <a:pos x="connsiteX1654" y="connsiteY1654"/>
                </a:cxn>
                <a:cxn ang="0">
                  <a:pos x="connsiteX1655" y="connsiteY1655"/>
                </a:cxn>
                <a:cxn ang="0">
                  <a:pos x="connsiteX1656" y="connsiteY1656"/>
                </a:cxn>
                <a:cxn ang="0">
                  <a:pos x="connsiteX1657" y="connsiteY1657"/>
                </a:cxn>
                <a:cxn ang="0">
                  <a:pos x="connsiteX1658" y="connsiteY1658"/>
                </a:cxn>
                <a:cxn ang="0">
                  <a:pos x="connsiteX1659" y="connsiteY1659"/>
                </a:cxn>
                <a:cxn ang="0">
                  <a:pos x="connsiteX1660" y="connsiteY1660"/>
                </a:cxn>
                <a:cxn ang="0">
                  <a:pos x="connsiteX1661" y="connsiteY1661"/>
                </a:cxn>
                <a:cxn ang="0">
                  <a:pos x="connsiteX1662" y="connsiteY1662"/>
                </a:cxn>
                <a:cxn ang="0">
                  <a:pos x="connsiteX1663" y="connsiteY1663"/>
                </a:cxn>
                <a:cxn ang="0">
                  <a:pos x="connsiteX1664" y="connsiteY1664"/>
                </a:cxn>
                <a:cxn ang="0">
                  <a:pos x="connsiteX1665" y="connsiteY1665"/>
                </a:cxn>
                <a:cxn ang="0">
                  <a:pos x="connsiteX1666" y="connsiteY1666"/>
                </a:cxn>
                <a:cxn ang="0">
                  <a:pos x="connsiteX1667" y="connsiteY1667"/>
                </a:cxn>
                <a:cxn ang="0">
                  <a:pos x="connsiteX1668" y="connsiteY1668"/>
                </a:cxn>
                <a:cxn ang="0">
                  <a:pos x="connsiteX1669" y="connsiteY1669"/>
                </a:cxn>
                <a:cxn ang="0">
                  <a:pos x="connsiteX1670" y="connsiteY1670"/>
                </a:cxn>
                <a:cxn ang="0">
                  <a:pos x="connsiteX1671" y="connsiteY1671"/>
                </a:cxn>
                <a:cxn ang="0">
                  <a:pos x="connsiteX1672" y="connsiteY1672"/>
                </a:cxn>
                <a:cxn ang="0">
                  <a:pos x="connsiteX1673" y="connsiteY1673"/>
                </a:cxn>
                <a:cxn ang="0">
                  <a:pos x="connsiteX1674" y="connsiteY1674"/>
                </a:cxn>
                <a:cxn ang="0">
                  <a:pos x="connsiteX1675" y="connsiteY1675"/>
                </a:cxn>
                <a:cxn ang="0">
                  <a:pos x="connsiteX1676" y="connsiteY1676"/>
                </a:cxn>
                <a:cxn ang="0">
                  <a:pos x="connsiteX1677" y="connsiteY1677"/>
                </a:cxn>
                <a:cxn ang="0">
                  <a:pos x="connsiteX1678" y="connsiteY1678"/>
                </a:cxn>
                <a:cxn ang="0">
                  <a:pos x="connsiteX1679" y="connsiteY1679"/>
                </a:cxn>
                <a:cxn ang="0">
                  <a:pos x="connsiteX1680" y="connsiteY1680"/>
                </a:cxn>
                <a:cxn ang="0">
                  <a:pos x="connsiteX1681" y="connsiteY1681"/>
                </a:cxn>
                <a:cxn ang="0">
                  <a:pos x="connsiteX1682" y="connsiteY1682"/>
                </a:cxn>
                <a:cxn ang="0">
                  <a:pos x="connsiteX1683" y="connsiteY1683"/>
                </a:cxn>
                <a:cxn ang="0">
                  <a:pos x="connsiteX1684" y="connsiteY1684"/>
                </a:cxn>
                <a:cxn ang="0">
                  <a:pos x="connsiteX1685" y="connsiteY1685"/>
                </a:cxn>
                <a:cxn ang="0">
                  <a:pos x="connsiteX1686" y="connsiteY1686"/>
                </a:cxn>
                <a:cxn ang="0">
                  <a:pos x="connsiteX1687" y="connsiteY1687"/>
                </a:cxn>
                <a:cxn ang="0">
                  <a:pos x="connsiteX1688" y="connsiteY1688"/>
                </a:cxn>
                <a:cxn ang="0">
                  <a:pos x="connsiteX1689" y="connsiteY1689"/>
                </a:cxn>
                <a:cxn ang="0">
                  <a:pos x="connsiteX1690" y="connsiteY1690"/>
                </a:cxn>
                <a:cxn ang="0">
                  <a:pos x="connsiteX1691" y="connsiteY1691"/>
                </a:cxn>
                <a:cxn ang="0">
                  <a:pos x="connsiteX1692" y="connsiteY1692"/>
                </a:cxn>
                <a:cxn ang="0">
                  <a:pos x="connsiteX1693" y="connsiteY1693"/>
                </a:cxn>
                <a:cxn ang="0">
                  <a:pos x="connsiteX1694" y="connsiteY1694"/>
                </a:cxn>
                <a:cxn ang="0">
                  <a:pos x="connsiteX1695" y="connsiteY1695"/>
                </a:cxn>
                <a:cxn ang="0">
                  <a:pos x="connsiteX1696" y="connsiteY1696"/>
                </a:cxn>
                <a:cxn ang="0">
                  <a:pos x="connsiteX1697" y="connsiteY1697"/>
                </a:cxn>
                <a:cxn ang="0">
                  <a:pos x="connsiteX1698" y="connsiteY1698"/>
                </a:cxn>
                <a:cxn ang="0">
                  <a:pos x="connsiteX1699" y="connsiteY1699"/>
                </a:cxn>
                <a:cxn ang="0">
                  <a:pos x="connsiteX1700" y="connsiteY1700"/>
                </a:cxn>
                <a:cxn ang="0">
                  <a:pos x="connsiteX1701" y="connsiteY1701"/>
                </a:cxn>
                <a:cxn ang="0">
                  <a:pos x="connsiteX1702" y="connsiteY1702"/>
                </a:cxn>
                <a:cxn ang="0">
                  <a:pos x="connsiteX1703" y="connsiteY1703"/>
                </a:cxn>
                <a:cxn ang="0">
                  <a:pos x="connsiteX1704" y="connsiteY1704"/>
                </a:cxn>
                <a:cxn ang="0">
                  <a:pos x="connsiteX1705" y="connsiteY1705"/>
                </a:cxn>
                <a:cxn ang="0">
                  <a:pos x="connsiteX1706" y="connsiteY1706"/>
                </a:cxn>
                <a:cxn ang="0">
                  <a:pos x="connsiteX1707" y="connsiteY1707"/>
                </a:cxn>
                <a:cxn ang="0">
                  <a:pos x="connsiteX1708" y="connsiteY1708"/>
                </a:cxn>
                <a:cxn ang="0">
                  <a:pos x="connsiteX1709" y="connsiteY1709"/>
                </a:cxn>
                <a:cxn ang="0">
                  <a:pos x="connsiteX1710" y="connsiteY1710"/>
                </a:cxn>
                <a:cxn ang="0">
                  <a:pos x="connsiteX1711" y="connsiteY1711"/>
                </a:cxn>
                <a:cxn ang="0">
                  <a:pos x="connsiteX1712" y="connsiteY1712"/>
                </a:cxn>
                <a:cxn ang="0">
                  <a:pos x="connsiteX1713" y="connsiteY1713"/>
                </a:cxn>
                <a:cxn ang="0">
                  <a:pos x="connsiteX1714" y="connsiteY1714"/>
                </a:cxn>
                <a:cxn ang="0">
                  <a:pos x="connsiteX1715" y="connsiteY1715"/>
                </a:cxn>
                <a:cxn ang="0">
                  <a:pos x="connsiteX1716" y="connsiteY1716"/>
                </a:cxn>
                <a:cxn ang="0">
                  <a:pos x="connsiteX1717" y="connsiteY1717"/>
                </a:cxn>
                <a:cxn ang="0">
                  <a:pos x="connsiteX1718" y="connsiteY1718"/>
                </a:cxn>
                <a:cxn ang="0">
                  <a:pos x="connsiteX1719" y="connsiteY1719"/>
                </a:cxn>
                <a:cxn ang="0">
                  <a:pos x="connsiteX1720" y="connsiteY1720"/>
                </a:cxn>
                <a:cxn ang="0">
                  <a:pos x="connsiteX1721" y="connsiteY1721"/>
                </a:cxn>
                <a:cxn ang="0">
                  <a:pos x="connsiteX1722" y="connsiteY1722"/>
                </a:cxn>
                <a:cxn ang="0">
                  <a:pos x="connsiteX1723" y="connsiteY1723"/>
                </a:cxn>
                <a:cxn ang="0">
                  <a:pos x="connsiteX1724" y="connsiteY1724"/>
                </a:cxn>
                <a:cxn ang="0">
                  <a:pos x="connsiteX1725" y="connsiteY1725"/>
                </a:cxn>
                <a:cxn ang="0">
                  <a:pos x="connsiteX1726" y="connsiteY1726"/>
                </a:cxn>
                <a:cxn ang="0">
                  <a:pos x="connsiteX1727" y="connsiteY1727"/>
                </a:cxn>
                <a:cxn ang="0">
                  <a:pos x="connsiteX1728" y="connsiteY1728"/>
                </a:cxn>
                <a:cxn ang="0">
                  <a:pos x="connsiteX1729" y="connsiteY1729"/>
                </a:cxn>
                <a:cxn ang="0">
                  <a:pos x="connsiteX1730" y="connsiteY1730"/>
                </a:cxn>
                <a:cxn ang="0">
                  <a:pos x="connsiteX1731" y="connsiteY1731"/>
                </a:cxn>
                <a:cxn ang="0">
                  <a:pos x="connsiteX1732" y="connsiteY1732"/>
                </a:cxn>
                <a:cxn ang="0">
                  <a:pos x="connsiteX1733" y="connsiteY1733"/>
                </a:cxn>
                <a:cxn ang="0">
                  <a:pos x="connsiteX1734" y="connsiteY1734"/>
                </a:cxn>
                <a:cxn ang="0">
                  <a:pos x="connsiteX1735" y="connsiteY1735"/>
                </a:cxn>
                <a:cxn ang="0">
                  <a:pos x="connsiteX1736" y="connsiteY1736"/>
                </a:cxn>
                <a:cxn ang="0">
                  <a:pos x="connsiteX1737" y="connsiteY1737"/>
                </a:cxn>
                <a:cxn ang="0">
                  <a:pos x="connsiteX1738" y="connsiteY1738"/>
                </a:cxn>
                <a:cxn ang="0">
                  <a:pos x="connsiteX1739" y="connsiteY1739"/>
                </a:cxn>
                <a:cxn ang="0">
                  <a:pos x="connsiteX1740" y="connsiteY1740"/>
                </a:cxn>
                <a:cxn ang="0">
                  <a:pos x="connsiteX1741" y="connsiteY1741"/>
                </a:cxn>
              </a:cxnLst>
              <a:rect l="l" t="t" r="r" b="b"/>
              <a:pathLst>
                <a:path w="4940931" h="138429">
                  <a:moveTo>
                    <a:pt x="1032512" y="137477"/>
                  </a:moveTo>
                  <a:lnTo>
                    <a:pt x="1032512" y="137794"/>
                  </a:lnTo>
                  <a:lnTo>
                    <a:pt x="1030607" y="138429"/>
                  </a:lnTo>
                  <a:close/>
                  <a:moveTo>
                    <a:pt x="4929501" y="87629"/>
                  </a:moveTo>
                  <a:cubicBezTo>
                    <a:pt x="4930771" y="87629"/>
                    <a:pt x="4932676" y="87629"/>
                    <a:pt x="4933946" y="88264"/>
                  </a:cubicBezTo>
                  <a:cubicBezTo>
                    <a:pt x="4935216" y="88264"/>
                    <a:pt x="4936486" y="89534"/>
                    <a:pt x="4937756" y="90804"/>
                  </a:cubicBezTo>
                  <a:cubicBezTo>
                    <a:pt x="4939026" y="92074"/>
                    <a:pt x="4939661" y="93344"/>
                    <a:pt x="4940296" y="94614"/>
                  </a:cubicBezTo>
                  <a:cubicBezTo>
                    <a:pt x="4940296" y="95884"/>
                    <a:pt x="4940931" y="97789"/>
                    <a:pt x="4940931" y="99059"/>
                  </a:cubicBezTo>
                  <a:cubicBezTo>
                    <a:pt x="4940931" y="99059"/>
                    <a:pt x="4940931" y="102234"/>
                    <a:pt x="4940296" y="103504"/>
                  </a:cubicBezTo>
                  <a:cubicBezTo>
                    <a:pt x="4940296" y="104774"/>
                    <a:pt x="4939026" y="106044"/>
                    <a:pt x="4937756" y="107314"/>
                  </a:cubicBezTo>
                  <a:cubicBezTo>
                    <a:pt x="4936486" y="108584"/>
                    <a:pt x="4935216" y="109219"/>
                    <a:pt x="4933946" y="109854"/>
                  </a:cubicBezTo>
                  <a:cubicBezTo>
                    <a:pt x="4932676" y="109854"/>
                    <a:pt x="4930771" y="110489"/>
                    <a:pt x="4929501" y="110489"/>
                  </a:cubicBezTo>
                  <a:cubicBezTo>
                    <a:pt x="4928231" y="110489"/>
                    <a:pt x="4926326" y="110489"/>
                    <a:pt x="4925056" y="109854"/>
                  </a:cubicBezTo>
                  <a:cubicBezTo>
                    <a:pt x="4923786" y="109854"/>
                    <a:pt x="4922516" y="108584"/>
                    <a:pt x="4921246" y="107314"/>
                  </a:cubicBezTo>
                  <a:cubicBezTo>
                    <a:pt x="4919976" y="106044"/>
                    <a:pt x="4919341" y="104774"/>
                    <a:pt x="4918706" y="103504"/>
                  </a:cubicBezTo>
                  <a:cubicBezTo>
                    <a:pt x="4918706" y="102234"/>
                    <a:pt x="4918071" y="100329"/>
                    <a:pt x="4918071" y="99059"/>
                  </a:cubicBezTo>
                  <a:cubicBezTo>
                    <a:pt x="4918071" y="97789"/>
                    <a:pt x="4918071" y="95884"/>
                    <a:pt x="4918706" y="94614"/>
                  </a:cubicBezTo>
                  <a:cubicBezTo>
                    <a:pt x="4918706" y="93344"/>
                    <a:pt x="4919976" y="92074"/>
                    <a:pt x="4921246" y="90804"/>
                  </a:cubicBezTo>
                  <a:cubicBezTo>
                    <a:pt x="4922516" y="89534"/>
                    <a:pt x="4923786" y="88899"/>
                    <a:pt x="4925056" y="88264"/>
                  </a:cubicBezTo>
                  <a:cubicBezTo>
                    <a:pt x="4926326" y="88264"/>
                    <a:pt x="4928231" y="87629"/>
                    <a:pt x="4929501" y="87629"/>
                  </a:cubicBezTo>
                  <a:close/>
                  <a:moveTo>
                    <a:pt x="3079110" y="87629"/>
                  </a:moveTo>
                  <a:cubicBezTo>
                    <a:pt x="3080380" y="87629"/>
                    <a:pt x="3082285" y="87629"/>
                    <a:pt x="3083555" y="88264"/>
                  </a:cubicBezTo>
                  <a:cubicBezTo>
                    <a:pt x="3084825" y="88264"/>
                    <a:pt x="3086095" y="89534"/>
                    <a:pt x="3087365" y="90804"/>
                  </a:cubicBezTo>
                  <a:cubicBezTo>
                    <a:pt x="3088635" y="92074"/>
                    <a:pt x="3089270" y="93344"/>
                    <a:pt x="3089905" y="94614"/>
                  </a:cubicBezTo>
                  <a:cubicBezTo>
                    <a:pt x="3089905" y="95884"/>
                    <a:pt x="3090540" y="97789"/>
                    <a:pt x="3090540" y="99059"/>
                  </a:cubicBezTo>
                  <a:cubicBezTo>
                    <a:pt x="3090540" y="99059"/>
                    <a:pt x="3090540" y="102234"/>
                    <a:pt x="3089905" y="103504"/>
                  </a:cubicBezTo>
                  <a:cubicBezTo>
                    <a:pt x="3089905" y="104774"/>
                    <a:pt x="3088635" y="106044"/>
                    <a:pt x="3087365" y="107314"/>
                  </a:cubicBezTo>
                  <a:cubicBezTo>
                    <a:pt x="3086095" y="108584"/>
                    <a:pt x="3084825" y="109219"/>
                    <a:pt x="3083555" y="109854"/>
                  </a:cubicBezTo>
                  <a:cubicBezTo>
                    <a:pt x="3082285" y="109854"/>
                    <a:pt x="3080380" y="110489"/>
                    <a:pt x="3079110" y="110489"/>
                  </a:cubicBezTo>
                  <a:cubicBezTo>
                    <a:pt x="3077840" y="110489"/>
                    <a:pt x="3075935" y="110489"/>
                    <a:pt x="3074665" y="109854"/>
                  </a:cubicBezTo>
                  <a:cubicBezTo>
                    <a:pt x="3073395" y="109854"/>
                    <a:pt x="3072125" y="108584"/>
                    <a:pt x="3070855" y="107314"/>
                  </a:cubicBezTo>
                  <a:cubicBezTo>
                    <a:pt x="3069585" y="106044"/>
                    <a:pt x="3068950" y="104774"/>
                    <a:pt x="3068315" y="103504"/>
                  </a:cubicBezTo>
                  <a:cubicBezTo>
                    <a:pt x="3068315" y="102234"/>
                    <a:pt x="3067680" y="100329"/>
                    <a:pt x="3067680" y="99059"/>
                  </a:cubicBezTo>
                  <a:cubicBezTo>
                    <a:pt x="3067680" y="97789"/>
                    <a:pt x="3067680" y="95884"/>
                    <a:pt x="3068315" y="94614"/>
                  </a:cubicBezTo>
                  <a:cubicBezTo>
                    <a:pt x="3068315" y="93344"/>
                    <a:pt x="3069585" y="92074"/>
                    <a:pt x="3070855" y="90804"/>
                  </a:cubicBezTo>
                  <a:cubicBezTo>
                    <a:pt x="3072125" y="89534"/>
                    <a:pt x="3073395" y="88899"/>
                    <a:pt x="3074665" y="88264"/>
                  </a:cubicBezTo>
                  <a:cubicBezTo>
                    <a:pt x="3075935" y="88264"/>
                    <a:pt x="3077840" y="87629"/>
                    <a:pt x="3079110" y="87629"/>
                  </a:cubicBezTo>
                  <a:close/>
                  <a:moveTo>
                    <a:pt x="1565275" y="87629"/>
                  </a:moveTo>
                  <a:cubicBezTo>
                    <a:pt x="1566545" y="87629"/>
                    <a:pt x="1568450" y="87629"/>
                    <a:pt x="1569720" y="88264"/>
                  </a:cubicBezTo>
                  <a:cubicBezTo>
                    <a:pt x="1570990" y="88264"/>
                    <a:pt x="1572260" y="89534"/>
                    <a:pt x="1573529" y="90804"/>
                  </a:cubicBezTo>
                  <a:cubicBezTo>
                    <a:pt x="1574800" y="92074"/>
                    <a:pt x="1575435" y="93344"/>
                    <a:pt x="1576069" y="94614"/>
                  </a:cubicBezTo>
                  <a:cubicBezTo>
                    <a:pt x="1576069" y="95884"/>
                    <a:pt x="1576705" y="97789"/>
                    <a:pt x="1576705" y="99059"/>
                  </a:cubicBezTo>
                  <a:cubicBezTo>
                    <a:pt x="1576705" y="99059"/>
                    <a:pt x="1576705" y="102234"/>
                    <a:pt x="1576069" y="103504"/>
                  </a:cubicBezTo>
                  <a:cubicBezTo>
                    <a:pt x="1576069" y="104774"/>
                    <a:pt x="1574800" y="106044"/>
                    <a:pt x="1573529" y="107314"/>
                  </a:cubicBezTo>
                  <a:cubicBezTo>
                    <a:pt x="1572260" y="108584"/>
                    <a:pt x="1570990" y="109219"/>
                    <a:pt x="1569720" y="109854"/>
                  </a:cubicBezTo>
                  <a:cubicBezTo>
                    <a:pt x="1568450" y="109854"/>
                    <a:pt x="1566545" y="110489"/>
                    <a:pt x="1565275" y="110489"/>
                  </a:cubicBezTo>
                  <a:cubicBezTo>
                    <a:pt x="1564005" y="110489"/>
                    <a:pt x="1562099" y="110489"/>
                    <a:pt x="1560830" y="109854"/>
                  </a:cubicBezTo>
                  <a:cubicBezTo>
                    <a:pt x="1559559" y="109854"/>
                    <a:pt x="1558289" y="108584"/>
                    <a:pt x="1557020" y="107314"/>
                  </a:cubicBezTo>
                  <a:cubicBezTo>
                    <a:pt x="1555750" y="106044"/>
                    <a:pt x="1555114" y="104774"/>
                    <a:pt x="1554479" y="103504"/>
                  </a:cubicBezTo>
                  <a:cubicBezTo>
                    <a:pt x="1554479" y="102234"/>
                    <a:pt x="1553844" y="100329"/>
                    <a:pt x="1553844" y="99059"/>
                  </a:cubicBezTo>
                  <a:cubicBezTo>
                    <a:pt x="1553844" y="97789"/>
                    <a:pt x="1553844" y="95884"/>
                    <a:pt x="1554479" y="94614"/>
                  </a:cubicBezTo>
                  <a:cubicBezTo>
                    <a:pt x="1554479" y="93344"/>
                    <a:pt x="1555750" y="92074"/>
                    <a:pt x="1557020" y="90804"/>
                  </a:cubicBezTo>
                  <a:cubicBezTo>
                    <a:pt x="1558289" y="89534"/>
                    <a:pt x="1559559" y="88899"/>
                    <a:pt x="1560830" y="88264"/>
                  </a:cubicBezTo>
                  <a:cubicBezTo>
                    <a:pt x="1562099" y="88264"/>
                    <a:pt x="1564005" y="87629"/>
                    <a:pt x="1565275" y="87629"/>
                  </a:cubicBezTo>
                  <a:close/>
                  <a:moveTo>
                    <a:pt x="2642230" y="73024"/>
                  </a:moveTo>
                  <a:cubicBezTo>
                    <a:pt x="2637150" y="73024"/>
                    <a:pt x="2633340" y="74294"/>
                    <a:pt x="2630800" y="76199"/>
                  </a:cubicBezTo>
                  <a:cubicBezTo>
                    <a:pt x="2627625" y="78104"/>
                    <a:pt x="2626355" y="81279"/>
                    <a:pt x="2626355" y="84454"/>
                  </a:cubicBezTo>
                  <a:cubicBezTo>
                    <a:pt x="2626355" y="86994"/>
                    <a:pt x="2626355" y="88899"/>
                    <a:pt x="2627625" y="90169"/>
                  </a:cubicBezTo>
                  <a:cubicBezTo>
                    <a:pt x="2628260" y="92074"/>
                    <a:pt x="2629530" y="93344"/>
                    <a:pt x="2630800" y="93979"/>
                  </a:cubicBezTo>
                  <a:cubicBezTo>
                    <a:pt x="2632070" y="95249"/>
                    <a:pt x="2633340" y="95884"/>
                    <a:pt x="2635245" y="96519"/>
                  </a:cubicBezTo>
                  <a:cubicBezTo>
                    <a:pt x="2637150" y="96519"/>
                    <a:pt x="2639055" y="97154"/>
                    <a:pt x="2641595" y="97154"/>
                  </a:cubicBezTo>
                  <a:cubicBezTo>
                    <a:pt x="2643500" y="97154"/>
                    <a:pt x="2645405" y="97154"/>
                    <a:pt x="2647310" y="96519"/>
                  </a:cubicBezTo>
                  <a:cubicBezTo>
                    <a:pt x="2649215" y="96519"/>
                    <a:pt x="2651120" y="95249"/>
                    <a:pt x="2652390" y="93979"/>
                  </a:cubicBezTo>
                  <a:cubicBezTo>
                    <a:pt x="2654295" y="93344"/>
                    <a:pt x="2655565" y="92074"/>
                    <a:pt x="2656835" y="90804"/>
                  </a:cubicBezTo>
                  <a:cubicBezTo>
                    <a:pt x="2658105" y="89534"/>
                    <a:pt x="2659375" y="88264"/>
                    <a:pt x="2660010" y="86994"/>
                  </a:cubicBezTo>
                  <a:lnTo>
                    <a:pt x="2660010" y="75564"/>
                  </a:lnTo>
                  <a:cubicBezTo>
                    <a:pt x="2660010" y="75564"/>
                    <a:pt x="2657470" y="74294"/>
                    <a:pt x="2656200" y="74294"/>
                  </a:cubicBezTo>
                  <a:cubicBezTo>
                    <a:pt x="2654930" y="74294"/>
                    <a:pt x="2653660" y="73659"/>
                    <a:pt x="2652390" y="73659"/>
                  </a:cubicBezTo>
                  <a:cubicBezTo>
                    <a:pt x="2651120" y="73659"/>
                    <a:pt x="2649850" y="73659"/>
                    <a:pt x="2647945" y="73024"/>
                  </a:cubicBezTo>
                  <a:cubicBezTo>
                    <a:pt x="2646040" y="73024"/>
                    <a:pt x="2644135" y="73024"/>
                    <a:pt x="2642230" y="73024"/>
                  </a:cubicBezTo>
                  <a:close/>
                  <a:moveTo>
                    <a:pt x="4664706" y="43814"/>
                  </a:moveTo>
                  <a:cubicBezTo>
                    <a:pt x="4661531" y="43814"/>
                    <a:pt x="4658991" y="43814"/>
                    <a:pt x="4657086" y="45719"/>
                  </a:cubicBezTo>
                  <a:cubicBezTo>
                    <a:pt x="4654546" y="46989"/>
                    <a:pt x="4652641" y="48894"/>
                    <a:pt x="4651371" y="50799"/>
                  </a:cubicBezTo>
                  <a:cubicBezTo>
                    <a:pt x="4649466" y="53339"/>
                    <a:pt x="4648831" y="55879"/>
                    <a:pt x="4647561" y="59054"/>
                  </a:cubicBezTo>
                  <a:cubicBezTo>
                    <a:pt x="4646926" y="62229"/>
                    <a:pt x="4646291" y="65404"/>
                    <a:pt x="4646291" y="69849"/>
                  </a:cubicBezTo>
                  <a:cubicBezTo>
                    <a:pt x="4646291" y="74294"/>
                    <a:pt x="4646291" y="78104"/>
                    <a:pt x="4647561" y="81279"/>
                  </a:cubicBezTo>
                  <a:cubicBezTo>
                    <a:pt x="4648196" y="84454"/>
                    <a:pt x="4650101" y="87629"/>
                    <a:pt x="4651371" y="89534"/>
                  </a:cubicBezTo>
                  <a:cubicBezTo>
                    <a:pt x="4653276" y="92074"/>
                    <a:pt x="4655181" y="93344"/>
                    <a:pt x="4657721" y="94614"/>
                  </a:cubicBezTo>
                  <a:cubicBezTo>
                    <a:pt x="4660261" y="95884"/>
                    <a:pt x="4662801" y="96519"/>
                    <a:pt x="4665341" y="96519"/>
                  </a:cubicBezTo>
                  <a:cubicBezTo>
                    <a:pt x="4667881" y="96519"/>
                    <a:pt x="4671056" y="95884"/>
                    <a:pt x="4672961" y="94614"/>
                  </a:cubicBezTo>
                  <a:cubicBezTo>
                    <a:pt x="4675501" y="93344"/>
                    <a:pt x="4677406" y="91439"/>
                    <a:pt x="4678676" y="88899"/>
                  </a:cubicBezTo>
                  <a:cubicBezTo>
                    <a:pt x="4680581" y="86359"/>
                    <a:pt x="4681851" y="83819"/>
                    <a:pt x="4682486" y="80644"/>
                  </a:cubicBezTo>
                  <a:cubicBezTo>
                    <a:pt x="4683121" y="77469"/>
                    <a:pt x="4683756" y="74294"/>
                    <a:pt x="4683756" y="70484"/>
                  </a:cubicBezTo>
                  <a:lnTo>
                    <a:pt x="4684391" y="69849"/>
                  </a:lnTo>
                  <a:cubicBezTo>
                    <a:pt x="4684391" y="66039"/>
                    <a:pt x="4684391" y="62229"/>
                    <a:pt x="4683121" y="59054"/>
                  </a:cubicBezTo>
                  <a:cubicBezTo>
                    <a:pt x="4682486" y="55879"/>
                    <a:pt x="4680581" y="53339"/>
                    <a:pt x="4679311" y="50799"/>
                  </a:cubicBezTo>
                  <a:cubicBezTo>
                    <a:pt x="4677406" y="48259"/>
                    <a:pt x="4675501" y="46989"/>
                    <a:pt x="4672961" y="45719"/>
                  </a:cubicBezTo>
                  <a:cubicBezTo>
                    <a:pt x="4670421" y="44449"/>
                    <a:pt x="4667881" y="43814"/>
                    <a:pt x="4664706" y="43814"/>
                  </a:cubicBezTo>
                  <a:close/>
                  <a:moveTo>
                    <a:pt x="4264020" y="43814"/>
                  </a:moveTo>
                  <a:cubicBezTo>
                    <a:pt x="4260845" y="43814"/>
                    <a:pt x="4258305" y="43814"/>
                    <a:pt x="4256400" y="45719"/>
                  </a:cubicBezTo>
                  <a:cubicBezTo>
                    <a:pt x="4253860" y="46989"/>
                    <a:pt x="4251955" y="48894"/>
                    <a:pt x="4250685" y="50799"/>
                  </a:cubicBezTo>
                  <a:cubicBezTo>
                    <a:pt x="4248780" y="53339"/>
                    <a:pt x="4247510" y="55879"/>
                    <a:pt x="4246875" y="59054"/>
                  </a:cubicBezTo>
                  <a:cubicBezTo>
                    <a:pt x="4246240" y="62229"/>
                    <a:pt x="4245605" y="65404"/>
                    <a:pt x="4245605" y="69849"/>
                  </a:cubicBezTo>
                  <a:cubicBezTo>
                    <a:pt x="4245605" y="74294"/>
                    <a:pt x="4245605" y="78104"/>
                    <a:pt x="4246875" y="81279"/>
                  </a:cubicBezTo>
                  <a:cubicBezTo>
                    <a:pt x="4247510" y="84454"/>
                    <a:pt x="4249415" y="87629"/>
                    <a:pt x="4250685" y="89534"/>
                  </a:cubicBezTo>
                  <a:cubicBezTo>
                    <a:pt x="4252590" y="92074"/>
                    <a:pt x="4254495" y="93344"/>
                    <a:pt x="4257035" y="94614"/>
                  </a:cubicBezTo>
                  <a:cubicBezTo>
                    <a:pt x="4259575" y="95884"/>
                    <a:pt x="4262115" y="96519"/>
                    <a:pt x="4264655" y="96519"/>
                  </a:cubicBezTo>
                  <a:cubicBezTo>
                    <a:pt x="4267195" y="96519"/>
                    <a:pt x="4270370" y="95884"/>
                    <a:pt x="4272275" y="94614"/>
                  </a:cubicBezTo>
                  <a:cubicBezTo>
                    <a:pt x="4274815" y="93344"/>
                    <a:pt x="4276720" y="91439"/>
                    <a:pt x="4277990" y="88899"/>
                  </a:cubicBezTo>
                  <a:cubicBezTo>
                    <a:pt x="4279895" y="86359"/>
                    <a:pt x="4281165" y="83819"/>
                    <a:pt x="4281800" y="80644"/>
                  </a:cubicBezTo>
                  <a:cubicBezTo>
                    <a:pt x="4282435" y="77469"/>
                    <a:pt x="4283070" y="74294"/>
                    <a:pt x="4283070" y="70484"/>
                  </a:cubicBezTo>
                  <a:lnTo>
                    <a:pt x="4283705" y="69849"/>
                  </a:lnTo>
                  <a:cubicBezTo>
                    <a:pt x="4283705" y="66039"/>
                    <a:pt x="4283705" y="62229"/>
                    <a:pt x="4282435" y="59054"/>
                  </a:cubicBezTo>
                  <a:cubicBezTo>
                    <a:pt x="4281800" y="55879"/>
                    <a:pt x="4279895" y="53339"/>
                    <a:pt x="4278625" y="50799"/>
                  </a:cubicBezTo>
                  <a:cubicBezTo>
                    <a:pt x="4276720" y="48259"/>
                    <a:pt x="4274815" y="46989"/>
                    <a:pt x="4272275" y="45719"/>
                  </a:cubicBezTo>
                  <a:cubicBezTo>
                    <a:pt x="4269735" y="44449"/>
                    <a:pt x="4267195" y="43814"/>
                    <a:pt x="4264020" y="43814"/>
                  </a:cubicBezTo>
                  <a:close/>
                  <a:moveTo>
                    <a:pt x="1420495" y="43814"/>
                  </a:moveTo>
                  <a:cubicBezTo>
                    <a:pt x="1417320" y="43814"/>
                    <a:pt x="1414780" y="43814"/>
                    <a:pt x="1412875" y="45719"/>
                  </a:cubicBezTo>
                  <a:cubicBezTo>
                    <a:pt x="1410335" y="46989"/>
                    <a:pt x="1408430" y="48894"/>
                    <a:pt x="1407160" y="50799"/>
                  </a:cubicBezTo>
                  <a:cubicBezTo>
                    <a:pt x="1405255" y="53339"/>
                    <a:pt x="1403985" y="55879"/>
                    <a:pt x="1403350" y="59054"/>
                  </a:cubicBezTo>
                  <a:cubicBezTo>
                    <a:pt x="1402715" y="62229"/>
                    <a:pt x="1402080" y="65404"/>
                    <a:pt x="1402080" y="69849"/>
                  </a:cubicBezTo>
                  <a:cubicBezTo>
                    <a:pt x="1402080" y="74294"/>
                    <a:pt x="1402080" y="78104"/>
                    <a:pt x="1403350" y="81279"/>
                  </a:cubicBezTo>
                  <a:cubicBezTo>
                    <a:pt x="1403985" y="84454"/>
                    <a:pt x="1405890" y="87629"/>
                    <a:pt x="1407160" y="89534"/>
                  </a:cubicBezTo>
                  <a:cubicBezTo>
                    <a:pt x="1409065" y="92074"/>
                    <a:pt x="1410970" y="93344"/>
                    <a:pt x="1413510" y="94614"/>
                  </a:cubicBezTo>
                  <a:cubicBezTo>
                    <a:pt x="1416050" y="95884"/>
                    <a:pt x="1418590" y="96519"/>
                    <a:pt x="1421130" y="96519"/>
                  </a:cubicBezTo>
                  <a:cubicBezTo>
                    <a:pt x="1423670" y="96519"/>
                    <a:pt x="1426845" y="95884"/>
                    <a:pt x="1428750" y="94614"/>
                  </a:cubicBezTo>
                  <a:cubicBezTo>
                    <a:pt x="1431290" y="93344"/>
                    <a:pt x="1433195" y="91439"/>
                    <a:pt x="1434465" y="88899"/>
                  </a:cubicBezTo>
                  <a:cubicBezTo>
                    <a:pt x="1436370" y="86359"/>
                    <a:pt x="1437640" y="83819"/>
                    <a:pt x="1438275" y="80644"/>
                  </a:cubicBezTo>
                  <a:cubicBezTo>
                    <a:pt x="1438910" y="77469"/>
                    <a:pt x="1439545" y="74294"/>
                    <a:pt x="1439545" y="70484"/>
                  </a:cubicBezTo>
                  <a:lnTo>
                    <a:pt x="1440180" y="69849"/>
                  </a:lnTo>
                  <a:cubicBezTo>
                    <a:pt x="1440180" y="66039"/>
                    <a:pt x="1440180" y="62229"/>
                    <a:pt x="1438910" y="59054"/>
                  </a:cubicBezTo>
                  <a:cubicBezTo>
                    <a:pt x="1438275" y="55879"/>
                    <a:pt x="1436370" y="53339"/>
                    <a:pt x="1435100" y="50799"/>
                  </a:cubicBezTo>
                  <a:cubicBezTo>
                    <a:pt x="1433195" y="48259"/>
                    <a:pt x="1431290" y="46989"/>
                    <a:pt x="1428750" y="45719"/>
                  </a:cubicBezTo>
                  <a:cubicBezTo>
                    <a:pt x="1426210" y="44449"/>
                    <a:pt x="1423670" y="43814"/>
                    <a:pt x="1420495" y="43814"/>
                  </a:cubicBezTo>
                  <a:close/>
                  <a:moveTo>
                    <a:pt x="4041770" y="43180"/>
                  </a:moveTo>
                  <a:cubicBezTo>
                    <a:pt x="4039230" y="43180"/>
                    <a:pt x="4036690" y="43180"/>
                    <a:pt x="4034785" y="44450"/>
                  </a:cubicBezTo>
                  <a:cubicBezTo>
                    <a:pt x="4032880" y="45085"/>
                    <a:pt x="4030975" y="46355"/>
                    <a:pt x="4029705" y="48260"/>
                  </a:cubicBezTo>
                  <a:cubicBezTo>
                    <a:pt x="4028435" y="50165"/>
                    <a:pt x="4027165" y="52070"/>
                    <a:pt x="4025895" y="54610"/>
                  </a:cubicBezTo>
                  <a:cubicBezTo>
                    <a:pt x="4025260" y="57150"/>
                    <a:pt x="4023990" y="59690"/>
                    <a:pt x="4023990" y="62865"/>
                  </a:cubicBezTo>
                  <a:lnTo>
                    <a:pt x="4060185" y="62865"/>
                  </a:lnTo>
                  <a:cubicBezTo>
                    <a:pt x="4060185" y="62865"/>
                    <a:pt x="4059550" y="57785"/>
                    <a:pt x="4058915" y="55245"/>
                  </a:cubicBezTo>
                  <a:cubicBezTo>
                    <a:pt x="4058280" y="52705"/>
                    <a:pt x="4057010" y="50800"/>
                    <a:pt x="4055740" y="48895"/>
                  </a:cubicBezTo>
                  <a:cubicBezTo>
                    <a:pt x="4054470" y="46990"/>
                    <a:pt x="4052565" y="45720"/>
                    <a:pt x="4050025" y="44450"/>
                  </a:cubicBezTo>
                  <a:cubicBezTo>
                    <a:pt x="4047485" y="43180"/>
                    <a:pt x="4044945" y="43180"/>
                    <a:pt x="4041770" y="43180"/>
                  </a:cubicBezTo>
                  <a:close/>
                  <a:moveTo>
                    <a:pt x="3728081" y="43180"/>
                  </a:moveTo>
                  <a:cubicBezTo>
                    <a:pt x="3725541" y="43180"/>
                    <a:pt x="3723001" y="43180"/>
                    <a:pt x="3721096" y="44450"/>
                  </a:cubicBezTo>
                  <a:cubicBezTo>
                    <a:pt x="3719191" y="45085"/>
                    <a:pt x="3717286" y="46355"/>
                    <a:pt x="3716016" y="48260"/>
                  </a:cubicBezTo>
                  <a:cubicBezTo>
                    <a:pt x="3714746" y="50165"/>
                    <a:pt x="3713476" y="52070"/>
                    <a:pt x="3712206" y="54610"/>
                  </a:cubicBezTo>
                  <a:cubicBezTo>
                    <a:pt x="3711571" y="57150"/>
                    <a:pt x="3710301" y="59690"/>
                    <a:pt x="3710301" y="62865"/>
                  </a:cubicBezTo>
                  <a:lnTo>
                    <a:pt x="3746496" y="62865"/>
                  </a:lnTo>
                  <a:cubicBezTo>
                    <a:pt x="3746496" y="62865"/>
                    <a:pt x="3745861" y="57785"/>
                    <a:pt x="3745226" y="55245"/>
                  </a:cubicBezTo>
                  <a:cubicBezTo>
                    <a:pt x="3744591" y="52705"/>
                    <a:pt x="3743321" y="50800"/>
                    <a:pt x="3742051" y="48895"/>
                  </a:cubicBezTo>
                  <a:cubicBezTo>
                    <a:pt x="3740781" y="46990"/>
                    <a:pt x="3738876" y="45720"/>
                    <a:pt x="3736336" y="44450"/>
                  </a:cubicBezTo>
                  <a:cubicBezTo>
                    <a:pt x="3733796" y="43180"/>
                    <a:pt x="3731256" y="43180"/>
                    <a:pt x="3728081" y="43180"/>
                  </a:cubicBezTo>
                  <a:close/>
                  <a:moveTo>
                    <a:pt x="3541391" y="43180"/>
                  </a:moveTo>
                  <a:cubicBezTo>
                    <a:pt x="3538851" y="43180"/>
                    <a:pt x="3536311" y="43180"/>
                    <a:pt x="3534406" y="44450"/>
                  </a:cubicBezTo>
                  <a:cubicBezTo>
                    <a:pt x="3532501" y="45085"/>
                    <a:pt x="3530596" y="46355"/>
                    <a:pt x="3529326" y="48260"/>
                  </a:cubicBezTo>
                  <a:cubicBezTo>
                    <a:pt x="3528056" y="50165"/>
                    <a:pt x="3526786" y="52070"/>
                    <a:pt x="3525516" y="54610"/>
                  </a:cubicBezTo>
                  <a:cubicBezTo>
                    <a:pt x="3524881" y="57150"/>
                    <a:pt x="3524246" y="59690"/>
                    <a:pt x="3523611" y="62865"/>
                  </a:cubicBezTo>
                  <a:lnTo>
                    <a:pt x="3559806" y="62865"/>
                  </a:lnTo>
                  <a:cubicBezTo>
                    <a:pt x="3559806" y="62865"/>
                    <a:pt x="3559171" y="57785"/>
                    <a:pt x="3558536" y="55245"/>
                  </a:cubicBezTo>
                  <a:cubicBezTo>
                    <a:pt x="3557901" y="52705"/>
                    <a:pt x="3556631" y="50800"/>
                    <a:pt x="3555361" y="48895"/>
                  </a:cubicBezTo>
                  <a:cubicBezTo>
                    <a:pt x="3554091" y="46990"/>
                    <a:pt x="3552186" y="45720"/>
                    <a:pt x="3549646" y="44450"/>
                  </a:cubicBezTo>
                  <a:cubicBezTo>
                    <a:pt x="3547106" y="43180"/>
                    <a:pt x="3544566" y="43180"/>
                    <a:pt x="3541391" y="43180"/>
                  </a:cubicBezTo>
                  <a:close/>
                  <a:moveTo>
                    <a:pt x="3463285" y="43180"/>
                  </a:moveTo>
                  <a:cubicBezTo>
                    <a:pt x="3461380" y="43180"/>
                    <a:pt x="3459475" y="43180"/>
                    <a:pt x="3458205" y="43815"/>
                  </a:cubicBezTo>
                  <a:cubicBezTo>
                    <a:pt x="3456300" y="43815"/>
                    <a:pt x="3455030" y="45085"/>
                    <a:pt x="3453125" y="45720"/>
                  </a:cubicBezTo>
                  <a:cubicBezTo>
                    <a:pt x="3451855" y="46355"/>
                    <a:pt x="3449950" y="47625"/>
                    <a:pt x="3448680" y="48895"/>
                  </a:cubicBezTo>
                  <a:cubicBezTo>
                    <a:pt x="3447410" y="50165"/>
                    <a:pt x="3446140" y="51435"/>
                    <a:pt x="3445505" y="52705"/>
                  </a:cubicBezTo>
                  <a:lnTo>
                    <a:pt x="3445505" y="85725"/>
                  </a:lnTo>
                  <a:cubicBezTo>
                    <a:pt x="3445505" y="85725"/>
                    <a:pt x="3447410" y="88265"/>
                    <a:pt x="3448680" y="89535"/>
                  </a:cubicBezTo>
                  <a:cubicBezTo>
                    <a:pt x="3449950" y="90805"/>
                    <a:pt x="3451220" y="92075"/>
                    <a:pt x="3453125" y="92710"/>
                  </a:cubicBezTo>
                  <a:cubicBezTo>
                    <a:pt x="3455030" y="93980"/>
                    <a:pt x="3456300" y="94615"/>
                    <a:pt x="3458205" y="95250"/>
                  </a:cubicBezTo>
                  <a:cubicBezTo>
                    <a:pt x="3460110" y="95250"/>
                    <a:pt x="3462015" y="95885"/>
                    <a:pt x="3463920" y="95885"/>
                  </a:cubicBezTo>
                  <a:cubicBezTo>
                    <a:pt x="3469635" y="95885"/>
                    <a:pt x="3473445" y="93980"/>
                    <a:pt x="3476620" y="89535"/>
                  </a:cubicBezTo>
                  <a:cubicBezTo>
                    <a:pt x="3479795" y="85090"/>
                    <a:pt x="3481065" y="79375"/>
                    <a:pt x="3481065" y="71120"/>
                  </a:cubicBezTo>
                  <a:lnTo>
                    <a:pt x="3480430" y="71755"/>
                  </a:lnTo>
                  <a:cubicBezTo>
                    <a:pt x="3480430" y="62230"/>
                    <a:pt x="3479160" y="54610"/>
                    <a:pt x="3475985" y="50165"/>
                  </a:cubicBezTo>
                  <a:cubicBezTo>
                    <a:pt x="3472810" y="45720"/>
                    <a:pt x="3468365" y="43180"/>
                    <a:pt x="3463285" y="43180"/>
                  </a:cubicBezTo>
                  <a:close/>
                  <a:moveTo>
                    <a:pt x="3343271" y="43180"/>
                  </a:moveTo>
                  <a:cubicBezTo>
                    <a:pt x="3340731" y="43180"/>
                    <a:pt x="3338191" y="43180"/>
                    <a:pt x="3336286" y="44450"/>
                  </a:cubicBezTo>
                  <a:cubicBezTo>
                    <a:pt x="3334381" y="45085"/>
                    <a:pt x="3332476" y="46355"/>
                    <a:pt x="3331206" y="48260"/>
                  </a:cubicBezTo>
                  <a:cubicBezTo>
                    <a:pt x="3329936" y="50165"/>
                    <a:pt x="3328666" y="52070"/>
                    <a:pt x="3327396" y="54610"/>
                  </a:cubicBezTo>
                  <a:cubicBezTo>
                    <a:pt x="3326761" y="57150"/>
                    <a:pt x="3326126" y="59690"/>
                    <a:pt x="3325491" y="62865"/>
                  </a:cubicBezTo>
                  <a:lnTo>
                    <a:pt x="3361686" y="62865"/>
                  </a:lnTo>
                  <a:cubicBezTo>
                    <a:pt x="3361686" y="62865"/>
                    <a:pt x="3361051" y="57785"/>
                    <a:pt x="3360416" y="55245"/>
                  </a:cubicBezTo>
                  <a:cubicBezTo>
                    <a:pt x="3359781" y="52705"/>
                    <a:pt x="3358511" y="50800"/>
                    <a:pt x="3357241" y="48895"/>
                  </a:cubicBezTo>
                  <a:cubicBezTo>
                    <a:pt x="3355971" y="46990"/>
                    <a:pt x="3354066" y="45720"/>
                    <a:pt x="3351526" y="44450"/>
                  </a:cubicBezTo>
                  <a:cubicBezTo>
                    <a:pt x="3348986" y="43180"/>
                    <a:pt x="3346446" y="43180"/>
                    <a:pt x="3343271" y="43180"/>
                  </a:cubicBezTo>
                  <a:close/>
                  <a:moveTo>
                    <a:pt x="2976876" y="43180"/>
                  </a:moveTo>
                  <a:cubicBezTo>
                    <a:pt x="2974336" y="43180"/>
                    <a:pt x="2971796" y="43180"/>
                    <a:pt x="2969891" y="44450"/>
                  </a:cubicBezTo>
                  <a:cubicBezTo>
                    <a:pt x="2967986" y="45085"/>
                    <a:pt x="2966081" y="46355"/>
                    <a:pt x="2964811" y="48260"/>
                  </a:cubicBezTo>
                  <a:cubicBezTo>
                    <a:pt x="2963541" y="50165"/>
                    <a:pt x="2962271" y="52070"/>
                    <a:pt x="2961001" y="54610"/>
                  </a:cubicBezTo>
                  <a:cubicBezTo>
                    <a:pt x="2960366" y="57150"/>
                    <a:pt x="2959731" y="59690"/>
                    <a:pt x="2959096" y="62865"/>
                  </a:cubicBezTo>
                  <a:lnTo>
                    <a:pt x="2995291" y="62865"/>
                  </a:lnTo>
                  <a:cubicBezTo>
                    <a:pt x="2995291" y="62865"/>
                    <a:pt x="2994656" y="57785"/>
                    <a:pt x="2994021" y="55245"/>
                  </a:cubicBezTo>
                  <a:cubicBezTo>
                    <a:pt x="2993386" y="52705"/>
                    <a:pt x="2992116" y="50800"/>
                    <a:pt x="2990846" y="48895"/>
                  </a:cubicBezTo>
                  <a:cubicBezTo>
                    <a:pt x="2989576" y="46990"/>
                    <a:pt x="2987671" y="45720"/>
                    <a:pt x="2985131" y="44450"/>
                  </a:cubicBezTo>
                  <a:cubicBezTo>
                    <a:pt x="2982591" y="43180"/>
                    <a:pt x="2980051" y="43180"/>
                    <a:pt x="2976876" y="43180"/>
                  </a:cubicBezTo>
                  <a:close/>
                  <a:moveTo>
                    <a:pt x="2527930" y="43180"/>
                  </a:moveTo>
                  <a:cubicBezTo>
                    <a:pt x="2525390" y="43180"/>
                    <a:pt x="2522850" y="43180"/>
                    <a:pt x="2520945" y="44450"/>
                  </a:cubicBezTo>
                  <a:cubicBezTo>
                    <a:pt x="2519040" y="45085"/>
                    <a:pt x="2517135" y="46355"/>
                    <a:pt x="2515865" y="48260"/>
                  </a:cubicBezTo>
                  <a:cubicBezTo>
                    <a:pt x="2514595" y="50165"/>
                    <a:pt x="2513325" y="52070"/>
                    <a:pt x="2512055" y="54610"/>
                  </a:cubicBezTo>
                  <a:cubicBezTo>
                    <a:pt x="2511420" y="57150"/>
                    <a:pt x="2510150" y="59690"/>
                    <a:pt x="2510150" y="62865"/>
                  </a:cubicBezTo>
                  <a:lnTo>
                    <a:pt x="2546345" y="62865"/>
                  </a:lnTo>
                  <a:cubicBezTo>
                    <a:pt x="2546345" y="62865"/>
                    <a:pt x="2545710" y="57785"/>
                    <a:pt x="2545075" y="55245"/>
                  </a:cubicBezTo>
                  <a:cubicBezTo>
                    <a:pt x="2544440" y="52705"/>
                    <a:pt x="2543170" y="50800"/>
                    <a:pt x="2541900" y="48895"/>
                  </a:cubicBezTo>
                  <a:cubicBezTo>
                    <a:pt x="2540630" y="46990"/>
                    <a:pt x="2538725" y="45720"/>
                    <a:pt x="2536185" y="44450"/>
                  </a:cubicBezTo>
                  <a:cubicBezTo>
                    <a:pt x="2533645" y="43180"/>
                    <a:pt x="2531105" y="43180"/>
                    <a:pt x="2527930" y="43180"/>
                  </a:cubicBezTo>
                  <a:close/>
                  <a:moveTo>
                    <a:pt x="2214240" y="43180"/>
                  </a:moveTo>
                  <a:cubicBezTo>
                    <a:pt x="2211700" y="43180"/>
                    <a:pt x="2209160" y="43180"/>
                    <a:pt x="2207255" y="44450"/>
                  </a:cubicBezTo>
                  <a:cubicBezTo>
                    <a:pt x="2205350" y="45085"/>
                    <a:pt x="2203445" y="46355"/>
                    <a:pt x="2202175" y="48260"/>
                  </a:cubicBezTo>
                  <a:cubicBezTo>
                    <a:pt x="2200905" y="50165"/>
                    <a:pt x="2199635" y="52070"/>
                    <a:pt x="2198365" y="54610"/>
                  </a:cubicBezTo>
                  <a:cubicBezTo>
                    <a:pt x="2197730" y="57150"/>
                    <a:pt x="2196460" y="59690"/>
                    <a:pt x="2196460" y="62865"/>
                  </a:cubicBezTo>
                  <a:lnTo>
                    <a:pt x="2232655" y="62865"/>
                  </a:lnTo>
                  <a:cubicBezTo>
                    <a:pt x="2232655" y="62865"/>
                    <a:pt x="2232020" y="57785"/>
                    <a:pt x="2231385" y="55245"/>
                  </a:cubicBezTo>
                  <a:cubicBezTo>
                    <a:pt x="2230750" y="52705"/>
                    <a:pt x="2229480" y="50800"/>
                    <a:pt x="2228210" y="48895"/>
                  </a:cubicBezTo>
                  <a:cubicBezTo>
                    <a:pt x="2226940" y="46990"/>
                    <a:pt x="2225035" y="45720"/>
                    <a:pt x="2222495" y="44450"/>
                  </a:cubicBezTo>
                  <a:cubicBezTo>
                    <a:pt x="2219955" y="43180"/>
                    <a:pt x="2217415" y="43180"/>
                    <a:pt x="2214240" y="43180"/>
                  </a:cubicBezTo>
                  <a:close/>
                  <a:moveTo>
                    <a:pt x="2027551" y="43180"/>
                  </a:moveTo>
                  <a:cubicBezTo>
                    <a:pt x="2025011" y="43180"/>
                    <a:pt x="2022471" y="43180"/>
                    <a:pt x="2020566" y="44450"/>
                  </a:cubicBezTo>
                  <a:cubicBezTo>
                    <a:pt x="2018661" y="45085"/>
                    <a:pt x="2016756" y="46355"/>
                    <a:pt x="2015486" y="48260"/>
                  </a:cubicBezTo>
                  <a:cubicBezTo>
                    <a:pt x="2014216" y="50165"/>
                    <a:pt x="2012946" y="52070"/>
                    <a:pt x="2011676" y="54610"/>
                  </a:cubicBezTo>
                  <a:cubicBezTo>
                    <a:pt x="2011041" y="57150"/>
                    <a:pt x="2010406" y="59690"/>
                    <a:pt x="2009771" y="62865"/>
                  </a:cubicBezTo>
                  <a:lnTo>
                    <a:pt x="2045966" y="62865"/>
                  </a:lnTo>
                  <a:cubicBezTo>
                    <a:pt x="2045966" y="62865"/>
                    <a:pt x="2045331" y="57785"/>
                    <a:pt x="2044696" y="55245"/>
                  </a:cubicBezTo>
                  <a:cubicBezTo>
                    <a:pt x="2044061" y="52705"/>
                    <a:pt x="2042791" y="50800"/>
                    <a:pt x="2041521" y="48895"/>
                  </a:cubicBezTo>
                  <a:cubicBezTo>
                    <a:pt x="2040251" y="46990"/>
                    <a:pt x="2038346" y="45720"/>
                    <a:pt x="2035806" y="44450"/>
                  </a:cubicBezTo>
                  <a:cubicBezTo>
                    <a:pt x="2033266" y="43180"/>
                    <a:pt x="2030726" y="43180"/>
                    <a:pt x="2027551" y="43180"/>
                  </a:cubicBezTo>
                  <a:close/>
                  <a:moveTo>
                    <a:pt x="1949445" y="43180"/>
                  </a:moveTo>
                  <a:cubicBezTo>
                    <a:pt x="1947540" y="43180"/>
                    <a:pt x="1945635" y="43180"/>
                    <a:pt x="1944365" y="43815"/>
                  </a:cubicBezTo>
                  <a:cubicBezTo>
                    <a:pt x="1942460" y="43815"/>
                    <a:pt x="1941190" y="45085"/>
                    <a:pt x="1939285" y="45720"/>
                  </a:cubicBezTo>
                  <a:cubicBezTo>
                    <a:pt x="1938015" y="46355"/>
                    <a:pt x="1936110" y="47625"/>
                    <a:pt x="1934840" y="48895"/>
                  </a:cubicBezTo>
                  <a:cubicBezTo>
                    <a:pt x="1933570" y="50165"/>
                    <a:pt x="1932300" y="51435"/>
                    <a:pt x="1931665" y="52705"/>
                  </a:cubicBezTo>
                  <a:lnTo>
                    <a:pt x="1931665" y="85725"/>
                  </a:lnTo>
                  <a:cubicBezTo>
                    <a:pt x="1931665" y="85725"/>
                    <a:pt x="1933570" y="88265"/>
                    <a:pt x="1934840" y="89535"/>
                  </a:cubicBezTo>
                  <a:cubicBezTo>
                    <a:pt x="1936110" y="90805"/>
                    <a:pt x="1937380" y="92075"/>
                    <a:pt x="1939285" y="92710"/>
                  </a:cubicBezTo>
                  <a:cubicBezTo>
                    <a:pt x="1941190" y="93980"/>
                    <a:pt x="1942460" y="94615"/>
                    <a:pt x="1944365" y="95250"/>
                  </a:cubicBezTo>
                  <a:cubicBezTo>
                    <a:pt x="1946270" y="95250"/>
                    <a:pt x="1948175" y="95885"/>
                    <a:pt x="1950080" y="95885"/>
                  </a:cubicBezTo>
                  <a:cubicBezTo>
                    <a:pt x="1955795" y="95885"/>
                    <a:pt x="1959605" y="93980"/>
                    <a:pt x="1962780" y="89535"/>
                  </a:cubicBezTo>
                  <a:cubicBezTo>
                    <a:pt x="1965955" y="85090"/>
                    <a:pt x="1967225" y="79375"/>
                    <a:pt x="1967225" y="71120"/>
                  </a:cubicBezTo>
                  <a:lnTo>
                    <a:pt x="1966590" y="71755"/>
                  </a:lnTo>
                  <a:cubicBezTo>
                    <a:pt x="1966590" y="62230"/>
                    <a:pt x="1965320" y="54610"/>
                    <a:pt x="1962145" y="50165"/>
                  </a:cubicBezTo>
                  <a:cubicBezTo>
                    <a:pt x="1958970" y="45720"/>
                    <a:pt x="1954525" y="43180"/>
                    <a:pt x="1949445" y="43180"/>
                  </a:cubicBezTo>
                  <a:close/>
                  <a:moveTo>
                    <a:pt x="1829431" y="43180"/>
                  </a:moveTo>
                  <a:cubicBezTo>
                    <a:pt x="1826891" y="43180"/>
                    <a:pt x="1824351" y="43180"/>
                    <a:pt x="1822446" y="44450"/>
                  </a:cubicBezTo>
                  <a:cubicBezTo>
                    <a:pt x="1820541" y="45085"/>
                    <a:pt x="1818636" y="46355"/>
                    <a:pt x="1817366" y="48260"/>
                  </a:cubicBezTo>
                  <a:cubicBezTo>
                    <a:pt x="1816096" y="50165"/>
                    <a:pt x="1814826" y="52070"/>
                    <a:pt x="1813556" y="54610"/>
                  </a:cubicBezTo>
                  <a:cubicBezTo>
                    <a:pt x="1812921" y="57150"/>
                    <a:pt x="1811651" y="59690"/>
                    <a:pt x="1811651" y="62865"/>
                  </a:cubicBezTo>
                  <a:lnTo>
                    <a:pt x="1847846" y="62865"/>
                  </a:lnTo>
                  <a:cubicBezTo>
                    <a:pt x="1847846" y="62865"/>
                    <a:pt x="1847211" y="57785"/>
                    <a:pt x="1846576" y="55245"/>
                  </a:cubicBezTo>
                  <a:cubicBezTo>
                    <a:pt x="1845941" y="52705"/>
                    <a:pt x="1844671" y="50800"/>
                    <a:pt x="1843401" y="48895"/>
                  </a:cubicBezTo>
                  <a:cubicBezTo>
                    <a:pt x="1842131" y="46990"/>
                    <a:pt x="1840226" y="45720"/>
                    <a:pt x="1837686" y="44450"/>
                  </a:cubicBezTo>
                  <a:cubicBezTo>
                    <a:pt x="1835146" y="43180"/>
                    <a:pt x="1832606" y="43180"/>
                    <a:pt x="1829431" y="43180"/>
                  </a:cubicBezTo>
                  <a:close/>
                  <a:moveTo>
                    <a:pt x="1178561" y="43180"/>
                  </a:moveTo>
                  <a:cubicBezTo>
                    <a:pt x="1176021" y="43180"/>
                    <a:pt x="1173481" y="43180"/>
                    <a:pt x="1171576" y="44450"/>
                  </a:cubicBezTo>
                  <a:cubicBezTo>
                    <a:pt x="1169671" y="45085"/>
                    <a:pt x="1167766" y="46355"/>
                    <a:pt x="1166496" y="48260"/>
                  </a:cubicBezTo>
                  <a:cubicBezTo>
                    <a:pt x="1165226" y="50165"/>
                    <a:pt x="1163956" y="52070"/>
                    <a:pt x="1162686" y="54610"/>
                  </a:cubicBezTo>
                  <a:cubicBezTo>
                    <a:pt x="1162051" y="57150"/>
                    <a:pt x="1160781" y="59690"/>
                    <a:pt x="1160781" y="62865"/>
                  </a:cubicBezTo>
                  <a:lnTo>
                    <a:pt x="1196976" y="62865"/>
                  </a:lnTo>
                  <a:cubicBezTo>
                    <a:pt x="1196976" y="62865"/>
                    <a:pt x="1196341" y="57785"/>
                    <a:pt x="1195706" y="55245"/>
                  </a:cubicBezTo>
                  <a:cubicBezTo>
                    <a:pt x="1195071" y="52705"/>
                    <a:pt x="1193801" y="50800"/>
                    <a:pt x="1192531" y="48895"/>
                  </a:cubicBezTo>
                  <a:cubicBezTo>
                    <a:pt x="1191261" y="46990"/>
                    <a:pt x="1189356" y="45720"/>
                    <a:pt x="1186816" y="44450"/>
                  </a:cubicBezTo>
                  <a:cubicBezTo>
                    <a:pt x="1184276" y="43180"/>
                    <a:pt x="1181736" y="43180"/>
                    <a:pt x="1178561" y="43180"/>
                  </a:cubicBezTo>
                  <a:close/>
                  <a:moveTo>
                    <a:pt x="898525" y="43180"/>
                  </a:moveTo>
                  <a:cubicBezTo>
                    <a:pt x="895985" y="43180"/>
                    <a:pt x="893445" y="43180"/>
                    <a:pt x="891540" y="44450"/>
                  </a:cubicBezTo>
                  <a:cubicBezTo>
                    <a:pt x="889635" y="45085"/>
                    <a:pt x="887730" y="46355"/>
                    <a:pt x="886460" y="48260"/>
                  </a:cubicBezTo>
                  <a:cubicBezTo>
                    <a:pt x="885190" y="50165"/>
                    <a:pt x="883920" y="52070"/>
                    <a:pt x="882650" y="54610"/>
                  </a:cubicBezTo>
                  <a:cubicBezTo>
                    <a:pt x="882015" y="57150"/>
                    <a:pt x="881380" y="59690"/>
                    <a:pt x="880745" y="62865"/>
                  </a:cubicBezTo>
                  <a:lnTo>
                    <a:pt x="916940" y="62865"/>
                  </a:lnTo>
                  <a:cubicBezTo>
                    <a:pt x="916940" y="62865"/>
                    <a:pt x="916305" y="57785"/>
                    <a:pt x="915670" y="55245"/>
                  </a:cubicBezTo>
                  <a:cubicBezTo>
                    <a:pt x="915035" y="52705"/>
                    <a:pt x="913765" y="50800"/>
                    <a:pt x="912495" y="48895"/>
                  </a:cubicBezTo>
                  <a:cubicBezTo>
                    <a:pt x="911225" y="46990"/>
                    <a:pt x="909320" y="45720"/>
                    <a:pt x="906780" y="44450"/>
                  </a:cubicBezTo>
                  <a:cubicBezTo>
                    <a:pt x="904240" y="43180"/>
                    <a:pt x="901700" y="43180"/>
                    <a:pt x="898525" y="43180"/>
                  </a:cubicBezTo>
                  <a:close/>
                  <a:moveTo>
                    <a:pt x="584834" y="43180"/>
                  </a:moveTo>
                  <a:cubicBezTo>
                    <a:pt x="582294" y="43180"/>
                    <a:pt x="579754" y="43180"/>
                    <a:pt x="577849" y="44450"/>
                  </a:cubicBezTo>
                  <a:cubicBezTo>
                    <a:pt x="575944" y="45085"/>
                    <a:pt x="574039" y="46355"/>
                    <a:pt x="572769" y="48260"/>
                  </a:cubicBezTo>
                  <a:cubicBezTo>
                    <a:pt x="571499" y="50165"/>
                    <a:pt x="570229" y="52070"/>
                    <a:pt x="568959" y="54610"/>
                  </a:cubicBezTo>
                  <a:cubicBezTo>
                    <a:pt x="568324" y="57150"/>
                    <a:pt x="567689" y="59690"/>
                    <a:pt x="567054" y="62865"/>
                  </a:cubicBezTo>
                  <a:lnTo>
                    <a:pt x="603249" y="62865"/>
                  </a:lnTo>
                  <a:cubicBezTo>
                    <a:pt x="603249" y="62865"/>
                    <a:pt x="602614" y="57785"/>
                    <a:pt x="601979" y="55245"/>
                  </a:cubicBezTo>
                  <a:cubicBezTo>
                    <a:pt x="601344" y="52705"/>
                    <a:pt x="600074" y="50800"/>
                    <a:pt x="598804" y="48895"/>
                  </a:cubicBezTo>
                  <a:cubicBezTo>
                    <a:pt x="597534" y="46990"/>
                    <a:pt x="595629" y="45720"/>
                    <a:pt x="593089" y="44450"/>
                  </a:cubicBezTo>
                  <a:cubicBezTo>
                    <a:pt x="590549" y="43180"/>
                    <a:pt x="588009" y="43180"/>
                    <a:pt x="584834" y="43180"/>
                  </a:cubicBezTo>
                  <a:close/>
                  <a:moveTo>
                    <a:pt x="398145" y="43180"/>
                  </a:moveTo>
                  <a:cubicBezTo>
                    <a:pt x="395605" y="43180"/>
                    <a:pt x="393065" y="43180"/>
                    <a:pt x="391160" y="44450"/>
                  </a:cubicBezTo>
                  <a:cubicBezTo>
                    <a:pt x="389255" y="45085"/>
                    <a:pt x="387350" y="46355"/>
                    <a:pt x="386080" y="48260"/>
                  </a:cubicBezTo>
                  <a:cubicBezTo>
                    <a:pt x="384810" y="50165"/>
                    <a:pt x="383540" y="52070"/>
                    <a:pt x="382270" y="54610"/>
                  </a:cubicBezTo>
                  <a:cubicBezTo>
                    <a:pt x="381635" y="57150"/>
                    <a:pt x="380365" y="59690"/>
                    <a:pt x="380365" y="62865"/>
                  </a:cubicBezTo>
                  <a:lnTo>
                    <a:pt x="416560" y="62865"/>
                  </a:lnTo>
                  <a:cubicBezTo>
                    <a:pt x="416560" y="62865"/>
                    <a:pt x="415925" y="57785"/>
                    <a:pt x="415290" y="55245"/>
                  </a:cubicBezTo>
                  <a:cubicBezTo>
                    <a:pt x="414655" y="52705"/>
                    <a:pt x="413385" y="50800"/>
                    <a:pt x="412115" y="48895"/>
                  </a:cubicBezTo>
                  <a:cubicBezTo>
                    <a:pt x="410845" y="46990"/>
                    <a:pt x="408940" y="45720"/>
                    <a:pt x="406400" y="44450"/>
                  </a:cubicBezTo>
                  <a:cubicBezTo>
                    <a:pt x="403860" y="43180"/>
                    <a:pt x="401320" y="43180"/>
                    <a:pt x="398145" y="43180"/>
                  </a:cubicBezTo>
                  <a:close/>
                  <a:moveTo>
                    <a:pt x="320039" y="43180"/>
                  </a:moveTo>
                  <a:cubicBezTo>
                    <a:pt x="318134" y="43180"/>
                    <a:pt x="316229" y="43180"/>
                    <a:pt x="314959" y="43815"/>
                  </a:cubicBezTo>
                  <a:cubicBezTo>
                    <a:pt x="313054" y="43815"/>
                    <a:pt x="311784" y="45085"/>
                    <a:pt x="309879" y="45720"/>
                  </a:cubicBezTo>
                  <a:cubicBezTo>
                    <a:pt x="308609" y="46355"/>
                    <a:pt x="306704" y="47625"/>
                    <a:pt x="305434" y="48895"/>
                  </a:cubicBezTo>
                  <a:cubicBezTo>
                    <a:pt x="304164" y="50165"/>
                    <a:pt x="302894" y="51435"/>
                    <a:pt x="302259" y="52705"/>
                  </a:cubicBezTo>
                  <a:lnTo>
                    <a:pt x="302259" y="85725"/>
                  </a:lnTo>
                  <a:cubicBezTo>
                    <a:pt x="302259" y="85725"/>
                    <a:pt x="304164" y="88265"/>
                    <a:pt x="305434" y="89535"/>
                  </a:cubicBezTo>
                  <a:cubicBezTo>
                    <a:pt x="306704" y="90805"/>
                    <a:pt x="307974" y="92075"/>
                    <a:pt x="309879" y="92710"/>
                  </a:cubicBezTo>
                  <a:cubicBezTo>
                    <a:pt x="311784" y="93980"/>
                    <a:pt x="313054" y="94615"/>
                    <a:pt x="314959" y="95250"/>
                  </a:cubicBezTo>
                  <a:cubicBezTo>
                    <a:pt x="316864" y="95250"/>
                    <a:pt x="318769" y="95885"/>
                    <a:pt x="320674" y="95885"/>
                  </a:cubicBezTo>
                  <a:cubicBezTo>
                    <a:pt x="326389" y="95885"/>
                    <a:pt x="330199" y="93980"/>
                    <a:pt x="333374" y="89535"/>
                  </a:cubicBezTo>
                  <a:cubicBezTo>
                    <a:pt x="336549" y="85090"/>
                    <a:pt x="337819" y="79375"/>
                    <a:pt x="337819" y="71120"/>
                  </a:cubicBezTo>
                  <a:lnTo>
                    <a:pt x="337184" y="71755"/>
                  </a:lnTo>
                  <a:cubicBezTo>
                    <a:pt x="337184" y="62230"/>
                    <a:pt x="335914" y="54610"/>
                    <a:pt x="332739" y="50165"/>
                  </a:cubicBezTo>
                  <a:cubicBezTo>
                    <a:pt x="329564" y="45720"/>
                    <a:pt x="325119" y="43180"/>
                    <a:pt x="320039" y="43180"/>
                  </a:cubicBezTo>
                  <a:close/>
                  <a:moveTo>
                    <a:pt x="200025" y="43180"/>
                  </a:moveTo>
                  <a:cubicBezTo>
                    <a:pt x="197485" y="43180"/>
                    <a:pt x="194945" y="43180"/>
                    <a:pt x="193040" y="44450"/>
                  </a:cubicBezTo>
                  <a:cubicBezTo>
                    <a:pt x="191135" y="45085"/>
                    <a:pt x="189230" y="46355"/>
                    <a:pt x="187960" y="48260"/>
                  </a:cubicBezTo>
                  <a:cubicBezTo>
                    <a:pt x="186690" y="50165"/>
                    <a:pt x="185420" y="52070"/>
                    <a:pt x="184150" y="54610"/>
                  </a:cubicBezTo>
                  <a:cubicBezTo>
                    <a:pt x="183515" y="57150"/>
                    <a:pt x="182880" y="59690"/>
                    <a:pt x="182245" y="62865"/>
                  </a:cubicBezTo>
                  <a:lnTo>
                    <a:pt x="218440" y="62865"/>
                  </a:lnTo>
                  <a:cubicBezTo>
                    <a:pt x="218440" y="62865"/>
                    <a:pt x="217805" y="57785"/>
                    <a:pt x="217170" y="55245"/>
                  </a:cubicBezTo>
                  <a:cubicBezTo>
                    <a:pt x="216535" y="52705"/>
                    <a:pt x="215265" y="50800"/>
                    <a:pt x="213995" y="48895"/>
                  </a:cubicBezTo>
                  <a:cubicBezTo>
                    <a:pt x="212725" y="46990"/>
                    <a:pt x="210820" y="45720"/>
                    <a:pt x="208280" y="44450"/>
                  </a:cubicBezTo>
                  <a:cubicBezTo>
                    <a:pt x="205740" y="43180"/>
                    <a:pt x="203200" y="43180"/>
                    <a:pt x="200025" y="43180"/>
                  </a:cubicBezTo>
                  <a:close/>
                  <a:moveTo>
                    <a:pt x="4439281" y="43179"/>
                  </a:moveTo>
                  <a:cubicBezTo>
                    <a:pt x="4433566" y="43179"/>
                    <a:pt x="4429756" y="45084"/>
                    <a:pt x="4426581" y="49529"/>
                  </a:cubicBezTo>
                  <a:cubicBezTo>
                    <a:pt x="4423406" y="53974"/>
                    <a:pt x="4422136" y="59689"/>
                    <a:pt x="4422136" y="67944"/>
                  </a:cubicBezTo>
                  <a:cubicBezTo>
                    <a:pt x="4422136" y="73024"/>
                    <a:pt x="4422136" y="76834"/>
                    <a:pt x="4423406" y="80644"/>
                  </a:cubicBezTo>
                  <a:cubicBezTo>
                    <a:pt x="4424041" y="84454"/>
                    <a:pt x="4425311" y="86994"/>
                    <a:pt x="4426581" y="89534"/>
                  </a:cubicBezTo>
                  <a:cubicBezTo>
                    <a:pt x="4427851" y="92074"/>
                    <a:pt x="4429756" y="93344"/>
                    <a:pt x="4432296" y="94614"/>
                  </a:cubicBezTo>
                  <a:cubicBezTo>
                    <a:pt x="4434201" y="95884"/>
                    <a:pt x="4436741" y="96519"/>
                    <a:pt x="4439916" y="96519"/>
                  </a:cubicBezTo>
                  <a:cubicBezTo>
                    <a:pt x="4441821" y="96519"/>
                    <a:pt x="4443726" y="96519"/>
                    <a:pt x="4444996" y="95884"/>
                  </a:cubicBezTo>
                  <a:cubicBezTo>
                    <a:pt x="4446901" y="95884"/>
                    <a:pt x="4448171" y="94614"/>
                    <a:pt x="4450076" y="93344"/>
                  </a:cubicBezTo>
                  <a:cubicBezTo>
                    <a:pt x="4451346" y="92709"/>
                    <a:pt x="4453251" y="91439"/>
                    <a:pt x="4454521" y="90169"/>
                  </a:cubicBezTo>
                  <a:cubicBezTo>
                    <a:pt x="4455791" y="88899"/>
                    <a:pt x="4457061" y="87629"/>
                    <a:pt x="4457696" y="86359"/>
                  </a:cubicBezTo>
                  <a:lnTo>
                    <a:pt x="4457696" y="53339"/>
                  </a:lnTo>
                  <a:cubicBezTo>
                    <a:pt x="4457696" y="53339"/>
                    <a:pt x="4455791" y="50799"/>
                    <a:pt x="4454521" y="49529"/>
                  </a:cubicBezTo>
                  <a:cubicBezTo>
                    <a:pt x="4453251" y="48259"/>
                    <a:pt x="4451981" y="46989"/>
                    <a:pt x="4450076" y="46354"/>
                  </a:cubicBezTo>
                  <a:cubicBezTo>
                    <a:pt x="4448806" y="45084"/>
                    <a:pt x="4446901" y="44449"/>
                    <a:pt x="4444996" y="43814"/>
                  </a:cubicBezTo>
                  <a:cubicBezTo>
                    <a:pt x="4443091" y="43814"/>
                    <a:pt x="4441186" y="43179"/>
                    <a:pt x="4439281" y="43179"/>
                  </a:cubicBezTo>
                  <a:close/>
                  <a:moveTo>
                    <a:pt x="1014731" y="43179"/>
                  </a:moveTo>
                  <a:cubicBezTo>
                    <a:pt x="1009016" y="43179"/>
                    <a:pt x="1005206" y="45084"/>
                    <a:pt x="1002032" y="49529"/>
                  </a:cubicBezTo>
                  <a:cubicBezTo>
                    <a:pt x="998856" y="53974"/>
                    <a:pt x="997587" y="59689"/>
                    <a:pt x="997587" y="67944"/>
                  </a:cubicBezTo>
                  <a:cubicBezTo>
                    <a:pt x="997587" y="77469"/>
                    <a:pt x="998856" y="84454"/>
                    <a:pt x="1002032" y="88899"/>
                  </a:cubicBezTo>
                  <a:cubicBezTo>
                    <a:pt x="1005206" y="93979"/>
                    <a:pt x="1009016" y="95884"/>
                    <a:pt x="1015367" y="95884"/>
                  </a:cubicBezTo>
                  <a:cubicBezTo>
                    <a:pt x="1018541" y="95884"/>
                    <a:pt x="1022352" y="95249"/>
                    <a:pt x="1024891" y="93344"/>
                  </a:cubicBezTo>
                  <a:cubicBezTo>
                    <a:pt x="1028067" y="91439"/>
                    <a:pt x="1030607" y="88899"/>
                    <a:pt x="1033147" y="86359"/>
                  </a:cubicBezTo>
                  <a:lnTo>
                    <a:pt x="1033147" y="53339"/>
                  </a:lnTo>
                  <a:cubicBezTo>
                    <a:pt x="1033147" y="53339"/>
                    <a:pt x="1031242" y="50799"/>
                    <a:pt x="1029971" y="49529"/>
                  </a:cubicBezTo>
                  <a:cubicBezTo>
                    <a:pt x="1028702" y="48259"/>
                    <a:pt x="1027431" y="46989"/>
                    <a:pt x="1025526" y="46354"/>
                  </a:cubicBezTo>
                  <a:cubicBezTo>
                    <a:pt x="1023621" y="45084"/>
                    <a:pt x="1022352" y="44449"/>
                    <a:pt x="1020446" y="43814"/>
                  </a:cubicBezTo>
                  <a:cubicBezTo>
                    <a:pt x="1018541" y="43179"/>
                    <a:pt x="1016636" y="43179"/>
                    <a:pt x="1014731" y="43179"/>
                  </a:cubicBezTo>
                  <a:close/>
                  <a:moveTo>
                    <a:pt x="4524370" y="31114"/>
                  </a:moveTo>
                  <a:lnTo>
                    <a:pt x="4538975" y="31114"/>
                  </a:lnTo>
                  <a:lnTo>
                    <a:pt x="4552310" y="84454"/>
                  </a:lnTo>
                  <a:lnTo>
                    <a:pt x="4566915" y="31114"/>
                  </a:lnTo>
                  <a:lnTo>
                    <a:pt x="4579615" y="31114"/>
                  </a:lnTo>
                  <a:lnTo>
                    <a:pt x="4594220" y="84454"/>
                  </a:lnTo>
                  <a:lnTo>
                    <a:pt x="4606920" y="31114"/>
                  </a:lnTo>
                  <a:lnTo>
                    <a:pt x="4622160" y="31114"/>
                  </a:lnTo>
                  <a:lnTo>
                    <a:pt x="4600570" y="108584"/>
                  </a:lnTo>
                  <a:lnTo>
                    <a:pt x="4587235" y="108584"/>
                  </a:lnTo>
                  <a:lnTo>
                    <a:pt x="4572630" y="54609"/>
                  </a:lnTo>
                  <a:lnTo>
                    <a:pt x="4558660" y="108584"/>
                  </a:lnTo>
                  <a:lnTo>
                    <a:pt x="4545325" y="108584"/>
                  </a:lnTo>
                  <a:close/>
                  <a:moveTo>
                    <a:pt x="4123686" y="31114"/>
                  </a:moveTo>
                  <a:lnTo>
                    <a:pt x="4138926" y="31114"/>
                  </a:lnTo>
                  <a:lnTo>
                    <a:pt x="4152261" y="84454"/>
                  </a:lnTo>
                  <a:lnTo>
                    <a:pt x="4166866" y="31114"/>
                  </a:lnTo>
                  <a:lnTo>
                    <a:pt x="4178931" y="31114"/>
                  </a:lnTo>
                  <a:lnTo>
                    <a:pt x="4193536" y="84454"/>
                  </a:lnTo>
                  <a:lnTo>
                    <a:pt x="4206871" y="31114"/>
                  </a:lnTo>
                  <a:lnTo>
                    <a:pt x="4222111" y="31114"/>
                  </a:lnTo>
                  <a:lnTo>
                    <a:pt x="4200521" y="108584"/>
                  </a:lnTo>
                  <a:lnTo>
                    <a:pt x="4187186" y="108584"/>
                  </a:lnTo>
                  <a:lnTo>
                    <a:pt x="4172581" y="54609"/>
                  </a:lnTo>
                  <a:lnTo>
                    <a:pt x="4157976" y="108584"/>
                  </a:lnTo>
                  <a:lnTo>
                    <a:pt x="4145276" y="108584"/>
                  </a:lnTo>
                  <a:close/>
                  <a:moveTo>
                    <a:pt x="2837811" y="31114"/>
                  </a:moveTo>
                  <a:lnTo>
                    <a:pt x="2852416" y="31114"/>
                  </a:lnTo>
                  <a:lnTo>
                    <a:pt x="2865751" y="84454"/>
                  </a:lnTo>
                  <a:lnTo>
                    <a:pt x="2880356" y="31114"/>
                  </a:lnTo>
                  <a:lnTo>
                    <a:pt x="2893056" y="31114"/>
                  </a:lnTo>
                  <a:lnTo>
                    <a:pt x="2907661" y="84454"/>
                  </a:lnTo>
                  <a:lnTo>
                    <a:pt x="2920361" y="31114"/>
                  </a:lnTo>
                  <a:lnTo>
                    <a:pt x="2935601" y="31114"/>
                  </a:lnTo>
                  <a:lnTo>
                    <a:pt x="2914011" y="108584"/>
                  </a:lnTo>
                  <a:lnTo>
                    <a:pt x="2900676" y="108584"/>
                  </a:lnTo>
                  <a:lnTo>
                    <a:pt x="2886706" y="54609"/>
                  </a:lnTo>
                  <a:lnTo>
                    <a:pt x="2872101" y="108584"/>
                  </a:lnTo>
                  <a:lnTo>
                    <a:pt x="2858766" y="108584"/>
                  </a:lnTo>
                  <a:close/>
                  <a:moveTo>
                    <a:pt x="1354455" y="31114"/>
                  </a:moveTo>
                  <a:lnTo>
                    <a:pt x="1369695" y="31114"/>
                  </a:lnTo>
                  <a:lnTo>
                    <a:pt x="1369695" y="109219"/>
                  </a:lnTo>
                  <a:lnTo>
                    <a:pt x="1354455" y="109219"/>
                  </a:lnTo>
                  <a:close/>
                  <a:moveTo>
                    <a:pt x="2646040" y="29844"/>
                  </a:moveTo>
                  <a:cubicBezTo>
                    <a:pt x="2650485" y="29844"/>
                    <a:pt x="2654295" y="29844"/>
                    <a:pt x="2658105" y="31749"/>
                  </a:cubicBezTo>
                  <a:cubicBezTo>
                    <a:pt x="2661915" y="33019"/>
                    <a:pt x="2665090" y="34289"/>
                    <a:pt x="2667630" y="36829"/>
                  </a:cubicBezTo>
                  <a:cubicBezTo>
                    <a:pt x="2670170" y="38734"/>
                    <a:pt x="2672075" y="41909"/>
                    <a:pt x="2673345" y="45084"/>
                  </a:cubicBezTo>
                  <a:cubicBezTo>
                    <a:pt x="2674615" y="48259"/>
                    <a:pt x="2675250" y="52069"/>
                    <a:pt x="2675250" y="56514"/>
                  </a:cubicBezTo>
                  <a:lnTo>
                    <a:pt x="2675250" y="109854"/>
                  </a:lnTo>
                  <a:lnTo>
                    <a:pt x="2660010" y="109854"/>
                  </a:lnTo>
                  <a:lnTo>
                    <a:pt x="2660010" y="108584"/>
                  </a:lnTo>
                  <a:lnTo>
                    <a:pt x="2660010" y="100964"/>
                  </a:lnTo>
                  <a:cubicBezTo>
                    <a:pt x="2660010" y="100964"/>
                    <a:pt x="2656200" y="104139"/>
                    <a:pt x="2654930" y="104774"/>
                  </a:cubicBezTo>
                  <a:cubicBezTo>
                    <a:pt x="2653660" y="105409"/>
                    <a:pt x="2652390" y="106679"/>
                    <a:pt x="2651120" y="107314"/>
                  </a:cubicBezTo>
                  <a:cubicBezTo>
                    <a:pt x="2649850" y="107949"/>
                    <a:pt x="2647945" y="108584"/>
                    <a:pt x="2646040" y="109219"/>
                  </a:cubicBezTo>
                  <a:cubicBezTo>
                    <a:pt x="2644135" y="109219"/>
                    <a:pt x="2641595" y="109854"/>
                    <a:pt x="2639055" y="109854"/>
                  </a:cubicBezTo>
                  <a:cubicBezTo>
                    <a:pt x="2635880" y="109854"/>
                    <a:pt x="2632705" y="109854"/>
                    <a:pt x="2629530" y="108584"/>
                  </a:cubicBezTo>
                  <a:cubicBezTo>
                    <a:pt x="2626355" y="107949"/>
                    <a:pt x="2623180" y="106044"/>
                    <a:pt x="2620640" y="104139"/>
                  </a:cubicBezTo>
                  <a:cubicBezTo>
                    <a:pt x="2618100" y="102234"/>
                    <a:pt x="2616195" y="99059"/>
                    <a:pt x="2614290" y="95884"/>
                  </a:cubicBezTo>
                  <a:cubicBezTo>
                    <a:pt x="2612385" y="92709"/>
                    <a:pt x="2611750" y="88264"/>
                    <a:pt x="2611750" y="83819"/>
                  </a:cubicBezTo>
                  <a:cubicBezTo>
                    <a:pt x="2611750" y="79374"/>
                    <a:pt x="2612385" y="75564"/>
                    <a:pt x="2614290" y="72389"/>
                  </a:cubicBezTo>
                  <a:cubicBezTo>
                    <a:pt x="2615560" y="69214"/>
                    <a:pt x="2618100" y="66674"/>
                    <a:pt x="2620640" y="64769"/>
                  </a:cubicBezTo>
                  <a:cubicBezTo>
                    <a:pt x="2623180" y="62864"/>
                    <a:pt x="2626990" y="60959"/>
                    <a:pt x="2630800" y="60324"/>
                  </a:cubicBezTo>
                  <a:cubicBezTo>
                    <a:pt x="2634610" y="59054"/>
                    <a:pt x="2638420" y="59054"/>
                    <a:pt x="2642865" y="59054"/>
                  </a:cubicBezTo>
                  <a:cubicBezTo>
                    <a:pt x="2646675" y="59054"/>
                    <a:pt x="2650485" y="59054"/>
                    <a:pt x="2653025" y="59689"/>
                  </a:cubicBezTo>
                  <a:cubicBezTo>
                    <a:pt x="2655565" y="59689"/>
                    <a:pt x="2658105" y="60959"/>
                    <a:pt x="2660010" y="61594"/>
                  </a:cubicBezTo>
                  <a:lnTo>
                    <a:pt x="2660010" y="55879"/>
                  </a:lnTo>
                  <a:cubicBezTo>
                    <a:pt x="2660010" y="51434"/>
                    <a:pt x="2658740" y="48259"/>
                    <a:pt x="2656200" y="46354"/>
                  </a:cubicBezTo>
                  <a:cubicBezTo>
                    <a:pt x="2653660" y="43814"/>
                    <a:pt x="2649850" y="43179"/>
                    <a:pt x="2645405" y="43179"/>
                  </a:cubicBezTo>
                  <a:cubicBezTo>
                    <a:pt x="2641595" y="43179"/>
                    <a:pt x="2637785" y="43179"/>
                    <a:pt x="2634610" y="44449"/>
                  </a:cubicBezTo>
                  <a:cubicBezTo>
                    <a:pt x="2631435" y="45084"/>
                    <a:pt x="2628260" y="46354"/>
                    <a:pt x="2625085" y="48259"/>
                  </a:cubicBezTo>
                  <a:lnTo>
                    <a:pt x="2619370" y="36829"/>
                  </a:lnTo>
                  <a:cubicBezTo>
                    <a:pt x="2623180" y="34289"/>
                    <a:pt x="2626990" y="33019"/>
                    <a:pt x="2631435" y="31749"/>
                  </a:cubicBezTo>
                  <a:cubicBezTo>
                    <a:pt x="2635880" y="30479"/>
                    <a:pt x="2640325" y="29844"/>
                    <a:pt x="2646040" y="29844"/>
                  </a:cubicBezTo>
                  <a:close/>
                  <a:moveTo>
                    <a:pt x="1114426" y="29844"/>
                  </a:moveTo>
                  <a:lnTo>
                    <a:pt x="1129666" y="29844"/>
                  </a:lnTo>
                  <a:lnTo>
                    <a:pt x="1129666" y="107949"/>
                  </a:lnTo>
                  <a:lnTo>
                    <a:pt x="1114426" y="107949"/>
                  </a:lnTo>
                  <a:lnTo>
                    <a:pt x="1114426" y="100964"/>
                  </a:lnTo>
                  <a:cubicBezTo>
                    <a:pt x="1114426" y="100964"/>
                    <a:pt x="1109981" y="106044"/>
                    <a:pt x="1106171" y="107314"/>
                  </a:cubicBezTo>
                  <a:cubicBezTo>
                    <a:pt x="1102996" y="109219"/>
                    <a:pt x="1098551" y="109854"/>
                    <a:pt x="1094741" y="109854"/>
                  </a:cubicBezTo>
                  <a:cubicBezTo>
                    <a:pt x="1085851" y="109854"/>
                    <a:pt x="1078866" y="106679"/>
                    <a:pt x="1073786" y="100964"/>
                  </a:cubicBezTo>
                  <a:cubicBezTo>
                    <a:pt x="1069341" y="95249"/>
                    <a:pt x="1066800" y="86359"/>
                    <a:pt x="1066800" y="74929"/>
                  </a:cubicBezTo>
                  <a:lnTo>
                    <a:pt x="1066800" y="30479"/>
                  </a:lnTo>
                  <a:lnTo>
                    <a:pt x="1082040" y="30479"/>
                  </a:lnTo>
                  <a:lnTo>
                    <a:pt x="1082040" y="74294"/>
                  </a:lnTo>
                  <a:cubicBezTo>
                    <a:pt x="1082040" y="81279"/>
                    <a:pt x="1083311" y="86994"/>
                    <a:pt x="1085851" y="90169"/>
                  </a:cubicBezTo>
                  <a:cubicBezTo>
                    <a:pt x="1088390" y="93979"/>
                    <a:pt x="1092201" y="95249"/>
                    <a:pt x="1097916" y="95249"/>
                  </a:cubicBezTo>
                  <a:cubicBezTo>
                    <a:pt x="1102996" y="95249"/>
                    <a:pt x="1106806" y="93344"/>
                    <a:pt x="1109981" y="90169"/>
                  </a:cubicBezTo>
                  <a:cubicBezTo>
                    <a:pt x="1112521" y="86994"/>
                    <a:pt x="1114426" y="81914"/>
                    <a:pt x="1114426" y="75564"/>
                  </a:cubicBezTo>
                  <a:close/>
                  <a:moveTo>
                    <a:pt x="1011556" y="29844"/>
                  </a:moveTo>
                  <a:cubicBezTo>
                    <a:pt x="1013461" y="29844"/>
                    <a:pt x="1015367" y="29844"/>
                    <a:pt x="1017272" y="30479"/>
                  </a:cubicBezTo>
                  <a:cubicBezTo>
                    <a:pt x="1019176" y="30479"/>
                    <a:pt x="1021081" y="31749"/>
                    <a:pt x="1022352" y="32384"/>
                  </a:cubicBezTo>
                  <a:cubicBezTo>
                    <a:pt x="1024257" y="33019"/>
                    <a:pt x="1025526" y="34289"/>
                    <a:pt x="1026797" y="35559"/>
                  </a:cubicBezTo>
                  <a:cubicBezTo>
                    <a:pt x="1028067" y="36829"/>
                    <a:pt x="1029336" y="37464"/>
                    <a:pt x="1030607" y="38734"/>
                  </a:cubicBezTo>
                  <a:lnTo>
                    <a:pt x="1030607" y="31749"/>
                  </a:lnTo>
                  <a:lnTo>
                    <a:pt x="1045847" y="31749"/>
                  </a:lnTo>
                  <a:lnTo>
                    <a:pt x="1045847" y="130809"/>
                  </a:lnTo>
                  <a:lnTo>
                    <a:pt x="1032512" y="137477"/>
                  </a:lnTo>
                  <a:lnTo>
                    <a:pt x="1032512" y="101599"/>
                  </a:lnTo>
                  <a:cubicBezTo>
                    <a:pt x="1032512" y="101599"/>
                    <a:pt x="1026797" y="106679"/>
                    <a:pt x="1022986" y="107949"/>
                  </a:cubicBezTo>
                  <a:cubicBezTo>
                    <a:pt x="1019812" y="109854"/>
                    <a:pt x="1016001" y="110489"/>
                    <a:pt x="1011556" y="110489"/>
                  </a:cubicBezTo>
                  <a:cubicBezTo>
                    <a:pt x="1007111" y="110489"/>
                    <a:pt x="1003301" y="109854"/>
                    <a:pt x="999491" y="107949"/>
                  </a:cubicBezTo>
                  <a:cubicBezTo>
                    <a:pt x="995681" y="106679"/>
                    <a:pt x="992506" y="104139"/>
                    <a:pt x="989966" y="100329"/>
                  </a:cubicBezTo>
                  <a:cubicBezTo>
                    <a:pt x="987426" y="97154"/>
                    <a:pt x="984886" y="92709"/>
                    <a:pt x="983616" y="87629"/>
                  </a:cubicBezTo>
                  <a:cubicBezTo>
                    <a:pt x="982346" y="82549"/>
                    <a:pt x="981076" y="76199"/>
                    <a:pt x="981076" y="68579"/>
                  </a:cubicBezTo>
                  <a:cubicBezTo>
                    <a:pt x="981076" y="61594"/>
                    <a:pt x="981711" y="55879"/>
                    <a:pt x="983616" y="51434"/>
                  </a:cubicBezTo>
                  <a:cubicBezTo>
                    <a:pt x="985521" y="46354"/>
                    <a:pt x="987426" y="42544"/>
                    <a:pt x="990601" y="39369"/>
                  </a:cubicBezTo>
                  <a:cubicBezTo>
                    <a:pt x="993142" y="36194"/>
                    <a:pt x="996951" y="33654"/>
                    <a:pt x="1000126" y="32384"/>
                  </a:cubicBezTo>
                  <a:cubicBezTo>
                    <a:pt x="1003937" y="31114"/>
                    <a:pt x="1007746" y="29844"/>
                    <a:pt x="1011556" y="29844"/>
                  </a:cubicBezTo>
                  <a:close/>
                  <a:moveTo>
                    <a:pt x="4871716" y="29210"/>
                  </a:moveTo>
                  <a:cubicBezTo>
                    <a:pt x="4876796" y="29210"/>
                    <a:pt x="4881241" y="29845"/>
                    <a:pt x="4885686" y="31750"/>
                  </a:cubicBezTo>
                  <a:cubicBezTo>
                    <a:pt x="4890131" y="33655"/>
                    <a:pt x="4894576" y="35560"/>
                    <a:pt x="4897751" y="38100"/>
                  </a:cubicBezTo>
                  <a:lnTo>
                    <a:pt x="4899021" y="38100"/>
                  </a:lnTo>
                  <a:lnTo>
                    <a:pt x="4892036" y="50165"/>
                  </a:lnTo>
                  <a:cubicBezTo>
                    <a:pt x="4888861" y="47625"/>
                    <a:pt x="4885686" y="46355"/>
                    <a:pt x="4882511" y="45085"/>
                  </a:cubicBezTo>
                  <a:cubicBezTo>
                    <a:pt x="4879336" y="43815"/>
                    <a:pt x="4875526" y="43180"/>
                    <a:pt x="4872351" y="43180"/>
                  </a:cubicBezTo>
                  <a:cubicBezTo>
                    <a:pt x="4869176" y="43180"/>
                    <a:pt x="4866001" y="43815"/>
                    <a:pt x="4864096" y="45085"/>
                  </a:cubicBezTo>
                  <a:cubicBezTo>
                    <a:pt x="4862191" y="46355"/>
                    <a:pt x="4861556" y="48260"/>
                    <a:pt x="4861556" y="50165"/>
                  </a:cubicBezTo>
                  <a:cubicBezTo>
                    <a:pt x="4861556" y="51435"/>
                    <a:pt x="4861556" y="52070"/>
                    <a:pt x="4861556" y="52705"/>
                  </a:cubicBezTo>
                  <a:cubicBezTo>
                    <a:pt x="4861556" y="53340"/>
                    <a:pt x="4862826" y="54610"/>
                    <a:pt x="4863461" y="55245"/>
                  </a:cubicBezTo>
                  <a:cubicBezTo>
                    <a:pt x="4864731" y="55880"/>
                    <a:pt x="4866001" y="57150"/>
                    <a:pt x="4867906" y="57785"/>
                  </a:cubicBezTo>
                  <a:cubicBezTo>
                    <a:pt x="4869811" y="59055"/>
                    <a:pt x="4872351" y="59690"/>
                    <a:pt x="4874891" y="60960"/>
                  </a:cubicBezTo>
                  <a:cubicBezTo>
                    <a:pt x="4879336" y="62865"/>
                    <a:pt x="4883146" y="64135"/>
                    <a:pt x="4886321" y="66040"/>
                  </a:cubicBezTo>
                  <a:cubicBezTo>
                    <a:pt x="4889496" y="67310"/>
                    <a:pt x="4892036" y="69215"/>
                    <a:pt x="4894576" y="71120"/>
                  </a:cubicBezTo>
                  <a:cubicBezTo>
                    <a:pt x="4896481" y="73025"/>
                    <a:pt x="4898386" y="75565"/>
                    <a:pt x="4899656" y="78105"/>
                  </a:cubicBezTo>
                  <a:cubicBezTo>
                    <a:pt x="4900926" y="80645"/>
                    <a:pt x="4901561" y="83820"/>
                    <a:pt x="4901561" y="87630"/>
                  </a:cubicBezTo>
                  <a:cubicBezTo>
                    <a:pt x="4901561" y="92075"/>
                    <a:pt x="4900926" y="95250"/>
                    <a:pt x="4899021" y="98425"/>
                  </a:cubicBezTo>
                  <a:cubicBezTo>
                    <a:pt x="4897116" y="101600"/>
                    <a:pt x="4895211" y="103505"/>
                    <a:pt x="4892671" y="105410"/>
                  </a:cubicBezTo>
                  <a:cubicBezTo>
                    <a:pt x="4890131" y="107315"/>
                    <a:pt x="4886956" y="108585"/>
                    <a:pt x="4883146" y="109220"/>
                  </a:cubicBezTo>
                  <a:cubicBezTo>
                    <a:pt x="4879336" y="109855"/>
                    <a:pt x="4876161" y="110490"/>
                    <a:pt x="4872351" y="110490"/>
                  </a:cubicBezTo>
                  <a:cubicBezTo>
                    <a:pt x="4867271" y="110490"/>
                    <a:pt x="4862191" y="109855"/>
                    <a:pt x="4857111" y="107950"/>
                  </a:cubicBezTo>
                  <a:cubicBezTo>
                    <a:pt x="4851396" y="106045"/>
                    <a:pt x="4846951" y="103505"/>
                    <a:pt x="4842506" y="100965"/>
                  </a:cubicBezTo>
                  <a:lnTo>
                    <a:pt x="4849491" y="89535"/>
                  </a:lnTo>
                  <a:cubicBezTo>
                    <a:pt x="4853301" y="92075"/>
                    <a:pt x="4857111" y="93980"/>
                    <a:pt x="4860921" y="95250"/>
                  </a:cubicBezTo>
                  <a:cubicBezTo>
                    <a:pt x="4864731" y="96520"/>
                    <a:pt x="4868541" y="97155"/>
                    <a:pt x="4872351" y="97155"/>
                  </a:cubicBezTo>
                  <a:cubicBezTo>
                    <a:pt x="4877431" y="97155"/>
                    <a:pt x="4880606" y="96520"/>
                    <a:pt x="4883146" y="94615"/>
                  </a:cubicBezTo>
                  <a:cubicBezTo>
                    <a:pt x="4885686" y="93345"/>
                    <a:pt x="4886321" y="90805"/>
                    <a:pt x="4886321" y="88265"/>
                  </a:cubicBezTo>
                  <a:cubicBezTo>
                    <a:pt x="4886321" y="86995"/>
                    <a:pt x="4886321" y="85725"/>
                    <a:pt x="4885051" y="84455"/>
                  </a:cubicBezTo>
                  <a:cubicBezTo>
                    <a:pt x="4884416" y="83185"/>
                    <a:pt x="4883146" y="82550"/>
                    <a:pt x="4881241" y="81280"/>
                  </a:cubicBezTo>
                  <a:cubicBezTo>
                    <a:pt x="4879971" y="80010"/>
                    <a:pt x="4878066" y="79375"/>
                    <a:pt x="4875526" y="78105"/>
                  </a:cubicBezTo>
                  <a:cubicBezTo>
                    <a:pt x="4872986" y="77470"/>
                    <a:pt x="4871081" y="76200"/>
                    <a:pt x="4867906" y="74930"/>
                  </a:cubicBezTo>
                  <a:cubicBezTo>
                    <a:pt x="4863461" y="73025"/>
                    <a:pt x="4860286" y="71755"/>
                    <a:pt x="4857111" y="69850"/>
                  </a:cubicBezTo>
                  <a:cubicBezTo>
                    <a:pt x="4853936" y="67945"/>
                    <a:pt x="4852031" y="66675"/>
                    <a:pt x="4850126" y="64770"/>
                  </a:cubicBezTo>
                  <a:cubicBezTo>
                    <a:pt x="4848221" y="62865"/>
                    <a:pt x="4846951" y="60960"/>
                    <a:pt x="4846316" y="58420"/>
                  </a:cubicBezTo>
                  <a:cubicBezTo>
                    <a:pt x="4845681" y="55880"/>
                    <a:pt x="4845046" y="53340"/>
                    <a:pt x="4845046" y="50165"/>
                  </a:cubicBezTo>
                  <a:cubicBezTo>
                    <a:pt x="4845046" y="46990"/>
                    <a:pt x="4845681" y="43815"/>
                    <a:pt x="4846951" y="40640"/>
                  </a:cubicBezTo>
                  <a:cubicBezTo>
                    <a:pt x="4848221" y="38100"/>
                    <a:pt x="4850126" y="35560"/>
                    <a:pt x="4852666" y="34290"/>
                  </a:cubicBezTo>
                  <a:cubicBezTo>
                    <a:pt x="4855206" y="32385"/>
                    <a:pt x="4857746" y="31115"/>
                    <a:pt x="4860921" y="30480"/>
                  </a:cubicBezTo>
                  <a:cubicBezTo>
                    <a:pt x="4864096" y="29845"/>
                    <a:pt x="4867906" y="29210"/>
                    <a:pt x="4871716" y="29210"/>
                  </a:cubicBezTo>
                  <a:close/>
                  <a:moveTo>
                    <a:pt x="4749796" y="29210"/>
                  </a:moveTo>
                  <a:cubicBezTo>
                    <a:pt x="4752971" y="29210"/>
                    <a:pt x="4755511" y="29210"/>
                    <a:pt x="4757416" y="29845"/>
                  </a:cubicBezTo>
                  <a:cubicBezTo>
                    <a:pt x="4759321" y="30480"/>
                    <a:pt x="4761226" y="31115"/>
                    <a:pt x="4763131" y="32385"/>
                  </a:cubicBezTo>
                  <a:lnTo>
                    <a:pt x="4759321" y="46990"/>
                  </a:lnTo>
                  <a:lnTo>
                    <a:pt x="4758051" y="46990"/>
                  </a:lnTo>
                  <a:cubicBezTo>
                    <a:pt x="4758051" y="46990"/>
                    <a:pt x="4754876" y="45085"/>
                    <a:pt x="4752971" y="45085"/>
                  </a:cubicBezTo>
                  <a:cubicBezTo>
                    <a:pt x="4751066" y="45085"/>
                    <a:pt x="4749161" y="44450"/>
                    <a:pt x="4746621" y="44450"/>
                  </a:cubicBezTo>
                  <a:cubicBezTo>
                    <a:pt x="4741541" y="44450"/>
                    <a:pt x="4737731" y="46355"/>
                    <a:pt x="4735191" y="49530"/>
                  </a:cubicBezTo>
                  <a:cubicBezTo>
                    <a:pt x="4732651" y="52705"/>
                    <a:pt x="4731381" y="57785"/>
                    <a:pt x="4731381" y="64770"/>
                  </a:cubicBezTo>
                  <a:lnTo>
                    <a:pt x="4731381" y="109220"/>
                  </a:lnTo>
                  <a:lnTo>
                    <a:pt x="4716141" y="109220"/>
                  </a:lnTo>
                  <a:lnTo>
                    <a:pt x="4716141" y="31115"/>
                  </a:lnTo>
                  <a:lnTo>
                    <a:pt x="4731381" y="31115"/>
                  </a:lnTo>
                  <a:lnTo>
                    <a:pt x="4731381" y="38735"/>
                  </a:lnTo>
                  <a:cubicBezTo>
                    <a:pt x="4731381" y="38735"/>
                    <a:pt x="4733286" y="36195"/>
                    <a:pt x="4734556" y="34925"/>
                  </a:cubicBezTo>
                  <a:cubicBezTo>
                    <a:pt x="4735826" y="33655"/>
                    <a:pt x="4737096" y="33020"/>
                    <a:pt x="4739001" y="31750"/>
                  </a:cubicBezTo>
                  <a:cubicBezTo>
                    <a:pt x="4740271" y="31115"/>
                    <a:pt x="4742176" y="30480"/>
                    <a:pt x="4744081" y="29845"/>
                  </a:cubicBezTo>
                  <a:cubicBezTo>
                    <a:pt x="4745986" y="29845"/>
                    <a:pt x="4747891" y="29210"/>
                    <a:pt x="4749796" y="29210"/>
                  </a:cubicBezTo>
                  <a:close/>
                  <a:moveTo>
                    <a:pt x="4349110" y="29210"/>
                  </a:moveTo>
                  <a:cubicBezTo>
                    <a:pt x="4352285" y="29210"/>
                    <a:pt x="4354825" y="29210"/>
                    <a:pt x="4356730" y="29845"/>
                  </a:cubicBezTo>
                  <a:cubicBezTo>
                    <a:pt x="4358635" y="29845"/>
                    <a:pt x="4360540" y="31115"/>
                    <a:pt x="4362445" y="32385"/>
                  </a:cubicBezTo>
                  <a:lnTo>
                    <a:pt x="4358635" y="46990"/>
                  </a:lnTo>
                  <a:lnTo>
                    <a:pt x="4357365" y="46990"/>
                  </a:lnTo>
                  <a:cubicBezTo>
                    <a:pt x="4357365" y="46990"/>
                    <a:pt x="4354190" y="45085"/>
                    <a:pt x="4352285" y="45085"/>
                  </a:cubicBezTo>
                  <a:cubicBezTo>
                    <a:pt x="4350380" y="45085"/>
                    <a:pt x="4348475" y="44450"/>
                    <a:pt x="4345935" y="44450"/>
                  </a:cubicBezTo>
                  <a:cubicBezTo>
                    <a:pt x="4340855" y="44450"/>
                    <a:pt x="4337045" y="46355"/>
                    <a:pt x="4334505" y="49530"/>
                  </a:cubicBezTo>
                  <a:cubicBezTo>
                    <a:pt x="4331965" y="52705"/>
                    <a:pt x="4330695" y="57785"/>
                    <a:pt x="4330695" y="64770"/>
                  </a:cubicBezTo>
                  <a:lnTo>
                    <a:pt x="4330695" y="109220"/>
                  </a:lnTo>
                  <a:lnTo>
                    <a:pt x="4315455" y="109220"/>
                  </a:lnTo>
                  <a:lnTo>
                    <a:pt x="4315455" y="31115"/>
                  </a:lnTo>
                  <a:lnTo>
                    <a:pt x="4330695" y="31115"/>
                  </a:lnTo>
                  <a:lnTo>
                    <a:pt x="4330695" y="38735"/>
                  </a:lnTo>
                  <a:cubicBezTo>
                    <a:pt x="4330695" y="38735"/>
                    <a:pt x="4332600" y="36195"/>
                    <a:pt x="4333870" y="34925"/>
                  </a:cubicBezTo>
                  <a:cubicBezTo>
                    <a:pt x="4335140" y="33655"/>
                    <a:pt x="4336410" y="33020"/>
                    <a:pt x="4338315" y="31750"/>
                  </a:cubicBezTo>
                  <a:cubicBezTo>
                    <a:pt x="4339585" y="31115"/>
                    <a:pt x="4341490" y="30480"/>
                    <a:pt x="4343395" y="29845"/>
                  </a:cubicBezTo>
                  <a:cubicBezTo>
                    <a:pt x="4345300" y="29845"/>
                    <a:pt x="4347205" y="29210"/>
                    <a:pt x="4349110" y="29210"/>
                  </a:cubicBezTo>
                  <a:close/>
                  <a:moveTo>
                    <a:pt x="4044310" y="29210"/>
                  </a:moveTo>
                  <a:cubicBezTo>
                    <a:pt x="4050025" y="29210"/>
                    <a:pt x="4054470" y="30480"/>
                    <a:pt x="4058915" y="32385"/>
                  </a:cubicBezTo>
                  <a:cubicBezTo>
                    <a:pt x="4062725" y="34290"/>
                    <a:pt x="4066535" y="37465"/>
                    <a:pt x="4069075" y="40640"/>
                  </a:cubicBezTo>
                  <a:cubicBezTo>
                    <a:pt x="4071615" y="44450"/>
                    <a:pt x="4073520" y="48260"/>
                    <a:pt x="4075425" y="53340"/>
                  </a:cubicBezTo>
                  <a:cubicBezTo>
                    <a:pt x="4076695" y="57785"/>
                    <a:pt x="4077330" y="62865"/>
                    <a:pt x="4077330" y="68580"/>
                  </a:cubicBezTo>
                  <a:lnTo>
                    <a:pt x="4076060" y="68580"/>
                  </a:lnTo>
                  <a:cubicBezTo>
                    <a:pt x="4076060" y="68580"/>
                    <a:pt x="4076060" y="71120"/>
                    <a:pt x="4076060" y="72390"/>
                  </a:cubicBezTo>
                  <a:cubicBezTo>
                    <a:pt x="4076060" y="73660"/>
                    <a:pt x="4076060" y="74295"/>
                    <a:pt x="4076060" y="75565"/>
                  </a:cubicBezTo>
                  <a:lnTo>
                    <a:pt x="4024625" y="75565"/>
                  </a:lnTo>
                  <a:cubicBezTo>
                    <a:pt x="4024625" y="79375"/>
                    <a:pt x="4025895" y="82550"/>
                    <a:pt x="4027165" y="85090"/>
                  </a:cubicBezTo>
                  <a:cubicBezTo>
                    <a:pt x="4028435" y="87630"/>
                    <a:pt x="4029705" y="90170"/>
                    <a:pt x="4031610" y="91440"/>
                  </a:cubicBezTo>
                  <a:cubicBezTo>
                    <a:pt x="4033515" y="93345"/>
                    <a:pt x="4035420" y="94615"/>
                    <a:pt x="4037325" y="95250"/>
                  </a:cubicBezTo>
                  <a:cubicBezTo>
                    <a:pt x="4039230" y="95885"/>
                    <a:pt x="4041770" y="96520"/>
                    <a:pt x="4044310" y="96520"/>
                  </a:cubicBezTo>
                  <a:cubicBezTo>
                    <a:pt x="4046215" y="96520"/>
                    <a:pt x="4047485" y="96520"/>
                    <a:pt x="4049390" y="96520"/>
                  </a:cubicBezTo>
                  <a:cubicBezTo>
                    <a:pt x="4050660" y="96520"/>
                    <a:pt x="4052565" y="95885"/>
                    <a:pt x="4053835" y="95250"/>
                  </a:cubicBezTo>
                  <a:cubicBezTo>
                    <a:pt x="4055105" y="95250"/>
                    <a:pt x="4056375" y="93980"/>
                    <a:pt x="4057645" y="93345"/>
                  </a:cubicBezTo>
                  <a:cubicBezTo>
                    <a:pt x="4058915" y="93345"/>
                    <a:pt x="4060185" y="92075"/>
                    <a:pt x="4062090" y="90805"/>
                  </a:cubicBezTo>
                  <a:lnTo>
                    <a:pt x="4070980" y="100330"/>
                  </a:lnTo>
                  <a:cubicBezTo>
                    <a:pt x="4070980" y="100330"/>
                    <a:pt x="4067170" y="103505"/>
                    <a:pt x="4065265" y="104775"/>
                  </a:cubicBezTo>
                  <a:cubicBezTo>
                    <a:pt x="4063360" y="106045"/>
                    <a:pt x="4061455" y="106680"/>
                    <a:pt x="4059550" y="107950"/>
                  </a:cubicBezTo>
                  <a:cubicBezTo>
                    <a:pt x="4057645" y="108585"/>
                    <a:pt x="4055105" y="109855"/>
                    <a:pt x="4052565" y="109855"/>
                  </a:cubicBezTo>
                  <a:cubicBezTo>
                    <a:pt x="4050025" y="109855"/>
                    <a:pt x="4046850" y="110490"/>
                    <a:pt x="4043675" y="110490"/>
                  </a:cubicBezTo>
                  <a:cubicBezTo>
                    <a:pt x="4040500" y="110490"/>
                    <a:pt x="4037325" y="110490"/>
                    <a:pt x="4034150" y="109220"/>
                  </a:cubicBezTo>
                  <a:cubicBezTo>
                    <a:pt x="4030975" y="108585"/>
                    <a:pt x="4028435" y="107315"/>
                    <a:pt x="4026530" y="105410"/>
                  </a:cubicBezTo>
                  <a:cubicBezTo>
                    <a:pt x="4023990" y="104140"/>
                    <a:pt x="4022085" y="102235"/>
                    <a:pt x="4020180" y="100330"/>
                  </a:cubicBezTo>
                  <a:cubicBezTo>
                    <a:pt x="4018275" y="98425"/>
                    <a:pt x="4016370" y="95885"/>
                    <a:pt x="4015100" y="92710"/>
                  </a:cubicBezTo>
                  <a:cubicBezTo>
                    <a:pt x="4013195" y="89535"/>
                    <a:pt x="4011925" y="86360"/>
                    <a:pt x="4011290" y="82550"/>
                  </a:cubicBezTo>
                  <a:cubicBezTo>
                    <a:pt x="4010655" y="78740"/>
                    <a:pt x="4010020" y="74295"/>
                    <a:pt x="4010020" y="69850"/>
                  </a:cubicBezTo>
                  <a:cubicBezTo>
                    <a:pt x="4010020" y="63500"/>
                    <a:pt x="4010655" y="57150"/>
                    <a:pt x="4012560" y="52070"/>
                  </a:cubicBezTo>
                  <a:cubicBezTo>
                    <a:pt x="4014465" y="46990"/>
                    <a:pt x="4016370" y="42545"/>
                    <a:pt x="4019545" y="39370"/>
                  </a:cubicBezTo>
                  <a:cubicBezTo>
                    <a:pt x="4022720" y="36195"/>
                    <a:pt x="4025895" y="33020"/>
                    <a:pt x="4030340" y="31750"/>
                  </a:cubicBezTo>
                  <a:cubicBezTo>
                    <a:pt x="4034785" y="29845"/>
                    <a:pt x="4039230" y="29210"/>
                    <a:pt x="4044310" y="29210"/>
                  </a:cubicBezTo>
                  <a:close/>
                  <a:moveTo>
                    <a:pt x="3811900" y="29210"/>
                  </a:moveTo>
                  <a:cubicBezTo>
                    <a:pt x="3815075" y="29210"/>
                    <a:pt x="3817615" y="29210"/>
                    <a:pt x="3819520" y="29845"/>
                  </a:cubicBezTo>
                  <a:cubicBezTo>
                    <a:pt x="3821425" y="29845"/>
                    <a:pt x="3823330" y="31115"/>
                    <a:pt x="3825235" y="32385"/>
                  </a:cubicBezTo>
                  <a:lnTo>
                    <a:pt x="3821425" y="46990"/>
                  </a:lnTo>
                  <a:lnTo>
                    <a:pt x="3820155" y="46990"/>
                  </a:lnTo>
                  <a:cubicBezTo>
                    <a:pt x="3820155" y="46990"/>
                    <a:pt x="3816980" y="45085"/>
                    <a:pt x="3815075" y="45085"/>
                  </a:cubicBezTo>
                  <a:cubicBezTo>
                    <a:pt x="3813170" y="45085"/>
                    <a:pt x="3811265" y="44450"/>
                    <a:pt x="3808725" y="44450"/>
                  </a:cubicBezTo>
                  <a:cubicBezTo>
                    <a:pt x="3803645" y="44450"/>
                    <a:pt x="3799835" y="46355"/>
                    <a:pt x="3797295" y="49530"/>
                  </a:cubicBezTo>
                  <a:cubicBezTo>
                    <a:pt x="3794755" y="52705"/>
                    <a:pt x="3793485" y="57785"/>
                    <a:pt x="3793485" y="64770"/>
                  </a:cubicBezTo>
                  <a:lnTo>
                    <a:pt x="3793485" y="109220"/>
                  </a:lnTo>
                  <a:lnTo>
                    <a:pt x="3778245" y="109220"/>
                  </a:lnTo>
                  <a:lnTo>
                    <a:pt x="3778245" y="31115"/>
                  </a:lnTo>
                  <a:lnTo>
                    <a:pt x="3793485" y="31115"/>
                  </a:lnTo>
                  <a:lnTo>
                    <a:pt x="3793485" y="38735"/>
                  </a:lnTo>
                  <a:cubicBezTo>
                    <a:pt x="3793485" y="38735"/>
                    <a:pt x="3795390" y="36195"/>
                    <a:pt x="3796660" y="34925"/>
                  </a:cubicBezTo>
                  <a:cubicBezTo>
                    <a:pt x="3797930" y="33655"/>
                    <a:pt x="3799200" y="33020"/>
                    <a:pt x="3801105" y="31750"/>
                  </a:cubicBezTo>
                  <a:cubicBezTo>
                    <a:pt x="3802375" y="31115"/>
                    <a:pt x="3804280" y="30480"/>
                    <a:pt x="3806185" y="29845"/>
                  </a:cubicBezTo>
                  <a:cubicBezTo>
                    <a:pt x="3808090" y="29845"/>
                    <a:pt x="3809995" y="29210"/>
                    <a:pt x="3811900" y="29210"/>
                  </a:cubicBezTo>
                  <a:close/>
                  <a:moveTo>
                    <a:pt x="3729986" y="29210"/>
                  </a:moveTo>
                  <a:cubicBezTo>
                    <a:pt x="3735701" y="29210"/>
                    <a:pt x="3740146" y="30480"/>
                    <a:pt x="3744591" y="32385"/>
                  </a:cubicBezTo>
                  <a:cubicBezTo>
                    <a:pt x="3748401" y="34290"/>
                    <a:pt x="3752211" y="37465"/>
                    <a:pt x="3754751" y="40640"/>
                  </a:cubicBezTo>
                  <a:cubicBezTo>
                    <a:pt x="3757291" y="44450"/>
                    <a:pt x="3759196" y="48260"/>
                    <a:pt x="3761101" y="53340"/>
                  </a:cubicBezTo>
                  <a:cubicBezTo>
                    <a:pt x="3762371" y="57785"/>
                    <a:pt x="3763006" y="62865"/>
                    <a:pt x="3763006" y="68580"/>
                  </a:cubicBezTo>
                  <a:lnTo>
                    <a:pt x="3761736" y="68580"/>
                  </a:lnTo>
                  <a:cubicBezTo>
                    <a:pt x="3761736" y="68580"/>
                    <a:pt x="3761736" y="71120"/>
                    <a:pt x="3761736" y="72390"/>
                  </a:cubicBezTo>
                  <a:cubicBezTo>
                    <a:pt x="3761736" y="73660"/>
                    <a:pt x="3761736" y="74295"/>
                    <a:pt x="3761736" y="75565"/>
                  </a:cubicBezTo>
                  <a:lnTo>
                    <a:pt x="3710301" y="75565"/>
                  </a:lnTo>
                  <a:cubicBezTo>
                    <a:pt x="3710301" y="79375"/>
                    <a:pt x="3711571" y="82550"/>
                    <a:pt x="3712841" y="85090"/>
                  </a:cubicBezTo>
                  <a:cubicBezTo>
                    <a:pt x="3714111" y="87630"/>
                    <a:pt x="3715381" y="90170"/>
                    <a:pt x="3717286" y="91440"/>
                  </a:cubicBezTo>
                  <a:cubicBezTo>
                    <a:pt x="3719191" y="93345"/>
                    <a:pt x="3721096" y="94615"/>
                    <a:pt x="3723001" y="95250"/>
                  </a:cubicBezTo>
                  <a:cubicBezTo>
                    <a:pt x="3724906" y="95885"/>
                    <a:pt x="3727446" y="96520"/>
                    <a:pt x="3729986" y="96520"/>
                  </a:cubicBezTo>
                  <a:cubicBezTo>
                    <a:pt x="3731891" y="96520"/>
                    <a:pt x="3733161" y="96520"/>
                    <a:pt x="3735066" y="96520"/>
                  </a:cubicBezTo>
                  <a:cubicBezTo>
                    <a:pt x="3736336" y="96520"/>
                    <a:pt x="3738241" y="95885"/>
                    <a:pt x="3739511" y="95250"/>
                  </a:cubicBezTo>
                  <a:cubicBezTo>
                    <a:pt x="3740781" y="95250"/>
                    <a:pt x="3742051" y="93980"/>
                    <a:pt x="3743321" y="93345"/>
                  </a:cubicBezTo>
                  <a:cubicBezTo>
                    <a:pt x="3744591" y="93345"/>
                    <a:pt x="3745861" y="92075"/>
                    <a:pt x="3747766" y="90805"/>
                  </a:cubicBezTo>
                  <a:lnTo>
                    <a:pt x="3756656" y="100330"/>
                  </a:lnTo>
                  <a:cubicBezTo>
                    <a:pt x="3756656" y="100330"/>
                    <a:pt x="3752846" y="103505"/>
                    <a:pt x="3750941" y="104775"/>
                  </a:cubicBezTo>
                  <a:cubicBezTo>
                    <a:pt x="3749036" y="106045"/>
                    <a:pt x="3747131" y="106680"/>
                    <a:pt x="3745226" y="107950"/>
                  </a:cubicBezTo>
                  <a:cubicBezTo>
                    <a:pt x="3743321" y="108585"/>
                    <a:pt x="3740781" y="109855"/>
                    <a:pt x="3738241" y="109855"/>
                  </a:cubicBezTo>
                  <a:cubicBezTo>
                    <a:pt x="3735701" y="109855"/>
                    <a:pt x="3732526" y="110490"/>
                    <a:pt x="3729351" y="110490"/>
                  </a:cubicBezTo>
                  <a:cubicBezTo>
                    <a:pt x="3726176" y="110490"/>
                    <a:pt x="3723001" y="110490"/>
                    <a:pt x="3719826" y="109220"/>
                  </a:cubicBezTo>
                  <a:cubicBezTo>
                    <a:pt x="3716651" y="108585"/>
                    <a:pt x="3714111" y="107315"/>
                    <a:pt x="3712206" y="105410"/>
                  </a:cubicBezTo>
                  <a:cubicBezTo>
                    <a:pt x="3709666" y="104140"/>
                    <a:pt x="3707761" y="102235"/>
                    <a:pt x="3705856" y="100330"/>
                  </a:cubicBezTo>
                  <a:cubicBezTo>
                    <a:pt x="3703951" y="98425"/>
                    <a:pt x="3702046" y="95885"/>
                    <a:pt x="3700776" y="92710"/>
                  </a:cubicBezTo>
                  <a:cubicBezTo>
                    <a:pt x="3698871" y="89535"/>
                    <a:pt x="3697601" y="86360"/>
                    <a:pt x="3696966" y="82550"/>
                  </a:cubicBezTo>
                  <a:cubicBezTo>
                    <a:pt x="3696331" y="78740"/>
                    <a:pt x="3695696" y="74295"/>
                    <a:pt x="3695696" y="69850"/>
                  </a:cubicBezTo>
                  <a:cubicBezTo>
                    <a:pt x="3695696" y="63500"/>
                    <a:pt x="3696331" y="57150"/>
                    <a:pt x="3698236" y="52070"/>
                  </a:cubicBezTo>
                  <a:cubicBezTo>
                    <a:pt x="3700141" y="46990"/>
                    <a:pt x="3702046" y="42545"/>
                    <a:pt x="3705221" y="39370"/>
                  </a:cubicBezTo>
                  <a:cubicBezTo>
                    <a:pt x="3708396" y="36195"/>
                    <a:pt x="3711571" y="33020"/>
                    <a:pt x="3716016" y="31750"/>
                  </a:cubicBezTo>
                  <a:cubicBezTo>
                    <a:pt x="3720461" y="29845"/>
                    <a:pt x="3724906" y="29210"/>
                    <a:pt x="3729986" y="29210"/>
                  </a:cubicBezTo>
                  <a:close/>
                  <a:moveTo>
                    <a:pt x="3543296" y="29210"/>
                  </a:moveTo>
                  <a:cubicBezTo>
                    <a:pt x="3549011" y="29210"/>
                    <a:pt x="3553456" y="30480"/>
                    <a:pt x="3557901" y="32385"/>
                  </a:cubicBezTo>
                  <a:cubicBezTo>
                    <a:pt x="3561711" y="34290"/>
                    <a:pt x="3565521" y="37465"/>
                    <a:pt x="3568061" y="40640"/>
                  </a:cubicBezTo>
                  <a:cubicBezTo>
                    <a:pt x="3570601" y="44450"/>
                    <a:pt x="3572506" y="48260"/>
                    <a:pt x="3574411" y="53340"/>
                  </a:cubicBezTo>
                  <a:cubicBezTo>
                    <a:pt x="3575681" y="57785"/>
                    <a:pt x="3576316" y="62865"/>
                    <a:pt x="3576316" y="68580"/>
                  </a:cubicBezTo>
                  <a:lnTo>
                    <a:pt x="3575046" y="68580"/>
                  </a:lnTo>
                  <a:cubicBezTo>
                    <a:pt x="3575046" y="68580"/>
                    <a:pt x="3575046" y="71120"/>
                    <a:pt x="3575046" y="72390"/>
                  </a:cubicBezTo>
                  <a:cubicBezTo>
                    <a:pt x="3575046" y="73660"/>
                    <a:pt x="3575046" y="74295"/>
                    <a:pt x="3575046" y="75565"/>
                  </a:cubicBezTo>
                  <a:lnTo>
                    <a:pt x="3523611" y="75565"/>
                  </a:lnTo>
                  <a:cubicBezTo>
                    <a:pt x="3523611" y="79375"/>
                    <a:pt x="3524881" y="82550"/>
                    <a:pt x="3526151" y="85090"/>
                  </a:cubicBezTo>
                  <a:cubicBezTo>
                    <a:pt x="3527421" y="87630"/>
                    <a:pt x="3528691" y="90170"/>
                    <a:pt x="3530596" y="91440"/>
                  </a:cubicBezTo>
                  <a:cubicBezTo>
                    <a:pt x="3532501" y="93345"/>
                    <a:pt x="3534406" y="94615"/>
                    <a:pt x="3536311" y="95250"/>
                  </a:cubicBezTo>
                  <a:cubicBezTo>
                    <a:pt x="3538216" y="95885"/>
                    <a:pt x="3540756" y="96520"/>
                    <a:pt x="3543296" y="96520"/>
                  </a:cubicBezTo>
                  <a:cubicBezTo>
                    <a:pt x="3545201" y="96520"/>
                    <a:pt x="3546471" y="96520"/>
                    <a:pt x="3548376" y="96520"/>
                  </a:cubicBezTo>
                  <a:cubicBezTo>
                    <a:pt x="3549646" y="96520"/>
                    <a:pt x="3551551" y="95885"/>
                    <a:pt x="3552821" y="95250"/>
                  </a:cubicBezTo>
                  <a:cubicBezTo>
                    <a:pt x="3554091" y="95250"/>
                    <a:pt x="3555361" y="93980"/>
                    <a:pt x="3556631" y="93345"/>
                  </a:cubicBezTo>
                  <a:cubicBezTo>
                    <a:pt x="3557901" y="93345"/>
                    <a:pt x="3559171" y="92075"/>
                    <a:pt x="3561076" y="90805"/>
                  </a:cubicBezTo>
                  <a:lnTo>
                    <a:pt x="3569966" y="100330"/>
                  </a:lnTo>
                  <a:cubicBezTo>
                    <a:pt x="3569966" y="100330"/>
                    <a:pt x="3566156" y="103505"/>
                    <a:pt x="3564251" y="104775"/>
                  </a:cubicBezTo>
                  <a:cubicBezTo>
                    <a:pt x="3562346" y="106045"/>
                    <a:pt x="3560441" y="106680"/>
                    <a:pt x="3558536" y="107950"/>
                  </a:cubicBezTo>
                  <a:cubicBezTo>
                    <a:pt x="3556631" y="108585"/>
                    <a:pt x="3554091" y="109855"/>
                    <a:pt x="3551551" y="109855"/>
                  </a:cubicBezTo>
                  <a:cubicBezTo>
                    <a:pt x="3549011" y="109855"/>
                    <a:pt x="3545836" y="110490"/>
                    <a:pt x="3542661" y="110490"/>
                  </a:cubicBezTo>
                  <a:cubicBezTo>
                    <a:pt x="3539486" y="110490"/>
                    <a:pt x="3536311" y="110490"/>
                    <a:pt x="3533136" y="109220"/>
                  </a:cubicBezTo>
                  <a:cubicBezTo>
                    <a:pt x="3529961" y="108585"/>
                    <a:pt x="3527421" y="107315"/>
                    <a:pt x="3525516" y="105410"/>
                  </a:cubicBezTo>
                  <a:cubicBezTo>
                    <a:pt x="3522976" y="104140"/>
                    <a:pt x="3521071" y="102235"/>
                    <a:pt x="3519166" y="100330"/>
                  </a:cubicBezTo>
                  <a:cubicBezTo>
                    <a:pt x="3517261" y="98425"/>
                    <a:pt x="3515356" y="95885"/>
                    <a:pt x="3514086" y="92710"/>
                  </a:cubicBezTo>
                  <a:cubicBezTo>
                    <a:pt x="3512181" y="89535"/>
                    <a:pt x="3510911" y="86360"/>
                    <a:pt x="3510276" y="82550"/>
                  </a:cubicBezTo>
                  <a:cubicBezTo>
                    <a:pt x="3509641" y="78740"/>
                    <a:pt x="3509006" y="74295"/>
                    <a:pt x="3509006" y="69850"/>
                  </a:cubicBezTo>
                  <a:cubicBezTo>
                    <a:pt x="3509006" y="63500"/>
                    <a:pt x="3509641" y="57150"/>
                    <a:pt x="3511546" y="52070"/>
                  </a:cubicBezTo>
                  <a:cubicBezTo>
                    <a:pt x="3513451" y="46990"/>
                    <a:pt x="3515356" y="42545"/>
                    <a:pt x="3518531" y="39370"/>
                  </a:cubicBezTo>
                  <a:cubicBezTo>
                    <a:pt x="3521706" y="36195"/>
                    <a:pt x="3524881" y="33020"/>
                    <a:pt x="3529326" y="31750"/>
                  </a:cubicBezTo>
                  <a:cubicBezTo>
                    <a:pt x="3533771" y="29845"/>
                    <a:pt x="3538216" y="29210"/>
                    <a:pt x="3543296" y="29210"/>
                  </a:cubicBezTo>
                  <a:close/>
                  <a:moveTo>
                    <a:pt x="3345176" y="29210"/>
                  </a:moveTo>
                  <a:cubicBezTo>
                    <a:pt x="3350891" y="29210"/>
                    <a:pt x="3355336" y="30480"/>
                    <a:pt x="3359781" y="32385"/>
                  </a:cubicBezTo>
                  <a:cubicBezTo>
                    <a:pt x="3363591" y="34290"/>
                    <a:pt x="3367401" y="37465"/>
                    <a:pt x="3369941" y="40640"/>
                  </a:cubicBezTo>
                  <a:cubicBezTo>
                    <a:pt x="3372481" y="44450"/>
                    <a:pt x="3374386" y="48260"/>
                    <a:pt x="3376291" y="53340"/>
                  </a:cubicBezTo>
                  <a:cubicBezTo>
                    <a:pt x="3377561" y="57785"/>
                    <a:pt x="3378196" y="62865"/>
                    <a:pt x="3378196" y="68580"/>
                  </a:cubicBezTo>
                  <a:lnTo>
                    <a:pt x="3376926" y="68580"/>
                  </a:lnTo>
                  <a:cubicBezTo>
                    <a:pt x="3376926" y="68580"/>
                    <a:pt x="3376926" y="71120"/>
                    <a:pt x="3376926" y="72390"/>
                  </a:cubicBezTo>
                  <a:cubicBezTo>
                    <a:pt x="3376926" y="73660"/>
                    <a:pt x="3376926" y="74295"/>
                    <a:pt x="3376926" y="75565"/>
                  </a:cubicBezTo>
                  <a:lnTo>
                    <a:pt x="3325491" y="75565"/>
                  </a:lnTo>
                  <a:cubicBezTo>
                    <a:pt x="3325491" y="79375"/>
                    <a:pt x="3326761" y="82550"/>
                    <a:pt x="3328031" y="85090"/>
                  </a:cubicBezTo>
                  <a:cubicBezTo>
                    <a:pt x="3329301" y="87630"/>
                    <a:pt x="3330571" y="90170"/>
                    <a:pt x="3332476" y="91440"/>
                  </a:cubicBezTo>
                  <a:cubicBezTo>
                    <a:pt x="3334381" y="93345"/>
                    <a:pt x="3336286" y="94615"/>
                    <a:pt x="3338191" y="95250"/>
                  </a:cubicBezTo>
                  <a:cubicBezTo>
                    <a:pt x="3340096" y="95885"/>
                    <a:pt x="3342636" y="96520"/>
                    <a:pt x="3345176" y="96520"/>
                  </a:cubicBezTo>
                  <a:cubicBezTo>
                    <a:pt x="3347081" y="96520"/>
                    <a:pt x="3348351" y="96520"/>
                    <a:pt x="3350256" y="96520"/>
                  </a:cubicBezTo>
                  <a:cubicBezTo>
                    <a:pt x="3351526" y="96520"/>
                    <a:pt x="3353431" y="95885"/>
                    <a:pt x="3354701" y="95250"/>
                  </a:cubicBezTo>
                  <a:cubicBezTo>
                    <a:pt x="3355971" y="95250"/>
                    <a:pt x="3357241" y="93980"/>
                    <a:pt x="3358511" y="93345"/>
                  </a:cubicBezTo>
                  <a:cubicBezTo>
                    <a:pt x="3359781" y="93345"/>
                    <a:pt x="3361051" y="92075"/>
                    <a:pt x="3362956" y="90805"/>
                  </a:cubicBezTo>
                  <a:lnTo>
                    <a:pt x="3371846" y="100330"/>
                  </a:lnTo>
                  <a:cubicBezTo>
                    <a:pt x="3371846" y="100330"/>
                    <a:pt x="3368036" y="103505"/>
                    <a:pt x="3366131" y="104775"/>
                  </a:cubicBezTo>
                  <a:cubicBezTo>
                    <a:pt x="3364226" y="106045"/>
                    <a:pt x="3362321" y="106680"/>
                    <a:pt x="3360416" y="107950"/>
                  </a:cubicBezTo>
                  <a:cubicBezTo>
                    <a:pt x="3358511" y="108585"/>
                    <a:pt x="3355971" y="109855"/>
                    <a:pt x="3353431" y="109855"/>
                  </a:cubicBezTo>
                  <a:cubicBezTo>
                    <a:pt x="3350891" y="109855"/>
                    <a:pt x="3347716" y="110490"/>
                    <a:pt x="3344541" y="110490"/>
                  </a:cubicBezTo>
                  <a:cubicBezTo>
                    <a:pt x="3341366" y="110490"/>
                    <a:pt x="3338191" y="110490"/>
                    <a:pt x="3335016" y="109220"/>
                  </a:cubicBezTo>
                  <a:cubicBezTo>
                    <a:pt x="3331841" y="108585"/>
                    <a:pt x="3329301" y="107315"/>
                    <a:pt x="3327396" y="105410"/>
                  </a:cubicBezTo>
                  <a:cubicBezTo>
                    <a:pt x="3324856" y="104140"/>
                    <a:pt x="3322951" y="102235"/>
                    <a:pt x="3321046" y="100330"/>
                  </a:cubicBezTo>
                  <a:cubicBezTo>
                    <a:pt x="3319141" y="98425"/>
                    <a:pt x="3317236" y="95885"/>
                    <a:pt x="3315966" y="92710"/>
                  </a:cubicBezTo>
                  <a:cubicBezTo>
                    <a:pt x="3314061" y="89535"/>
                    <a:pt x="3312791" y="86360"/>
                    <a:pt x="3312156" y="82550"/>
                  </a:cubicBezTo>
                  <a:cubicBezTo>
                    <a:pt x="3311521" y="78740"/>
                    <a:pt x="3310886" y="74295"/>
                    <a:pt x="3310886" y="69850"/>
                  </a:cubicBezTo>
                  <a:cubicBezTo>
                    <a:pt x="3310886" y="63500"/>
                    <a:pt x="3311521" y="57150"/>
                    <a:pt x="3313426" y="52070"/>
                  </a:cubicBezTo>
                  <a:cubicBezTo>
                    <a:pt x="3315331" y="46990"/>
                    <a:pt x="3317236" y="42545"/>
                    <a:pt x="3320411" y="39370"/>
                  </a:cubicBezTo>
                  <a:cubicBezTo>
                    <a:pt x="3323586" y="36195"/>
                    <a:pt x="3326761" y="33020"/>
                    <a:pt x="3331206" y="31750"/>
                  </a:cubicBezTo>
                  <a:cubicBezTo>
                    <a:pt x="3335651" y="29845"/>
                    <a:pt x="3340096" y="29210"/>
                    <a:pt x="3345176" y="29210"/>
                  </a:cubicBezTo>
                  <a:close/>
                  <a:moveTo>
                    <a:pt x="3060696" y="29210"/>
                  </a:moveTo>
                  <a:cubicBezTo>
                    <a:pt x="3063871" y="29210"/>
                    <a:pt x="3066411" y="29210"/>
                    <a:pt x="3068316" y="29845"/>
                  </a:cubicBezTo>
                  <a:cubicBezTo>
                    <a:pt x="3070221" y="29845"/>
                    <a:pt x="3072126" y="31115"/>
                    <a:pt x="3074031" y="32385"/>
                  </a:cubicBezTo>
                  <a:lnTo>
                    <a:pt x="3070221" y="46990"/>
                  </a:lnTo>
                  <a:lnTo>
                    <a:pt x="3068951" y="46990"/>
                  </a:lnTo>
                  <a:cubicBezTo>
                    <a:pt x="3068951" y="46990"/>
                    <a:pt x="3065776" y="45085"/>
                    <a:pt x="3063871" y="45085"/>
                  </a:cubicBezTo>
                  <a:cubicBezTo>
                    <a:pt x="3061966" y="45085"/>
                    <a:pt x="3060061" y="44450"/>
                    <a:pt x="3057521" y="44450"/>
                  </a:cubicBezTo>
                  <a:cubicBezTo>
                    <a:pt x="3052441" y="44450"/>
                    <a:pt x="3048631" y="46355"/>
                    <a:pt x="3046091" y="49530"/>
                  </a:cubicBezTo>
                  <a:cubicBezTo>
                    <a:pt x="3043551" y="52705"/>
                    <a:pt x="3042281" y="57785"/>
                    <a:pt x="3042281" y="64770"/>
                  </a:cubicBezTo>
                  <a:lnTo>
                    <a:pt x="3042281" y="109220"/>
                  </a:lnTo>
                  <a:lnTo>
                    <a:pt x="3027041" y="109220"/>
                  </a:lnTo>
                  <a:lnTo>
                    <a:pt x="3027041" y="31115"/>
                  </a:lnTo>
                  <a:lnTo>
                    <a:pt x="3042281" y="31115"/>
                  </a:lnTo>
                  <a:lnTo>
                    <a:pt x="3042281" y="38735"/>
                  </a:lnTo>
                  <a:cubicBezTo>
                    <a:pt x="3042281" y="38735"/>
                    <a:pt x="3044186" y="36195"/>
                    <a:pt x="3045456" y="34925"/>
                  </a:cubicBezTo>
                  <a:cubicBezTo>
                    <a:pt x="3046726" y="33655"/>
                    <a:pt x="3047996" y="33020"/>
                    <a:pt x="3049901" y="31750"/>
                  </a:cubicBezTo>
                  <a:cubicBezTo>
                    <a:pt x="3051171" y="31115"/>
                    <a:pt x="3053076" y="30480"/>
                    <a:pt x="3054981" y="29845"/>
                  </a:cubicBezTo>
                  <a:cubicBezTo>
                    <a:pt x="3056886" y="29845"/>
                    <a:pt x="3058791" y="29210"/>
                    <a:pt x="3060696" y="29210"/>
                  </a:cubicBezTo>
                  <a:close/>
                  <a:moveTo>
                    <a:pt x="2978781" y="29210"/>
                  </a:moveTo>
                  <a:cubicBezTo>
                    <a:pt x="2984496" y="29210"/>
                    <a:pt x="2988941" y="30480"/>
                    <a:pt x="2993386" y="32385"/>
                  </a:cubicBezTo>
                  <a:cubicBezTo>
                    <a:pt x="2997196" y="34290"/>
                    <a:pt x="3001006" y="37465"/>
                    <a:pt x="3003546" y="40640"/>
                  </a:cubicBezTo>
                  <a:cubicBezTo>
                    <a:pt x="3006086" y="44450"/>
                    <a:pt x="3007991" y="48260"/>
                    <a:pt x="3009896" y="53340"/>
                  </a:cubicBezTo>
                  <a:cubicBezTo>
                    <a:pt x="3011166" y="57785"/>
                    <a:pt x="3011801" y="62865"/>
                    <a:pt x="3011801" y="68580"/>
                  </a:cubicBezTo>
                  <a:lnTo>
                    <a:pt x="3010531" y="68580"/>
                  </a:lnTo>
                  <a:cubicBezTo>
                    <a:pt x="3010531" y="68580"/>
                    <a:pt x="3010531" y="71120"/>
                    <a:pt x="3010531" y="72390"/>
                  </a:cubicBezTo>
                  <a:cubicBezTo>
                    <a:pt x="3010531" y="73660"/>
                    <a:pt x="3010531" y="74295"/>
                    <a:pt x="3010531" y="75565"/>
                  </a:cubicBezTo>
                  <a:lnTo>
                    <a:pt x="2959096" y="75565"/>
                  </a:lnTo>
                  <a:cubicBezTo>
                    <a:pt x="2959096" y="79375"/>
                    <a:pt x="2960366" y="82550"/>
                    <a:pt x="2961636" y="85090"/>
                  </a:cubicBezTo>
                  <a:cubicBezTo>
                    <a:pt x="2962906" y="87630"/>
                    <a:pt x="2964176" y="90170"/>
                    <a:pt x="2966081" y="91440"/>
                  </a:cubicBezTo>
                  <a:cubicBezTo>
                    <a:pt x="2967986" y="93345"/>
                    <a:pt x="2969891" y="94615"/>
                    <a:pt x="2971796" y="95250"/>
                  </a:cubicBezTo>
                  <a:cubicBezTo>
                    <a:pt x="2974336" y="95885"/>
                    <a:pt x="2976241" y="96520"/>
                    <a:pt x="2978781" y="96520"/>
                  </a:cubicBezTo>
                  <a:cubicBezTo>
                    <a:pt x="2980686" y="96520"/>
                    <a:pt x="2981956" y="96520"/>
                    <a:pt x="2983861" y="96520"/>
                  </a:cubicBezTo>
                  <a:cubicBezTo>
                    <a:pt x="2985131" y="96520"/>
                    <a:pt x="2987036" y="95885"/>
                    <a:pt x="2988306" y="95250"/>
                  </a:cubicBezTo>
                  <a:cubicBezTo>
                    <a:pt x="2989576" y="95250"/>
                    <a:pt x="2990846" y="93980"/>
                    <a:pt x="2992116" y="93345"/>
                  </a:cubicBezTo>
                  <a:cubicBezTo>
                    <a:pt x="2993386" y="93345"/>
                    <a:pt x="2994656" y="92075"/>
                    <a:pt x="2996561" y="90805"/>
                  </a:cubicBezTo>
                  <a:lnTo>
                    <a:pt x="3005451" y="100330"/>
                  </a:lnTo>
                  <a:cubicBezTo>
                    <a:pt x="3005451" y="100330"/>
                    <a:pt x="3001641" y="103505"/>
                    <a:pt x="2999736" y="104775"/>
                  </a:cubicBezTo>
                  <a:cubicBezTo>
                    <a:pt x="2997831" y="106045"/>
                    <a:pt x="2995926" y="106680"/>
                    <a:pt x="2994021" y="107950"/>
                  </a:cubicBezTo>
                  <a:cubicBezTo>
                    <a:pt x="2992116" y="108585"/>
                    <a:pt x="2989576" y="109855"/>
                    <a:pt x="2987036" y="109855"/>
                  </a:cubicBezTo>
                  <a:cubicBezTo>
                    <a:pt x="2984496" y="109855"/>
                    <a:pt x="2981321" y="110490"/>
                    <a:pt x="2978146" y="110490"/>
                  </a:cubicBezTo>
                  <a:cubicBezTo>
                    <a:pt x="2974971" y="110490"/>
                    <a:pt x="2971796" y="110490"/>
                    <a:pt x="2968621" y="109220"/>
                  </a:cubicBezTo>
                  <a:cubicBezTo>
                    <a:pt x="2965446" y="108585"/>
                    <a:pt x="2962906" y="107315"/>
                    <a:pt x="2961001" y="105410"/>
                  </a:cubicBezTo>
                  <a:cubicBezTo>
                    <a:pt x="2958461" y="104140"/>
                    <a:pt x="2956556" y="102235"/>
                    <a:pt x="2954651" y="100330"/>
                  </a:cubicBezTo>
                  <a:cubicBezTo>
                    <a:pt x="2952746" y="98425"/>
                    <a:pt x="2950841" y="95885"/>
                    <a:pt x="2949571" y="92710"/>
                  </a:cubicBezTo>
                  <a:cubicBezTo>
                    <a:pt x="2947666" y="89535"/>
                    <a:pt x="2946396" y="86360"/>
                    <a:pt x="2945761" y="82550"/>
                  </a:cubicBezTo>
                  <a:cubicBezTo>
                    <a:pt x="2945126" y="78740"/>
                    <a:pt x="2944491" y="74295"/>
                    <a:pt x="2944491" y="69850"/>
                  </a:cubicBezTo>
                  <a:cubicBezTo>
                    <a:pt x="2944491" y="63500"/>
                    <a:pt x="2945126" y="57150"/>
                    <a:pt x="2947031" y="52070"/>
                  </a:cubicBezTo>
                  <a:cubicBezTo>
                    <a:pt x="2948936" y="46990"/>
                    <a:pt x="2950841" y="42545"/>
                    <a:pt x="2954016" y="39370"/>
                  </a:cubicBezTo>
                  <a:cubicBezTo>
                    <a:pt x="2957191" y="36195"/>
                    <a:pt x="2960366" y="33020"/>
                    <a:pt x="2964811" y="31750"/>
                  </a:cubicBezTo>
                  <a:cubicBezTo>
                    <a:pt x="2969256" y="29845"/>
                    <a:pt x="2973701" y="29210"/>
                    <a:pt x="2978781" y="29210"/>
                  </a:cubicBezTo>
                  <a:close/>
                  <a:moveTo>
                    <a:pt x="2798440" y="29210"/>
                  </a:moveTo>
                  <a:cubicBezTo>
                    <a:pt x="2803520" y="29210"/>
                    <a:pt x="2807965" y="29845"/>
                    <a:pt x="2813045" y="31750"/>
                  </a:cubicBezTo>
                  <a:cubicBezTo>
                    <a:pt x="2817490" y="33655"/>
                    <a:pt x="2821935" y="35560"/>
                    <a:pt x="2825110" y="38100"/>
                  </a:cubicBezTo>
                  <a:lnTo>
                    <a:pt x="2827015" y="38100"/>
                  </a:lnTo>
                  <a:lnTo>
                    <a:pt x="2820030" y="50165"/>
                  </a:lnTo>
                  <a:cubicBezTo>
                    <a:pt x="2816855" y="47625"/>
                    <a:pt x="2813680" y="46355"/>
                    <a:pt x="2810505" y="45085"/>
                  </a:cubicBezTo>
                  <a:cubicBezTo>
                    <a:pt x="2807330" y="43815"/>
                    <a:pt x="2803520" y="43180"/>
                    <a:pt x="2799710" y="43180"/>
                  </a:cubicBezTo>
                  <a:cubicBezTo>
                    <a:pt x="2795900" y="43180"/>
                    <a:pt x="2793360" y="43815"/>
                    <a:pt x="2791455" y="45085"/>
                  </a:cubicBezTo>
                  <a:cubicBezTo>
                    <a:pt x="2789550" y="46355"/>
                    <a:pt x="2788915" y="48260"/>
                    <a:pt x="2788915" y="50165"/>
                  </a:cubicBezTo>
                  <a:cubicBezTo>
                    <a:pt x="2788915" y="51435"/>
                    <a:pt x="2788915" y="52070"/>
                    <a:pt x="2788915" y="52705"/>
                  </a:cubicBezTo>
                  <a:cubicBezTo>
                    <a:pt x="2788915" y="53340"/>
                    <a:pt x="2790185" y="54610"/>
                    <a:pt x="2790820" y="55245"/>
                  </a:cubicBezTo>
                  <a:cubicBezTo>
                    <a:pt x="2792090" y="55880"/>
                    <a:pt x="2793360" y="57150"/>
                    <a:pt x="2795265" y="57785"/>
                  </a:cubicBezTo>
                  <a:cubicBezTo>
                    <a:pt x="2797170" y="59055"/>
                    <a:pt x="2799710" y="59690"/>
                    <a:pt x="2802250" y="60960"/>
                  </a:cubicBezTo>
                  <a:cubicBezTo>
                    <a:pt x="2806695" y="62865"/>
                    <a:pt x="2810505" y="64135"/>
                    <a:pt x="2813680" y="66040"/>
                  </a:cubicBezTo>
                  <a:cubicBezTo>
                    <a:pt x="2816855" y="67310"/>
                    <a:pt x="2819395" y="69215"/>
                    <a:pt x="2821935" y="71120"/>
                  </a:cubicBezTo>
                  <a:cubicBezTo>
                    <a:pt x="2823840" y="73025"/>
                    <a:pt x="2825745" y="75565"/>
                    <a:pt x="2827015" y="78105"/>
                  </a:cubicBezTo>
                  <a:cubicBezTo>
                    <a:pt x="2828285" y="80645"/>
                    <a:pt x="2828920" y="83820"/>
                    <a:pt x="2828920" y="87630"/>
                  </a:cubicBezTo>
                  <a:cubicBezTo>
                    <a:pt x="2828920" y="92075"/>
                    <a:pt x="2828285" y="95250"/>
                    <a:pt x="2826380" y="98425"/>
                  </a:cubicBezTo>
                  <a:cubicBezTo>
                    <a:pt x="2824475" y="101600"/>
                    <a:pt x="2822570" y="103505"/>
                    <a:pt x="2820030" y="105410"/>
                  </a:cubicBezTo>
                  <a:cubicBezTo>
                    <a:pt x="2817490" y="107315"/>
                    <a:pt x="2814315" y="108585"/>
                    <a:pt x="2810505" y="109220"/>
                  </a:cubicBezTo>
                  <a:cubicBezTo>
                    <a:pt x="2806695" y="109855"/>
                    <a:pt x="2803520" y="110490"/>
                    <a:pt x="2799710" y="110490"/>
                  </a:cubicBezTo>
                  <a:cubicBezTo>
                    <a:pt x="2794630" y="110490"/>
                    <a:pt x="2789550" y="109855"/>
                    <a:pt x="2783835" y="107950"/>
                  </a:cubicBezTo>
                  <a:cubicBezTo>
                    <a:pt x="2778120" y="106045"/>
                    <a:pt x="2773675" y="103505"/>
                    <a:pt x="2769230" y="100965"/>
                  </a:cubicBezTo>
                  <a:lnTo>
                    <a:pt x="2776215" y="89535"/>
                  </a:lnTo>
                  <a:cubicBezTo>
                    <a:pt x="2780025" y="92075"/>
                    <a:pt x="2783835" y="93980"/>
                    <a:pt x="2787645" y="95250"/>
                  </a:cubicBezTo>
                  <a:cubicBezTo>
                    <a:pt x="2791455" y="96520"/>
                    <a:pt x="2795265" y="97155"/>
                    <a:pt x="2799075" y="97155"/>
                  </a:cubicBezTo>
                  <a:cubicBezTo>
                    <a:pt x="2804155" y="97155"/>
                    <a:pt x="2807330" y="96520"/>
                    <a:pt x="2809870" y="94615"/>
                  </a:cubicBezTo>
                  <a:cubicBezTo>
                    <a:pt x="2812410" y="93345"/>
                    <a:pt x="2813045" y="90805"/>
                    <a:pt x="2813045" y="88265"/>
                  </a:cubicBezTo>
                  <a:cubicBezTo>
                    <a:pt x="2813045" y="86995"/>
                    <a:pt x="2813045" y="85725"/>
                    <a:pt x="2811775" y="84455"/>
                  </a:cubicBezTo>
                  <a:cubicBezTo>
                    <a:pt x="2811140" y="83185"/>
                    <a:pt x="2809870" y="82550"/>
                    <a:pt x="2807965" y="81280"/>
                  </a:cubicBezTo>
                  <a:cubicBezTo>
                    <a:pt x="2806695" y="80010"/>
                    <a:pt x="2804790" y="79375"/>
                    <a:pt x="2802250" y="78105"/>
                  </a:cubicBezTo>
                  <a:cubicBezTo>
                    <a:pt x="2800345" y="77470"/>
                    <a:pt x="2797805" y="76200"/>
                    <a:pt x="2794630" y="74930"/>
                  </a:cubicBezTo>
                  <a:cubicBezTo>
                    <a:pt x="2790185" y="73025"/>
                    <a:pt x="2787010" y="71755"/>
                    <a:pt x="2783835" y="69850"/>
                  </a:cubicBezTo>
                  <a:cubicBezTo>
                    <a:pt x="2780660" y="67945"/>
                    <a:pt x="2778755" y="66675"/>
                    <a:pt x="2776850" y="64770"/>
                  </a:cubicBezTo>
                  <a:cubicBezTo>
                    <a:pt x="2774945" y="62865"/>
                    <a:pt x="2773675" y="60960"/>
                    <a:pt x="2773040" y="58420"/>
                  </a:cubicBezTo>
                  <a:cubicBezTo>
                    <a:pt x="2772405" y="55880"/>
                    <a:pt x="2771770" y="53340"/>
                    <a:pt x="2771770" y="50165"/>
                  </a:cubicBezTo>
                  <a:cubicBezTo>
                    <a:pt x="2771770" y="46990"/>
                    <a:pt x="2772405" y="43815"/>
                    <a:pt x="2773675" y="40640"/>
                  </a:cubicBezTo>
                  <a:cubicBezTo>
                    <a:pt x="2774945" y="38100"/>
                    <a:pt x="2776850" y="35560"/>
                    <a:pt x="2779390" y="34290"/>
                  </a:cubicBezTo>
                  <a:cubicBezTo>
                    <a:pt x="2781930" y="32385"/>
                    <a:pt x="2784470" y="31115"/>
                    <a:pt x="2787645" y="30480"/>
                  </a:cubicBezTo>
                  <a:cubicBezTo>
                    <a:pt x="2790820" y="29845"/>
                    <a:pt x="2794630" y="29210"/>
                    <a:pt x="2798440" y="29210"/>
                  </a:cubicBezTo>
                  <a:close/>
                  <a:moveTo>
                    <a:pt x="2723510" y="29210"/>
                  </a:moveTo>
                  <a:cubicBezTo>
                    <a:pt x="2725415" y="29210"/>
                    <a:pt x="2727320" y="29210"/>
                    <a:pt x="2729225" y="29210"/>
                  </a:cubicBezTo>
                  <a:cubicBezTo>
                    <a:pt x="2733670" y="29210"/>
                    <a:pt x="2738115" y="29845"/>
                    <a:pt x="2741290" y="31750"/>
                  </a:cubicBezTo>
                  <a:cubicBezTo>
                    <a:pt x="2744465" y="33020"/>
                    <a:pt x="2747640" y="35560"/>
                    <a:pt x="2750180" y="38100"/>
                  </a:cubicBezTo>
                  <a:cubicBezTo>
                    <a:pt x="2752720" y="41275"/>
                    <a:pt x="2753990" y="44450"/>
                    <a:pt x="2755260" y="48895"/>
                  </a:cubicBezTo>
                  <a:cubicBezTo>
                    <a:pt x="2756530" y="53340"/>
                    <a:pt x="2757165" y="58420"/>
                    <a:pt x="2757165" y="64135"/>
                  </a:cubicBezTo>
                  <a:lnTo>
                    <a:pt x="2757165" y="108585"/>
                  </a:lnTo>
                  <a:lnTo>
                    <a:pt x="2741925" y="108585"/>
                  </a:lnTo>
                  <a:lnTo>
                    <a:pt x="2741290" y="108585"/>
                  </a:lnTo>
                  <a:lnTo>
                    <a:pt x="2741290" y="64770"/>
                  </a:lnTo>
                  <a:cubicBezTo>
                    <a:pt x="2741290" y="57785"/>
                    <a:pt x="2740020" y="52070"/>
                    <a:pt x="2737480" y="48895"/>
                  </a:cubicBezTo>
                  <a:cubicBezTo>
                    <a:pt x="2734940" y="45085"/>
                    <a:pt x="2731130" y="43180"/>
                    <a:pt x="2725415" y="43180"/>
                  </a:cubicBezTo>
                  <a:cubicBezTo>
                    <a:pt x="2722875" y="43180"/>
                    <a:pt x="2720970" y="43180"/>
                    <a:pt x="2718430" y="44450"/>
                  </a:cubicBezTo>
                  <a:cubicBezTo>
                    <a:pt x="2716525" y="45085"/>
                    <a:pt x="2714620" y="46990"/>
                    <a:pt x="2713350" y="48260"/>
                  </a:cubicBezTo>
                  <a:cubicBezTo>
                    <a:pt x="2712080" y="50165"/>
                    <a:pt x="2710810" y="52070"/>
                    <a:pt x="2710175" y="54610"/>
                  </a:cubicBezTo>
                  <a:cubicBezTo>
                    <a:pt x="2710175" y="57150"/>
                    <a:pt x="2709540" y="59690"/>
                    <a:pt x="2709540" y="62865"/>
                  </a:cubicBezTo>
                  <a:lnTo>
                    <a:pt x="2709540" y="108585"/>
                  </a:lnTo>
                  <a:lnTo>
                    <a:pt x="2694300" y="108585"/>
                  </a:lnTo>
                  <a:lnTo>
                    <a:pt x="2694300" y="30480"/>
                  </a:lnTo>
                  <a:lnTo>
                    <a:pt x="2709540" y="30480"/>
                  </a:lnTo>
                  <a:lnTo>
                    <a:pt x="2709540" y="38100"/>
                  </a:lnTo>
                  <a:cubicBezTo>
                    <a:pt x="2709540" y="38100"/>
                    <a:pt x="2711445" y="35560"/>
                    <a:pt x="2713350" y="34290"/>
                  </a:cubicBezTo>
                  <a:cubicBezTo>
                    <a:pt x="2714620" y="33020"/>
                    <a:pt x="2716525" y="32385"/>
                    <a:pt x="2717795" y="31115"/>
                  </a:cubicBezTo>
                  <a:cubicBezTo>
                    <a:pt x="2719700" y="30480"/>
                    <a:pt x="2721605" y="29845"/>
                    <a:pt x="2723510" y="29210"/>
                  </a:cubicBezTo>
                  <a:close/>
                  <a:moveTo>
                    <a:pt x="2530470" y="29210"/>
                  </a:moveTo>
                  <a:cubicBezTo>
                    <a:pt x="2536185" y="29210"/>
                    <a:pt x="2540630" y="30480"/>
                    <a:pt x="2545075" y="32385"/>
                  </a:cubicBezTo>
                  <a:cubicBezTo>
                    <a:pt x="2548885" y="34290"/>
                    <a:pt x="2552695" y="37465"/>
                    <a:pt x="2555235" y="40640"/>
                  </a:cubicBezTo>
                  <a:cubicBezTo>
                    <a:pt x="2557775" y="44450"/>
                    <a:pt x="2559680" y="48260"/>
                    <a:pt x="2561585" y="53340"/>
                  </a:cubicBezTo>
                  <a:cubicBezTo>
                    <a:pt x="2562855" y="57785"/>
                    <a:pt x="2563490" y="62865"/>
                    <a:pt x="2563490" y="68580"/>
                  </a:cubicBezTo>
                  <a:lnTo>
                    <a:pt x="2562220" y="68580"/>
                  </a:lnTo>
                  <a:cubicBezTo>
                    <a:pt x="2562220" y="68580"/>
                    <a:pt x="2562220" y="71120"/>
                    <a:pt x="2562220" y="72390"/>
                  </a:cubicBezTo>
                  <a:cubicBezTo>
                    <a:pt x="2562220" y="73660"/>
                    <a:pt x="2562220" y="74295"/>
                    <a:pt x="2562220" y="75565"/>
                  </a:cubicBezTo>
                  <a:lnTo>
                    <a:pt x="2510785" y="75565"/>
                  </a:lnTo>
                  <a:cubicBezTo>
                    <a:pt x="2510785" y="79375"/>
                    <a:pt x="2512055" y="82550"/>
                    <a:pt x="2513325" y="85090"/>
                  </a:cubicBezTo>
                  <a:cubicBezTo>
                    <a:pt x="2514595" y="87630"/>
                    <a:pt x="2515865" y="90170"/>
                    <a:pt x="2517770" y="91440"/>
                  </a:cubicBezTo>
                  <a:cubicBezTo>
                    <a:pt x="2519675" y="93345"/>
                    <a:pt x="2521580" y="94615"/>
                    <a:pt x="2523485" y="95250"/>
                  </a:cubicBezTo>
                  <a:cubicBezTo>
                    <a:pt x="2525390" y="95885"/>
                    <a:pt x="2527930" y="96520"/>
                    <a:pt x="2530470" y="96520"/>
                  </a:cubicBezTo>
                  <a:cubicBezTo>
                    <a:pt x="2532375" y="96520"/>
                    <a:pt x="2533645" y="96520"/>
                    <a:pt x="2535550" y="96520"/>
                  </a:cubicBezTo>
                  <a:cubicBezTo>
                    <a:pt x="2536820" y="96520"/>
                    <a:pt x="2538725" y="95885"/>
                    <a:pt x="2539995" y="95250"/>
                  </a:cubicBezTo>
                  <a:cubicBezTo>
                    <a:pt x="2541265" y="95250"/>
                    <a:pt x="2542535" y="93980"/>
                    <a:pt x="2543805" y="93345"/>
                  </a:cubicBezTo>
                  <a:cubicBezTo>
                    <a:pt x="2545075" y="93345"/>
                    <a:pt x="2546345" y="92075"/>
                    <a:pt x="2548250" y="90805"/>
                  </a:cubicBezTo>
                  <a:lnTo>
                    <a:pt x="2557140" y="100330"/>
                  </a:lnTo>
                  <a:cubicBezTo>
                    <a:pt x="2557140" y="100330"/>
                    <a:pt x="2553330" y="103505"/>
                    <a:pt x="2551425" y="104775"/>
                  </a:cubicBezTo>
                  <a:cubicBezTo>
                    <a:pt x="2549520" y="106045"/>
                    <a:pt x="2547615" y="106680"/>
                    <a:pt x="2545710" y="107950"/>
                  </a:cubicBezTo>
                  <a:cubicBezTo>
                    <a:pt x="2543805" y="108585"/>
                    <a:pt x="2541265" y="109855"/>
                    <a:pt x="2538725" y="109855"/>
                  </a:cubicBezTo>
                  <a:cubicBezTo>
                    <a:pt x="2536185" y="109855"/>
                    <a:pt x="2533010" y="110490"/>
                    <a:pt x="2529835" y="110490"/>
                  </a:cubicBezTo>
                  <a:cubicBezTo>
                    <a:pt x="2526660" y="110490"/>
                    <a:pt x="2523485" y="110490"/>
                    <a:pt x="2520310" y="109220"/>
                  </a:cubicBezTo>
                  <a:cubicBezTo>
                    <a:pt x="2517135" y="108585"/>
                    <a:pt x="2514595" y="107315"/>
                    <a:pt x="2512690" y="105410"/>
                  </a:cubicBezTo>
                  <a:cubicBezTo>
                    <a:pt x="2510785" y="103505"/>
                    <a:pt x="2508245" y="102235"/>
                    <a:pt x="2506340" y="100330"/>
                  </a:cubicBezTo>
                  <a:cubicBezTo>
                    <a:pt x="2504435" y="98425"/>
                    <a:pt x="2502530" y="95885"/>
                    <a:pt x="2501260" y="92710"/>
                  </a:cubicBezTo>
                  <a:cubicBezTo>
                    <a:pt x="2499355" y="89535"/>
                    <a:pt x="2498085" y="86360"/>
                    <a:pt x="2497450" y="82550"/>
                  </a:cubicBezTo>
                  <a:cubicBezTo>
                    <a:pt x="2496815" y="78740"/>
                    <a:pt x="2496180" y="74295"/>
                    <a:pt x="2496180" y="69850"/>
                  </a:cubicBezTo>
                  <a:cubicBezTo>
                    <a:pt x="2496180" y="63500"/>
                    <a:pt x="2496815" y="57150"/>
                    <a:pt x="2498720" y="52070"/>
                  </a:cubicBezTo>
                  <a:cubicBezTo>
                    <a:pt x="2500625" y="46990"/>
                    <a:pt x="2502530" y="42545"/>
                    <a:pt x="2505705" y="39370"/>
                  </a:cubicBezTo>
                  <a:cubicBezTo>
                    <a:pt x="2508880" y="36195"/>
                    <a:pt x="2512055" y="33020"/>
                    <a:pt x="2516500" y="31750"/>
                  </a:cubicBezTo>
                  <a:cubicBezTo>
                    <a:pt x="2520945" y="29845"/>
                    <a:pt x="2525390" y="29210"/>
                    <a:pt x="2530470" y="29210"/>
                  </a:cubicBezTo>
                  <a:close/>
                  <a:moveTo>
                    <a:pt x="2298061" y="29210"/>
                  </a:moveTo>
                  <a:cubicBezTo>
                    <a:pt x="2301236" y="29210"/>
                    <a:pt x="2303776" y="29210"/>
                    <a:pt x="2305681" y="29845"/>
                  </a:cubicBezTo>
                  <a:cubicBezTo>
                    <a:pt x="2307586" y="29845"/>
                    <a:pt x="2309491" y="31115"/>
                    <a:pt x="2311396" y="32385"/>
                  </a:cubicBezTo>
                  <a:lnTo>
                    <a:pt x="2307586" y="46990"/>
                  </a:lnTo>
                  <a:lnTo>
                    <a:pt x="2306316" y="46990"/>
                  </a:lnTo>
                  <a:cubicBezTo>
                    <a:pt x="2306316" y="46990"/>
                    <a:pt x="2303141" y="45085"/>
                    <a:pt x="2301236" y="45085"/>
                  </a:cubicBezTo>
                  <a:cubicBezTo>
                    <a:pt x="2299331" y="45085"/>
                    <a:pt x="2297426" y="44450"/>
                    <a:pt x="2294886" y="44450"/>
                  </a:cubicBezTo>
                  <a:cubicBezTo>
                    <a:pt x="2289806" y="44450"/>
                    <a:pt x="2285996" y="46355"/>
                    <a:pt x="2283456" y="49530"/>
                  </a:cubicBezTo>
                  <a:cubicBezTo>
                    <a:pt x="2280916" y="52705"/>
                    <a:pt x="2279646" y="57785"/>
                    <a:pt x="2279646" y="64770"/>
                  </a:cubicBezTo>
                  <a:lnTo>
                    <a:pt x="2279646" y="109220"/>
                  </a:lnTo>
                  <a:lnTo>
                    <a:pt x="2264406" y="109220"/>
                  </a:lnTo>
                  <a:lnTo>
                    <a:pt x="2264406" y="31115"/>
                  </a:lnTo>
                  <a:lnTo>
                    <a:pt x="2279646" y="31115"/>
                  </a:lnTo>
                  <a:lnTo>
                    <a:pt x="2279646" y="38735"/>
                  </a:lnTo>
                  <a:cubicBezTo>
                    <a:pt x="2279646" y="38735"/>
                    <a:pt x="2281551" y="36195"/>
                    <a:pt x="2282821" y="34925"/>
                  </a:cubicBezTo>
                  <a:cubicBezTo>
                    <a:pt x="2284091" y="33655"/>
                    <a:pt x="2285361" y="33020"/>
                    <a:pt x="2287266" y="31750"/>
                  </a:cubicBezTo>
                  <a:cubicBezTo>
                    <a:pt x="2288536" y="31115"/>
                    <a:pt x="2290441" y="30480"/>
                    <a:pt x="2292346" y="29845"/>
                  </a:cubicBezTo>
                  <a:cubicBezTo>
                    <a:pt x="2294251" y="29845"/>
                    <a:pt x="2296156" y="29210"/>
                    <a:pt x="2298061" y="29210"/>
                  </a:cubicBezTo>
                  <a:close/>
                  <a:moveTo>
                    <a:pt x="2216145" y="29210"/>
                  </a:moveTo>
                  <a:cubicBezTo>
                    <a:pt x="2221860" y="29210"/>
                    <a:pt x="2226305" y="30480"/>
                    <a:pt x="2230750" y="32385"/>
                  </a:cubicBezTo>
                  <a:cubicBezTo>
                    <a:pt x="2234560" y="34290"/>
                    <a:pt x="2238370" y="37465"/>
                    <a:pt x="2240910" y="40640"/>
                  </a:cubicBezTo>
                  <a:cubicBezTo>
                    <a:pt x="2243450" y="44450"/>
                    <a:pt x="2245355" y="48260"/>
                    <a:pt x="2247260" y="53340"/>
                  </a:cubicBezTo>
                  <a:cubicBezTo>
                    <a:pt x="2248530" y="57785"/>
                    <a:pt x="2249165" y="62865"/>
                    <a:pt x="2249165" y="68580"/>
                  </a:cubicBezTo>
                  <a:lnTo>
                    <a:pt x="2247895" y="68580"/>
                  </a:lnTo>
                  <a:cubicBezTo>
                    <a:pt x="2247895" y="68580"/>
                    <a:pt x="2247895" y="71120"/>
                    <a:pt x="2247895" y="72390"/>
                  </a:cubicBezTo>
                  <a:cubicBezTo>
                    <a:pt x="2247895" y="73660"/>
                    <a:pt x="2247895" y="74295"/>
                    <a:pt x="2247895" y="75565"/>
                  </a:cubicBezTo>
                  <a:lnTo>
                    <a:pt x="2196460" y="75565"/>
                  </a:lnTo>
                  <a:cubicBezTo>
                    <a:pt x="2196460" y="79375"/>
                    <a:pt x="2197730" y="82550"/>
                    <a:pt x="2199000" y="85090"/>
                  </a:cubicBezTo>
                  <a:cubicBezTo>
                    <a:pt x="2200270" y="87630"/>
                    <a:pt x="2201540" y="90170"/>
                    <a:pt x="2203445" y="91440"/>
                  </a:cubicBezTo>
                  <a:cubicBezTo>
                    <a:pt x="2205350" y="93345"/>
                    <a:pt x="2207255" y="94615"/>
                    <a:pt x="2209160" y="95250"/>
                  </a:cubicBezTo>
                  <a:cubicBezTo>
                    <a:pt x="2211065" y="95885"/>
                    <a:pt x="2213605" y="96520"/>
                    <a:pt x="2216145" y="96520"/>
                  </a:cubicBezTo>
                  <a:cubicBezTo>
                    <a:pt x="2218050" y="96520"/>
                    <a:pt x="2219320" y="96520"/>
                    <a:pt x="2221225" y="96520"/>
                  </a:cubicBezTo>
                  <a:cubicBezTo>
                    <a:pt x="2222495" y="96520"/>
                    <a:pt x="2224400" y="95885"/>
                    <a:pt x="2225670" y="95250"/>
                  </a:cubicBezTo>
                  <a:cubicBezTo>
                    <a:pt x="2226940" y="95250"/>
                    <a:pt x="2228210" y="93980"/>
                    <a:pt x="2229480" y="93345"/>
                  </a:cubicBezTo>
                  <a:cubicBezTo>
                    <a:pt x="2230750" y="93345"/>
                    <a:pt x="2232020" y="92075"/>
                    <a:pt x="2233925" y="90805"/>
                  </a:cubicBezTo>
                  <a:lnTo>
                    <a:pt x="2242815" y="100330"/>
                  </a:lnTo>
                  <a:cubicBezTo>
                    <a:pt x="2242815" y="100330"/>
                    <a:pt x="2239005" y="103505"/>
                    <a:pt x="2237100" y="104775"/>
                  </a:cubicBezTo>
                  <a:cubicBezTo>
                    <a:pt x="2235195" y="106045"/>
                    <a:pt x="2233290" y="106680"/>
                    <a:pt x="2231385" y="107950"/>
                  </a:cubicBezTo>
                  <a:cubicBezTo>
                    <a:pt x="2229480" y="108585"/>
                    <a:pt x="2226940" y="109855"/>
                    <a:pt x="2224400" y="109855"/>
                  </a:cubicBezTo>
                  <a:cubicBezTo>
                    <a:pt x="2221860" y="109855"/>
                    <a:pt x="2218685" y="110490"/>
                    <a:pt x="2215510" y="110490"/>
                  </a:cubicBezTo>
                  <a:cubicBezTo>
                    <a:pt x="2212335" y="110490"/>
                    <a:pt x="2209160" y="110490"/>
                    <a:pt x="2205985" y="109220"/>
                  </a:cubicBezTo>
                  <a:cubicBezTo>
                    <a:pt x="2202810" y="108585"/>
                    <a:pt x="2200270" y="107315"/>
                    <a:pt x="2198365" y="105410"/>
                  </a:cubicBezTo>
                  <a:cubicBezTo>
                    <a:pt x="2195825" y="104140"/>
                    <a:pt x="2193920" y="102235"/>
                    <a:pt x="2192015" y="100330"/>
                  </a:cubicBezTo>
                  <a:cubicBezTo>
                    <a:pt x="2190110" y="98425"/>
                    <a:pt x="2188205" y="95885"/>
                    <a:pt x="2186935" y="92710"/>
                  </a:cubicBezTo>
                  <a:cubicBezTo>
                    <a:pt x="2185030" y="89535"/>
                    <a:pt x="2183760" y="86360"/>
                    <a:pt x="2183125" y="82550"/>
                  </a:cubicBezTo>
                  <a:cubicBezTo>
                    <a:pt x="2182490" y="78740"/>
                    <a:pt x="2181855" y="74295"/>
                    <a:pt x="2181855" y="69850"/>
                  </a:cubicBezTo>
                  <a:cubicBezTo>
                    <a:pt x="2181855" y="63500"/>
                    <a:pt x="2182490" y="57150"/>
                    <a:pt x="2184395" y="52070"/>
                  </a:cubicBezTo>
                  <a:cubicBezTo>
                    <a:pt x="2186300" y="46990"/>
                    <a:pt x="2188205" y="42545"/>
                    <a:pt x="2191380" y="39370"/>
                  </a:cubicBezTo>
                  <a:cubicBezTo>
                    <a:pt x="2194555" y="36195"/>
                    <a:pt x="2197730" y="33020"/>
                    <a:pt x="2202175" y="31750"/>
                  </a:cubicBezTo>
                  <a:cubicBezTo>
                    <a:pt x="2206620" y="29845"/>
                    <a:pt x="2211065" y="29210"/>
                    <a:pt x="2216145" y="29210"/>
                  </a:cubicBezTo>
                  <a:close/>
                  <a:moveTo>
                    <a:pt x="2029456" y="29210"/>
                  </a:moveTo>
                  <a:cubicBezTo>
                    <a:pt x="2035171" y="29210"/>
                    <a:pt x="2039616" y="30480"/>
                    <a:pt x="2044061" y="32385"/>
                  </a:cubicBezTo>
                  <a:cubicBezTo>
                    <a:pt x="2047871" y="34290"/>
                    <a:pt x="2051681" y="37465"/>
                    <a:pt x="2054221" y="40640"/>
                  </a:cubicBezTo>
                  <a:cubicBezTo>
                    <a:pt x="2056761" y="44450"/>
                    <a:pt x="2058666" y="48260"/>
                    <a:pt x="2060571" y="53340"/>
                  </a:cubicBezTo>
                  <a:cubicBezTo>
                    <a:pt x="2061841" y="57785"/>
                    <a:pt x="2062476" y="62865"/>
                    <a:pt x="2062476" y="68580"/>
                  </a:cubicBezTo>
                  <a:lnTo>
                    <a:pt x="2061206" y="68580"/>
                  </a:lnTo>
                  <a:cubicBezTo>
                    <a:pt x="2061206" y="68580"/>
                    <a:pt x="2061206" y="71120"/>
                    <a:pt x="2061206" y="72390"/>
                  </a:cubicBezTo>
                  <a:cubicBezTo>
                    <a:pt x="2061206" y="73660"/>
                    <a:pt x="2061206" y="74295"/>
                    <a:pt x="2061206" y="75565"/>
                  </a:cubicBezTo>
                  <a:lnTo>
                    <a:pt x="2009771" y="75565"/>
                  </a:lnTo>
                  <a:cubicBezTo>
                    <a:pt x="2009771" y="79375"/>
                    <a:pt x="2011041" y="82550"/>
                    <a:pt x="2012311" y="85090"/>
                  </a:cubicBezTo>
                  <a:cubicBezTo>
                    <a:pt x="2013581" y="87630"/>
                    <a:pt x="2014851" y="90170"/>
                    <a:pt x="2016756" y="91440"/>
                  </a:cubicBezTo>
                  <a:cubicBezTo>
                    <a:pt x="2018661" y="93345"/>
                    <a:pt x="2020566" y="94615"/>
                    <a:pt x="2022471" y="95250"/>
                  </a:cubicBezTo>
                  <a:cubicBezTo>
                    <a:pt x="2024376" y="95885"/>
                    <a:pt x="2026916" y="96520"/>
                    <a:pt x="2029456" y="96520"/>
                  </a:cubicBezTo>
                  <a:cubicBezTo>
                    <a:pt x="2031361" y="96520"/>
                    <a:pt x="2032631" y="96520"/>
                    <a:pt x="2034536" y="96520"/>
                  </a:cubicBezTo>
                  <a:cubicBezTo>
                    <a:pt x="2035806" y="96520"/>
                    <a:pt x="2037711" y="95885"/>
                    <a:pt x="2038981" y="95250"/>
                  </a:cubicBezTo>
                  <a:cubicBezTo>
                    <a:pt x="2040251" y="95250"/>
                    <a:pt x="2041521" y="93980"/>
                    <a:pt x="2042791" y="93345"/>
                  </a:cubicBezTo>
                  <a:cubicBezTo>
                    <a:pt x="2044061" y="93345"/>
                    <a:pt x="2045331" y="92075"/>
                    <a:pt x="2047236" y="90805"/>
                  </a:cubicBezTo>
                  <a:lnTo>
                    <a:pt x="2056126" y="100330"/>
                  </a:lnTo>
                  <a:cubicBezTo>
                    <a:pt x="2056126" y="100330"/>
                    <a:pt x="2052316" y="103505"/>
                    <a:pt x="2050411" y="104775"/>
                  </a:cubicBezTo>
                  <a:cubicBezTo>
                    <a:pt x="2048506" y="106045"/>
                    <a:pt x="2046601" y="106680"/>
                    <a:pt x="2044696" y="107950"/>
                  </a:cubicBezTo>
                  <a:cubicBezTo>
                    <a:pt x="2042791" y="108585"/>
                    <a:pt x="2040251" y="109855"/>
                    <a:pt x="2037711" y="109855"/>
                  </a:cubicBezTo>
                  <a:cubicBezTo>
                    <a:pt x="2035171" y="109855"/>
                    <a:pt x="2031996" y="110490"/>
                    <a:pt x="2028821" y="110490"/>
                  </a:cubicBezTo>
                  <a:cubicBezTo>
                    <a:pt x="2025646" y="110490"/>
                    <a:pt x="2022471" y="110490"/>
                    <a:pt x="2019296" y="109220"/>
                  </a:cubicBezTo>
                  <a:cubicBezTo>
                    <a:pt x="2016121" y="108585"/>
                    <a:pt x="2013581" y="107315"/>
                    <a:pt x="2011676" y="105410"/>
                  </a:cubicBezTo>
                  <a:cubicBezTo>
                    <a:pt x="2009136" y="104140"/>
                    <a:pt x="2007231" y="102235"/>
                    <a:pt x="2005326" y="100330"/>
                  </a:cubicBezTo>
                  <a:cubicBezTo>
                    <a:pt x="2003421" y="98425"/>
                    <a:pt x="2001516" y="95885"/>
                    <a:pt x="2000246" y="92710"/>
                  </a:cubicBezTo>
                  <a:cubicBezTo>
                    <a:pt x="1998341" y="89535"/>
                    <a:pt x="1997071" y="86360"/>
                    <a:pt x="1996436" y="82550"/>
                  </a:cubicBezTo>
                  <a:cubicBezTo>
                    <a:pt x="1995801" y="78740"/>
                    <a:pt x="1995166" y="74295"/>
                    <a:pt x="1995166" y="69850"/>
                  </a:cubicBezTo>
                  <a:cubicBezTo>
                    <a:pt x="1995166" y="63500"/>
                    <a:pt x="1995801" y="57150"/>
                    <a:pt x="1997706" y="52070"/>
                  </a:cubicBezTo>
                  <a:cubicBezTo>
                    <a:pt x="1999611" y="46990"/>
                    <a:pt x="2001516" y="42545"/>
                    <a:pt x="2004691" y="39370"/>
                  </a:cubicBezTo>
                  <a:cubicBezTo>
                    <a:pt x="2007866" y="36195"/>
                    <a:pt x="2011041" y="33020"/>
                    <a:pt x="2015486" y="31750"/>
                  </a:cubicBezTo>
                  <a:cubicBezTo>
                    <a:pt x="2019931" y="29845"/>
                    <a:pt x="2024376" y="29210"/>
                    <a:pt x="2029456" y="29210"/>
                  </a:cubicBezTo>
                  <a:close/>
                  <a:moveTo>
                    <a:pt x="1831336" y="29210"/>
                  </a:moveTo>
                  <a:cubicBezTo>
                    <a:pt x="1837051" y="29210"/>
                    <a:pt x="1841496" y="30480"/>
                    <a:pt x="1845941" y="32385"/>
                  </a:cubicBezTo>
                  <a:cubicBezTo>
                    <a:pt x="1849751" y="34290"/>
                    <a:pt x="1853561" y="37465"/>
                    <a:pt x="1856101" y="40640"/>
                  </a:cubicBezTo>
                  <a:cubicBezTo>
                    <a:pt x="1858641" y="44450"/>
                    <a:pt x="1860546" y="48260"/>
                    <a:pt x="1862451" y="53340"/>
                  </a:cubicBezTo>
                  <a:cubicBezTo>
                    <a:pt x="1863721" y="57785"/>
                    <a:pt x="1864356" y="62865"/>
                    <a:pt x="1864356" y="68580"/>
                  </a:cubicBezTo>
                  <a:lnTo>
                    <a:pt x="1863086" y="68580"/>
                  </a:lnTo>
                  <a:cubicBezTo>
                    <a:pt x="1863086" y="68580"/>
                    <a:pt x="1863086" y="71120"/>
                    <a:pt x="1863086" y="72390"/>
                  </a:cubicBezTo>
                  <a:cubicBezTo>
                    <a:pt x="1863086" y="73660"/>
                    <a:pt x="1863086" y="74295"/>
                    <a:pt x="1863086" y="75565"/>
                  </a:cubicBezTo>
                  <a:lnTo>
                    <a:pt x="1811651" y="75565"/>
                  </a:lnTo>
                  <a:cubicBezTo>
                    <a:pt x="1811651" y="79375"/>
                    <a:pt x="1812921" y="82550"/>
                    <a:pt x="1814191" y="85090"/>
                  </a:cubicBezTo>
                  <a:cubicBezTo>
                    <a:pt x="1815461" y="87630"/>
                    <a:pt x="1816731" y="90170"/>
                    <a:pt x="1818636" y="91440"/>
                  </a:cubicBezTo>
                  <a:cubicBezTo>
                    <a:pt x="1820541" y="93345"/>
                    <a:pt x="1822446" y="94615"/>
                    <a:pt x="1824351" y="95250"/>
                  </a:cubicBezTo>
                  <a:cubicBezTo>
                    <a:pt x="1826256" y="95885"/>
                    <a:pt x="1828796" y="96520"/>
                    <a:pt x="1831336" y="96520"/>
                  </a:cubicBezTo>
                  <a:cubicBezTo>
                    <a:pt x="1833241" y="96520"/>
                    <a:pt x="1834511" y="96520"/>
                    <a:pt x="1836416" y="96520"/>
                  </a:cubicBezTo>
                  <a:cubicBezTo>
                    <a:pt x="1837686" y="96520"/>
                    <a:pt x="1839591" y="95885"/>
                    <a:pt x="1840861" y="95250"/>
                  </a:cubicBezTo>
                  <a:cubicBezTo>
                    <a:pt x="1842131" y="95250"/>
                    <a:pt x="1843401" y="93980"/>
                    <a:pt x="1844671" y="93345"/>
                  </a:cubicBezTo>
                  <a:cubicBezTo>
                    <a:pt x="1845941" y="93345"/>
                    <a:pt x="1847211" y="92075"/>
                    <a:pt x="1849116" y="90805"/>
                  </a:cubicBezTo>
                  <a:lnTo>
                    <a:pt x="1858006" y="100330"/>
                  </a:lnTo>
                  <a:cubicBezTo>
                    <a:pt x="1858006" y="100330"/>
                    <a:pt x="1854196" y="103505"/>
                    <a:pt x="1852291" y="104775"/>
                  </a:cubicBezTo>
                  <a:cubicBezTo>
                    <a:pt x="1850386" y="106045"/>
                    <a:pt x="1848481" y="106680"/>
                    <a:pt x="1846576" y="107950"/>
                  </a:cubicBezTo>
                  <a:cubicBezTo>
                    <a:pt x="1844671" y="108585"/>
                    <a:pt x="1842131" y="109855"/>
                    <a:pt x="1839591" y="109855"/>
                  </a:cubicBezTo>
                  <a:cubicBezTo>
                    <a:pt x="1837051" y="109855"/>
                    <a:pt x="1833876" y="110490"/>
                    <a:pt x="1830701" y="110490"/>
                  </a:cubicBezTo>
                  <a:cubicBezTo>
                    <a:pt x="1827526" y="110490"/>
                    <a:pt x="1824351" y="110490"/>
                    <a:pt x="1821176" y="109220"/>
                  </a:cubicBezTo>
                  <a:cubicBezTo>
                    <a:pt x="1818001" y="108585"/>
                    <a:pt x="1815461" y="107315"/>
                    <a:pt x="1813556" y="105410"/>
                  </a:cubicBezTo>
                  <a:cubicBezTo>
                    <a:pt x="1811016" y="104140"/>
                    <a:pt x="1809111" y="102235"/>
                    <a:pt x="1807206" y="100330"/>
                  </a:cubicBezTo>
                  <a:cubicBezTo>
                    <a:pt x="1805301" y="98425"/>
                    <a:pt x="1803396" y="95885"/>
                    <a:pt x="1802126" y="92710"/>
                  </a:cubicBezTo>
                  <a:cubicBezTo>
                    <a:pt x="1800221" y="89535"/>
                    <a:pt x="1798951" y="86360"/>
                    <a:pt x="1798316" y="82550"/>
                  </a:cubicBezTo>
                  <a:cubicBezTo>
                    <a:pt x="1797681" y="78740"/>
                    <a:pt x="1797046" y="74295"/>
                    <a:pt x="1797046" y="69850"/>
                  </a:cubicBezTo>
                  <a:cubicBezTo>
                    <a:pt x="1797046" y="63500"/>
                    <a:pt x="1797681" y="57150"/>
                    <a:pt x="1799586" y="52070"/>
                  </a:cubicBezTo>
                  <a:cubicBezTo>
                    <a:pt x="1801491" y="46990"/>
                    <a:pt x="1803396" y="42545"/>
                    <a:pt x="1806571" y="39370"/>
                  </a:cubicBezTo>
                  <a:cubicBezTo>
                    <a:pt x="1809746" y="36195"/>
                    <a:pt x="1812921" y="33020"/>
                    <a:pt x="1817366" y="31750"/>
                  </a:cubicBezTo>
                  <a:cubicBezTo>
                    <a:pt x="1821811" y="29845"/>
                    <a:pt x="1826256" y="29210"/>
                    <a:pt x="1831336" y="29210"/>
                  </a:cubicBezTo>
                  <a:close/>
                  <a:moveTo>
                    <a:pt x="1501140" y="29210"/>
                  </a:moveTo>
                  <a:cubicBezTo>
                    <a:pt x="1503046" y="29210"/>
                    <a:pt x="1504951" y="29210"/>
                    <a:pt x="1506856" y="29210"/>
                  </a:cubicBezTo>
                  <a:cubicBezTo>
                    <a:pt x="1511301" y="29210"/>
                    <a:pt x="1515746" y="29845"/>
                    <a:pt x="1518920" y="31750"/>
                  </a:cubicBezTo>
                  <a:cubicBezTo>
                    <a:pt x="1522096" y="33020"/>
                    <a:pt x="1525271" y="35560"/>
                    <a:pt x="1527811" y="38100"/>
                  </a:cubicBezTo>
                  <a:cubicBezTo>
                    <a:pt x="1530351" y="41275"/>
                    <a:pt x="1531621" y="44450"/>
                    <a:pt x="1532891" y="48895"/>
                  </a:cubicBezTo>
                  <a:cubicBezTo>
                    <a:pt x="1534161" y="53340"/>
                    <a:pt x="1534796" y="58420"/>
                    <a:pt x="1534796" y="64135"/>
                  </a:cubicBezTo>
                  <a:lnTo>
                    <a:pt x="1534796" y="108585"/>
                  </a:lnTo>
                  <a:lnTo>
                    <a:pt x="1519556" y="108585"/>
                  </a:lnTo>
                  <a:lnTo>
                    <a:pt x="1518920" y="108585"/>
                  </a:lnTo>
                  <a:lnTo>
                    <a:pt x="1518920" y="64770"/>
                  </a:lnTo>
                  <a:cubicBezTo>
                    <a:pt x="1518920" y="57785"/>
                    <a:pt x="1517651" y="52070"/>
                    <a:pt x="1515111" y="48895"/>
                  </a:cubicBezTo>
                  <a:cubicBezTo>
                    <a:pt x="1512571" y="45085"/>
                    <a:pt x="1508761" y="43180"/>
                    <a:pt x="1503046" y="43180"/>
                  </a:cubicBezTo>
                  <a:cubicBezTo>
                    <a:pt x="1500506" y="43180"/>
                    <a:pt x="1498601" y="43180"/>
                    <a:pt x="1496061" y="44450"/>
                  </a:cubicBezTo>
                  <a:cubicBezTo>
                    <a:pt x="1494156" y="45085"/>
                    <a:pt x="1492250" y="46990"/>
                    <a:pt x="1490981" y="48260"/>
                  </a:cubicBezTo>
                  <a:cubicBezTo>
                    <a:pt x="1489711" y="50165"/>
                    <a:pt x="1488441" y="52070"/>
                    <a:pt x="1487806" y="54610"/>
                  </a:cubicBezTo>
                  <a:cubicBezTo>
                    <a:pt x="1487806" y="57150"/>
                    <a:pt x="1487170" y="59690"/>
                    <a:pt x="1487170" y="62865"/>
                  </a:cubicBezTo>
                  <a:lnTo>
                    <a:pt x="1487170" y="108585"/>
                  </a:lnTo>
                  <a:lnTo>
                    <a:pt x="1471931" y="108585"/>
                  </a:lnTo>
                  <a:lnTo>
                    <a:pt x="1471931" y="30480"/>
                  </a:lnTo>
                  <a:lnTo>
                    <a:pt x="1487170" y="30480"/>
                  </a:lnTo>
                  <a:lnTo>
                    <a:pt x="1487170" y="38100"/>
                  </a:lnTo>
                  <a:cubicBezTo>
                    <a:pt x="1487170" y="38100"/>
                    <a:pt x="1489076" y="35560"/>
                    <a:pt x="1490981" y="34290"/>
                  </a:cubicBezTo>
                  <a:cubicBezTo>
                    <a:pt x="1492250" y="33020"/>
                    <a:pt x="1494156" y="32385"/>
                    <a:pt x="1495426" y="31115"/>
                  </a:cubicBezTo>
                  <a:cubicBezTo>
                    <a:pt x="1497331" y="30480"/>
                    <a:pt x="1499236" y="29845"/>
                    <a:pt x="1501140" y="29210"/>
                  </a:cubicBezTo>
                  <a:close/>
                  <a:moveTo>
                    <a:pt x="1250316" y="29210"/>
                  </a:moveTo>
                  <a:cubicBezTo>
                    <a:pt x="1255396" y="29210"/>
                    <a:pt x="1259841" y="29845"/>
                    <a:pt x="1264286" y="31750"/>
                  </a:cubicBezTo>
                  <a:cubicBezTo>
                    <a:pt x="1268731" y="33655"/>
                    <a:pt x="1273176" y="35560"/>
                    <a:pt x="1276350" y="38100"/>
                  </a:cubicBezTo>
                  <a:lnTo>
                    <a:pt x="1278256" y="38100"/>
                  </a:lnTo>
                  <a:lnTo>
                    <a:pt x="1271271" y="50165"/>
                  </a:lnTo>
                  <a:cubicBezTo>
                    <a:pt x="1268095" y="47625"/>
                    <a:pt x="1264921" y="46355"/>
                    <a:pt x="1261746" y="45085"/>
                  </a:cubicBezTo>
                  <a:cubicBezTo>
                    <a:pt x="1258570" y="43815"/>
                    <a:pt x="1254761" y="43180"/>
                    <a:pt x="1250951" y="43180"/>
                  </a:cubicBezTo>
                  <a:cubicBezTo>
                    <a:pt x="1247141" y="43180"/>
                    <a:pt x="1244601" y="43815"/>
                    <a:pt x="1242696" y="45085"/>
                  </a:cubicBezTo>
                  <a:cubicBezTo>
                    <a:pt x="1240791" y="46355"/>
                    <a:pt x="1240156" y="48260"/>
                    <a:pt x="1240156" y="50165"/>
                  </a:cubicBezTo>
                  <a:cubicBezTo>
                    <a:pt x="1240156" y="51435"/>
                    <a:pt x="1240156" y="52070"/>
                    <a:pt x="1240156" y="52705"/>
                  </a:cubicBezTo>
                  <a:cubicBezTo>
                    <a:pt x="1240156" y="53340"/>
                    <a:pt x="1241426" y="54610"/>
                    <a:pt x="1242061" y="55245"/>
                  </a:cubicBezTo>
                  <a:cubicBezTo>
                    <a:pt x="1243331" y="55880"/>
                    <a:pt x="1244601" y="57150"/>
                    <a:pt x="1246506" y="57785"/>
                  </a:cubicBezTo>
                  <a:cubicBezTo>
                    <a:pt x="1248411" y="59055"/>
                    <a:pt x="1250951" y="59690"/>
                    <a:pt x="1253491" y="60960"/>
                  </a:cubicBezTo>
                  <a:cubicBezTo>
                    <a:pt x="1257936" y="62865"/>
                    <a:pt x="1261746" y="64135"/>
                    <a:pt x="1264921" y="66040"/>
                  </a:cubicBezTo>
                  <a:cubicBezTo>
                    <a:pt x="1268095" y="67310"/>
                    <a:pt x="1270635" y="69215"/>
                    <a:pt x="1273176" y="71120"/>
                  </a:cubicBezTo>
                  <a:cubicBezTo>
                    <a:pt x="1275080" y="73025"/>
                    <a:pt x="1276985" y="75565"/>
                    <a:pt x="1278256" y="78105"/>
                  </a:cubicBezTo>
                  <a:cubicBezTo>
                    <a:pt x="1279525" y="80645"/>
                    <a:pt x="1280161" y="83820"/>
                    <a:pt x="1280161" y="87630"/>
                  </a:cubicBezTo>
                  <a:cubicBezTo>
                    <a:pt x="1280161" y="92075"/>
                    <a:pt x="1279525" y="95250"/>
                    <a:pt x="1277621" y="98425"/>
                  </a:cubicBezTo>
                  <a:cubicBezTo>
                    <a:pt x="1275716" y="101600"/>
                    <a:pt x="1273811" y="103505"/>
                    <a:pt x="1271271" y="105410"/>
                  </a:cubicBezTo>
                  <a:cubicBezTo>
                    <a:pt x="1268731" y="107315"/>
                    <a:pt x="1265556" y="108585"/>
                    <a:pt x="1261746" y="109220"/>
                  </a:cubicBezTo>
                  <a:cubicBezTo>
                    <a:pt x="1257936" y="109855"/>
                    <a:pt x="1254761" y="110490"/>
                    <a:pt x="1250951" y="110490"/>
                  </a:cubicBezTo>
                  <a:cubicBezTo>
                    <a:pt x="1245871" y="110490"/>
                    <a:pt x="1240791" y="109855"/>
                    <a:pt x="1235711" y="107950"/>
                  </a:cubicBezTo>
                  <a:cubicBezTo>
                    <a:pt x="1229996" y="106045"/>
                    <a:pt x="1225551" y="103505"/>
                    <a:pt x="1221106" y="100965"/>
                  </a:cubicBezTo>
                  <a:lnTo>
                    <a:pt x="1228091" y="89535"/>
                  </a:lnTo>
                  <a:cubicBezTo>
                    <a:pt x="1231901" y="92075"/>
                    <a:pt x="1235711" y="93980"/>
                    <a:pt x="1239521" y="95250"/>
                  </a:cubicBezTo>
                  <a:cubicBezTo>
                    <a:pt x="1243331" y="96520"/>
                    <a:pt x="1247141" y="97155"/>
                    <a:pt x="1250951" y="97155"/>
                  </a:cubicBezTo>
                  <a:cubicBezTo>
                    <a:pt x="1256031" y="97155"/>
                    <a:pt x="1259205" y="96520"/>
                    <a:pt x="1261746" y="94615"/>
                  </a:cubicBezTo>
                  <a:cubicBezTo>
                    <a:pt x="1264286" y="93345"/>
                    <a:pt x="1264921" y="90805"/>
                    <a:pt x="1264921" y="88265"/>
                  </a:cubicBezTo>
                  <a:cubicBezTo>
                    <a:pt x="1264921" y="86995"/>
                    <a:pt x="1264921" y="85725"/>
                    <a:pt x="1263650" y="84455"/>
                  </a:cubicBezTo>
                  <a:cubicBezTo>
                    <a:pt x="1263015" y="83185"/>
                    <a:pt x="1261746" y="82550"/>
                    <a:pt x="1259841" y="81280"/>
                  </a:cubicBezTo>
                  <a:cubicBezTo>
                    <a:pt x="1258570" y="80010"/>
                    <a:pt x="1256666" y="79375"/>
                    <a:pt x="1254125" y="78105"/>
                  </a:cubicBezTo>
                  <a:cubicBezTo>
                    <a:pt x="1252221" y="77470"/>
                    <a:pt x="1249681" y="76200"/>
                    <a:pt x="1246506" y="74930"/>
                  </a:cubicBezTo>
                  <a:cubicBezTo>
                    <a:pt x="1242061" y="73025"/>
                    <a:pt x="1238886" y="71755"/>
                    <a:pt x="1235711" y="69850"/>
                  </a:cubicBezTo>
                  <a:cubicBezTo>
                    <a:pt x="1232536" y="67945"/>
                    <a:pt x="1230631" y="66675"/>
                    <a:pt x="1228726" y="64770"/>
                  </a:cubicBezTo>
                  <a:cubicBezTo>
                    <a:pt x="1226821" y="62865"/>
                    <a:pt x="1225551" y="60960"/>
                    <a:pt x="1224916" y="58420"/>
                  </a:cubicBezTo>
                  <a:cubicBezTo>
                    <a:pt x="1224281" y="55880"/>
                    <a:pt x="1223646" y="53340"/>
                    <a:pt x="1223646" y="50165"/>
                  </a:cubicBezTo>
                  <a:cubicBezTo>
                    <a:pt x="1223646" y="46990"/>
                    <a:pt x="1224281" y="43815"/>
                    <a:pt x="1225551" y="40640"/>
                  </a:cubicBezTo>
                  <a:cubicBezTo>
                    <a:pt x="1226821" y="38100"/>
                    <a:pt x="1228726" y="35560"/>
                    <a:pt x="1231266" y="34290"/>
                  </a:cubicBezTo>
                  <a:cubicBezTo>
                    <a:pt x="1233806" y="32385"/>
                    <a:pt x="1236346" y="31115"/>
                    <a:pt x="1239521" y="30480"/>
                  </a:cubicBezTo>
                  <a:cubicBezTo>
                    <a:pt x="1242696" y="29845"/>
                    <a:pt x="1246506" y="29210"/>
                    <a:pt x="1250316" y="29210"/>
                  </a:cubicBezTo>
                  <a:close/>
                  <a:moveTo>
                    <a:pt x="1180466" y="29210"/>
                  </a:moveTo>
                  <a:cubicBezTo>
                    <a:pt x="1186181" y="29210"/>
                    <a:pt x="1190626" y="30480"/>
                    <a:pt x="1195071" y="32385"/>
                  </a:cubicBezTo>
                  <a:cubicBezTo>
                    <a:pt x="1198881" y="34290"/>
                    <a:pt x="1202691" y="37465"/>
                    <a:pt x="1205231" y="40640"/>
                  </a:cubicBezTo>
                  <a:cubicBezTo>
                    <a:pt x="1207771" y="44450"/>
                    <a:pt x="1209676" y="48260"/>
                    <a:pt x="1211581" y="53340"/>
                  </a:cubicBezTo>
                  <a:cubicBezTo>
                    <a:pt x="1212851" y="57785"/>
                    <a:pt x="1213486" y="62865"/>
                    <a:pt x="1213486" y="68580"/>
                  </a:cubicBezTo>
                  <a:lnTo>
                    <a:pt x="1212216" y="68580"/>
                  </a:lnTo>
                  <a:cubicBezTo>
                    <a:pt x="1212216" y="68580"/>
                    <a:pt x="1212216" y="71120"/>
                    <a:pt x="1212216" y="72390"/>
                  </a:cubicBezTo>
                  <a:cubicBezTo>
                    <a:pt x="1212216" y="73660"/>
                    <a:pt x="1212216" y="74295"/>
                    <a:pt x="1212216" y="75565"/>
                  </a:cubicBezTo>
                  <a:lnTo>
                    <a:pt x="1160781" y="75565"/>
                  </a:lnTo>
                  <a:cubicBezTo>
                    <a:pt x="1160781" y="79375"/>
                    <a:pt x="1162051" y="82550"/>
                    <a:pt x="1163321" y="85090"/>
                  </a:cubicBezTo>
                  <a:cubicBezTo>
                    <a:pt x="1164591" y="87630"/>
                    <a:pt x="1165861" y="90170"/>
                    <a:pt x="1167766" y="91440"/>
                  </a:cubicBezTo>
                  <a:cubicBezTo>
                    <a:pt x="1169671" y="93345"/>
                    <a:pt x="1171576" y="94615"/>
                    <a:pt x="1173481" y="95250"/>
                  </a:cubicBezTo>
                  <a:cubicBezTo>
                    <a:pt x="1175386" y="95885"/>
                    <a:pt x="1177926" y="96520"/>
                    <a:pt x="1180466" y="96520"/>
                  </a:cubicBezTo>
                  <a:cubicBezTo>
                    <a:pt x="1182371" y="96520"/>
                    <a:pt x="1183641" y="96520"/>
                    <a:pt x="1185546" y="96520"/>
                  </a:cubicBezTo>
                  <a:cubicBezTo>
                    <a:pt x="1186816" y="96520"/>
                    <a:pt x="1188721" y="95885"/>
                    <a:pt x="1189991" y="95250"/>
                  </a:cubicBezTo>
                  <a:cubicBezTo>
                    <a:pt x="1191261" y="95250"/>
                    <a:pt x="1192531" y="93980"/>
                    <a:pt x="1193801" y="93345"/>
                  </a:cubicBezTo>
                  <a:cubicBezTo>
                    <a:pt x="1195071" y="93345"/>
                    <a:pt x="1196341" y="92075"/>
                    <a:pt x="1198246" y="90805"/>
                  </a:cubicBezTo>
                  <a:lnTo>
                    <a:pt x="1207136" y="100330"/>
                  </a:lnTo>
                  <a:cubicBezTo>
                    <a:pt x="1207136" y="100330"/>
                    <a:pt x="1203326" y="103505"/>
                    <a:pt x="1201421" y="104775"/>
                  </a:cubicBezTo>
                  <a:cubicBezTo>
                    <a:pt x="1199516" y="106045"/>
                    <a:pt x="1197611" y="106680"/>
                    <a:pt x="1195706" y="107950"/>
                  </a:cubicBezTo>
                  <a:cubicBezTo>
                    <a:pt x="1193801" y="108585"/>
                    <a:pt x="1191261" y="109855"/>
                    <a:pt x="1188721" y="109855"/>
                  </a:cubicBezTo>
                  <a:cubicBezTo>
                    <a:pt x="1186181" y="109855"/>
                    <a:pt x="1183006" y="110490"/>
                    <a:pt x="1179831" y="110490"/>
                  </a:cubicBezTo>
                  <a:cubicBezTo>
                    <a:pt x="1176656" y="110490"/>
                    <a:pt x="1173481" y="110490"/>
                    <a:pt x="1170306" y="109220"/>
                  </a:cubicBezTo>
                  <a:cubicBezTo>
                    <a:pt x="1167131" y="108585"/>
                    <a:pt x="1164591" y="107315"/>
                    <a:pt x="1162686" y="105410"/>
                  </a:cubicBezTo>
                  <a:cubicBezTo>
                    <a:pt x="1160781" y="103505"/>
                    <a:pt x="1158241" y="102235"/>
                    <a:pt x="1156336" y="100330"/>
                  </a:cubicBezTo>
                  <a:cubicBezTo>
                    <a:pt x="1154431" y="98425"/>
                    <a:pt x="1152526" y="95885"/>
                    <a:pt x="1151256" y="92710"/>
                  </a:cubicBezTo>
                  <a:cubicBezTo>
                    <a:pt x="1149351" y="89535"/>
                    <a:pt x="1148081" y="86360"/>
                    <a:pt x="1147446" y="82550"/>
                  </a:cubicBezTo>
                  <a:cubicBezTo>
                    <a:pt x="1146811" y="78740"/>
                    <a:pt x="1146176" y="74295"/>
                    <a:pt x="1146176" y="69850"/>
                  </a:cubicBezTo>
                  <a:cubicBezTo>
                    <a:pt x="1146176" y="63500"/>
                    <a:pt x="1146811" y="57150"/>
                    <a:pt x="1148716" y="52070"/>
                  </a:cubicBezTo>
                  <a:cubicBezTo>
                    <a:pt x="1150621" y="46990"/>
                    <a:pt x="1152526" y="42545"/>
                    <a:pt x="1155701" y="39370"/>
                  </a:cubicBezTo>
                  <a:cubicBezTo>
                    <a:pt x="1158876" y="36195"/>
                    <a:pt x="1162051" y="33020"/>
                    <a:pt x="1166496" y="31750"/>
                  </a:cubicBezTo>
                  <a:cubicBezTo>
                    <a:pt x="1170941" y="29845"/>
                    <a:pt x="1175386" y="29210"/>
                    <a:pt x="1180466" y="29210"/>
                  </a:cubicBezTo>
                  <a:close/>
                  <a:moveTo>
                    <a:pt x="901065" y="29210"/>
                  </a:moveTo>
                  <a:cubicBezTo>
                    <a:pt x="906780" y="29210"/>
                    <a:pt x="911225" y="30480"/>
                    <a:pt x="915670" y="32385"/>
                  </a:cubicBezTo>
                  <a:cubicBezTo>
                    <a:pt x="919480" y="34290"/>
                    <a:pt x="923290" y="37465"/>
                    <a:pt x="925830" y="40640"/>
                  </a:cubicBezTo>
                  <a:cubicBezTo>
                    <a:pt x="928370" y="44450"/>
                    <a:pt x="930275" y="48260"/>
                    <a:pt x="932180" y="53340"/>
                  </a:cubicBezTo>
                  <a:cubicBezTo>
                    <a:pt x="933450" y="57785"/>
                    <a:pt x="934085" y="62865"/>
                    <a:pt x="934085" y="68580"/>
                  </a:cubicBezTo>
                  <a:lnTo>
                    <a:pt x="932815" y="68580"/>
                  </a:lnTo>
                  <a:cubicBezTo>
                    <a:pt x="932815" y="68580"/>
                    <a:pt x="932815" y="71120"/>
                    <a:pt x="932815" y="72390"/>
                  </a:cubicBezTo>
                  <a:cubicBezTo>
                    <a:pt x="932815" y="73660"/>
                    <a:pt x="932815" y="74295"/>
                    <a:pt x="932815" y="75565"/>
                  </a:cubicBezTo>
                  <a:lnTo>
                    <a:pt x="881380" y="75565"/>
                  </a:lnTo>
                  <a:cubicBezTo>
                    <a:pt x="881380" y="79375"/>
                    <a:pt x="882650" y="82550"/>
                    <a:pt x="883920" y="85090"/>
                  </a:cubicBezTo>
                  <a:cubicBezTo>
                    <a:pt x="885190" y="87630"/>
                    <a:pt x="886460" y="90170"/>
                    <a:pt x="888365" y="91440"/>
                  </a:cubicBezTo>
                  <a:cubicBezTo>
                    <a:pt x="890270" y="93345"/>
                    <a:pt x="892175" y="94615"/>
                    <a:pt x="894080" y="95250"/>
                  </a:cubicBezTo>
                  <a:cubicBezTo>
                    <a:pt x="895985" y="95885"/>
                    <a:pt x="898525" y="96520"/>
                    <a:pt x="901065" y="96520"/>
                  </a:cubicBezTo>
                  <a:cubicBezTo>
                    <a:pt x="902970" y="96520"/>
                    <a:pt x="904240" y="96520"/>
                    <a:pt x="906145" y="96520"/>
                  </a:cubicBezTo>
                  <a:cubicBezTo>
                    <a:pt x="907415" y="96520"/>
                    <a:pt x="909320" y="95885"/>
                    <a:pt x="910590" y="95250"/>
                  </a:cubicBezTo>
                  <a:cubicBezTo>
                    <a:pt x="911860" y="95250"/>
                    <a:pt x="913130" y="93980"/>
                    <a:pt x="914400" y="93345"/>
                  </a:cubicBezTo>
                  <a:cubicBezTo>
                    <a:pt x="915670" y="93345"/>
                    <a:pt x="916940" y="92075"/>
                    <a:pt x="918845" y="90805"/>
                  </a:cubicBezTo>
                  <a:lnTo>
                    <a:pt x="927735" y="100330"/>
                  </a:lnTo>
                  <a:cubicBezTo>
                    <a:pt x="927735" y="100330"/>
                    <a:pt x="923925" y="103505"/>
                    <a:pt x="922020" y="104775"/>
                  </a:cubicBezTo>
                  <a:cubicBezTo>
                    <a:pt x="920115" y="106045"/>
                    <a:pt x="918210" y="106680"/>
                    <a:pt x="916305" y="107950"/>
                  </a:cubicBezTo>
                  <a:cubicBezTo>
                    <a:pt x="914400" y="108585"/>
                    <a:pt x="911860" y="109855"/>
                    <a:pt x="909320" y="109855"/>
                  </a:cubicBezTo>
                  <a:cubicBezTo>
                    <a:pt x="906780" y="109855"/>
                    <a:pt x="903605" y="110490"/>
                    <a:pt x="900430" y="110490"/>
                  </a:cubicBezTo>
                  <a:cubicBezTo>
                    <a:pt x="897255" y="110490"/>
                    <a:pt x="894080" y="110490"/>
                    <a:pt x="890905" y="109220"/>
                  </a:cubicBezTo>
                  <a:cubicBezTo>
                    <a:pt x="887730" y="108585"/>
                    <a:pt x="885190" y="107315"/>
                    <a:pt x="883285" y="105410"/>
                  </a:cubicBezTo>
                  <a:cubicBezTo>
                    <a:pt x="881380" y="103505"/>
                    <a:pt x="878840" y="102235"/>
                    <a:pt x="876935" y="100330"/>
                  </a:cubicBezTo>
                  <a:cubicBezTo>
                    <a:pt x="875030" y="98425"/>
                    <a:pt x="873125" y="95885"/>
                    <a:pt x="871855" y="92710"/>
                  </a:cubicBezTo>
                  <a:cubicBezTo>
                    <a:pt x="869950" y="89535"/>
                    <a:pt x="868680" y="86360"/>
                    <a:pt x="868045" y="82550"/>
                  </a:cubicBezTo>
                  <a:cubicBezTo>
                    <a:pt x="867410" y="78740"/>
                    <a:pt x="866775" y="74295"/>
                    <a:pt x="866775" y="69850"/>
                  </a:cubicBezTo>
                  <a:cubicBezTo>
                    <a:pt x="866775" y="63500"/>
                    <a:pt x="867410" y="57150"/>
                    <a:pt x="869315" y="52070"/>
                  </a:cubicBezTo>
                  <a:cubicBezTo>
                    <a:pt x="871220" y="46990"/>
                    <a:pt x="873125" y="42545"/>
                    <a:pt x="876300" y="39370"/>
                  </a:cubicBezTo>
                  <a:cubicBezTo>
                    <a:pt x="879475" y="36195"/>
                    <a:pt x="882650" y="33020"/>
                    <a:pt x="887095" y="31750"/>
                  </a:cubicBezTo>
                  <a:cubicBezTo>
                    <a:pt x="891540" y="29845"/>
                    <a:pt x="895985" y="29210"/>
                    <a:pt x="901065" y="29210"/>
                  </a:cubicBezTo>
                  <a:close/>
                  <a:moveTo>
                    <a:pt x="668656" y="29210"/>
                  </a:moveTo>
                  <a:cubicBezTo>
                    <a:pt x="671830" y="29210"/>
                    <a:pt x="674370" y="29210"/>
                    <a:pt x="676275" y="29845"/>
                  </a:cubicBezTo>
                  <a:cubicBezTo>
                    <a:pt x="678181" y="29845"/>
                    <a:pt x="680086" y="31115"/>
                    <a:pt x="681991" y="32385"/>
                  </a:cubicBezTo>
                  <a:lnTo>
                    <a:pt x="678181" y="46990"/>
                  </a:lnTo>
                  <a:lnTo>
                    <a:pt x="676910" y="46990"/>
                  </a:lnTo>
                  <a:cubicBezTo>
                    <a:pt x="676910" y="46990"/>
                    <a:pt x="673736" y="45085"/>
                    <a:pt x="671830" y="45085"/>
                  </a:cubicBezTo>
                  <a:cubicBezTo>
                    <a:pt x="669925" y="45085"/>
                    <a:pt x="668020" y="44450"/>
                    <a:pt x="665480" y="44450"/>
                  </a:cubicBezTo>
                  <a:cubicBezTo>
                    <a:pt x="660400" y="44450"/>
                    <a:pt x="656590" y="46355"/>
                    <a:pt x="654050" y="49530"/>
                  </a:cubicBezTo>
                  <a:cubicBezTo>
                    <a:pt x="651510" y="52705"/>
                    <a:pt x="650240" y="57785"/>
                    <a:pt x="650240" y="64770"/>
                  </a:cubicBezTo>
                  <a:lnTo>
                    <a:pt x="650240" y="109220"/>
                  </a:lnTo>
                  <a:lnTo>
                    <a:pt x="635000" y="109220"/>
                  </a:lnTo>
                  <a:lnTo>
                    <a:pt x="635000" y="31115"/>
                  </a:lnTo>
                  <a:lnTo>
                    <a:pt x="650240" y="31115"/>
                  </a:lnTo>
                  <a:lnTo>
                    <a:pt x="650240" y="38735"/>
                  </a:lnTo>
                  <a:cubicBezTo>
                    <a:pt x="650240" y="38735"/>
                    <a:pt x="652145" y="36195"/>
                    <a:pt x="653416" y="34925"/>
                  </a:cubicBezTo>
                  <a:cubicBezTo>
                    <a:pt x="654685" y="33655"/>
                    <a:pt x="655955" y="33020"/>
                    <a:pt x="657861" y="31750"/>
                  </a:cubicBezTo>
                  <a:cubicBezTo>
                    <a:pt x="659130" y="31115"/>
                    <a:pt x="661035" y="30480"/>
                    <a:pt x="662940" y="29845"/>
                  </a:cubicBezTo>
                  <a:cubicBezTo>
                    <a:pt x="664845" y="29845"/>
                    <a:pt x="666751" y="29210"/>
                    <a:pt x="668656" y="29210"/>
                  </a:cubicBezTo>
                  <a:close/>
                  <a:moveTo>
                    <a:pt x="586739" y="29210"/>
                  </a:moveTo>
                  <a:cubicBezTo>
                    <a:pt x="592454" y="29210"/>
                    <a:pt x="596899" y="30480"/>
                    <a:pt x="601344" y="32385"/>
                  </a:cubicBezTo>
                  <a:cubicBezTo>
                    <a:pt x="605154" y="34290"/>
                    <a:pt x="608964" y="37465"/>
                    <a:pt x="611504" y="40640"/>
                  </a:cubicBezTo>
                  <a:cubicBezTo>
                    <a:pt x="614044" y="44450"/>
                    <a:pt x="615949" y="48260"/>
                    <a:pt x="617854" y="53340"/>
                  </a:cubicBezTo>
                  <a:cubicBezTo>
                    <a:pt x="619124" y="57785"/>
                    <a:pt x="619759" y="62865"/>
                    <a:pt x="619759" y="68580"/>
                  </a:cubicBezTo>
                  <a:lnTo>
                    <a:pt x="618489" y="68580"/>
                  </a:lnTo>
                  <a:cubicBezTo>
                    <a:pt x="618489" y="68580"/>
                    <a:pt x="618489" y="71120"/>
                    <a:pt x="618489" y="72390"/>
                  </a:cubicBezTo>
                  <a:cubicBezTo>
                    <a:pt x="618489" y="73660"/>
                    <a:pt x="618489" y="74295"/>
                    <a:pt x="618489" y="75565"/>
                  </a:cubicBezTo>
                  <a:lnTo>
                    <a:pt x="567054" y="75565"/>
                  </a:lnTo>
                  <a:cubicBezTo>
                    <a:pt x="567054" y="79375"/>
                    <a:pt x="568324" y="82550"/>
                    <a:pt x="569594" y="85090"/>
                  </a:cubicBezTo>
                  <a:cubicBezTo>
                    <a:pt x="570864" y="87630"/>
                    <a:pt x="572134" y="90170"/>
                    <a:pt x="574039" y="91440"/>
                  </a:cubicBezTo>
                  <a:cubicBezTo>
                    <a:pt x="575944" y="93345"/>
                    <a:pt x="577849" y="94615"/>
                    <a:pt x="579754" y="95250"/>
                  </a:cubicBezTo>
                  <a:cubicBezTo>
                    <a:pt x="581659" y="95885"/>
                    <a:pt x="584199" y="96520"/>
                    <a:pt x="586739" y="96520"/>
                  </a:cubicBezTo>
                  <a:cubicBezTo>
                    <a:pt x="588644" y="96520"/>
                    <a:pt x="589914" y="96520"/>
                    <a:pt x="591819" y="96520"/>
                  </a:cubicBezTo>
                  <a:cubicBezTo>
                    <a:pt x="593089" y="96520"/>
                    <a:pt x="594994" y="95885"/>
                    <a:pt x="596264" y="95250"/>
                  </a:cubicBezTo>
                  <a:cubicBezTo>
                    <a:pt x="597534" y="95250"/>
                    <a:pt x="598804" y="93980"/>
                    <a:pt x="600074" y="93345"/>
                  </a:cubicBezTo>
                  <a:cubicBezTo>
                    <a:pt x="601344" y="93345"/>
                    <a:pt x="602614" y="92075"/>
                    <a:pt x="604519" y="90805"/>
                  </a:cubicBezTo>
                  <a:lnTo>
                    <a:pt x="613409" y="100330"/>
                  </a:lnTo>
                  <a:cubicBezTo>
                    <a:pt x="613409" y="100330"/>
                    <a:pt x="609599" y="103505"/>
                    <a:pt x="607694" y="104775"/>
                  </a:cubicBezTo>
                  <a:cubicBezTo>
                    <a:pt x="605789" y="106045"/>
                    <a:pt x="603884" y="106680"/>
                    <a:pt x="601979" y="107950"/>
                  </a:cubicBezTo>
                  <a:cubicBezTo>
                    <a:pt x="600074" y="108585"/>
                    <a:pt x="597534" y="109855"/>
                    <a:pt x="594994" y="109855"/>
                  </a:cubicBezTo>
                  <a:cubicBezTo>
                    <a:pt x="592454" y="109855"/>
                    <a:pt x="589279" y="110490"/>
                    <a:pt x="586104" y="110490"/>
                  </a:cubicBezTo>
                  <a:cubicBezTo>
                    <a:pt x="582929" y="110490"/>
                    <a:pt x="579754" y="110490"/>
                    <a:pt x="576579" y="109220"/>
                  </a:cubicBezTo>
                  <a:cubicBezTo>
                    <a:pt x="573404" y="108585"/>
                    <a:pt x="570864" y="107315"/>
                    <a:pt x="568959" y="105410"/>
                  </a:cubicBezTo>
                  <a:cubicBezTo>
                    <a:pt x="566419" y="104140"/>
                    <a:pt x="564514" y="102235"/>
                    <a:pt x="562609" y="100330"/>
                  </a:cubicBezTo>
                  <a:cubicBezTo>
                    <a:pt x="560704" y="98425"/>
                    <a:pt x="558799" y="95885"/>
                    <a:pt x="557529" y="92710"/>
                  </a:cubicBezTo>
                  <a:cubicBezTo>
                    <a:pt x="555624" y="89535"/>
                    <a:pt x="554354" y="86360"/>
                    <a:pt x="553719" y="82550"/>
                  </a:cubicBezTo>
                  <a:cubicBezTo>
                    <a:pt x="553084" y="78740"/>
                    <a:pt x="552449" y="74295"/>
                    <a:pt x="552449" y="69850"/>
                  </a:cubicBezTo>
                  <a:cubicBezTo>
                    <a:pt x="552449" y="63500"/>
                    <a:pt x="553084" y="57150"/>
                    <a:pt x="554989" y="52070"/>
                  </a:cubicBezTo>
                  <a:cubicBezTo>
                    <a:pt x="556894" y="46990"/>
                    <a:pt x="558799" y="42545"/>
                    <a:pt x="561974" y="39370"/>
                  </a:cubicBezTo>
                  <a:cubicBezTo>
                    <a:pt x="565149" y="36195"/>
                    <a:pt x="568324" y="33020"/>
                    <a:pt x="572769" y="31750"/>
                  </a:cubicBezTo>
                  <a:cubicBezTo>
                    <a:pt x="577214" y="29845"/>
                    <a:pt x="581659" y="29210"/>
                    <a:pt x="586739" y="29210"/>
                  </a:cubicBezTo>
                  <a:close/>
                  <a:moveTo>
                    <a:pt x="400050" y="29210"/>
                  </a:moveTo>
                  <a:cubicBezTo>
                    <a:pt x="405765" y="29210"/>
                    <a:pt x="410210" y="30480"/>
                    <a:pt x="414655" y="32385"/>
                  </a:cubicBezTo>
                  <a:cubicBezTo>
                    <a:pt x="418465" y="34290"/>
                    <a:pt x="422275" y="37465"/>
                    <a:pt x="424815" y="40640"/>
                  </a:cubicBezTo>
                  <a:cubicBezTo>
                    <a:pt x="427355" y="44450"/>
                    <a:pt x="429260" y="48260"/>
                    <a:pt x="431165" y="53340"/>
                  </a:cubicBezTo>
                  <a:cubicBezTo>
                    <a:pt x="432435" y="57785"/>
                    <a:pt x="433070" y="62865"/>
                    <a:pt x="433070" y="68580"/>
                  </a:cubicBezTo>
                  <a:lnTo>
                    <a:pt x="431800" y="68580"/>
                  </a:lnTo>
                  <a:cubicBezTo>
                    <a:pt x="431800" y="68580"/>
                    <a:pt x="431800" y="71120"/>
                    <a:pt x="431800" y="72390"/>
                  </a:cubicBezTo>
                  <a:cubicBezTo>
                    <a:pt x="431800" y="73660"/>
                    <a:pt x="431800" y="74295"/>
                    <a:pt x="431800" y="75565"/>
                  </a:cubicBezTo>
                  <a:lnTo>
                    <a:pt x="380365" y="75565"/>
                  </a:lnTo>
                  <a:cubicBezTo>
                    <a:pt x="380365" y="79375"/>
                    <a:pt x="381635" y="82550"/>
                    <a:pt x="382905" y="85090"/>
                  </a:cubicBezTo>
                  <a:cubicBezTo>
                    <a:pt x="384175" y="87630"/>
                    <a:pt x="385445" y="90170"/>
                    <a:pt x="387350" y="91440"/>
                  </a:cubicBezTo>
                  <a:cubicBezTo>
                    <a:pt x="389255" y="93345"/>
                    <a:pt x="391160" y="94615"/>
                    <a:pt x="393065" y="95250"/>
                  </a:cubicBezTo>
                  <a:cubicBezTo>
                    <a:pt x="394970" y="95885"/>
                    <a:pt x="397510" y="96520"/>
                    <a:pt x="400050" y="96520"/>
                  </a:cubicBezTo>
                  <a:cubicBezTo>
                    <a:pt x="401955" y="96520"/>
                    <a:pt x="403225" y="96520"/>
                    <a:pt x="405130" y="96520"/>
                  </a:cubicBezTo>
                  <a:cubicBezTo>
                    <a:pt x="406400" y="96520"/>
                    <a:pt x="408305" y="95885"/>
                    <a:pt x="409575" y="95250"/>
                  </a:cubicBezTo>
                  <a:cubicBezTo>
                    <a:pt x="410845" y="95250"/>
                    <a:pt x="412115" y="93980"/>
                    <a:pt x="413385" y="93345"/>
                  </a:cubicBezTo>
                  <a:cubicBezTo>
                    <a:pt x="414655" y="93345"/>
                    <a:pt x="415925" y="92075"/>
                    <a:pt x="417830" y="90805"/>
                  </a:cubicBezTo>
                  <a:lnTo>
                    <a:pt x="426720" y="100330"/>
                  </a:lnTo>
                  <a:cubicBezTo>
                    <a:pt x="426720" y="100330"/>
                    <a:pt x="422910" y="103505"/>
                    <a:pt x="421005" y="104775"/>
                  </a:cubicBezTo>
                  <a:cubicBezTo>
                    <a:pt x="419100" y="106045"/>
                    <a:pt x="417195" y="106680"/>
                    <a:pt x="415290" y="107950"/>
                  </a:cubicBezTo>
                  <a:cubicBezTo>
                    <a:pt x="413385" y="108585"/>
                    <a:pt x="410845" y="109855"/>
                    <a:pt x="408305" y="109855"/>
                  </a:cubicBezTo>
                  <a:cubicBezTo>
                    <a:pt x="405765" y="109855"/>
                    <a:pt x="402590" y="110490"/>
                    <a:pt x="399415" y="110490"/>
                  </a:cubicBezTo>
                  <a:cubicBezTo>
                    <a:pt x="396240" y="110490"/>
                    <a:pt x="393065" y="110490"/>
                    <a:pt x="389890" y="109220"/>
                  </a:cubicBezTo>
                  <a:cubicBezTo>
                    <a:pt x="386715" y="108585"/>
                    <a:pt x="384175" y="107315"/>
                    <a:pt x="382270" y="105410"/>
                  </a:cubicBezTo>
                  <a:cubicBezTo>
                    <a:pt x="380365" y="103505"/>
                    <a:pt x="377825" y="102235"/>
                    <a:pt x="375920" y="100330"/>
                  </a:cubicBezTo>
                  <a:cubicBezTo>
                    <a:pt x="374015" y="98425"/>
                    <a:pt x="372110" y="95885"/>
                    <a:pt x="370840" y="92710"/>
                  </a:cubicBezTo>
                  <a:cubicBezTo>
                    <a:pt x="368935" y="89535"/>
                    <a:pt x="367665" y="86360"/>
                    <a:pt x="367030" y="82550"/>
                  </a:cubicBezTo>
                  <a:cubicBezTo>
                    <a:pt x="366395" y="78740"/>
                    <a:pt x="365760" y="74295"/>
                    <a:pt x="365760" y="69850"/>
                  </a:cubicBezTo>
                  <a:cubicBezTo>
                    <a:pt x="365760" y="63500"/>
                    <a:pt x="366395" y="57150"/>
                    <a:pt x="368300" y="52070"/>
                  </a:cubicBezTo>
                  <a:cubicBezTo>
                    <a:pt x="370205" y="46990"/>
                    <a:pt x="372110" y="42545"/>
                    <a:pt x="375285" y="39370"/>
                  </a:cubicBezTo>
                  <a:cubicBezTo>
                    <a:pt x="378460" y="36195"/>
                    <a:pt x="381635" y="33020"/>
                    <a:pt x="386080" y="31750"/>
                  </a:cubicBezTo>
                  <a:cubicBezTo>
                    <a:pt x="390525" y="29845"/>
                    <a:pt x="394970" y="29210"/>
                    <a:pt x="400050" y="29210"/>
                  </a:cubicBezTo>
                  <a:close/>
                  <a:moveTo>
                    <a:pt x="201930" y="29210"/>
                  </a:moveTo>
                  <a:cubicBezTo>
                    <a:pt x="207645" y="29210"/>
                    <a:pt x="212090" y="30480"/>
                    <a:pt x="216535" y="32385"/>
                  </a:cubicBezTo>
                  <a:cubicBezTo>
                    <a:pt x="220345" y="34290"/>
                    <a:pt x="224155" y="37465"/>
                    <a:pt x="226695" y="40640"/>
                  </a:cubicBezTo>
                  <a:cubicBezTo>
                    <a:pt x="229235" y="44450"/>
                    <a:pt x="231140" y="48260"/>
                    <a:pt x="233045" y="53340"/>
                  </a:cubicBezTo>
                  <a:cubicBezTo>
                    <a:pt x="234315" y="57785"/>
                    <a:pt x="234950" y="62865"/>
                    <a:pt x="234950" y="68580"/>
                  </a:cubicBezTo>
                  <a:lnTo>
                    <a:pt x="233680" y="68580"/>
                  </a:lnTo>
                  <a:cubicBezTo>
                    <a:pt x="233680" y="68580"/>
                    <a:pt x="233680" y="71120"/>
                    <a:pt x="233680" y="72390"/>
                  </a:cubicBezTo>
                  <a:cubicBezTo>
                    <a:pt x="233680" y="73660"/>
                    <a:pt x="233680" y="74295"/>
                    <a:pt x="233680" y="75565"/>
                  </a:cubicBezTo>
                  <a:lnTo>
                    <a:pt x="182245" y="75565"/>
                  </a:lnTo>
                  <a:cubicBezTo>
                    <a:pt x="182245" y="79375"/>
                    <a:pt x="183515" y="82550"/>
                    <a:pt x="184785" y="85090"/>
                  </a:cubicBezTo>
                  <a:cubicBezTo>
                    <a:pt x="186055" y="87630"/>
                    <a:pt x="187325" y="90170"/>
                    <a:pt x="189230" y="91440"/>
                  </a:cubicBezTo>
                  <a:cubicBezTo>
                    <a:pt x="191135" y="93345"/>
                    <a:pt x="193040" y="94615"/>
                    <a:pt x="194945" y="95250"/>
                  </a:cubicBezTo>
                  <a:cubicBezTo>
                    <a:pt x="196850" y="95885"/>
                    <a:pt x="199390" y="96520"/>
                    <a:pt x="201930" y="96520"/>
                  </a:cubicBezTo>
                  <a:cubicBezTo>
                    <a:pt x="203835" y="96520"/>
                    <a:pt x="205105" y="96520"/>
                    <a:pt x="207010" y="96520"/>
                  </a:cubicBezTo>
                  <a:cubicBezTo>
                    <a:pt x="208280" y="96520"/>
                    <a:pt x="210185" y="95885"/>
                    <a:pt x="211455" y="95250"/>
                  </a:cubicBezTo>
                  <a:cubicBezTo>
                    <a:pt x="212725" y="95250"/>
                    <a:pt x="213995" y="93980"/>
                    <a:pt x="215265" y="93345"/>
                  </a:cubicBezTo>
                  <a:cubicBezTo>
                    <a:pt x="216535" y="93345"/>
                    <a:pt x="217805" y="92075"/>
                    <a:pt x="219710" y="90805"/>
                  </a:cubicBezTo>
                  <a:lnTo>
                    <a:pt x="228600" y="100330"/>
                  </a:lnTo>
                  <a:cubicBezTo>
                    <a:pt x="228600" y="100330"/>
                    <a:pt x="224790" y="103505"/>
                    <a:pt x="222885" y="104775"/>
                  </a:cubicBezTo>
                  <a:cubicBezTo>
                    <a:pt x="220980" y="106045"/>
                    <a:pt x="219075" y="106680"/>
                    <a:pt x="217170" y="107950"/>
                  </a:cubicBezTo>
                  <a:cubicBezTo>
                    <a:pt x="215265" y="108585"/>
                    <a:pt x="212725" y="109855"/>
                    <a:pt x="210185" y="109855"/>
                  </a:cubicBezTo>
                  <a:cubicBezTo>
                    <a:pt x="207645" y="109855"/>
                    <a:pt x="204470" y="110490"/>
                    <a:pt x="201295" y="110490"/>
                  </a:cubicBezTo>
                  <a:cubicBezTo>
                    <a:pt x="198120" y="110490"/>
                    <a:pt x="194945" y="110490"/>
                    <a:pt x="191770" y="109220"/>
                  </a:cubicBezTo>
                  <a:cubicBezTo>
                    <a:pt x="188595" y="108585"/>
                    <a:pt x="186055" y="107315"/>
                    <a:pt x="184150" y="105410"/>
                  </a:cubicBezTo>
                  <a:cubicBezTo>
                    <a:pt x="181610" y="104140"/>
                    <a:pt x="179705" y="102235"/>
                    <a:pt x="177800" y="100330"/>
                  </a:cubicBezTo>
                  <a:cubicBezTo>
                    <a:pt x="175895" y="98425"/>
                    <a:pt x="173990" y="95885"/>
                    <a:pt x="172720" y="92710"/>
                  </a:cubicBezTo>
                  <a:cubicBezTo>
                    <a:pt x="170815" y="89535"/>
                    <a:pt x="169545" y="86360"/>
                    <a:pt x="168910" y="82550"/>
                  </a:cubicBezTo>
                  <a:cubicBezTo>
                    <a:pt x="168275" y="78740"/>
                    <a:pt x="167640" y="74295"/>
                    <a:pt x="167640" y="69850"/>
                  </a:cubicBezTo>
                  <a:cubicBezTo>
                    <a:pt x="167640" y="63500"/>
                    <a:pt x="168275" y="57150"/>
                    <a:pt x="170180" y="52070"/>
                  </a:cubicBezTo>
                  <a:cubicBezTo>
                    <a:pt x="172085" y="46990"/>
                    <a:pt x="173990" y="42545"/>
                    <a:pt x="177165" y="39370"/>
                  </a:cubicBezTo>
                  <a:cubicBezTo>
                    <a:pt x="180340" y="36195"/>
                    <a:pt x="183515" y="33020"/>
                    <a:pt x="187960" y="31750"/>
                  </a:cubicBezTo>
                  <a:cubicBezTo>
                    <a:pt x="192405" y="29845"/>
                    <a:pt x="196850" y="29210"/>
                    <a:pt x="201930" y="29210"/>
                  </a:cubicBezTo>
                  <a:close/>
                  <a:moveTo>
                    <a:pt x="4664706" y="28574"/>
                  </a:moveTo>
                  <a:cubicBezTo>
                    <a:pt x="4669786" y="28574"/>
                    <a:pt x="4674231" y="29209"/>
                    <a:pt x="4678676" y="31749"/>
                  </a:cubicBezTo>
                  <a:cubicBezTo>
                    <a:pt x="4683121" y="33654"/>
                    <a:pt x="4686296" y="36194"/>
                    <a:pt x="4689471" y="40004"/>
                  </a:cubicBezTo>
                  <a:cubicBezTo>
                    <a:pt x="4692646" y="43814"/>
                    <a:pt x="4695186" y="47624"/>
                    <a:pt x="4696456" y="52704"/>
                  </a:cubicBezTo>
                  <a:cubicBezTo>
                    <a:pt x="4698361" y="57784"/>
                    <a:pt x="4698996" y="63499"/>
                    <a:pt x="4698996" y="69214"/>
                  </a:cubicBezTo>
                  <a:lnTo>
                    <a:pt x="4699631" y="69214"/>
                  </a:lnTo>
                  <a:cubicBezTo>
                    <a:pt x="4699631" y="75564"/>
                    <a:pt x="4698996" y="81279"/>
                    <a:pt x="4697091" y="86359"/>
                  </a:cubicBezTo>
                  <a:cubicBezTo>
                    <a:pt x="4695186" y="91439"/>
                    <a:pt x="4692646" y="95884"/>
                    <a:pt x="4689471" y="99059"/>
                  </a:cubicBezTo>
                  <a:cubicBezTo>
                    <a:pt x="4686296" y="102869"/>
                    <a:pt x="4682486" y="105409"/>
                    <a:pt x="4678041" y="107314"/>
                  </a:cubicBezTo>
                  <a:cubicBezTo>
                    <a:pt x="4673596" y="109219"/>
                    <a:pt x="4669151" y="109854"/>
                    <a:pt x="4664071" y="109854"/>
                  </a:cubicBezTo>
                  <a:cubicBezTo>
                    <a:pt x="4658991" y="109854"/>
                    <a:pt x="4654546" y="108584"/>
                    <a:pt x="4650101" y="106679"/>
                  </a:cubicBezTo>
                  <a:cubicBezTo>
                    <a:pt x="4645656" y="104774"/>
                    <a:pt x="4642481" y="102234"/>
                    <a:pt x="4639306" y="98424"/>
                  </a:cubicBezTo>
                  <a:cubicBezTo>
                    <a:pt x="4636131" y="94614"/>
                    <a:pt x="4633591" y="90804"/>
                    <a:pt x="4632321" y="85724"/>
                  </a:cubicBezTo>
                  <a:cubicBezTo>
                    <a:pt x="4630416" y="80644"/>
                    <a:pt x="4629781" y="74929"/>
                    <a:pt x="4629781" y="69214"/>
                  </a:cubicBezTo>
                  <a:cubicBezTo>
                    <a:pt x="4629781" y="63499"/>
                    <a:pt x="4630416" y="57149"/>
                    <a:pt x="4632321" y="52069"/>
                  </a:cubicBezTo>
                  <a:cubicBezTo>
                    <a:pt x="4634226" y="46989"/>
                    <a:pt x="4636766" y="42544"/>
                    <a:pt x="4639941" y="39369"/>
                  </a:cubicBezTo>
                  <a:cubicBezTo>
                    <a:pt x="4643116" y="35559"/>
                    <a:pt x="4646926" y="33019"/>
                    <a:pt x="4650736" y="31114"/>
                  </a:cubicBezTo>
                  <a:cubicBezTo>
                    <a:pt x="4655181" y="29209"/>
                    <a:pt x="4659626" y="28574"/>
                    <a:pt x="4664706" y="28574"/>
                  </a:cubicBezTo>
                  <a:close/>
                  <a:moveTo>
                    <a:pt x="4264655" y="28574"/>
                  </a:moveTo>
                  <a:cubicBezTo>
                    <a:pt x="4269735" y="28574"/>
                    <a:pt x="4274180" y="29209"/>
                    <a:pt x="4278625" y="31749"/>
                  </a:cubicBezTo>
                  <a:cubicBezTo>
                    <a:pt x="4283070" y="33654"/>
                    <a:pt x="4286245" y="36194"/>
                    <a:pt x="4289420" y="40004"/>
                  </a:cubicBezTo>
                  <a:cubicBezTo>
                    <a:pt x="4292595" y="43814"/>
                    <a:pt x="4295135" y="47624"/>
                    <a:pt x="4296405" y="52704"/>
                  </a:cubicBezTo>
                  <a:cubicBezTo>
                    <a:pt x="4298310" y="57784"/>
                    <a:pt x="4298945" y="63499"/>
                    <a:pt x="4298945" y="69214"/>
                  </a:cubicBezTo>
                  <a:lnTo>
                    <a:pt x="4299580" y="69214"/>
                  </a:lnTo>
                  <a:cubicBezTo>
                    <a:pt x="4299580" y="75564"/>
                    <a:pt x="4298945" y="81279"/>
                    <a:pt x="4297040" y="86359"/>
                  </a:cubicBezTo>
                  <a:cubicBezTo>
                    <a:pt x="4295135" y="91439"/>
                    <a:pt x="4292595" y="95884"/>
                    <a:pt x="4289420" y="99059"/>
                  </a:cubicBezTo>
                  <a:cubicBezTo>
                    <a:pt x="4286245" y="102869"/>
                    <a:pt x="4282435" y="105409"/>
                    <a:pt x="4277990" y="107314"/>
                  </a:cubicBezTo>
                  <a:cubicBezTo>
                    <a:pt x="4273545" y="109219"/>
                    <a:pt x="4269100" y="109854"/>
                    <a:pt x="4264020" y="109854"/>
                  </a:cubicBezTo>
                  <a:cubicBezTo>
                    <a:pt x="4258940" y="109854"/>
                    <a:pt x="4254495" y="108584"/>
                    <a:pt x="4250050" y="106679"/>
                  </a:cubicBezTo>
                  <a:cubicBezTo>
                    <a:pt x="4245605" y="104774"/>
                    <a:pt x="4242430" y="102234"/>
                    <a:pt x="4239255" y="98424"/>
                  </a:cubicBezTo>
                  <a:cubicBezTo>
                    <a:pt x="4236080" y="94614"/>
                    <a:pt x="4233540" y="90804"/>
                    <a:pt x="4232270" y="85724"/>
                  </a:cubicBezTo>
                  <a:cubicBezTo>
                    <a:pt x="4230365" y="80644"/>
                    <a:pt x="4229730" y="74929"/>
                    <a:pt x="4229730" y="69214"/>
                  </a:cubicBezTo>
                  <a:cubicBezTo>
                    <a:pt x="4229730" y="63499"/>
                    <a:pt x="4230365" y="57149"/>
                    <a:pt x="4232270" y="52069"/>
                  </a:cubicBezTo>
                  <a:cubicBezTo>
                    <a:pt x="4234175" y="46989"/>
                    <a:pt x="4236715" y="42544"/>
                    <a:pt x="4239890" y="39369"/>
                  </a:cubicBezTo>
                  <a:cubicBezTo>
                    <a:pt x="4243065" y="35559"/>
                    <a:pt x="4246875" y="33019"/>
                    <a:pt x="4250685" y="31114"/>
                  </a:cubicBezTo>
                  <a:cubicBezTo>
                    <a:pt x="4255130" y="29209"/>
                    <a:pt x="4259575" y="28574"/>
                    <a:pt x="4264655" y="28574"/>
                  </a:cubicBezTo>
                  <a:close/>
                  <a:moveTo>
                    <a:pt x="1420495" y="28574"/>
                  </a:moveTo>
                  <a:cubicBezTo>
                    <a:pt x="1425575" y="28574"/>
                    <a:pt x="1430020" y="29209"/>
                    <a:pt x="1434465" y="31749"/>
                  </a:cubicBezTo>
                  <a:cubicBezTo>
                    <a:pt x="1438910" y="33654"/>
                    <a:pt x="1442085" y="36194"/>
                    <a:pt x="1445260" y="40004"/>
                  </a:cubicBezTo>
                  <a:cubicBezTo>
                    <a:pt x="1448435" y="43814"/>
                    <a:pt x="1450975" y="47624"/>
                    <a:pt x="1452245" y="52704"/>
                  </a:cubicBezTo>
                  <a:cubicBezTo>
                    <a:pt x="1454150" y="57784"/>
                    <a:pt x="1454785" y="63499"/>
                    <a:pt x="1454785" y="69214"/>
                  </a:cubicBezTo>
                  <a:lnTo>
                    <a:pt x="1455420" y="69214"/>
                  </a:lnTo>
                  <a:cubicBezTo>
                    <a:pt x="1455420" y="75564"/>
                    <a:pt x="1454785" y="81279"/>
                    <a:pt x="1452880" y="86359"/>
                  </a:cubicBezTo>
                  <a:cubicBezTo>
                    <a:pt x="1450975" y="91439"/>
                    <a:pt x="1448435" y="95884"/>
                    <a:pt x="1445260" y="99059"/>
                  </a:cubicBezTo>
                  <a:cubicBezTo>
                    <a:pt x="1442085" y="102869"/>
                    <a:pt x="1438275" y="105409"/>
                    <a:pt x="1433830" y="107314"/>
                  </a:cubicBezTo>
                  <a:cubicBezTo>
                    <a:pt x="1429385" y="109219"/>
                    <a:pt x="1424940" y="109854"/>
                    <a:pt x="1419860" y="109854"/>
                  </a:cubicBezTo>
                  <a:cubicBezTo>
                    <a:pt x="1414780" y="109854"/>
                    <a:pt x="1410335" y="108584"/>
                    <a:pt x="1405890" y="106679"/>
                  </a:cubicBezTo>
                  <a:cubicBezTo>
                    <a:pt x="1401444" y="104774"/>
                    <a:pt x="1398270" y="102234"/>
                    <a:pt x="1395095" y="98424"/>
                  </a:cubicBezTo>
                  <a:cubicBezTo>
                    <a:pt x="1391920" y="94614"/>
                    <a:pt x="1389380" y="90804"/>
                    <a:pt x="1388110" y="85724"/>
                  </a:cubicBezTo>
                  <a:cubicBezTo>
                    <a:pt x="1386205" y="80644"/>
                    <a:pt x="1385570" y="74929"/>
                    <a:pt x="1385570" y="69214"/>
                  </a:cubicBezTo>
                  <a:cubicBezTo>
                    <a:pt x="1385570" y="63499"/>
                    <a:pt x="1386205" y="57149"/>
                    <a:pt x="1388110" y="52069"/>
                  </a:cubicBezTo>
                  <a:cubicBezTo>
                    <a:pt x="1390015" y="46989"/>
                    <a:pt x="1392555" y="42544"/>
                    <a:pt x="1395730" y="39369"/>
                  </a:cubicBezTo>
                  <a:cubicBezTo>
                    <a:pt x="1398905" y="35559"/>
                    <a:pt x="1402715" y="33019"/>
                    <a:pt x="1406525" y="31114"/>
                  </a:cubicBezTo>
                  <a:cubicBezTo>
                    <a:pt x="1410970" y="29209"/>
                    <a:pt x="1415415" y="28574"/>
                    <a:pt x="1420495" y="28574"/>
                  </a:cubicBezTo>
                  <a:close/>
                  <a:moveTo>
                    <a:pt x="3143245" y="5079"/>
                  </a:moveTo>
                  <a:lnTo>
                    <a:pt x="3219445" y="5079"/>
                  </a:lnTo>
                  <a:lnTo>
                    <a:pt x="3219445" y="20319"/>
                  </a:lnTo>
                  <a:lnTo>
                    <a:pt x="3188965" y="20319"/>
                  </a:lnTo>
                  <a:lnTo>
                    <a:pt x="3188965" y="108584"/>
                  </a:lnTo>
                  <a:lnTo>
                    <a:pt x="3173090" y="108584"/>
                  </a:lnTo>
                  <a:lnTo>
                    <a:pt x="3173090" y="20319"/>
                  </a:lnTo>
                  <a:lnTo>
                    <a:pt x="3143245" y="20319"/>
                  </a:lnTo>
                  <a:close/>
                  <a:moveTo>
                    <a:pt x="1628774" y="5079"/>
                  </a:moveTo>
                  <a:lnTo>
                    <a:pt x="1704970" y="5079"/>
                  </a:lnTo>
                  <a:lnTo>
                    <a:pt x="1704970" y="20319"/>
                  </a:lnTo>
                  <a:lnTo>
                    <a:pt x="1675129" y="20319"/>
                  </a:lnTo>
                  <a:lnTo>
                    <a:pt x="1675129" y="108584"/>
                  </a:lnTo>
                  <a:lnTo>
                    <a:pt x="1659255" y="108584"/>
                  </a:lnTo>
                  <a:lnTo>
                    <a:pt x="1659255" y="20319"/>
                  </a:lnTo>
                  <a:lnTo>
                    <a:pt x="1628774" y="20319"/>
                  </a:lnTo>
                  <a:close/>
                  <a:moveTo>
                    <a:pt x="0" y="5079"/>
                  </a:moveTo>
                  <a:lnTo>
                    <a:pt x="76200" y="5079"/>
                  </a:lnTo>
                  <a:lnTo>
                    <a:pt x="76200" y="20319"/>
                  </a:lnTo>
                  <a:lnTo>
                    <a:pt x="45720" y="20319"/>
                  </a:lnTo>
                  <a:lnTo>
                    <a:pt x="45720" y="108584"/>
                  </a:lnTo>
                  <a:lnTo>
                    <a:pt x="29845" y="108584"/>
                  </a:lnTo>
                  <a:lnTo>
                    <a:pt x="29845" y="20319"/>
                  </a:lnTo>
                  <a:lnTo>
                    <a:pt x="0" y="20319"/>
                  </a:lnTo>
                  <a:close/>
                  <a:moveTo>
                    <a:pt x="1362075" y="1269"/>
                  </a:moveTo>
                  <a:cubicBezTo>
                    <a:pt x="1363345" y="1269"/>
                    <a:pt x="1364615" y="1269"/>
                    <a:pt x="1365885" y="1904"/>
                  </a:cubicBezTo>
                  <a:cubicBezTo>
                    <a:pt x="1367155" y="1904"/>
                    <a:pt x="1367790" y="3174"/>
                    <a:pt x="1369060" y="3809"/>
                  </a:cubicBezTo>
                  <a:cubicBezTo>
                    <a:pt x="1369695" y="4444"/>
                    <a:pt x="1370965" y="5714"/>
                    <a:pt x="1370965" y="6984"/>
                  </a:cubicBezTo>
                  <a:cubicBezTo>
                    <a:pt x="1370965" y="8254"/>
                    <a:pt x="1371600" y="9524"/>
                    <a:pt x="1371600" y="10794"/>
                  </a:cubicBezTo>
                  <a:cubicBezTo>
                    <a:pt x="1371600" y="10794"/>
                    <a:pt x="1371600" y="13334"/>
                    <a:pt x="1370965" y="14604"/>
                  </a:cubicBezTo>
                  <a:cubicBezTo>
                    <a:pt x="1370965" y="15874"/>
                    <a:pt x="1369695" y="17144"/>
                    <a:pt x="1369060" y="17779"/>
                  </a:cubicBezTo>
                  <a:cubicBezTo>
                    <a:pt x="1368425" y="18414"/>
                    <a:pt x="1367155" y="19684"/>
                    <a:pt x="1365885" y="19684"/>
                  </a:cubicBezTo>
                  <a:cubicBezTo>
                    <a:pt x="1364615" y="19684"/>
                    <a:pt x="1363345" y="20319"/>
                    <a:pt x="1362075" y="20319"/>
                  </a:cubicBezTo>
                  <a:cubicBezTo>
                    <a:pt x="1360805" y="20319"/>
                    <a:pt x="1359535" y="20319"/>
                    <a:pt x="1358265" y="19684"/>
                  </a:cubicBezTo>
                  <a:cubicBezTo>
                    <a:pt x="1356995" y="19684"/>
                    <a:pt x="1355725" y="18414"/>
                    <a:pt x="1355090" y="17779"/>
                  </a:cubicBezTo>
                  <a:cubicBezTo>
                    <a:pt x="1354455" y="17144"/>
                    <a:pt x="1353185" y="15874"/>
                    <a:pt x="1353185" y="14604"/>
                  </a:cubicBezTo>
                  <a:cubicBezTo>
                    <a:pt x="1353185" y="13334"/>
                    <a:pt x="1352550" y="12064"/>
                    <a:pt x="1352550" y="10794"/>
                  </a:cubicBezTo>
                  <a:cubicBezTo>
                    <a:pt x="1352550" y="9524"/>
                    <a:pt x="1352550" y="8254"/>
                    <a:pt x="1353185" y="6984"/>
                  </a:cubicBezTo>
                  <a:cubicBezTo>
                    <a:pt x="1353185" y="5714"/>
                    <a:pt x="1354455" y="4444"/>
                    <a:pt x="1355090" y="3809"/>
                  </a:cubicBezTo>
                  <a:cubicBezTo>
                    <a:pt x="1355725" y="3174"/>
                    <a:pt x="1356995" y="1904"/>
                    <a:pt x="1358265" y="1904"/>
                  </a:cubicBezTo>
                  <a:cubicBezTo>
                    <a:pt x="1359535" y="1904"/>
                    <a:pt x="1360805" y="1269"/>
                    <a:pt x="1362075" y="1269"/>
                  </a:cubicBezTo>
                  <a:close/>
                  <a:moveTo>
                    <a:pt x="4789801" y="634"/>
                  </a:moveTo>
                  <a:lnTo>
                    <a:pt x="4789801" y="65404"/>
                  </a:lnTo>
                  <a:lnTo>
                    <a:pt x="4814566" y="31114"/>
                  </a:lnTo>
                  <a:lnTo>
                    <a:pt x="4831711" y="31114"/>
                  </a:lnTo>
                  <a:lnTo>
                    <a:pt x="4812026" y="57149"/>
                  </a:lnTo>
                  <a:lnTo>
                    <a:pt x="4835521" y="108584"/>
                  </a:lnTo>
                  <a:lnTo>
                    <a:pt x="4819011" y="108584"/>
                  </a:lnTo>
                  <a:lnTo>
                    <a:pt x="4801866" y="69849"/>
                  </a:lnTo>
                  <a:lnTo>
                    <a:pt x="4789801" y="85724"/>
                  </a:lnTo>
                  <a:lnTo>
                    <a:pt x="4789801" y="108584"/>
                  </a:lnTo>
                  <a:lnTo>
                    <a:pt x="4774561" y="108584"/>
                  </a:lnTo>
                  <a:lnTo>
                    <a:pt x="4774561" y="8889"/>
                  </a:lnTo>
                  <a:close/>
                  <a:moveTo>
                    <a:pt x="4472301" y="634"/>
                  </a:moveTo>
                  <a:lnTo>
                    <a:pt x="4472301" y="109219"/>
                  </a:lnTo>
                  <a:lnTo>
                    <a:pt x="4457061" y="109219"/>
                  </a:lnTo>
                  <a:lnTo>
                    <a:pt x="4457696" y="108584"/>
                  </a:lnTo>
                  <a:lnTo>
                    <a:pt x="4457696" y="100964"/>
                  </a:lnTo>
                  <a:cubicBezTo>
                    <a:pt x="4457696" y="100964"/>
                    <a:pt x="4454521" y="103504"/>
                    <a:pt x="4453251" y="104774"/>
                  </a:cubicBezTo>
                  <a:cubicBezTo>
                    <a:pt x="4451981" y="106044"/>
                    <a:pt x="4450076" y="106679"/>
                    <a:pt x="4448171" y="107949"/>
                  </a:cubicBezTo>
                  <a:cubicBezTo>
                    <a:pt x="4446266" y="108584"/>
                    <a:pt x="4444361" y="109219"/>
                    <a:pt x="4443091" y="109854"/>
                  </a:cubicBezTo>
                  <a:cubicBezTo>
                    <a:pt x="4441186" y="109854"/>
                    <a:pt x="4439281" y="109854"/>
                    <a:pt x="4437376" y="109854"/>
                  </a:cubicBezTo>
                  <a:cubicBezTo>
                    <a:pt x="4432931" y="109854"/>
                    <a:pt x="4429121" y="109219"/>
                    <a:pt x="4425946" y="107314"/>
                  </a:cubicBezTo>
                  <a:cubicBezTo>
                    <a:pt x="4422136" y="106044"/>
                    <a:pt x="4418961" y="103504"/>
                    <a:pt x="4416421" y="99694"/>
                  </a:cubicBezTo>
                  <a:cubicBezTo>
                    <a:pt x="4413881" y="96519"/>
                    <a:pt x="4411341" y="92074"/>
                    <a:pt x="4410071" y="86994"/>
                  </a:cubicBezTo>
                  <a:cubicBezTo>
                    <a:pt x="4408801" y="81914"/>
                    <a:pt x="4407531" y="75564"/>
                    <a:pt x="4407531" y="67944"/>
                  </a:cubicBezTo>
                  <a:cubicBezTo>
                    <a:pt x="4407531" y="61594"/>
                    <a:pt x="4408166" y="55244"/>
                    <a:pt x="4410071" y="50799"/>
                  </a:cubicBezTo>
                  <a:cubicBezTo>
                    <a:pt x="4411976" y="45719"/>
                    <a:pt x="4413881" y="41909"/>
                    <a:pt x="4417056" y="38734"/>
                  </a:cubicBezTo>
                  <a:cubicBezTo>
                    <a:pt x="4419596" y="35559"/>
                    <a:pt x="4423406" y="33019"/>
                    <a:pt x="4426581" y="31749"/>
                  </a:cubicBezTo>
                  <a:cubicBezTo>
                    <a:pt x="4430391" y="29844"/>
                    <a:pt x="4434201" y="29209"/>
                    <a:pt x="4438011" y="29209"/>
                  </a:cubicBezTo>
                  <a:cubicBezTo>
                    <a:pt x="4439916" y="29209"/>
                    <a:pt x="4441821" y="29209"/>
                    <a:pt x="4443726" y="29844"/>
                  </a:cubicBezTo>
                  <a:cubicBezTo>
                    <a:pt x="4445631" y="29844"/>
                    <a:pt x="4447536" y="31114"/>
                    <a:pt x="4448806" y="31749"/>
                  </a:cubicBezTo>
                  <a:cubicBezTo>
                    <a:pt x="4450711" y="32384"/>
                    <a:pt x="4451981" y="33654"/>
                    <a:pt x="4453251" y="34924"/>
                  </a:cubicBezTo>
                  <a:cubicBezTo>
                    <a:pt x="4454521" y="36194"/>
                    <a:pt x="4455791" y="36829"/>
                    <a:pt x="4457061" y="38099"/>
                  </a:cubicBezTo>
                  <a:lnTo>
                    <a:pt x="4457061" y="8254"/>
                  </a:lnTo>
                  <a:close/>
                  <a:moveTo>
                    <a:pt x="4390385" y="634"/>
                  </a:moveTo>
                  <a:lnTo>
                    <a:pt x="4390385" y="108584"/>
                  </a:lnTo>
                  <a:lnTo>
                    <a:pt x="4375145" y="108584"/>
                  </a:lnTo>
                  <a:lnTo>
                    <a:pt x="4375145" y="8889"/>
                  </a:lnTo>
                  <a:close/>
                  <a:moveTo>
                    <a:pt x="3946521" y="634"/>
                  </a:moveTo>
                  <a:lnTo>
                    <a:pt x="3946521" y="38099"/>
                  </a:lnTo>
                  <a:cubicBezTo>
                    <a:pt x="3946521" y="38099"/>
                    <a:pt x="3948426" y="35559"/>
                    <a:pt x="3950331" y="34289"/>
                  </a:cubicBezTo>
                  <a:cubicBezTo>
                    <a:pt x="3951601" y="33019"/>
                    <a:pt x="3953506" y="32384"/>
                    <a:pt x="3954776" y="31114"/>
                  </a:cubicBezTo>
                  <a:cubicBezTo>
                    <a:pt x="3956681" y="30479"/>
                    <a:pt x="3958586" y="29844"/>
                    <a:pt x="3960491" y="29209"/>
                  </a:cubicBezTo>
                  <a:cubicBezTo>
                    <a:pt x="3962396" y="29209"/>
                    <a:pt x="3964301" y="29209"/>
                    <a:pt x="3966206" y="29209"/>
                  </a:cubicBezTo>
                  <a:cubicBezTo>
                    <a:pt x="3970651" y="29209"/>
                    <a:pt x="3975096" y="29844"/>
                    <a:pt x="3978271" y="31749"/>
                  </a:cubicBezTo>
                  <a:cubicBezTo>
                    <a:pt x="3981446" y="33019"/>
                    <a:pt x="3984621" y="35559"/>
                    <a:pt x="3987161" y="38099"/>
                  </a:cubicBezTo>
                  <a:cubicBezTo>
                    <a:pt x="3989701" y="41274"/>
                    <a:pt x="3990971" y="44449"/>
                    <a:pt x="3992241" y="49529"/>
                  </a:cubicBezTo>
                  <a:cubicBezTo>
                    <a:pt x="3993511" y="53974"/>
                    <a:pt x="3994146" y="59054"/>
                    <a:pt x="3994146" y="64134"/>
                  </a:cubicBezTo>
                  <a:lnTo>
                    <a:pt x="3994146" y="108584"/>
                  </a:lnTo>
                  <a:lnTo>
                    <a:pt x="3978906" y="108584"/>
                  </a:lnTo>
                  <a:lnTo>
                    <a:pt x="3978271" y="108584"/>
                  </a:lnTo>
                  <a:lnTo>
                    <a:pt x="3978271" y="64769"/>
                  </a:lnTo>
                  <a:cubicBezTo>
                    <a:pt x="3978271" y="57784"/>
                    <a:pt x="3977001" y="52069"/>
                    <a:pt x="3974461" y="48894"/>
                  </a:cubicBezTo>
                  <a:cubicBezTo>
                    <a:pt x="3971921" y="45084"/>
                    <a:pt x="3968111" y="43814"/>
                    <a:pt x="3962396" y="43814"/>
                  </a:cubicBezTo>
                  <a:cubicBezTo>
                    <a:pt x="3959856" y="43814"/>
                    <a:pt x="3957951" y="43814"/>
                    <a:pt x="3956046" y="45084"/>
                  </a:cubicBezTo>
                  <a:cubicBezTo>
                    <a:pt x="3954141" y="45719"/>
                    <a:pt x="3952236" y="46989"/>
                    <a:pt x="3950966" y="48894"/>
                  </a:cubicBezTo>
                  <a:cubicBezTo>
                    <a:pt x="3949696" y="50799"/>
                    <a:pt x="3948426" y="52704"/>
                    <a:pt x="3947791" y="55244"/>
                  </a:cubicBezTo>
                  <a:cubicBezTo>
                    <a:pt x="3947156" y="57784"/>
                    <a:pt x="3946521" y="60324"/>
                    <a:pt x="3946521" y="63499"/>
                  </a:cubicBezTo>
                  <a:lnTo>
                    <a:pt x="3946521" y="109219"/>
                  </a:lnTo>
                  <a:lnTo>
                    <a:pt x="3931281" y="109219"/>
                  </a:lnTo>
                  <a:lnTo>
                    <a:pt x="3931281" y="8889"/>
                  </a:lnTo>
                  <a:close/>
                  <a:moveTo>
                    <a:pt x="3248021" y="634"/>
                  </a:moveTo>
                  <a:lnTo>
                    <a:pt x="3248021" y="38099"/>
                  </a:lnTo>
                  <a:cubicBezTo>
                    <a:pt x="3248021" y="38099"/>
                    <a:pt x="3249926" y="35559"/>
                    <a:pt x="3251831" y="34289"/>
                  </a:cubicBezTo>
                  <a:cubicBezTo>
                    <a:pt x="3253101" y="33019"/>
                    <a:pt x="3255006" y="32384"/>
                    <a:pt x="3256276" y="31114"/>
                  </a:cubicBezTo>
                  <a:cubicBezTo>
                    <a:pt x="3258181" y="30479"/>
                    <a:pt x="3260086" y="29844"/>
                    <a:pt x="3261991" y="29209"/>
                  </a:cubicBezTo>
                  <a:cubicBezTo>
                    <a:pt x="3263896" y="29209"/>
                    <a:pt x="3265801" y="29209"/>
                    <a:pt x="3267706" y="29209"/>
                  </a:cubicBezTo>
                  <a:cubicBezTo>
                    <a:pt x="3272151" y="29209"/>
                    <a:pt x="3276596" y="29844"/>
                    <a:pt x="3279771" y="31749"/>
                  </a:cubicBezTo>
                  <a:cubicBezTo>
                    <a:pt x="3282946" y="33019"/>
                    <a:pt x="3286121" y="35559"/>
                    <a:pt x="3288661" y="38099"/>
                  </a:cubicBezTo>
                  <a:cubicBezTo>
                    <a:pt x="3291201" y="41274"/>
                    <a:pt x="3292471" y="44449"/>
                    <a:pt x="3293741" y="49529"/>
                  </a:cubicBezTo>
                  <a:cubicBezTo>
                    <a:pt x="3295011" y="53974"/>
                    <a:pt x="3295646" y="59054"/>
                    <a:pt x="3295646" y="64134"/>
                  </a:cubicBezTo>
                  <a:lnTo>
                    <a:pt x="3295646" y="108584"/>
                  </a:lnTo>
                  <a:lnTo>
                    <a:pt x="3280406" y="108584"/>
                  </a:lnTo>
                  <a:lnTo>
                    <a:pt x="3279771" y="108584"/>
                  </a:lnTo>
                  <a:lnTo>
                    <a:pt x="3279771" y="64769"/>
                  </a:lnTo>
                  <a:cubicBezTo>
                    <a:pt x="3279771" y="57784"/>
                    <a:pt x="3278501" y="52069"/>
                    <a:pt x="3275961" y="48894"/>
                  </a:cubicBezTo>
                  <a:cubicBezTo>
                    <a:pt x="3273421" y="45084"/>
                    <a:pt x="3269611" y="43814"/>
                    <a:pt x="3263896" y="43814"/>
                  </a:cubicBezTo>
                  <a:cubicBezTo>
                    <a:pt x="3261356" y="43814"/>
                    <a:pt x="3259451" y="43814"/>
                    <a:pt x="3257546" y="45084"/>
                  </a:cubicBezTo>
                  <a:cubicBezTo>
                    <a:pt x="3255641" y="45719"/>
                    <a:pt x="3253736" y="46989"/>
                    <a:pt x="3252466" y="48894"/>
                  </a:cubicBezTo>
                  <a:cubicBezTo>
                    <a:pt x="3251196" y="50799"/>
                    <a:pt x="3249926" y="52704"/>
                    <a:pt x="3249291" y="55244"/>
                  </a:cubicBezTo>
                  <a:cubicBezTo>
                    <a:pt x="3248656" y="57784"/>
                    <a:pt x="3248021" y="60324"/>
                    <a:pt x="3248021" y="63499"/>
                  </a:cubicBezTo>
                  <a:lnTo>
                    <a:pt x="3248021" y="109219"/>
                  </a:lnTo>
                  <a:lnTo>
                    <a:pt x="3232781" y="109219"/>
                  </a:lnTo>
                  <a:lnTo>
                    <a:pt x="3232781" y="8889"/>
                  </a:lnTo>
                  <a:close/>
                  <a:moveTo>
                    <a:pt x="2432681" y="634"/>
                  </a:moveTo>
                  <a:lnTo>
                    <a:pt x="2432681" y="38099"/>
                  </a:lnTo>
                  <a:cubicBezTo>
                    <a:pt x="2432681" y="38099"/>
                    <a:pt x="2434586" y="35559"/>
                    <a:pt x="2436491" y="34289"/>
                  </a:cubicBezTo>
                  <a:cubicBezTo>
                    <a:pt x="2437761" y="33019"/>
                    <a:pt x="2439666" y="32384"/>
                    <a:pt x="2440936" y="31114"/>
                  </a:cubicBezTo>
                  <a:cubicBezTo>
                    <a:pt x="2442841" y="30479"/>
                    <a:pt x="2444746" y="29844"/>
                    <a:pt x="2446651" y="29209"/>
                  </a:cubicBezTo>
                  <a:cubicBezTo>
                    <a:pt x="2448556" y="29209"/>
                    <a:pt x="2450461" y="29209"/>
                    <a:pt x="2452366" y="29209"/>
                  </a:cubicBezTo>
                  <a:cubicBezTo>
                    <a:pt x="2456811" y="29209"/>
                    <a:pt x="2461256" y="29844"/>
                    <a:pt x="2464431" y="31749"/>
                  </a:cubicBezTo>
                  <a:cubicBezTo>
                    <a:pt x="2467606" y="33019"/>
                    <a:pt x="2470781" y="35559"/>
                    <a:pt x="2473321" y="38099"/>
                  </a:cubicBezTo>
                  <a:cubicBezTo>
                    <a:pt x="2475861" y="41274"/>
                    <a:pt x="2477131" y="44449"/>
                    <a:pt x="2478401" y="49529"/>
                  </a:cubicBezTo>
                  <a:cubicBezTo>
                    <a:pt x="2479671" y="53974"/>
                    <a:pt x="2480306" y="59054"/>
                    <a:pt x="2480306" y="64134"/>
                  </a:cubicBezTo>
                  <a:lnTo>
                    <a:pt x="2480306" y="108584"/>
                  </a:lnTo>
                  <a:lnTo>
                    <a:pt x="2465066" y="108584"/>
                  </a:lnTo>
                  <a:lnTo>
                    <a:pt x="2464431" y="108584"/>
                  </a:lnTo>
                  <a:lnTo>
                    <a:pt x="2464431" y="64769"/>
                  </a:lnTo>
                  <a:cubicBezTo>
                    <a:pt x="2464431" y="57784"/>
                    <a:pt x="2463161" y="52069"/>
                    <a:pt x="2460621" y="48894"/>
                  </a:cubicBezTo>
                  <a:cubicBezTo>
                    <a:pt x="2458081" y="45084"/>
                    <a:pt x="2454271" y="43814"/>
                    <a:pt x="2448556" y="43814"/>
                  </a:cubicBezTo>
                  <a:cubicBezTo>
                    <a:pt x="2446016" y="43814"/>
                    <a:pt x="2444111" y="43814"/>
                    <a:pt x="2442206" y="45084"/>
                  </a:cubicBezTo>
                  <a:cubicBezTo>
                    <a:pt x="2440301" y="45719"/>
                    <a:pt x="2438396" y="46989"/>
                    <a:pt x="2437126" y="48894"/>
                  </a:cubicBezTo>
                  <a:cubicBezTo>
                    <a:pt x="2435856" y="50799"/>
                    <a:pt x="2434586" y="52704"/>
                    <a:pt x="2433951" y="55244"/>
                  </a:cubicBezTo>
                  <a:cubicBezTo>
                    <a:pt x="2433316" y="57784"/>
                    <a:pt x="2432681" y="60324"/>
                    <a:pt x="2432681" y="63499"/>
                  </a:cubicBezTo>
                  <a:lnTo>
                    <a:pt x="2432681" y="109219"/>
                  </a:lnTo>
                  <a:lnTo>
                    <a:pt x="2417441" y="109219"/>
                  </a:lnTo>
                  <a:lnTo>
                    <a:pt x="2417441" y="8889"/>
                  </a:lnTo>
                  <a:close/>
                  <a:moveTo>
                    <a:pt x="1734181" y="634"/>
                  </a:moveTo>
                  <a:lnTo>
                    <a:pt x="1734181" y="38099"/>
                  </a:lnTo>
                  <a:cubicBezTo>
                    <a:pt x="1734181" y="38099"/>
                    <a:pt x="1736086" y="35559"/>
                    <a:pt x="1737991" y="34289"/>
                  </a:cubicBezTo>
                  <a:cubicBezTo>
                    <a:pt x="1739261" y="33019"/>
                    <a:pt x="1741166" y="32384"/>
                    <a:pt x="1742436" y="31114"/>
                  </a:cubicBezTo>
                  <a:cubicBezTo>
                    <a:pt x="1744341" y="30479"/>
                    <a:pt x="1746246" y="29844"/>
                    <a:pt x="1748151" y="29209"/>
                  </a:cubicBezTo>
                  <a:cubicBezTo>
                    <a:pt x="1750056" y="29209"/>
                    <a:pt x="1751961" y="29209"/>
                    <a:pt x="1753866" y="29209"/>
                  </a:cubicBezTo>
                  <a:cubicBezTo>
                    <a:pt x="1758311" y="29209"/>
                    <a:pt x="1762756" y="29844"/>
                    <a:pt x="1765931" y="31749"/>
                  </a:cubicBezTo>
                  <a:cubicBezTo>
                    <a:pt x="1769106" y="33019"/>
                    <a:pt x="1772281" y="35559"/>
                    <a:pt x="1774821" y="38099"/>
                  </a:cubicBezTo>
                  <a:cubicBezTo>
                    <a:pt x="1777361" y="41274"/>
                    <a:pt x="1778631" y="44449"/>
                    <a:pt x="1779901" y="49529"/>
                  </a:cubicBezTo>
                  <a:cubicBezTo>
                    <a:pt x="1781171" y="53974"/>
                    <a:pt x="1781806" y="59054"/>
                    <a:pt x="1781806" y="64134"/>
                  </a:cubicBezTo>
                  <a:lnTo>
                    <a:pt x="1781806" y="108584"/>
                  </a:lnTo>
                  <a:lnTo>
                    <a:pt x="1766566" y="108584"/>
                  </a:lnTo>
                  <a:lnTo>
                    <a:pt x="1765931" y="108584"/>
                  </a:lnTo>
                  <a:lnTo>
                    <a:pt x="1765931" y="64769"/>
                  </a:lnTo>
                  <a:cubicBezTo>
                    <a:pt x="1765931" y="57784"/>
                    <a:pt x="1764661" y="52069"/>
                    <a:pt x="1762121" y="48894"/>
                  </a:cubicBezTo>
                  <a:cubicBezTo>
                    <a:pt x="1759581" y="45084"/>
                    <a:pt x="1755771" y="43814"/>
                    <a:pt x="1750056" y="43814"/>
                  </a:cubicBezTo>
                  <a:cubicBezTo>
                    <a:pt x="1747516" y="43814"/>
                    <a:pt x="1745611" y="43814"/>
                    <a:pt x="1743706" y="45084"/>
                  </a:cubicBezTo>
                  <a:cubicBezTo>
                    <a:pt x="1741801" y="45719"/>
                    <a:pt x="1739896" y="46989"/>
                    <a:pt x="1738626" y="48894"/>
                  </a:cubicBezTo>
                  <a:cubicBezTo>
                    <a:pt x="1737356" y="50799"/>
                    <a:pt x="1736086" y="52704"/>
                    <a:pt x="1735451" y="55244"/>
                  </a:cubicBezTo>
                  <a:cubicBezTo>
                    <a:pt x="1734816" y="57784"/>
                    <a:pt x="1734181" y="60324"/>
                    <a:pt x="1734181" y="63499"/>
                  </a:cubicBezTo>
                  <a:lnTo>
                    <a:pt x="1734181" y="109219"/>
                  </a:lnTo>
                  <a:lnTo>
                    <a:pt x="1718941" y="109219"/>
                  </a:lnTo>
                  <a:lnTo>
                    <a:pt x="1718941" y="8889"/>
                  </a:lnTo>
                  <a:close/>
                  <a:moveTo>
                    <a:pt x="803275" y="634"/>
                  </a:moveTo>
                  <a:lnTo>
                    <a:pt x="803275" y="38099"/>
                  </a:lnTo>
                  <a:cubicBezTo>
                    <a:pt x="803275" y="38099"/>
                    <a:pt x="805180" y="35559"/>
                    <a:pt x="807085" y="34289"/>
                  </a:cubicBezTo>
                  <a:cubicBezTo>
                    <a:pt x="808355" y="33019"/>
                    <a:pt x="810260" y="32384"/>
                    <a:pt x="811530" y="31114"/>
                  </a:cubicBezTo>
                  <a:cubicBezTo>
                    <a:pt x="813435" y="30479"/>
                    <a:pt x="815340" y="29844"/>
                    <a:pt x="817245" y="29209"/>
                  </a:cubicBezTo>
                  <a:cubicBezTo>
                    <a:pt x="819150" y="29209"/>
                    <a:pt x="821055" y="29209"/>
                    <a:pt x="822960" y="29209"/>
                  </a:cubicBezTo>
                  <a:cubicBezTo>
                    <a:pt x="827405" y="29209"/>
                    <a:pt x="831850" y="29844"/>
                    <a:pt x="835025" y="31749"/>
                  </a:cubicBezTo>
                  <a:cubicBezTo>
                    <a:pt x="838200" y="33019"/>
                    <a:pt x="841375" y="35559"/>
                    <a:pt x="843915" y="38099"/>
                  </a:cubicBezTo>
                  <a:cubicBezTo>
                    <a:pt x="846455" y="41274"/>
                    <a:pt x="847725" y="44449"/>
                    <a:pt x="848995" y="49529"/>
                  </a:cubicBezTo>
                  <a:cubicBezTo>
                    <a:pt x="850265" y="53974"/>
                    <a:pt x="850900" y="59054"/>
                    <a:pt x="850900" y="64134"/>
                  </a:cubicBezTo>
                  <a:lnTo>
                    <a:pt x="850900" y="108584"/>
                  </a:lnTo>
                  <a:lnTo>
                    <a:pt x="835660" y="108584"/>
                  </a:lnTo>
                  <a:lnTo>
                    <a:pt x="835025" y="108584"/>
                  </a:lnTo>
                  <a:lnTo>
                    <a:pt x="835025" y="64769"/>
                  </a:lnTo>
                  <a:cubicBezTo>
                    <a:pt x="835025" y="57784"/>
                    <a:pt x="833755" y="52069"/>
                    <a:pt x="831215" y="48894"/>
                  </a:cubicBezTo>
                  <a:cubicBezTo>
                    <a:pt x="828675" y="45084"/>
                    <a:pt x="824865" y="43814"/>
                    <a:pt x="819150" y="43814"/>
                  </a:cubicBezTo>
                  <a:cubicBezTo>
                    <a:pt x="816610" y="43814"/>
                    <a:pt x="814705" y="43814"/>
                    <a:pt x="812800" y="45084"/>
                  </a:cubicBezTo>
                  <a:cubicBezTo>
                    <a:pt x="810895" y="45719"/>
                    <a:pt x="808990" y="46989"/>
                    <a:pt x="807720" y="48894"/>
                  </a:cubicBezTo>
                  <a:cubicBezTo>
                    <a:pt x="806450" y="50799"/>
                    <a:pt x="805180" y="52704"/>
                    <a:pt x="804545" y="55244"/>
                  </a:cubicBezTo>
                  <a:cubicBezTo>
                    <a:pt x="803910" y="57784"/>
                    <a:pt x="803275" y="60324"/>
                    <a:pt x="803275" y="63499"/>
                  </a:cubicBezTo>
                  <a:lnTo>
                    <a:pt x="803275" y="109219"/>
                  </a:lnTo>
                  <a:lnTo>
                    <a:pt x="788035" y="109219"/>
                  </a:lnTo>
                  <a:lnTo>
                    <a:pt x="788035" y="8889"/>
                  </a:lnTo>
                  <a:close/>
                  <a:moveTo>
                    <a:pt x="104774" y="634"/>
                  </a:moveTo>
                  <a:lnTo>
                    <a:pt x="104774" y="38099"/>
                  </a:lnTo>
                  <a:cubicBezTo>
                    <a:pt x="104774" y="38099"/>
                    <a:pt x="106679" y="35559"/>
                    <a:pt x="108584" y="34289"/>
                  </a:cubicBezTo>
                  <a:cubicBezTo>
                    <a:pt x="109854" y="33019"/>
                    <a:pt x="111759" y="32384"/>
                    <a:pt x="113029" y="31114"/>
                  </a:cubicBezTo>
                  <a:cubicBezTo>
                    <a:pt x="114934" y="30479"/>
                    <a:pt x="116839" y="29844"/>
                    <a:pt x="118744" y="29209"/>
                  </a:cubicBezTo>
                  <a:cubicBezTo>
                    <a:pt x="120649" y="29209"/>
                    <a:pt x="122554" y="29209"/>
                    <a:pt x="124459" y="29209"/>
                  </a:cubicBezTo>
                  <a:cubicBezTo>
                    <a:pt x="128904" y="29209"/>
                    <a:pt x="133349" y="29844"/>
                    <a:pt x="136524" y="31749"/>
                  </a:cubicBezTo>
                  <a:cubicBezTo>
                    <a:pt x="139699" y="33019"/>
                    <a:pt x="142874" y="35559"/>
                    <a:pt x="145414" y="38099"/>
                  </a:cubicBezTo>
                  <a:cubicBezTo>
                    <a:pt x="147954" y="41274"/>
                    <a:pt x="149224" y="44449"/>
                    <a:pt x="150494" y="49529"/>
                  </a:cubicBezTo>
                  <a:cubicBezTo>
                    <a:pt x="151764" y="53974"/>
                    <a:pt x="152399" y="59054"/>
                    <a:pt x="152399" y="64134"/>
                  </a:cubicBezTo>
                  <a:lnTo>
                    <a:pt x="152399" y="108584"/>
                  </a:lnTo>
                  <a:lnTo>
                    <a:pt x="137159" y="108584"/>
                  </a:lnTo>
                  <a:lnTo>
                    <a:pt x="136524" y="108584"/>
                  </a:lnTo>
                  <a:lnTo>
                    <a:pt x="136524" y="64769"/>
                  </a:lnTo>
                  <a:cubicBezTo>
                    <a:pt x="136524" y="57784"/>
                    <a:pt x="135254" y="52069"/>
                    <a:pt x="132714" y="48894"/>
                  </a:cubicBezTo>
                  <a:cubicBezTo>
                    <a:pt x="130174" y="45084"/>
                    <a:pt x="126364" y="43814"/>
                    <a:pt x="120649" y="43814"/>
                  </a:cubicBezTo>
                  <a:cubicBezTo>
                    <a:pt x="118109" y="43814"/>
                    <a:pt x="116204" y="43814"/>
                    <a:pt x="114299" y="45084"/>
                  </a:cubicBezTo>
                  <a:cubicBezTo>
                    <a:pt x="112394" y="45719"/>
                    <a:pt x="110489" y="46989"/>
                    <a:pt x="109219" y="48894"/>
                  </a:cubicBezTo>
                  <a:cubicBezTo>
                    <a:pt x="107949" y="50799"/>
                    <a:pt x="106679" y="52704"/>
                    <a:pt x="106044" y="55244"/>
                  </a:cubicBezTo>
                  <a:cubicBezTo>
                    <a:pt x="105409" y="57784"/>
                    <a:pt x="104774" y="60324"/>
                    <a:pt x="104774" y="63499"/>
                  </a:cubicBezTo>
                  <a:lnTo>
                    <a:pt x="104774" y="109219"/>
                  </a:lnTo>
                  <a:lnTo>
                    <a:pt x="89534" y="109219"/>
                  </a:lnTo>
                  <a:lnTo>
                    <a:pt x="89534" y="8889"/>
                  </a:lnTo>
                  <a:close/>
                  <a:moveTo>
                    <a:pt x="3894450" y="0"/>
                  </a:moveTo>
                  <a:lnTo>
                    <a:pt x="3894450" y="30480"/>
                  </a:lnTo>
                  <a:lnTo>
                    <a:pt x="3913500" y="30480"/>
                  </a:lnTo>
                  <a:lnTo>
                    <a:pt x="3913500" y="44450"/>
                  </a:lnTo>
                  <a:lnTo>
                    <a:pt x="3894450" y="44450"/>
                  </a:lnTo>
                  <a:lnTo>
                    <a:pt x="3894450" y="86995"/>
                  </a:lnTo>
                  <a:cubicBezTo>
                    <a:pt x="3894450" y="86995"/>
                    <a:pt x="3894450" y="90170"/>
                    <a:pt x="3894450" y="91440"/>
                  </a:cubicBezTo>
                  <a:cubicBezTo>
                    <a:pt x="3894450" y="92710"/>
                    <a:pt x="3895085" y="93345"/>
                    <a:pt x="3895720" y="94615"/>
                  </a:cubicBezTo>
                  <a:cubicBezTo>
                    <a:pt x="3896355" y="95250"/>
                    <a:pt x="3896990" y="95885"/>
                    <a:pt x="3898260" y="95885"/>
                  </a:cubicBezTo>
                  <a:cubicBezTo>
                    <a:pt x="3899530" y="95885"/>
                    <a:pt x="3900800" y="95885"/>
                    <a:pt x="3902070" y="95885"/>
                  </a:cubicBezTo>
                  <a:cubicBezTo>
                    <a:pt x="3903975" y="95885"/>
                    <a:pt x="3905880" y="95885"/>
                    <a:pt x="3908420" y="95250"/>
                  </a:cubicBezTo>
                  <a:cubicBezTo>
                    <a:pt x="3910325" y="94615"/>
                    <a:pt x="3912230" y="93980"/>
                    <a:pt x="3913500" y="93345"/>
                  </a:cubicBezTo>
                  <a:lnTo>
                    <a:pt x="3911595" y="106680"/>
                  </a:lnTo>
                  <a:cubicBezTo>
                    <a:pt x="3911595" y="106680"/>
                    <a:pt x="3907785" y="108585"/>
                    <a:pt x="3905245" y="109220"/>
                  </a:cubicBezTo>
                  <a:cubicBezTo>
                    <a:pt x="3902705" y="109855"/>
                    <a:pt x="3900165" y="110490"/>
                    <a:pt x="3896990" y="110490"/>
                  </a:cubicBezTo>
                  <a:cubicBezTo>
                    <a:pt x="3894450" y="110490"/>
                    <a:pt x="3891910" y="110490"/>
                    <a:pt x="3890005" y="109220"/>
                  </a:cubicBezTo>
                  <a:cubicBezTo>
                    <a:pt x="3888100" y="108585"/>
                    <a:pt x="3886195" y="107315"/>
                    <a:pt x="3884290" y="105410"/>
                  </a:cubicBezTo>
                  <a:cubicBezTo>
                    <a:pt x="3882385" y="103505"/>
                    <a:pt x="3881115" y="101600"/>
                    <a:pt x="3880480" y="99060"/>
                  </a:cubicBezTo>
                  <a:cubicBezTo>
                    <a:pt x="3879845" y="96520"/>
                    <a:pt x="3879210" y="93345"/>
                    <a:pt x="3879210" y="89535"/>
                  </a:cubicBezTo>
                  <a:lnTo>
                    <a:pt x="3879210" y="44450"/>
                  </a:lnTo>
                  <a:lnTo>
                    <a:pt x="3868415" y="44450"/>
                  </a:lnTo>
                  <a:lnTo>
                    <a:pt x="3868415" y="30480"/>
                  </a:lnTo>
                  <a:lnTo>
                    <a:pt x="3879210" y="30480"/>
                  </a:lnTo>
                  <a:lnTo>
                    <a:pt x="3879210" y="8255"/>
                  </a:lnTo>
                  <a:close/>
                  <a:moveTo>
                    <a:pt x="3664581" y="0"/>
                  </a:moveTo>
                  <a:lnTo>
                    <a:pt x="3664581" y="30480"/>
                  </a:lnTo>
                  <a:lnTo>
                    <a:pt x="3683631" y="30480"/>
                  </a:lnTo>
                  <a:lnTo>
                    <a:pt x="3683631" y="44450"/>
                  </a:lnTo>
                  <a:lnTo>
                    <a:pt x="3664581" y="44450"/>
                  </a:lnTo>
                  <a:lnTo>
                    <a:pt x="3664581" y="86995"/>
                  </a:lnTo>
                  <a:cubicBezTo>
                    <a:pt x="3664581" y="86995"/>
                    <a:pt x="3664581" y="90170"/>
                    <a:pt x="3664581" y="91440"/>
                  </a:cubicBezTo>
                  <a:cubicBezTo>
                    <a:pt x="3664581" y="92710"/>
                    <a:pt x="3665216" y="93345"/>
                    <a:pt x="3665851" y="94615"/>
                  </a:cubicBezTo>
                  <a:cubicBezTo>
                    <a:pt x="3666486" y="95250"/>
                    <a:pt x="3667121" y="95885"/>
                    <a:pt x="3668391" y="95885"/>
                  </a:cubicBezTo>
                  <a:cubicBezTo>
                    <a:pt x="3669661" y="95885"/>
                    <a:pt x="3670931" y="95885"/>
                    <a:pt x="3672201" y="95885"/>
                  </a:cubicBezTo>
                  <a:cubicBezTo>
                    <a:pt x="3674106" y="95885"/>
                    <a:pt x="3676011" y="95885"/>
                    <a:pt x="3678551" y="95250"/>
                  </a:cubicBezTo>
                  <a:cubicBezTo>
                    <a:pt x="3680456" y="94615"/>
                    <a:pt x="3682361" y="93980"/>
                    <a:pt x="3683631" y="93345"/>
                  </a:cubicBezTo>
                  <a:lnTo>
                    <a:pt x="3681726" y="106680"/>
                  </a:lnTo>
                  <a:cubicBezTo>
                    <a:pt x="3681726" y="106680"/>
                    <a:pt x="3677916" y="108585"/>
                    <a:pt x="3675376" y="109220"/>
                  </a:cubicBezTo>
                  <a:cubicBezTo>
                    <a:pt x="3672836" y="109855"/>
                    <a:pt x="3670296" y="110490"/>
                    <a:pt x="3667121" y="110490"/>
                  </a:cubicBezTo>
                  <a:cubicBezTo>
                    <a:pt x="3664581" y="110490"/>
                    <a:pt x="3662041" y="110490"/>
                    <a:pt x="3660136" y="109220"/>
                  </a:cubicBezTo>
                  <a:cubicBezTo>
                    <a:pt x="3658231" y="108585"/>
                    <a:pt x="3656326" y="107315"/>
                    <a:pt x="3654421" y="105410"/>
                  </a:cubicBezTo>
                  <a:cubicBezTo>
                    <a:pt x="3652516" y="103505"/>
                    <a:pt x="3651246" y="101600"/>
                    <a:pt x="3650611" y="99060"/>
                  </a:cubicBezTo>
                  <a:cubicBezTo>
                    <a:pt x="3649976" y="96520"/>
                    <a:pt x="3649341" y="93345"/>
                    <a:pt x="3649341" y="89535"/>
                  </a:cubicBezTo>
                  <a:lnTo>
                    <a:pt x="3649341" y="44450"/>
                  </a:lnTo>
                  <a:lnTo>
                    <a:pt x="3638546" y="44450"/>
                  </a:lnTo>
                  <a:lnTo>
                    <a:pt x="3638546" y="30480"/>
                  </a:lnTo>
                  <a:lnTo>
                    <a:pt x="3649341" y="30480"/>
                  </a:lnTo>
                  <a:lnTo>
                    <a:pt x="3649341" y="8255"/>
                  </a:lnTo>
                  <a:close/>
                  <a:moveTo>
                    <a:pt x="3610605" y="0"/>
                  </a:moveTo>
                  <a:lnTo>
                    <a:pt x="3610605" y="30480"/>
                  </a:lnTo>
                  <a:lnTo>
                    <a:pt x="3629655" y="30480"/>
                  </a:lnTo>
                  <a:lnTo>
                    <a:pt x="3629655" y="44450"/>
                  </a:lnTo>
                  <a:lnTo>
                    <a:pt x="3610605" y="44450"/>
                  </a:lnTo>
                  <a:lnTo>
                    <a:pt x="3610605" y="86995"/>
                  </a:lnTo>
                  <a:cubicBezTo>
                    <a:pt x="3610605" y="86995"/>
                    <a:pt x="3610605" y="90170"/>
                    <a:pt x="3610605" y="91440"/>
                  </a:cubicBezTo>
                  <a:cubicBezTo>
                    <a:pt x="3610605" y="92710"/>
                    <a:pt x="3611240" y="93345"/>
                    <a:pt x="3611875" y="94615"/>
                  </a:cubicBezTo>
                  <a:cubicBezTo>
                    <a:pt x="3612510" y="95250"/>
                    <a:pt x="3613145" y="95885"/>
                    <a:pt x="3614415" y="95885"/>
                  </a:cubicBezTo>
                  <a:cubicBezTo>
                    <a:pt x="3615685" y="95885"/>
                    <a:pt x="3616955" y="95885"/>
                    <a:pt x="3618225" y="95885"/>
                  </a:cubicBezTo>
                  <a:cubicBezTo>
                    <a:pt x="3620130" y="95885"/>
                    <a:pt x="3622035" y="95885"/>
                    <a:pt x="3624575" y="95250"/>
                  </a:cubicBezTo>
                  <a:cubicBezTo>
                    <a:pt x="3626480" y="94615"/>
                    <a:pt x="3628385" y="93980"/>
                    <a:pt x="3629655" y="93345"/>
                  </a:cubicBezTo>
                  <a:lnTo>
                    <a:pt x="3627750" y="106680"/>
                  </a:lnTo>
                  <a:cubicBezTo>
                    <a:pt x="3627750" y="106680"/>
                    <a:pt x="3623940" y="108585"/>
                    <a:pt x="3621400" y="109220"/>
                  </a:cubicBezTo>
                  <a:cubicBezTo>
                    <a:pt x="3618860" y="109855"/>
                    <a:pt x="3616320" y="110490"/>
                    <a:pt x="3613145" y="110490"/>
                  </a:cubicBezTo>
                  <a:cubicBezTo>
                    <a:pt x="3610605" y="110490"/>
                    <a:pt x="3608065" y="110490"/>
                    <a:pt x="3606160" y="109220"/>
                  </a:cubicBezTo>
                  <a:cubicBezTo>
                    <a:pt x="3604255" y="108585"/>
                    <a:pt x="3602350" y="107315"/>
                    <a:pt x="3600445" y="105410"/>
                  </a:cubicBezTo>
                  <a:cubicBezTo>
                    <a:pt x="3598540" y="103505"/>
                    <a:pt x="3597270" y="101600"/>
                    <a:pt x="3596635" y="99060"/>
                  </a:cubicBezTo>
                  <a:cubicBezTo>
                    <a:pt x="3596000" y="96520"/>
                    <a:pt x="3595365" y="93345"/>
                    <a:pt x="3595365" y="89535"/>
                  </a:cubicBezTo>
                  <a:lnTo>
                    <a:pt x="3595365" y="44450"/>
                  </a:lnTo>
                  <a:lnTo>
                    <a:pt x="3584570" y="44450"/>
                  </a:lnTo>
                  <a:lnTo>
                    <a:pt x="3584570" y="30480"/>
                  </a:lnTo>
                  <a:lnTo>
                    <a:pt x="3595365" y="30480"/>
                  </a:lnTo>
                  <a:lnTo>
                    <a:pt x="3595365" y="8255"/>
                  </a:lnTo>
                  <a:close/>
                  <a:moveTo>
                    <a:pt x="3445505" y="0"/>
                  </a:moveTo>
                  <a:lnTo>
                    <a:pt x="3445505" y="37465"/>
                  </a:lnTo>
                  <a:cubicBezTo>
                    <a:pt x="3445505" y="37465"/>
                    <a:pt x="3448680" y="34925"/>
                    <a:pt x="3449950" y="33655"/>
                  </a:cubicBezTo>
                  <a:cubicBezTo>
                    <a:pt x="3451220" y="33020"/>
                    <a:pt x="3452490" y="31750"/>
                    <a:pt x="3453760" y="31115"/>
                  </a:cubicBezTo>
                  <a:cubicBezTo>
                    <a:pt x="3455030" y="30480"/>
                    <a:pt x="3456935" y="29845"/>
                    <a:pt x="3458840" y="29210"/>
                  </a:cubicBezTo>
                  <a:cubicBezTo>
                    <a:pt x="3460745" y="29210"/>
                    <a:pt x="3463285" y="28575"/>
                    <a:pt x="3465825" y="28575"/>
                  </a:cubicBezTo>
                  <a:cubicBezTo>
                    <a:pt x="3470270" y="28575"/>
                    <a:pt x="3474080" y="29210"/>
                    <a:pt x="3477890" y="31115"/>
                  </a:cubicBezTo>
                  <a:cubicBezTo>
                    <a:pt x="3481700" y="32385"/>
                    <a:pt x="3484875" y="34925"/>
                    <a:pt x="3487415" y="38735"/>
                  </a:cubicBezTo>
                  <a:cubicBezTo>
                    <a:pt x="3489955" y="41910"/>
                    <a:pt x="3492495" y="46355"/>
                    <a:pt x="3493765" y="51435"/>
                  </a:cubicBezTo>
                  <a:cubicBezTo>
                    <a:pt x="3495035" y="56515"/>
                    <a:pt x="3496305" y="62865"/>
                    <a:pt x="3496305" y="70485"/>
                  </a:cubicBezTo>
                  <a:lnTo>
                    <a:pt x="3495670" y="71120"/>
                  </a:lnTo>
                  <a:cubicBezTo>
                    <a:pt x="3495670" y="77470"/>
                    <a:pt x="3495035" y="83820"/>
                    <a:pt x="3493130" y="88265"/>
                  </a:cubicBezTo>
                  <a:cubicBezTo>
                    <a:pt x="3491225" y="93345"/>
                    <a:pt x="3489320" y="97155"/>
                    <a:pt x="3486145" y="100330"/>
                  </a:cubicBezTo>
                  <a:cubicBezTo>
                    <a:pt x="3483605" y="103505"/>
                    <a:pt x="3479795" y="106045"/>
                    <a:pt x="3476620" y="107315"/>
                  </a:cubicBezTo>
                  <a:cubicBezTo>
                    <a:pt x="3472810" y="109220"/>
                    <a:pt x="3469000" y="109855"/>
                    <a:pt x="3465190" y="109855"/>
                  </a:cubicBezTo>
                  <a:cubicBezTo>
                    <a:pt x="3461380" y="109855"/>
                    <a:pt x="3457570" y="109220"/>
                    <a:pt x="3454395" y="107315"/>
                  </a:cubicBezTo>
                  <a:cubicBezTo>
                    <a:pt x="3450585" y="105410"/>
                    <a:pt x="3448045" y="103505"/>
                    <a:pt x="3445505" y="100965"/>
                  </a:cubicBezTo>
                  <a:lnTo>
                    <a:pt x="3445505" y="107950"/>
                  </a:lnTo>
                  <a:lnTo>
                    <a:pt x="3430265" y="107950"/>
                  </a:lnTo>
                  <a:lnTo>
                    <a:pt x="3430265" y="7620"/>
                  </a:lnTo>
                  <a:close/>
                  <a:moveTo>
                    <a:pt x="2380611" y="0"/>
                  </a:moveTo>
                  <a:lnTo>
                    <a:pt x="2380611" y="30480"/>
                  </a:lnTo>
                  <a:lnTo>
                    <a:pt x="2399661" y="30480"/>
                  </a:lnTo>
                  <a:lnTo>
                    <a:pt x="2399661" y="44450"/>
                  </a:lnTo>
                  <a:lnTo>
                    <a:pt x="2380611" y="44450"/>
                  </a:lnTo>
                  <a:lnTo>
                    <a:pt x="2380611" y="86995"/>
                  </a:lnTo>
                  <a:cubicBezTo>
                    <a:pt x="2380611" y="86995"/>
                    <a:pt x="2380611" y="90170"/>
                    <a:pt x="2380611" y="91440"/>
                  </a:cubicBezTo>
                  <a:cubicBezTo>
                    <a:pt x="2380611" y="92710"/>
                    <a:pt x="2381246" y="93345"/>
                    <a:pt x="2381881" y="94615"/>
                  </a:cubicBezTo>
                  <a:cubicBezTo>
                    <a:pt x="2382516" y="95250"/>
                    <a:pt x="2383151" y="95885"/>
                    <a:pt x="2384421" y="95885"/>
                  </a:cubicBezTo>
                  <a:cubicBezTo>
                    <a:pt x="2385691" y="95885"/>
                    <a:pt x="2386961" y="95885"/>
                    <a:pt x="2388231" y="95885"/>
                  </a:cubicBezTo>
                  <a:cubicBezTo>
                    <a:pt x="2390136" y="95885"/>
                    <a:pt x="2392041" y="95885"/>
                    <a:pt x="2394581" y="95250"/>
                  </a:cubicBezTo>
                  <a:cubicBezTo>
                    <a:pt x="2396486" y="94615"/>
                    <a:pt x="2398391" y="93980"/>
                    <a:pt x="2399661" y="93345"/>
                  </a:cubicBezTo>
                  <a:lnTo>
                    <a:pt x="2397756" y="106680"/>
                  </a:lnTo>
                  <a:cubicBezTo>
                    <a:pt x="2397756" y="106680"/>
                    <a:pt x="2393946" y="108585"/>
                    <a:pt x="2391406" y="109220"/>
                  </a:cubicBezTo>
                  <a:cubicBezTo>
                    <a:pt x="2388866" y="109855"/>
                    <a:pt x="2386326" y="110490"/>
                    <a:pt x="2383151" y="110490"/>
                  </a:cubicBezTo>
                  <a:cubicBezTo>
                    <a:pt x="2380611" y="110490"/>
                    <a:pt x="2378071" y="110490"/>
                    <a:pt x="2376166" y="109220"/>
                  </a:cubicBezTo>
                  <a:cubicBezTo>
                    <a:pt x="2374261" y="108585"/>
                    <a:pt x="2372356" y="107315"/>
                    <a:pt x="2370451" y="105410"/>
                  </a:cubicBezTo>
                  <a:cubicBezTo>
                    <a:pt x="2368546" y="103505"/>
                    <a:pt x="2367276" y="101600"/>
                    <a:pt x="2366641" y="99060"/>
                  </a:cubicBezTo>
                  <a:cubicBezTo>
                    <a:pt x="2366006" y="96520"/>
                    <a:pt x="2365371" y="93345"/>
                    <a:pt x="2365371" y="89535"/>
                  </a:cubicBezTo>
                  <a:lnTo>
                    <a:pt x="2365371" y="44450"/>
                  </a:lnTo>
                  <a:lnTo>
                    <a:pt x="2354576" y="44450"/>
                  </a:lnTo>
                  <a:lnTo>
                    <a:pt x="2354576" y="30480"/>
                  </a:lnTo>
                  <a:lnTo>
                    <a:pt x="2365371" y="30480"/>
                  </a:lnTo>
                  <a:lnTo>
                    <a:pt x="2365371" y="8255"/>
                  </a:lnTo>
                  <a:close/>
                  <a:moveTo>
                    <a:pt x="2150741" y="0"/>
                  </a:moveTo>
                  <a:lnTo>
                    <a:pt x="2150741" y="30480"/>
                  </a:lnTo>
                  <a:lnTo>
                    <a:pt x="2169791" y="30480"/>
                  </a:lnTo>
                  <a:lnTo>
                    <a:pt x="2169791" y="44450"/>
                  </a:lnTo>
                  <a:lnTo>
                    <a:pt x="2150741" y="44450"/>
                  </a:lnTo>
                  <a:lnTo>
                    <a:pt x="2150741" y="86995"/>
                  </a:lnTo>
                  <a:cubicBezTo>
                    <a:pt x="2150741" y="86995"/>
                    <a:pt x="2150741" y="90170"/>
                    <a:pt x="2150741" y="91440"/>
                  </a:cubicBezTo>
                  <a:cubicBezTo>
                    <a:pt x="2150741" y="92710"/>
                    <a:pt x="2151376" y="93345"/>
                    <a:pt x="2152011" y="94615"/>
                  </a:cubicBezTo>
                  <a:cubicBezTo>
                    <a:pt x="2152646" y="95250"/>
                    <a:pt x="2153281" y="95885"/>
                    <a:pt x="2154551" y="95885"/>
                  </a:cubicBezTo>
                  <a:cubicBezTo>
                    <a:pt x="2155821" y="95885"/>
                    <a:pt x="2157091" y="95885"/>
                    <a:pt x="2158361" y="95885"/>
                  </a:cubicBezTo>
                  <a:cubicBezTo>
                    <a:pt x="2160266" y="95885"/>
                    <a:pt x="2162171" y="95885"/>
                    <a:pt x="2164711" y="95250"/>
                  </a:cubicBezTo>
                  <a:cubicBezTo>
                    <a:pt x="2166616" y="94615"/>
                    <a:pt x="2168521" y="93980"/>
                    <a:pt x="2169791" y="93345"/>
                  </a:cubicBezTo>
                  <a:lnTo>
                    <a:pt x="2167886" y="106680"/>
                  </a:lnTo>
                  <a:cubicBezTo>
                    <a:pt x="2167886" y="106680"/>
                    <a:pt x="2164076" y="108585"/>
                    <a:pt x="2161536" y="109220"/>
                  </a:cubicBezTo>
                  <a:cubicBezTo>
                    <a:pt x="2158996" y="109855"/>
                    <a:pt x="2156456" y="110490"/>
                    <a:pt x="2153281" y="110490"/>
                  </a:cubicBezTo>
                  <a:cubicBezTo>
                    <a:pt x="2150741" y="110490"/>
                    <a:pt x="2148201" y="110490"/>
                    <a:pt x="2146296" y="109220"/>
                  </a:cubicBezTo>
                  <a:cubicBezTo>
                    <a:pt x="2144391" y="108585"/>
                    <a:pt x="2142486" y="107315"/>
                    <a:pt x="2140581" y="105410"/>
                  </a:cubicBezTo>
                  <a:cubicBezTo>
                    <a:pt x="2138676" y="103505"/>
                    <a:pt x="2137406" y="101600"/>
                    <a:pt x="2136771" y="99060"/>
                  </a:cubicBezTo>
                  <a:cubicBezTo>
                    <a:pt x="2136136" y="96520"/>
                    <a:pt x="2135501" y="93345"/>
                    <a:pt x="2135501" y="89535"/>
                  </a:cubicBezTo>
                  <a:lnTo>
                    <a:pt x="2135501" y="44450"/>
                  </a:lnTo>
                  <a:lnTo>
                    <a:pt x="2124706" y="44450"/>
                  </a:lnTo>
                  <a:lnTo>
                    <a:pt x="2124706" y="30480"/>
                  </a:lnTo>
                  <a:lnTo>
                    <a:pt x="2135501" y="30480"/>
                  </a:lnTo>
                  <a:lnTo>
                    <a:pt x="2135501" y="8255"/>
                  </a:lnTo>
                  <a:close/>
                  <a:moveTo>
                    <a:pt x="2096131" y="0"/>
                  </a:moveTo>
                  <a:lnTo>
                    <a:pt x="2096131" y="30480"/>
                  </a:lnTo>
                  <a:lnTo>
                    <a:pt x="2115181" y="30480"/>
                  </a:lnTo>
                  <a:lnTo>
                    <a:pt x="2115181" y="44450"/>
                  </a:lnTo>
                  <a:lnTo>
                    <a:pt x="2096131" y="44450"/>
                  </a:lnTo>
                  <a:lnTo>
                    <a:pt x="2096131" y="86995"/>
                  </a:lnTo>
                  <a:cubicBezTo>
                    <a:pt x="2096131" y="86995"/>
                    <a:pt x="2096131" y="90170"/>
                    <a:pt x="2096131" y="91440"/>
                  </a:cubicBezTo>
                  <a:cubicBezTo>
                    <a:pt x="2096131" y="92710"/>
                    <a:pt x="2096766" y="93345"/>
                    <a:pt x="2097401" y="94615"/>
                  </a:cubicBezTo>
                  <a:cubicBezTo>
                    <a:pt x="2098036" y="95250"/>
                    <a:pt x="2098671" y="95885"/>
                    <a:pt x="2099941" y="95885"/>
                  </a:cubicBezTo>
                  <a:cubicBezTo>
                    <a:pt x="2101211" y="95885"/>
                    <a:pt x="2102481" y="95885"/>
                    <a:pt x="2103751" y="95885"/>
                  </a:cubicBezTo>
                  <a:cubicBezTo>
                    <a:pt x="2105656" y="95885"/>
                    <a:pt x="2107561" y="95885"/>
                    <a:pt x="2110101" y="95250"/>
                  </a:cubicBezTo>
                  <a:cubicBezTo>
                    <a:pt x="2112006" y="94615"/>
                    <a:pt x="2113911" y="93980"/>
                    <a:pt x="2115181" y="93345"/>
                  </a:cubicBezTo>
                  <a:lnTo>
                    <a:pt x="2113276" y="106680"/>
                  </a:lnTo>
                  <a:cubicBezTo>
                    <a:pt x="2113276" y="106680"/>
                    <a:pt x="2109466" y="108585"/>
                    <a:pt x="2106926" y="109220"/>
                  </a:cubicBezTo>
                  <a:cubicBezTo>
                    <a:pt x="2104386" y="109855"/>
                    <a:pt x="2101846" y="110490"/>
                    <a:pt x="2098671" y="110490"/>
                  </a:cubicBezTo>
                  <a:cubicBezTo>
                    <a:pt x="2096131" y="110490"/>
                    <a:pt x="2093591" y="110490"/>
                    <a:pt x="2091686" y="109220"/>
                  </a:cubicBezTo>
                  <a:cubicBezTo>
                    <a:pt x="2089781" y="108585"/>
                    <a:pt x="2087876" y="107315"/>
                    <a:pt x="2085971" y="105410"/>
                  </a:cubicBezTo>
                  <a:cubicBezTo>
                    <a:pt x="2084066" y="103505"/>
                    <a:pt x="2082796" y="101600"/>
                    <a:pt x="2082161" y="99060"/>
                  </a:cubicBezTo>
                  <a:cubicBezTo>
                    <a:pt x="2081526" y="96520"/>
                    <a:pt x="2080891" y="93345"/>
                    <a:pt x="2080891" y="89535"/>
                  </a:cubicBezTo>
                  <a:lnTo>
                    <a:pt x="2080891" y="44450"/>
                  </a:lnTo>
                  <a:lnTo>
                    <a:pt x="2070096" y="44450"/>
                  </a:lnTo>
                  <a:lnTo>
                    <a:pt x="2070096" y="30480"/>
                  </a:lnTo>
                  <a:lnTo>
                    <a:pt x="2080891" y="30480"/>
                  </a:lnTo>
                  <a:lnTo>
                    <a:pt x="2080891" y="8255"/>
                  </a:lnTo>
                  <a:close/>
                  <a:moveTo>
                    <a:pt x="1931665" y="0"/>
                  </a:moveTo>
                  <a:lnTo>
                    <a:pt x="1931665" y="37465"/>
                  </a:lnTo>
                  <a:cubicBezTo>
                    <a:pt x="1931665" y="37465"/>
                    <a:pt x="1934840" y="34925"/>
                    <a:pt x="1936110" y="33655"/>
                  </a:cubicBezTo>
                  <a:cubicBezTo>
                    <a:pt x="1937380" y="33020"/>
                    <a:pt x="1938650" y="31750"/>
                    <a:pt x="1939920" y="31115"/>
                  </a:cubicBezTo>
                  <a:cubicBezTo>
                    <a:pt x="1941190" y="30480"/>
                    <a:pt x="1943095" y="29845"/>
                    <a:pt x="1945000" y="29210"/>
                  </a:cubicBezTo>
                  <a:cubicBezTo>
                    <a:pt x="1946905" y="29210"/>
                    <a:pt x="1949445" y="28575"/>
                    <a:pt x="1951985" y="28575"/>
                  </a:cubicBezTo>
                  <a:cubicBezTo>
                    <a:pt x="1956430" y="28575"/>
                    <a:pt x="1960240" y="29210"/>
                    <a:pt x="1964050" y="31115"/>
                  </a:cubicBezTo>
                  <a:cubicBezTo>
                    <a:pt x="1967860" y="32385"/>
                    <a:pt x="1971035" y="34925"/>
                    <a:pt x="1973575" y="38735"/>
                  </a:cubicBezTo>
                  <a:cubicBezTo>
                    <a:pt x="1976115" y="41910"/>
                    <a:pt x="1978655" y="46355"/>
                    <a:pt x="1979925" y="51435"/>
                  </a:cubicBezTo>
                  <a:cubicBezTo>
                    <a:pt x="1981195" y="56515"/>
                    <a:pt x="1982465" y="62865"/>
                    <a:pt x="1982465" y="70485"/>
                  </a:cubicBezTo>
                  <a:lnTo>
                    <a:pt x="1981830" y="71120"/>
                  </a:lnTo>
                  <a:cubicBezTo>
                    <a:pt x="1981830" y="77470"/>
                    <a:pt x="1981195" y="83820"/>
                    <a:pt x="1979290" y="88265"/>
                  </a:cubicBezTo>
                  <a:cubicBezTo>
                    <a:pt x="1977385" y="93345"/>
                    <a:pt x="1975480" y="97155"/>
                    <a:pt x="1972305" y="100330"/>
                  </a:cubicBezTo>
                  <a:cubicBezTo>
                    <a:pt x="1969765" y="103505"/>
                    <a:pt x="1965955" y="106045"/>
                    <a:pt x="1962780" y="107315"/>
                  </a:cubicBezTo>
                  <a:cubicBezTo>
                    <a:pt x="1958970" y="109220"/>
                    <a:pt x="1955160" y="109855"/>
                    <a:pt x="1951350" y="109855"/>
                  </a:cubicBezTo>
                  <a:cubicBezTo>
                    <a:pt x="1947540" y="109855"/>
                    <a:pt x="1943730" y="109220"/>
                    <a:pt x="1940555" y="107315"/>
                  </a:cubicBezTo>
                  <a:cubicBezTo>
                    <a:pt x="1936745" y="105410"/>
                    <a:pt x="1934205" y="103505"/>
                    <a:pt x="1931665" y="100965"/>
                  </a:cubicBezTo>
                  <a:lnTo>
                    <a:pt x="1931665" y="107950"/>
                  </a:lnTo>
                  <a:lnTo>
                    <a:pt x="1916425" y="107950"/>
                  </a:lnTo>
                  <a:lnTo>
                    <a:pt x="1916425" y="7620"/>
                  </a:lnTo>
                  <a:close/>
                  <a:moveTo>
                    <a:pt x="1316991" y="0"/>
                  </a:moveTo>
                  <a:lnTo>
                    <a:pt x="1316991" y="30480"/>
                  </a:lnTo>
                  <a:lnTo>
                    <a:pt x="1336041" y="30480"/>
                  </a:lnTo>
                  <a:lnTo>
                    <a:pt x="1336041" y="44450"/>
                  </a:lnTo>
                  <a:lnTo>
                    <a:pt x="1316991" y="44450"/>
                  </a:lnTo>
                  <a:lnTo>
                    <a:pt x="1316991" y="86995"/>
                  </a:lnTo>
                  <a:cubicBezTo>
                    <a:pt x="1316991" y="86995"/>
                    <a:pt x="1316991" y="90170"/>
                    <a:pt x="1316991" y="91440"/>
                  </a:cubicBezTo>
                  <a:cubicBezTo>
                    <a:pt x="1316991" y="92710"/>
                    <a:pt x="1317627" y="93345"/>
                    <a:pt x="1318261" y="94615"/>
                  </a:cubicBezTo>
                  <a:cubicBezTo>
                    <a:pt x="1318896" y="95250"/>
                    <a:pt x="1319531" y="95885"/>
                    <a:pt x="1320801" y="95885"/>
                  </a:cubicBezTo>
                  <a:cubicBezTo>
                    <a:pt x="1322072" y="95885"/>
                    <a:pt x="1323341" y="95885"/>
                    <a:pt x="1324611" y="95885"/>
                  </a:cubicBezTo>
                  <a:cubicBezTo>
                    <a:pt x="1326516" y="95885"/>
                    <a:pt x="1328422" y="95885"/>
                    <a:pt x="1330961" y="95250"/>
                  </a:cubicBezTo>
                  <a:cubicBezTo>
                    <a:pt x="1332867" y="94615"/>
                    <a:pt x="1334772" y="93980"/>
                    <a:pt x="1336041" y="93345"/>
                  </a:cubicBezTo>
                  <a:lnTo>
                    <a:pt x="1334136" y="106680"/>
                  </a:lnTo>
                  <a:cubicBezTo>
                    <a:pt x="1334136" y="106680"/>
                    <a:pt x="1330326" y="108585"/>
                    <a:pt x="1327786" y="109220"/>
                  </a:cubicBezTo>
                  <a:cubicBezTo>
                    <a:pt x="1325246" y="109855"/>
                    <a:pt x="1322706" y="110490"/>
                    <a:pt x="1319531" y="110490"/>
                  </a:cubicBezTo>
                  <a:cubicBezTo>
                    <a:pt x="1316991" y="110490"/>
                    <a:pt x="1314451" y="110490"/>
                    <a:pt x="1312546" y="109220"/>
                  </a:cubicBezTo>
                  <a:cubicBezTo>
                    <a:pt x="1310641" y="108585"/>
                    <a:pt x="1308736" y="107315"/>
                    <a:pt x="1306831" y="105410"/>
                  </a:cubicBezTo>
                  <a:cubicBezTo>
                    <a:pt x="1304926" y="103505"/>
                    <a:pt x="1303656" y="101600"/>
                    <a:pt x="1303021" y="99060"/>
                  </a:cubicBezTo>
                  <a:cubicBezTo>
                    <a:pt x="1302386" y="96520"/>
                    <a:pt x="1301751" y="93345"/>
                    <a:pt x="1301751" y="89535"/>
                  </a:cubicBezTo>
                  <a:lnTo>
                    <a:pt x="1301751" y="44450"/>
                  </a:lnTo>
                  <a:lnTo>
                    <a:pt x="1290956" y="44450"/>
                  </a:lnTo>
                  <a:lnTo>
                    <a:pt x="1290956" y="30480"/>
                  </a:lnTo>
                  <a:lnTo>
                    <a:pt x="1301751" y="30480"/>
                  </a:lnTo>
                  <a:lnTo>
                    <a:pt x="1301751" y="8255"/>
                  </a:lnTo>
                  <a:close/>
                  <a:moveTo>
                    <a:pt x="751206" y="0"/>
                  </a:moveTo>
                  <a:lnTo>
                    <a:pt x="751206" y="30480"/>
                  </a:lnTo>
                  <a:lnTo>
                    <a:pt x="770256" y="30480"/>
                  </a:lnTo>
                  <a:lnTo>
                    <a:pt x="770256" y="44450"/>
                  </a:lnTo>
                  <a:lnTo>
                    <a:pt x="751206" y="44450"/>
                  </a:lnTo>
                  <a:lnTo>
                    <a:pt x="751206" y="86995"/>
                  </a:lnTo>
                  <a:cubicBezTo>
                    <a:pt x="751206" y="86995"/>
                    <a:pt x="751206" y="90170"/>
                    <a:pt x="751206" y="91440"/>
                  </a:cubicBezTo>
                  <a:cubicBezTo>
                    <a:pt x="751206" y="92710"/>
                    <a:pt x="751841" y="93345"/>
                    <a:pt x="752476" y="94615"/>
                  </a:cubicBezTo>
                  <a:cubicBezTo>
                    <a:pt x="753111" y="95250"/>
                    <a:pt x="753746" y="95885"/>
                    <a:pt x="755016" y="95885"/>
                  </a:cubicBezTo>
                  <a:cubicBezTo>
                    <a:pt x="756286" y="95885"/>
                    <a:pt x="757556" y="95885"/>
                    <a:pt x="758826" y="95885"/>
                  </a:cubicBezTo>
                  <a:cubicBezTo>
                    <a:pt x="760731" y="95885"/>
                    <a:pt x="762636" y="95885"/>
                    <a:pt x="765176" y="95250"/>
                  </a:cubicBezTo>
                  <a:cubicBezTo>
                    <a:pt x="767081" y="94615"/>
                    <a:pt x="768986" y="93980"/>
                    <a:pt x="770256" y="93345"/>
                  </a:cubicBezTo>
                  <a:lnTo>
                    <a:pt x="768351" y="106680"/>
                  </a:lnTo>
                  <a:cubicBezTo>
                    <a:pt x="768351" y="106680"/>
                    <a:pt x="764541" y="108585"/>
                    <a:pt x="762001" y="109220"/>
                  </a:cubicBezTo>
                  <a:cubicBezTo>
                    <a:pt x="759461" y="109855"/>
                    <a:pt x="756921" y="110490"/>
                    <a:pt x="753746" y="110490"/>
                  </a:cubicBezTo>
                  <a:cubicBezTo>
                    <a:pt x="751206" y="110490"/>
                    <a:pt x="748666" y="110490"/>
                    <a:pt x="746761" y="109220"/>
                  </a:cubicBezTo>
                  <a:cubicBezTo>
                    <a:pt x="744856" y="108585"/>
                    <a:pt x="742951" y="107315"/>
                    <a:pt x="741045" y="105410"/>
                  </a:cubicBezTo>
                  <a:cubicBezTo>
                    <a:pt x="739141" y="103505"/>
                    <a:pt x="737871" y="101600"/>
                    <a:pt x="737236" y="99060"/>
                  </a:cubicBezTo>
                  <a:cubicBezTo>
                    <a:pt x="736600" y="96520"/>
                    <a:pt x="735966" y="93345"/>
                    <a:pt x="735966" y="89535"/>
                  </a:cubicBezTo>
                  <a:lnTo>
                    <a:pt x="735966" y="44450"/>
                  </a:lnTo>
                  <a:lnTo>
                    <a:pt x="725171" y="44450"/>
                  </a:lnTo>
                  <a:lnTo>
                    <a:pt x="725171" y="30480"/>
                  </a:lnTo>
                  <a:lnTo>
                    <a:pt x="735966" y="30480"/>
                  </a:lnTo>
                  <a:lnTo>
                    <a:pt x="735966" y="8255"/>
                  </a:lnTo>
                  <a:close/>
                  <a:moveTo>
                    <a:pt x="521335" y="0"/>
                  </a:moveTo>
                  <a:lnTo>
                    <a:pt x="521335" y="30480"/>
                  </a:lnTo>
                  <a:lnTo>
                    <a:pt x="540385" y="30480"/>
                  </a:lnTo>
                  <a:lnTo>
                    <a:pt x="540385" y="44450"/>
                  </a:lnTo>
                  <a:lnTo>
                    <a:pt x="521335" y="44450"/>
                  </a:lnTo>
                  <a:lnTo>
                    <a:pt x="521335" y="86995"/>
                  </a:lnTo>
                  <a:cubicBezTo>
                    <a:pt x="521335" y="86995"/>
                    <a:pt x="521335" y="90170"/>
                    <a:pt x="521335" y="91440"/>
                  </a:cubicBezTo>
                  <a:cubicBezTo>
                    <a:pt x="521335" y="92710"/>
                    <a:pt x="521970" y="93345"/>
                    <a:pt x="522605" y="94615"/>
                  </a:cubicBezTo>
                  <a:cubicBezTo>
                    <a:pt x="523240" y="95250"/>
                    <a:pt x="523875" y="95885"/>
                    <a:pt x="525145" y="95885"/>
                  </a:cubicBezTo>
                  <a:cubicBezTo>
                    <a:pt x="526415" y="95885"/>
                    <a:pt x="527685" y="95885"/>
                    <a:pt x="528955" y="95885"/>
                  </a:cubicBezTo>
                  <a:cubicBezTo>
                    <a:pt x="530860" y="95885"/>
                    <a:pt x="532765" y="95885"/>
                    <a:pt x="535305" y="95250"/>
                  </a:cubicBezTo>
                  <a:cubicBezTo>
                    <a:pt x="537210" y="94615"/>
                    <a:pt x="539115" y="93980"/>
                    <a:pt x="540385" y="93345"/>
                  </a:cubicBezTo>
                  <a:lnTo>
                    <a:pt x="538480" y="106680"/>
                  </a:lnTo>
                  <a:cubicBezTo>
                    <a:pt x="538480" y="106680"/>
                    <a:pt x="534670" y="108585"/>
                    <a:pt x="532130" y="109220"/>
                  </a:cubicBezTo>
                  <a:cubicBezTo>
                    <a:pt x="529590" y="109855"/>
                    <a:pt x="527050" y="110490"/>
                    <a:pt x="523875" y="110490"/>
                  </a:cubicBezTo>
                  <a:cubicBezTo>
                    <a:pt x="521335" y="110490"/>
                    <a:pt x="518795" y="110490"/>
                    <a:pt x="516890" y="109220"/>
                  </a:cubicBezTo>
                  <a:cubicBezTo>
                    <a:pt x="514985" y="108585"/>
                    <a:pt x="513080" y="107315"/>
                    <a:pt x="511175" y="105410"/>
                  </a:cubicBezTo>
                  <a:cubicBezTo>
                    <a:pt x="509270" y="103505"/>
                    <a:pt x="508000" y="101600"/>
                    <a:pt x="507365" y="99060"/>
                  </a:cubicBezTo>
                  <a:cubicBezTo>
                    <a:pt x="506730" y="96520"/>
                    <a:pt x="506095" y="93345"/>
                    <a:pt x="506095" y="89535"/>
                  </a:cubicBezTo>
                  <a:lnTo>
                    <a:pt x="506095" y="44450"/>
                  </a:lnTo>
                  <a:lnTo>
                    <a:pt x="495300" y="44450"/>
                  </a:lnTo>
                  <a:lnTo>
                    <a:pt x="495300" y="30480"/>
                  </a:lnTo>
                  <a:lnTo>
                    <a:pt x="506095" y="30480"/>
                  </a:lnTo>
                  <a:lnTo>
                    <a:pt x="506095" y="8255"/>
                  </a:lnTo>
                  <a:close/>
                  <a:moveTo>
                    <a:pt x="466724" y="0"/>
                  </a:moveTo>
                  <a:lnTo>
                    <a:pt x="466724" y="30480"/>
                  </a:lnTo>
                  <a:lnTo>
                    <a:pt x="485774" y="30480"/>
                  </a:lnTo>
                  <a:lnTo>
                    <a:pt x="485774" y="44450"/>
                  </a:lnTo>
                  <a:lnTo>
                    <a:pt x="466724" y="44450"/>
                  </a:lnTo>
                  <a:lnTo>
                    <a:pt x="466724" y="86995"/>
                  </a:lnTo>
                  <a:cubicBezTo>
                    <a:pt x="466724" y="86995"/>
                    <a:pt x="466724" y="90170"/>
                    <a:pt x="466724" y="91440"/>
                  </a:cubicBezTo>
                  <a:cubicBezTo>
                    <a:pt x="466724" y="92710"/>
                    <a:pt x="467359" y="93345"/>
                    <a:pt x="467994" y="94615"/>
                  </a:cubicBezTo>
                  <a:cubicBezTo>
                    <a:pt x="468629" y="95250"/>
                    <a:pt x="469264" y="95885"/>
                    <a:pt x="470534" y="95885"/>
                  </a:cubicBezTo>
                  <a:cubicBezTo>
                    <a:pt x="471804" y="95885"/>
                    <a:pt x="473074" y="95885"/>
                    <a:pt x="474344" y="95885"/>
                  </a:cubicBezTo>
                  <a:cubicBezTo>
                    <a:pt x="476249" y="95885"/>
                    <a:pt x="478154" y="95885"/>
                    <a:pt x="480694" y="95250"/>
                  </a:cubicBezTo>
                  <a:cubicBezTo>
                    <a:pt x="482599" y="94615"/>
                    <a:pt x="484504" y="93980"/>
                    <a:pt x="485774" y="93345"/>
                  </a:cubicBezTo>
                  <a:lnTo>
                    <a:pt x="483869" y="106680"/>
                  </a:lnTo>
                  <a:cubicBezTo>
                    <a:pt x="483869" y="106680"/>
                    <a:pt x="480059" y="108585"/>
                    <a:pt x="477519" y="109220"/>
                  </a:cubicBezTo>
                  <a:cubicBezTo>
                    <a:pt x="474979" y="109855"/>
                    <a:pt x="472439" y="110490"/>
                    <a:pt x="469264" y="110490"/>
                  </a:cubicBezTo>
                  <a:cubicBezTo>
                    <a:pt x="466724" y="110490"/>
                    <a:pt x="464184" y="110490"/>
                    <a:pt x="462279" y="109220"/>
                  </a:cubicBezTo>
                  <a:cubicBezTo>
                    <a:pt x="460374" y="108585"/>
                    <a:pt x="458469" y="107315"/>
                    <a:pt x="456564" y="105410"/>
                  </a:cubicBezTo>
                  <a:cubicBezTo>
                    <a:pt x="454659" y="103505"/>
                    <a:pt x="453389" y="101600"/>
                    <a:pt x="452754" y="99060"/>
                  </a:cubicBezTo>
                  <a:cubicBezTo>
                    <a:pt x="452119" y="96520"/>
                    <a:pt x="451484" y="93345"/>
                    <a:pt x="451484" y="89535"/>
                  </a:cubicBezTo>
                  <a:lnTo>
                    <a:pt x="451484" y="44450"/>
                  </a:lnTo>
                  <a:lnTo>
                    <a:pt x="440689" y="44450"/>
                  </a:lnTo>
                  <a:lnTo>
                    <a:pt x="440689" y="30480"/>
                  </a:lnTo>
                  <a:lnTo>
                    <a:pt x="451484" y="30480"/>
                  </a:lnTo>
                  <a:lnTo>
                    <a:pt x="451484" y="8255"/>
                  </a:lnTo>
                  <a:close/>
                  <a:moveTo>
                    <a:pt x="302259" y="0"/>
                  </a:moveTo>
                  <a:lnTo>
                    <a:pt x="302259" y="37465"/>
                  </a:lnTo>
                  <a:cubicBezTo>
                    <a:pt x="302259" y="37465"/>
                    <a:pt x="305434" y="34925"/>
                    <a:pt x="306704" y="33655"/>
                  </a:cubicBezTo>
                  <a:cubicBezTo>
                    <a:pt x="307974" y="33020"/>
                    <a:pt x="309244" y="31750"/>
                    <a:pt x="310514" y="31115"/>
                  </a:cubicBezTo>
                  <a:cubicBezTo>
                    <a:pt x="311784" y="30480"/>
                    <a:pt x="313689" y="29845"/>
                    <a:pt x="315594" y="29210"/>
                  </a:cubicBezTo>
                  <a:cubicBezTo>
                    <a:pt x="317499" y="29210"/>
                    <a:pt x="320039" y="28575"/>
                    <a:pt x="322579" y="28575"/>
                  </a:cubicBezTo>
                  <a:cubicBezTo>
                    <a:pt x="327024" y="28575"/>
                    <a:pt x="330834" y="29210"/>
                    <a:pt x="334644" y="31115"/>
                  </a:cubicBezTo>
                  <a:cubicBezTo>
                    <a:pt x="338454" y="32385"/>
                    <a:pt x="341629" y="34925"/>
                    <a:pt x="344169" y="38735"/>
                  </a:cubicBezTo>
                  <a:cubicBezTo>
                    <a:pt x="346709" y="41910"/>
                    <a:pt x="349249" y="46355"/>
                    <a:pt x="350519" y="51435"/>
                  </a:cubicBezTo>
                  <a:cubicBezTo>
                    <a:pt x="351789" y="56515"/>
                    <a:pt x="353059" y="62865"/>
                    <a:pt x="353059" y="70485"/>
                  </a:cubicBezTo>
                  <a:lnTo>
                    <a:pt x="352424" y="71120"/>
                  </a:lnTo>
                  <a:cubicBezTo>
                    <a:pt x="352424" y="77470"/>
                    <a:pt x="351789" y="83820"/>
                    <a:pt x="349884" y="88265"/>
                  </a:cubicBezTo>
                  <a:cubicBezTo>
                    <a:pt x="347979" y="93345"/>
                    <a:pt x="346074" y="97155"/>
                    <a:pt x="342899" y="100330"/>
                  </a:cubicBezTo>
                  <a:cubicBezTo>
                    <a:pt x="340359" y="103505"/>
                    <a:pt x="336549" y="106045"/>
                    <a:pt x="333374" y="107315"/>
                  </a:cubicBezTo>
                  <a:cubicBezTo>
                    <a:pt x="329564" y="109220"/>
                    <a:pt x="325754" y="109855"/>
                    <a:pt x="321944" y="109855"/>
                  </a:cubicBezTo>
                  <a:cubicBezTo>
                    <a:pt x="318134" y="109855"/>
                    <a:pt x="314324" y="109220"/>
                    <a:pt x="311149" y="107315"/>
                  </a:cubicBezTo>
                  <a:cubicBezTo>
                    <a:pt x="307339" y="105410"/>
                    <a:pt x="304799" y="103505"/>
                    <a:pt x="302259" y="100965"/>
                  </a:cubicBezTo>
                  <a:lnTo>
                    <a:pt x="302259" y="107950"/>
                  </a:lnTo>
                  <a:lnTo>
                    <a:pt x="287019" y="107950"/>
                  </a:lnTo>
                  <a:lnTo>
                    <a:pt x="287019" y="7620"/>
                  </a:lnTo>
                  <a:close/>
                </a:path>
              </a:pathLst>
            </a:custGeom>
            <a:solidFill>
              <a:srgbClr val="FFFFFF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28" name="Subtitle 2">
            <a:extLst>
              <a:ext uri="{FF2B5EF4-FFF2-40B4-BE49-F238E27FC236}">
                <a16:creationId xmlns:a16="http://schemas.microsoft.com/office/drawing/2014/main" id="{632E76BF-46D5-8E94-88AA-4783DD302E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90225" y="4436486"/>
            <a:ext cx="4910184" cy="511939"/>
          </a:xfrm>
        </p:spPr>
        <p:txBody>
          <a:bodyPr wrap="square">
            <a:noAutofit/>
          </a:bodyPr>
          <a:lstStyle>
            <a:lvl1pPr marL="0" indent="0" algn="l">
              <a:buNone/>
              <a:defRPr lang="en-GB" sz="16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/>
          </a:p>
        </p:txBody>
      </p:sp>
      <p:sp>
        <p:nvSpPr>
          <p:cNvPr id="29" name="Title 4">
            <a:extLst>
              <a:ext uri="{FF2B5EF4-FFF2-40B4-BE49-F238E27FC236}">
                <a16:creationId xmlns:a16="http://schemas.microsoft.com/office/drawing/2014/main" id="{1F7B1FDC-B90E-6693-A750-B9BA4B535E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90226" y="2698752"/>
            <a:ext cx="4908564" cy="1654043"/>
          </a:xfrm>
        </p:spPr>
        <p:txBody>
          <a:bodyPr anchor="t">
            <a:noAutofit/>
          </a:bodyPr>
          <a:lstStyle>
            <a:lvl1pPr>
              <a:defRPr sz="4200" b="1" i="0">
                <a:solidFill>
                  <a:schemeClr val="bg1"/>
                </a:solidFill>
                <a:latin typeface="EYInterstate Regular" panose="02000503020000020004" pitchFamily="2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0" name="Text Placeholder 288">
            <a:extLst>
              <a:ext uri="{FF2B5EF4-FFF2-40B4-BE49-F238E27FC236}">
                <a16:creationId xmlns:a16="http://schemas.microsoft.com/office/drawing/2014/main" id="{1673B89D-F206-B9D2-CDB7-BDE045C7447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90226" y="5047486"/>
            <a:ext cx="4908565" cy="246221"/>
          </a:xfrm>
        </p:spPr>
        <p:txBody>
          <a:bodyPr wrap="square">
            <a:spAutoFit/>
          </a:bodyPr>
          <a:lstStyle>
            <a:lvl1pPr marL="0" indent="0">
              <a:buNone/>
              <a:defRPr sz="1600" b="1">
                <a:latin typeface="+mj-lt"/>
              </a:defRPr>
            </a:lvl1pPr>
            <a:lvl2pPr marL="252000" indent="0">
              <a:buNone/>
              <a:defRPr sz="1600" b="1">
                <a:latin typeface="+mj-lt"/>
              </a:defRPr>
            </a:lvl2pPr>
            <a:lvl3pPr marL="504000" indent="0">
              <a:buNone/>
              <a:defRPr sz="1600" b="1">
                <a:latin typeface="+mj-lt"/>
              </a:defRPr>
            </a:lvl3pPr>
            <a:lvl4pPr marL="756000" indent="0">
              <a:buNone/>
              <a:defRPr sz="1600" b="1">
                <a:latin typeface="+mj-lt"/>
              </a:defRPr>
            </a:lvl4pPr>
            <a:lvl5pPr marL="1008000" indent="0">
              <a:buNone/>
              <a:defRPr sz="1600" b="1">
                <a:latin typeface="+mj-lt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F7C1D2CA-2DB1-76BC-DAFE-210631AEC288}"/>
              </a:ext>
            </a:extLst>
          </p:cNvPr>
          <p:cNvGrpSpPr/>
          <p:nvPr userDrawn="1"/>
        </p:nvGrpSpPr>
        <p:grpSpPr>
          <a:xfrm>
            <a:off x="486027" y="1291009"/>
            <a:ext cx="5709082" cy="4360545"/>
            <a:chOff x="485774" y="1291008"/>
            <a:chExt cx="5706110" cy="4360545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F7E50E80-DFF0-E065-898F-1AFD970459B6}"/>
                </a:ext>
              </a:extLst>
            </p:cNvPr>
            <p:cNvSpPr/>
            <p:nvPr userDrawn="1"/>
          </p:nvSpPr>
          <p:spPr>
            <a:xfrm>
              <a:off x="485774" y="5549953"/>
              <a:ext cx="508000" cy="101600"/>
            </a:xfrm>
            <a:custGeom>
              <a:avLst/>
              <a:gdLst>
                <a:gd name="connsiteX0" fmla="*/ 406400 w 508000"/>
                <a:gd name="connsiteY0" fmla="*/ 0 h 101600"/>
                <a:gd name="connsiteX1" fmla="*/ 508000 w 508000"/>
                <a:gd name="connsiteY1" fmla="*/ 0 h 101600"/>
                <a:gd name="connsiteX2" fmla="*/ 508000 w 508000"/>
                <a:gd name="connsiteY2" fmla="*/ 101600 h 101600"/>
                <a:gd name="connsiteX3" fmla="*/ 406400 w 508000"/>
                <a:gd name="connsiteY3" fmla="*/ 101600 h 101600"/>
                <a:gd name="connsiteX4" fmla="*/ 203200 w 508000"/>
                <a:gd name="connsiteY4" fmla="*/ 0 h 101600"/>
                <a:gd name="connsiteX5" fmla="*/ 304800 w 508000"/>
                <a:gd name="connsiteY5" fmla="*/ 0 h 101600"/>
                <a:gd name="connsiteX6" fmla="*/ 304800 w 508000"/>
                <a:gd name="connsiteY6" fmla="*/ 101600 h 101600"/>
                <a:gd name="connsiteX7" fmla="*/ 203200 w 508000"/>
                <a:gd name="connsiteY7" fmla="*/ 101600 h 101600"/>
                <a:gd name="connsiteX8" fmla="*/ 0 w 508000"/>
                <a:gd name="connsiteY8" fmla="*/ 0 h 101600"/>
                <a:gd name="connsiteX9" fmla="*/ 101600 w 508000"/>
                <a:gd name="connsiteY9" fmla="*/ 0 h 101600"/>
                <a:gd name="connsiteX10" fmla="*/ 101600 w 508000"/>
                <a:gd name="connsiteY10" fmla="*/ 101600 h 101600"/>
                <a:gd name="connsiteX11" fmla="*/ 0 w 508000"/>
                <a:gd name="connsiteY11" fmla="*/ 101600 h 101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08000" h="101600">
                  <a:moveTo>
                    <a:pt x="406400" y="0"/>
                  </a:moveTo>
                  <a:lnTo>
                    <a:pt x="508000" y="0"/>
                  </a:lnTo>
                  <a:lnTo>
                    <a:pt x="508000" y="101600"/>
                  </a:lnTo>
                  <a:lnTo>
                    <a:pt x="406400" y="101600"/>
                  </a:lnTo>
                  <a:close/>
                  <a:moveTo>
                    <a:pt x="203200" y="0"/>
                  </a:moveTo>
                  <a:lnTo>
                    <a:pt x="304800" y="0"/>
                  </a:lnTo>
                  <a:lnTo>
                    <a:pt x="304800" y="101600"/>
                  </a:lnTo>
                  <a:lnTo>
                    <a:pt x="203200" y="101600"/>
                  </a:lnTo>
                  <a:close/>
                  <a:moveTo>
                    <a:pt x="0" y="0"/>
                  </a:moveTo>
                  <a:lnTo>
                    <a:pt x="101600" y="0"/>
                  </a:lnTo>
                  <a:lnTo>
                    <a:pt x="101600" y="101600"/>
                  </a:lnTo>
                  <a:lnTo>
                    <a:pt x="0" y="101600"/>
                  </a:lnTo>
                  <a:close/>
                </a:path>
              </a:pathLst>
            </a:custGeom>
            <a:solidFill>
              <a:schemeClr val="tx2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4" name="Freeform 3">
              <a:extLst>
                <a:ext uri="{FF2B5EF4-FFF2-40B4-BE49-F238E27FC236}">
                  <a16:creationId xmlns:a16="http://schemas.microsoft.com/office/drawing/2014/main" id="{7E9D0337-F340-664F-6A13-B03AA4BA4F82}"/>
                </a:ext>
              </a:extLst>
            </p:cNvPr>
            <p:cNvSpPr/>
            <p:nvPr userDrawn="1"/>
          </p:nvSpPr>
          <p:spPr>
            <a:xfrm>
              <a:off x="485775" y="1291008"/>
              <a:ext cx="5706109" cy="4359275"/>
            </a:xfrm>
            <a:custGeom>
              <a:avLst/>
              <a:gdLst>
                <a:gd name="connsiteX0" fmla="*/ 0 w 5706109"/>
                <a:gd name="connsiteY0" fmla="*/ 4157346 h 4359275"/>
                <a:gd name="connsiteX1" fmla="*/ 101600 w 5706109"/>
                <a:gd name="connsiteY1" fmla="*/ 4157346 h 4359275"/>
                <a:gd name="connsiteX2" fmla="*/ 101600 w 5706109"/>
                <a:gd name="connsiteY2" fmla="*/ 1075055 h 4359275"/>
                <a:gd name="connsiteX3" fmla="*/ 101600 w 5706109"/>
                <a:gd name="connsiteY3" fmla="*/ 1075055 h 4359275"/>
                <a:gd name="connsiteX4" fmla="*/ 191770 w 5706109"/>
                <a:gd name="connsiteY4" fmla="*/ 1059180 h 4359275"/>
                <a:gd name="connsiteX5" fmla="*/ 861060 w 5706109"/>
                <a:gd name="connsiteY5" fmla="*/ 942975 h 4359275"/>
                <a:gd name="connsiteX6" fmla="*/ 1195705 w 5706109"/>
                <a:gd name="connsiteY6" fmla="*/ 885190 h 4359275"/>
                <a:gd name="connsiteX7" fmla="*/ 1362710 w 5706109"/>
                <a:gd name="connsiteY7" fmla="*/ 855980 h 4359275"/>
                <a:gd name="connsiteX8" fmla="*/ 1529715 w 5706109"/>
                <a:gd name="connsiteY8" fmla="*/ 826770 h 4359275"/>
                <a:gd name="connsiteX9" fmla="*/ 1864360 w 5706109"/>
                <a:gd name="connsiteY9" fmla="*/ 768985 h 4359275"/>
                <a:gd name="connsiteX10" fmla="*/ 2031365 w 5706109"/>
                <a:gd name="connsiteY10" fmla="*/ 739775 h 4359275"/>
                <a:gd name="connsiteX11" fmla="*/ 2198370 w 5706109"/>
                <a:gd name="connsiteY11" fmla="*/ 710565 h 4359275"/>
                <a:gd name="connsiteX12" fmla="*/ 2365375 w 5706109"/>
                <a:gd name="connsiteY12" fmla="*/ 681355 h 4359275"/>
                <a:gd name="connsiteX13" fmla="*/ 2532380 w 5706109"/>
                <a:gd name="connsiteY13" fmla="*/ 652145 h 4359275"/>
                <a:gd name="connsiteX14" fmla="*/ 2699385 w 5706109"/>
                <a:gd name="connsiteY14" fmla="*/ 622935 h 4359275"/>
                <a:gd name="connsiteX15" fmla="*/ 2866390 w 5706109"/>
                <a:gd name="connsiteY15" fmla="*/ 593725 h 4359275"/>
                <a:gd name="connsiteX16" fmla="*/ 5461000 w 5706109"/>
                <a:gd name="connsiteY16" fmla="*/ 144145 h 4359275"/>
                <a:gd name="connsiteX17" fmla="*/ 5602605 w 5706109"/>
                <a:gd name="connsiteY17" fmla="*/ 119380 h 4359275"/>
                <a:gd name="connsiteX18" fmla="*/ 5602605 w 5706109"/>
                <a:gd name="connsiteY18" fmla="*/ 119380 h 4359275"/>
                <a:gd name="connsiteX19" fmla="*/ 5602605 w 5706109"/>
                <a:gd name="connsiteY19" fmla="*/ 4257676 h 4359275"/>
                <a:gd name="connsiteX20" fmla="*/ 609600 w 5706109"/>
                <a:gd name="connsiteY20" fmla="*/ 4257676 h 4359275"/>
                <a:gd name="connsiteX21" fmla="*/ 609600 w 5706109"/>
                <a:gd name="connsiteY21" fmla="*/ 4359276 h 4359275"/>
                <a:gd name="connsiteX22" fmla="*/ 5706110 w 5706109"/>
                <a:gd name="connsiteY22" fmla="*/ 4359276 h 4359275"/>
                <a:gd name="connsiteX23" fmla="*/ 5706110 w 5706109"/>
                <a:gd name="connsiteY23" fmla="*/ 0 h 4359275"/>
                <a:gd name="connsiteX24" fmla="*/ 5704840 w 5706109"/>
                <a:gd name="connsiteY24" fmla="*/ 0 h 4359275"/>
                <a:gd name="connsiteX25" fmla="*/ 5445760 w 5706109"/>
                <a:gd name="connsiteY25" fmla="*/ 45085 h 4359275"/>
                <a:gd name="connsiteX26" fmla="*/ 2851150 w 5706109"/>
                <a:gd name="connsiteY26" fmla="*/ 494665 h 4359275"/>
                <a:gd name="connsiteX27" fmla="*/ 2684145 w 5706109"/>
                <a:gd name="connsiteY27" fmla="*/ 523875 h 4359275"/>
                <a:gd name="connsiteX28" fmla="*/ 2517140 w 5706109"/>
                <a:gd name="connsiteY28" fmla="*/ 553085 h 4359275"/>
                <a:gd name="connsiteX29" fmla="*/ 2350135 w 5706109"/>
                <a:gd name="connsiteY29" fmla="*/ 582295 h 4359275"/>
                <a:gd name="connsiteX30" fmla="*/ 2183130 w 5706109"/>
                <a:gd name="connsiteY30" fmla="*/ 611505 h 4359275"/>
                <a:gd name="connsiteX31" fmla="*/ 2016125 w 5706109"/>
                <a:gd name="connsiteY31" fmla="*/ 640715 h 4359275"/>
                <a:gd name="connsiteX32" fmla="*/ 1849120 w 5706109"/>
                <a:gd name="connsiteY32" fmla="*/ 669925 h 4359275"/>
                <a:gd name="connsiteX33" fmla="*/ 1514475 w 5706109"/>
                <a:gd name="connsiteY33" fmla="*/ 727710 h 4359275"/>
                <a:gd name="connsiteX34" fmla="*/ 1347470 w 5706109"/>
                <a:gd name="connsiteY34" fmla="*/ 756920 h 4359275"/>
                <a:gd name="connsiteX35" fmla="*/ 1180465 w 5706109"/>
                <a:gd name="connsiteY35" fmla="*/ 786130 h 4359275"/>
                <a:gd name="connsiteX36" fmla="*/ 845820 w 5706109"/>
                <a:gd name="connsiteY36" fmla="*/ 843915 h 4359275"/>
                <a:gd name="connsiteX37" fmla="*/ 176530 w 5706109"/>
                <a:gd name="connsiteY37" fmla="*/ 960120 h 4359275"/>
                <a:gd name="connsiteX38" fmla="*/ 3175 w 5706109"/>
                <a:gd name="connsiteY38" fmla="*/ 989965 h 4359275"/>
                <a:gd name="connsiteX39" fmla="*/ 1905 w 5706109"/>
                <a:gd name="connsiteY39" fmla="*/ 989965 h 4359275"/>
                <a:gd name="connsiteX40" fmla="*/ 1905 w 5706109"/>
                <a:gd name="connsiteY40" fmla="*/ 4158616 h 4359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5706109" h="4359275">
                  <a:moveTo>
                    <a:pt x="0" y="4157346"/>
                  </a:moveTo>
                  <a:lnTo>
                    <a:pt x="101600" y="4157346"/>
                  </a:lnTo>
                  <a:lnTo>
                    <a:pt x="101600" y="1075055"/>
                  </a:lnTo>
                  <a:lnTo>
                    <a:pt x="101600" y="1075055"/>
                  </a:lnTo>
                  <a:lnTo>
                    <a:pt x="191770" y="1059180"/>
                  </a:lnTo>
                  <a:lnTo>
                    <a:pt x="861060" y="942975"/>
                  </a:lnTo>
                  <a:lnTo>
                    <a:pt x="1195705" y="885190"/>
                  </a:lnTo>
                  <a:lnTo>
                    <a:pt x="1362710" y="855980"/>
                  </a:lnTo>
                  <a:lnTo>
                    <a:pt x="1529715" y="826770"/>
                  </a:lnTo>
                  <a:lnTo>
                    <a:pt x="1864360" y="768985"/>
                  </a:lnTo>
                  <a:lnTo>
                    <a:pt x="2031365" y="739775"/>
                  </a:lnTo>
                  <a:lnTo>
                    <a:pt x="2198370" y="710565"/>
                  </a:lnTo>
                  <a:lnTo>
                    <a:pt x="2365375" y="681355"/>
                  </a:lnTo>
                  <a:lnTo>
                    <a:pt x="2532380" y="652145"/>
                  </a:lnTo>
                  <a:lnTo>
                    <a:pt x="2699385" y="622935"/>
                  </a:lnTo>
                  <a:lnTo>
                    <a:pt x="2866390" y="593725"/>
                  </a:lnTo>
                  <a:cubicBezTo>
                    <a:pt x="3731260" y="443865"/>
                    <a:pt x="4596130" y="294005"/>
                    <a:pt x="5461000" y="144145"/>
                  </a:cubicBezTo>
                  <a:lnTo>
                    <a:pt x="5602605" y="119380"/>
                  </a:lnTo>
                  <a:lnTo>
                    <a:pt x="5602605" y="119380"/>
                  </a:lnTo>
                  <a:lnTo>
                    <a:pt x="5602605" y="4257676"/>
                  </a:lnTo>
                  <a:lnTo>
                    <a:pt x="609600" y="4257676"/>
                  </a:lnTo>
                  <a:lnTo>
                    <a:pt x="609600" y="4359276"/>
                  </a:lnTo>
                  <a:lnTo>
                    <a:pt x="5706110" y="4359276"/>
                  </a:lnTo>
                  <a:lnTo>
                    <a:pt x="5706110" y="0"/>
                  </a:lnTo>
                  <a:lnTo>
                    <a:pt x="5704840" y="0"/>
                  </a:lnTo>
                  <a:cubicBezTo>
                    <a:pt x="5618480" y="15240"/>
                    <a:pt x="5532120" y="30480"/>
                    <a:pt x="5445760" y="45085"/>
                  </a:cubicBezTo>
                  <a:cubicBezTo>
                    <a:pt x="4580890" y="194945"/>
                    <a:pt x="3716020" y="344805"/>
                    <a:pt x="2851150" y="494665"/>
                  </a:cubicBezTo>
                  <a:lnTo>
                    <a:pt x="2684145" y="523875"/>
                  </a:lnTo>
                  <a:lnTo>
                    <a:pt x="2517140" y="553085"/>
                  </a:lnTo>
                  <a:lnTo>
                    <a:pt x="2350135" y="582295"/>
                  </a:lnTo>
                  <a:lnTo>
                    <a:pt x="2183130" y="611505"/>
                  </a:lnTo>
                  <a:lnTo>
                    <a:pt x="2016125" y="640715"/>
                  </a:lnTo>
                  <a:lnTo>
                    <a:pt x="1849120" y="669925"/>
                  </a:lnTo>
                  <a:lnTo>
                    <a:pt x="1514475" y="727710"/>
                  </a:lnTo>
                  <a:lnTo>
                    <a:pt x="1347470" y="756920"/>
                  </a:lnTo>
                  <a:lnTo>
                    <a:pt x="1180465" y="786130"/>
                  </a:lnTo>
                  <a:lnTo>
                    <a:pt x="845820" y="843915"/>
                  </a:lnTo>
                  <a:lnTo>
                    <a:pt x="176530" y="960120"/>
                  </a:lnTo>
                  <a:lnTo>
                    <a:pt x="3175" y="989965"/>
                  </a:lnTo>
                  <a:lnTo>
                    <a:pt x="1905" y="989965"/>
                  </a:lnTo>
                  <a:lnTo>
                    <a:pt x="1905" y="4158616"/>
                  </a:lnTo>
                  <a:close/>
                </a:path>
              </a:pathLst>
            </a:custGeom>
            <a:solidFill>
              <a:schemeClr val="tx2"/>
            </a:solidFill>
            <a:ln w="818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 sz="1800"/>
            </a:p>
          </p:txBody>
        </p:sp>
      </p:grpSp>
    </p:spTree>
    <p:extLst>
      <p:ext uri="{BB962C8B-B14F-4D97-AF65-F5344CB8AC3E}">
        <p14:creationId xmlns:p14="http://schemas.microsoft.com/office/powerpoint/2010/main" val="3763433806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Frame Wri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536FA399-654A-7130-1FF0-0F0197A98C2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0"/>
            <a:ext cx="8390722" cy="6858000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0"/>
                  <a:alpha val="0"/>
                </a:schemeClr>
              </a:gs>
              <a:gs pos="95000">
                <a:srgbClr val="000000">
                  <a:alpha val="70000"/>
                </a:srgbClr>
              </a:gs>
            </a:gsLst>
            <a:lin ang="108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endParaRPr lang="en-US" sz="1200" b="1">
              <a:solidFill>
                <a:schemeClr val="tx1"/>
              </a:solidFill>
            </a:endParaRP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A8D6BAB6-A68E-C404-5D92-6E11D325CFFA}"/>
              </a:ext>
            </a:extLst>
          </p:cNvPr>
          <p:cNvGrpSpPr/>
          <p:nvPr userDrawn="1"/>
        </p:nvGrpSpPr>
        <p:grpSpPr bwMode="black">
          <a:xfrm>
            <a:off x="10568726" y="5167683"/>
            <a:ext cx="1219835" cy="1284606"/>
            <a:chOff x="10563224" y="5158158"/>
            <a:chExt cx="1219200" cy="1284606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BEE0067F-78DC-1ABA-D072-D13444B14ED9}"/>
                </a:ext>
              </a:extLst>
            </p:cNvPr>
            <p:cNvSpPr/>
            <p:nvPr/>
          </p:nvSpPr>
          <p:spPr bwMode="black">
            <a:xfrm>
              <a:off x="10826115" y="5158158"/>
              <a:ext cx="805814" cy="294004"/>
            </a:xfrm>
            <a:custGeom>
              <a:avLst/>
              <a:gdLst>
                <a:gd name="connsiteX0" fmla="*/ 805814 w 805814"/>
                <a:gd name="connsiteY0" fmla="*/ 0 h 294004"/>
                <a:gd name="connsiteX1" fmla="*/ 0 w 805814"/>
                <a:gd name="connsiteY1" fmla="*/ 294005 h 294004"/>
                <a:gd name="connsiteX2" fmla="*/ 805814 w 805814"/>
                <a:gd name="connsiteY2" fmla="*/ 151765 h 294004"/>
                <a:gd name="connsiteX3" fmla="*/ 805814 w 805814"/>
                <a:gd name="connsiteY3" fmla="*/ 0 h 2940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05814" h="294004">
                  <a:moveTo>
                    <a:pt x="805814" y="0"/>
                  </a:moveTo>
                  <a:lnTo>
                    <a:pt x="0" y="294005"/>
                  </a:lnTo>
                  <a:lnTo>
                    <a:pt x="805814" y="151765"/>
                  </a:lnTo>
                  <a:lnTo>
                    <a:pt x="805814" y="0"/>
                  </a:lnTo>
                  <a:close/>
                </a:path>
              </a:pathLst>
            </a:custGeom>
            <a:solidFill>
              <a:srgbClr val="FFE600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23" name="Freeform 22">
              <a:extLst>
                <a:ext uri="{FF2B5EF4-FFF2-40B4-BE49-F238E27FC236}">
                  <a16:creationId xmlns:a16="http://schemas.microsoft.com/office/drawing/2014/main" id="{51F51328-AAA1-9C6C-5EE4-05350DF6D22E}"/>
                </a:ext>
              </a:extLst>
            </p:cNvPr>
            <p:cNvSpPr/>
            <p:nvPr/>
          </p:nvSpPr>
          <p:spPr bwMode="black">
            <a:xfrm>
              <a:off x="10563224" y="5574083"/>
              <a:ext cx="1219200" cy="868681"/>
            </a:xfrm>
            <a:custGeom>
              <a:avLst/>
              <a:gdLst>
                <a:gd name="connsiteX0" fmla="*/ 245110 w 1219200"/>
                <a:gd name="connsiteY0" fmla="*/ 839471 h 868681"/>
                <a:gd name="connsiteX1" fmla="*/ 246379 w 1219200"/>
                <a:gd name="connsiteY1" fmla="*/ 839471 h 868681"/>
                <a:gd name="connsiteX2" fmla="*/ 245041 w 1219200"/>
                <a:gd name="connsiteY2" fmla="*/ 839979 h 868681"/>
                <a:gd name="connsiteX3" fmla="*/ 522605 w 1219200"/>
                <a:gd name="connsiteY3" fmla="*/ 796926 h 868681"/>
                <a:gd name="connsiteX4" fmla="*/ 504189 w 1219200"/>
                <a:gd name="connsiteY4" fmla="*/ 821691 h 868681"/>
                <a:gd name="connsiteX5" fmla="*/ 522605 w 1219200"/>
                <a:gd name="connsiteY5" fmla="*/ 845821 h 868681"/>
                <a:gd name="connsiteX6" fmla="*/ 541019 w 1219200"/>
                <a:gd name="connsiteY6" fmla="*/ 821691 h 868681"/>
                <a:gd name="connsiteX7" fmla="*/ 522605 w 1219200"/>
                <a:gd name="connsiteY7" fmla="*/ 796926 h 868681"/>
                <a:gd name="connsiteX8" fmla="*/ 817245 w 1219200"/>
                <a:gd name="connsiteY8" fmla="*/ 796291 h 868681"/>
                <a:gd name="connsiteX9" fmla="*/ 800735 w 1219200"/>
                <a:gd name="connsiteY9" fmla="*/ 819786 h 868681"/>
                <a:gd name="connsiteX10" fmla="*/ 817879 w 1219200"/>
                <a:gd name="connsiteY10" fmla="*/ 846456 h 868681"/>
                <a:gd name="connsiteX11" fmla="*/ 833754 w 1219200"/>
                <a:gd name="connsiteY11" fmla="*/ 838836 h 868681"/>
                <a:gd name="connsiteX12" fmla="*/ 833754 w 1219200"/>
                <a:gd name="connsiteY12" fmla="*/ 838201 h 868681"/>
                <a:gd name="connsiteX13" fmla="*/ 833754 w 1219200"/>
                <a:gd name="connsiteY13" fmla="*/ 803911 h 868681"/>
                <a:gd name="connsiteX14" fmla="*/ 817245 w 1219200"/>
                <a:gd name="connsiteY14" fmla="*/ 796291 h 868681"/>
                <a:gd name="connsiteX15" fmla="*/ 1179195 w 1219200"/>
                <a:gd name="connsiteY15" fmla="*/ 794386 h 868681"/>
                <a:gd name="connsiteX16" fmla="*/ 1163320 w 1219200"/>
                <a:gd name="connsiteY16" fmla="*/ 811531 h 868681"/>
                <a:gd name="connsiteX17" fmla="*/ 1163954 w 1219200"/>
                <a:gd name="connsiteY17" fmla="*/ 811531 h 868681"/>
                <a:gd name="connsiteX18" fmla="*/ 1195704 w 1219200"/>
                <a:gd name="connsiteY18" fmla="*/ 811531 h 868681"/>
                <a:gd name="connsiteX19" fmla="*/ 1179195 w 1219200"/>
                <a:gd name="connsiteY19" fmla="*/ 794386 h 868681"/>
                <a:gd name="connsiteX20" fmla="*/ 909320 w 1219200"/>
                <a:gd name="connsiteY20" fmla="*/ 794386 h 868681"/>
                <a:gd name="connsiteX21" fmla="*/ 893445 w 1219200"/>
                <a:gd name="connsiteY21" fmla="*/ 811531 h 868681"/>
                <a:gd name="connsiteX22" fmla="*/ 894079 w 1219200"/>
                <a:gd name="connsiteY22" fmla="*/ 811531 h 868681"/>
                <a:gd name="connsiteX23" fmla="*/ 925829 w 1219200"/>
                <a:gd name="connsiteY23" fmla="*/ 811531 h 868681"/>
                <a:gd name="connsiteX24" fmla="*/ 909320 w 1219200"/>
                <a:gd name="connsiteY24" fmla="*/ 794386 h 868681"/>
                <a:gd name="connsiteX25" fmla="*/ 737870 w 1219200"/>
                <a:gd name="connsiteY25" fmla="*/ 775971 h 868681"/>
                <a:gd name="connsiteX26" fmla="*/ 761364 w 1219200"/>
                <a:gd name="connsiteY26" fmla="*/ 775971 h 868681"/>
                <a:gd name="connsiteX27" fmla="*/ 761364 w 1219200"/>
                <a:gd name="connsiteY27" fmla="*/ 866141 h 868681"/>
                <a:gd name="connsiteX28" fmla="*/ 737870 w 1219200"/>
                <a:gd name="connsiteY28" fmla="*/ 866141 h 868681"/>
                <a:gd name="connsiteX29" fmla="*/ 143510 w 1219200"/>
                <a:gd name="connsiteY29" fmla="*/ 775971 h 868681"/>
                <a:gd name="connsiteX30" fmla="*/ 167004 w 1219200"/>
                <a:gd name="connsiteY30" fmla="*/ 775971 h 868681"/>
                <a:gd name="connsiteX31" fmla="*/ 167004 w 1219200"/>
                <a:gd name="connsiteY31" fmla="*/ 866141 h 868681"/>
                <a:gd name="connsiteX32" fmla="*/ 143510 w 1219200"/>
                <a:gd name="connsiteY32" fmla="*/ 866141 h 868681"/>
                <a:gd name="connsiteX33" fmla="*/ 635 w 1219200"/>
                <a:gd name="connsiteY33" fmla="*/ 775971 h 868681"/>
                <a:gd name="connsiteX34" fmla="*/ 26670 w 1219200"/>
                <a:gd name="connsiteY34" fmla="*/ 775971 h 868681"/>
                <a:gd name="connsiteX35" fmla="*/ 40004 w 1219200"/>
                <a:gd name="connsiteY35" fmla="*/ 828041 h 868681"/>
                <a:gd name="connsiteX36" fmla="*/ 55245 w 1219200"/>
                <a:gd name="connsiteY36" fmla="*/ 775971 h 868681"/>
                <a:gd name="connsiteX37" fmla="*/ 76200 w 1219200"/>
                <a:gd name="connsiteY37" fmla="*/ 775971 h 868681"/>
                <a:gd name="connsiteX38" fmla="*/ 91439 w 1219200"/>
                <a:gd name="connsiteY38" fmla="*/ 828041 h 868681"/>
                <a:gd name="connsiteX39" fmla="*/ 105409 w 1219200"/>
                <a:gd name="connsiteY39" fmla="*/ 775971 h 868681"/>
                <a:gd name="connsiteX40" fmla="*/ 130810 w 1219200"/>
                <a:gd name="connsiteY40" fmla="*/ 775971 h 868681"/>
                <a:gd name="connsiteX41" fmla="*/ 102235 w 1219200"/>
                <a:gd name="connsiteY41" fmla="*/ 866141 h 868681"/>
                <a:gd name="connsiteX42" fmla="*/ 80644 w 1219200"/>
                <a:gd name="connsiteY42" fmla="*/ 866141 h 868681"/>
                <a:gd name="connsiteX43" fmla="*/ 65405 w 1219200"/>
                <a:gd name="connsiteY43" fmla="*/ 811531 h 868681"/>
                <a:gd name="connsiteX44" fmla="*/ 50165 w 1219200"/>
                <a:gd name="connsiteY44" fmla="*/ 866141 h 868681"/>
                <a:gd name="connsiteX45" fmla="*/ 28575 w 1219200"/>
                <a:gd name="connsiteY45" fmla="*/ 866141 h 868681"/>
                <a:gd name="connsiteX46" fmla="*/ 1181099 w 1219200"/>
                <a:gd name="connsiteY46" fmla="*/ 774066 h 868681"/>
                <a:gd name="connsiteX47" fmla="*/ 1219200 w 1219200"/>
                <a:gd name="connsiteY47" fmla="*/ 821056 h 868681"/>
                <a:gd name="connsiteX48" fmla="*/ 1218564 w 1219200"/>
                <a:gd name="connsiteY48" fmla="*/ 821056 h 868681"/>
                <a:gd name="connsiteX49" fmla="*/ 1218564 w 1219200"/>
                <a:gd name="connsiteY49" fmla="*/ 828676 h 868681"/>
                <a:gd name="connsiteX50" fmla="*/ 1163954 w 1219200"/>
                <a:gd name="connsiteY50" fmla="*/ 828676 h 868681"/>
                <a:gd name="connsiteX51" fmla="*/ 1183004 w 1219200"/>
                <a:gd name="connsiteY51" fmla="*/ 846456 h 868681"/>
                <a:gd name="connsiteX52" fmla="*/ 1198879 w 1219200"/>
                <a:gd name="connsiteY52" fmla="*/ 840106 h 868681"/>
                <a:gd name="connsiteX53" fmla="*/ 1214754 w 1219200"/>
                <a:gd name="connsiteY53" fmla="*/ 853441 h 868681"/>
                <a:gd name="connsiteX54" fmla="*/ 1182370 w 1219200"/>
                <a:gd name="connsiteY54" fmla="*/ 868046 h 868681"/>
                <a:gd name="connsiteX55" fmla="*/ 1141095 w 1219200"/>
                <a:gd name="connsiteY55" fmla="*/ 821056 h 868681"/>
                <a:gd name="connsiteX56" fmla="*/ 1181099 w 1219200"/>
                <a:gd name="connsiteY56" fmla="*/ 774066 h 868681"/>
                <a:gd name="connsiteX57" fmla="*/ 1097915 w 1219200"/>
                <a:gd name="connsiteY57" fmla="*/ 774066 h 868681"/>
                <a:gd name="connsiteX58" fmla="*/ 1133474 w 1219200"/>
                <a:gd name="connsiteY58" fmla="*/ 793751 h 868681"/>
                <a:gd name="connsiteX59" fmla="*/ 1118235 w 1219200"/>
                <a:gd name="connsiteY59" fmla="*/ 808991 h 868681"/>
                <a:gd name="connsiteX60" fmla="*/ 1097915 w 1219200"/>
                <a:gd name="connsiteY60" fmla="*/ 796291 h 868681"/>
                <a:gd name="connsiteX61" fmla="*/ 1078864 w 1219200"/>
                <a:gd name="connsiteY61" fmla="*/ 820421 h 868681"/>
                <a:gd name="connsiteX62" fmla="*/ 1097915 w 1219200"/>
                <a:gd name="connsiteY62" fmla="*/ 845186 h 868681"/>
                <a:gd name="connsiteX63" fmla="*/ 1118235 w 1219200"/>
                <a:gd name="connsiteY63" fmla="*/ 833756 h 868681"/>
                <a:gd name="connsiteX64" fmla="*/ 1118870 w 1219200"/>
                <a:gd name="connsiteY64" fmla="*/ 834391 h 868681"/>
                <a:gd name="connsiteX65" fmla="*/ 1133474 w 1219200"/>
                <a:gd name="connsiteY65" fmla="*/ 848361 h 868681"/>
                <a:gd name="connsiteX66" fmla="*/ 1097280 w 1219200"/>
                <a:gd name="connsiteY66" fmla="*/ 868046 h 868681"/>
                <a:gd name="connsiteX67" fmla="*/ 1054735 w 1219200"/>
                <a:gd name="connsiteY67" fmla="*/ 821056 h 868681"/>
                <a:gd name="connsiteX68" fmla="*/ 1097915 w 1219200"/>
                <a:gd name="connsiteY68" fmla="*/ 774066 h 868681"/>
                <a:gd name="connsiteX69" fmla="*/ 1009015 w 1219200"/>
                <a:gd name="connsiteY69" fmla="*/ 774066 h 868681"/>
                <a:gd name="connsiteX70" fmla="*/ 1041400 w 1219200"/>
                <a:gd name="connsiteY70" fmla="*/ 815341 h 868681"/>
                <a:gd name="connsiteX71" fmla="*/ 1041400 w 1219200"/>
                <a:gd name="connsiteY71" fmla="*/ 866141 h 868681"/>
                <a:gd name="connsiteX72" fmla="*/ 1017905 w 1219200"/>
                <a:gd name="connsiteY72" fmla="*/ 866141 h 868681"/>
                <a:gd name="connsiteX73" fmla="*/ 1017905 w 1219200"/>
                <a:gd name="connsiteY73" fmla="*/ 817246 h 868681"/>
                <a:gd name="connsiteX74" fmla="*/ 1002665 w 1219200"/>
                <a:gd name="connsiteY74" fmla="*/ 796291 h 868681"/>
                <a:gd name="connsiteX75" fmla="*/ 986790 w 1219200"/>
                <a:gd name="connsiteY75" fmla="*/ 816611 h 868681"/>
                <a:gd name="connsiteX76" fmla="*/ 986790 w 1219200"/>
                <a:gd name="connsiteY76" fmla="*/ 866141 h 868681"/>
                <a:gd name="connsiteX77" fmla="*/ 963295 w 1219200"/>
                <a:gd name="connsiteY77" fmla="*/ 866141 h 868681"/>
                <a:gd name="connsiteX78" fmla="*/ 963295 w 1219200"/>
                <a:gd name="connsiteY78" fmla="*/ 775971 h 868681"/>
                <a:gd name="connsiteX79" fmla="*/ 986790 w 1219200"/>
                <a:gd name="connsiteY79" fmla="*/ 775971 h 868681"/>
                <a:gd name="connsiteX80" fmla="*/ 986790 w 1219200"/>
                <a:gd name="connsiteY80" fmla="*/ 782321 h 868681"/>
                <a:gd name="connsiteX81" fmla="*/ 1009015 w 1219200"/>
                <a:gd name="connsiteY81" fmla="*/ 774066 h 868681"/>
                <a:gd name="connsiteX82" fmla="*/ 911224 w 1219200"/>
                <a:gd name="connsiteY82" fmla="*/ 774066 h 868681"/>
                <a:gd name="connsiteX83" fmla="*/ 949325 w 1219200"/>
                <a:gd name="connsiteY83" fmla="*/ 821056 h 868681"/>
                <a:gd name="connsiteX84" fmla="*/ 948689 w 1219200"/>
                <a:gd name="connsiteY84" fmla="*/ 821056 h 868681"/>
                <a:gd name="connsiteX85" fmla="*/ 948689 w 1219200"/>
                <a:gd name="connsiteY85" fmla="*/ 828676 h 868681"/>
                <a:gd name="connsiteX86" fmla="*/ 894079 w 1219200"/>
                <a:gd name="connsiteY86" fmla="*/ 828676 h 868681"/>
                <a:gd name="connsiteX87" fmla="*/ 913129 w 1219200"/>
                <a:gd name="connsiteY87" fmla="*/ 846456 h 868681"/>
                <a:gd name="connsiteX88" fmla="*/ 929004 w 1219200"/>
                <a:gd name="connsiteY88" fmla="*/ 840106 h 868681"/>
                <a:gd name="connsiteX89" fmla="*/ 944879 w 1219200"/>
                <a:gd name="connsiteY89" fmla="*/ 853441 h 868681"/>
                <a:gd name="connsiteX90" fmla="*/ 912495 w 1219200"/>
                <a:gd name="connsiteY90" fmla="*/ 868046 h 868681"/>
                <a:gd name="connsiteX91" fmla="*/ 871220 w 1219200"/>
                <a:gd name="connsiteY91" fmla="*/ 821056 h 868681"/>
                <a:gd name="connsiteX92" fmla="*/ 911224 w 1219200"/>
                <a:gd name="connsiteY92" fmla="*/ 774066 h 868681"/>
                <a:gd name="connsiteX93" fmla="*/ 623570 w 1219200"/>
                <a:gd name="connsiteY93" fmla="*/ 774066 h 868681"/>
                <a:gd name="connsiteX94" fmla="*/ 655954 w 1219200"/>
                <a:gd name="connsiteY94" fmla="*/ 815341 h 868681"/>
                <a:gd name="connsiteX95" fmla="*/ 655954 w 1219200"/>
                <a:gd name="connsiteY95" fmla="*/ 866141 h 868681"/>
                <a:gd name="connsiteX96" fmla="*/ 632459 w 1219200"/>
                <a:gd name="connsiteY96" fmla="*/ 866141 h 868681"/>
                <a:gd name="connsiteX97" fmla="*/ 632459 w 1219200"/>
                <a:gd name="connsiteY97" fmla="*/ 817246 h 868681"/>
                <a:gd name="connsiteX98" fmla="*/ 617220 w 1219200"/>
                <a:gd name="connsiteY98" fmla="*/ 796291 h 868681"/>
                <a:gd name="connsiteX99" fmla="*/ 601345 w 1219200"/>
                <a:gd name="connsiteY99" fmla="*/ 816611 h 868681"/>
                <a:gd name="connsiteX100" fmla="*/ 601345 w 1219200"/>
                <a:gd name="connsiteY100" fmla="*/ 866141 h 868681"/>
                <a:gd name="connsiteX101" fmla="*/ 577849 w 1219200"/>
                <a:gd name="connsiteY101" fmla="*/ 866141 h 868681"/>
                <a:gd name="connsiteX102" fmla="*/ 577849 w 1219200"/>
                <a:gd name="connsiteY102" fmla="*/ 775971 h 868681"/>
                <a:gd name="connsiteX103" fmla="*/ 601345 w 1219200"/>
                <a:gd name="connsiteY103" fmla="*/ 775971 h 868681"/>
                <a:gd name="connsiteX104" fmla="*/ 601345 w 1219200"/>
                <a:gd name="connsiteY104" fmla="*/ 782321 h 868681"/>
                <a:gd name="connsiteX105" fmla="*/ 623570 w 1219200"/>
                <a:gd name="connsiteY105" fmla="*/ 774066 h 868681"/>
                <a:gd name="connsiteX106" fmla="*/ 522605 w 1219200"/>
                <a:gd name="connsiteY106" fmla="*/ 774066 h 868681"/>
                <a:gd name="connsiteX107" fmla="*/ 564515 w 1219200"/>
                <a:gd name="connsiteY107" fmla="*/ 821056 h 868681"/>
                <a:gd name="connsiteX108" fmla="*/ 522605 w 1219200"/>
                <a:gd name="connsiteY108" fmla="*/ 868046 h 868681"/>
                <a:gd name="connsiteX109" fmla="*/ 480695 w 1219200"/>
                <a:gd name="connsiteY109" fmla="*/ 821056 h 868681"/>
                <a:gd name="connsiteX110" fmla="*/ 522605 w 1219200"/>
                <a:gd name="connsiteY110" fmla="*/ 774066 h 868681"/>
                <a:gd name="connsiteX111" fmla="*/ 436879 w 1219200"/>
                <a:gd name="connsiteY111" fmla="*/ 774066 h 868681"/>
                <a:gd name="connsiteX112" fmla="*/ 472439 w 1219200"/>
                <a:gd name="connsiteY112" fmla="*/ 793751 h 868681"/>
                <a:gd name="connsiteX113" fmla="*/ 457200 w 1219200"/>
                <a:gd name="connsiteY113" fmla="*/ 808991 h 868681"/>
                <a:gd name="connsiteX114" fmla="*/ 436879 w 1219200"/>
                <a:gd name="connsiteY114" fmla="*/ 796291 h 868681"/>
                <a:gd name="connsiteX115" fmla="*/ 417829 w 1219200"/>
                <a:gd name="connsiteY115" fmla="*/ 820421 h 868681"/>
                <a:gd name="connsiteX116" fmla="*/ 436879 w 1219200"/>
                <a:gd name="connsiteY116" fmla="*/ 845186 h 868681"/>
                <a:gd name="connsiteX117" fmla="*/ 457200 w 1219200"/>
                <a:gd name="connsiteY117" fmla="*/ 833756 h 868681"/>
                <a:gd name="connsiteX118" fmla="*/ 457834 w 1219200"/>
                <a:gd name="connsiteY118" fmla="*/ 834391 h 868681"/>
                <a:gd name="connsiteX119" fmla="*/ 472439 w 1219200"/>
                <a:gd name="connsiteY119" fmla="*/ 848361 h 868681"/>
                <a:gd name="connsiteX120" fmla="*/ 436245 w 1219200"/>
                <a:gd name="connsiteY120" fmla="*/ 868046 h 868681"/>
                <a:gd name="connsiteX121" fmla="*/ 393700 w 1219200"/>
                <a:gd name="connsiteY121" fmla="*/ 821056 h 868681"/>
                <a:gd name="connsiteX122" fmla="*/ 436879 w 1219200"/>
                <a:gd name="connsiteY122" fmla="*/ 774066 h 868681"/>
                <a:gd name="connsiteX123" fmla="*/ 219075 w 1219200"/>
                <a:gd name="connsiteY123" fmla="*/ 742316 h 868681"/>
                <a:gd name="connsiteX124" fmla="*/ 219075 w 1219200"/>
                <a:gd name="connsiteY124" fmla="*/ 777241 h 868681"/>
                <a:gd name="connsiteX125" fmla="*/ 245110 w 1219200"/>
                <a:gd name="connsiteY125" fmla="*/ 777241 h 868681"/>
                <a:gd name="connsiteX126" fmla="*/ 245110 w 1219200"/>
                <a:gd name="connsiteY126" fmla="*/ 798831 h 868681"/>
                <a:gd name="connsiteX127" fmla="*/ 219075 w 1219200"/>
                <a:gd name="connsiteY127" fmla="*/ 798831 h 868681"/>
                <a:gd name="connsiteX128" fmla="*/ 219075 w 1219200"/>
                <a:gd name="connsiteY128" fmla="*/ 835661 h 868681"/>
                <a:gd name="connsiteX129" fmla="*/ 227965 w 1219200"/>
                <a:gd name="connsiteY129" fmla="*/ 846456 h 868681"/>
                <a:gd name="connsiteX130" fmla="*/ 245041 w 1219200"/>
                <a:gd name="connsiteY130" fmla="*/ 839979 h 868681"/>
                <a:gd name="connsiteX131" fmla="*/ 241935 w 1219200"/>
                <a:gd name="connsiteY131" fmla="*/ 862966 h 868681"/>
                <a:gd name="connsiteX132" fmla="*/ 219709 w 1219200"/>
                <a:gd name="connsiteY132" fmla="*/ 868681 h 868681"/>
                <a:gd name="connsiteX133" fmla="*/ 195579 w 1219200"/>
                <a:gd name="connsiteY133" fmla="*/ 842011 h 868681"/>
                <a:gd name="connsiteX134" fmla="*/ 195579 w 1219200"/>
                <a:gd name="connsiteY134" fmla="*/ 798831 h 868681"/>
                <a:gd name="connsiteX135" fmla="*/ 179704 w 1219200"/>
                <a:gd name="connsiteY135" fmla="*/ 798831 h 868681"/>
                <a:gd name="connsiteX136" fmla="*/ 179704 w 1219200"/>
                <a:gd name="connsiteY136" fmla="*/ 777241 h 868681"/>
                <a:gd name="connsiteX137" fmla="*/ 195579 w 1219200"/>
                <a:gd name="connsiteY137" fmla="*/ 777241 h 868681"/>
                <a:gd name="connsiteX138" fmla="*/ 195579 w 1219200"/>
                <a:gd name="connsiteY138" fmla="*/ 753746 h 868681"/>
                <a:gd name="connsiteX139" fmla="*/ 749935 w 1219200"/>
                <a:gd name="connsiteY139" fmla="*/ 741681 h 868681"/>
                <a:gd name="connsiteX140" fmla="*/ 763269 w 1219200"/>
                <a:gd name="connsiteY140" fmla="*/ 755016 h 868681"/>
                <a:gd name="connsiteX141" fmla="*/ 749935 w 1219200"/>
                <a:gd name="connsiteY141" fmla="*/ 768351 h 868681"/>
                <a:gd name="connsiteX142" fmla="*/ 736599 w 1219200"/>
                <a:gd name="connsiteY142" fmla="*/ 755016 h 868681"/>
                <a:gd name="connsiteX143" fmla="*/ 749935 w 1219200"/>
                <a:gd name="connsiteY143" fmla="*/ 741681 h 868681"/>
                <a:gd name="connsiteX144" fmla="*/ 154939 w 1219200"/>
                <a:gd name="connsiteY144" fmla="*/ 741681 h 868681"/>
                <a:gd name="connsiteX145" fmla="*/ 168275 w 1219200"/>
                <a:gd name="connsiteY145" fmla="*/ 755016 h 868681"/>
                <a:gd name="connsiteX146" fmla="*/ 154939 w 1219200"/>
                <a:gd name="connsiteY146" fmla="*/ 768351 h 868681"/>
                <a:gd name="connsiteX147" fmla="*/ 141605 w 1219200"/>
                <a:gd name="connsiteY147" fmla="*/ 755016 h 868681"/>
                <a:gd name="connsiteX148" fmla="*/ 154939 w 1219200"/>
                <a:gd name="connsiteY148" fmla="*/ 741681 h 868681"/>
                <a:gd name="connsiteX149" fmla="*/ 856614 w 1219200"/>
                <a:gd name="connsiteY149" fmla="*/ 741046 h 868681"/>
                <a:gd name="connsiteX150" fmla="*/ 856614 w 1219200"/>
                <a:gd name="connsiteY150" fmla="*/ 866141 h 868681"/>
                <a:gd name="connsiteX151" fmla="*/ 833120 w 1219200"/>
                <a:gd name="connsiteY151" fmla="*/ 866141 h 868681"/>
                <a:gd name="connsiteX152" fmla="*/ 833120 w 1219200"/>
                <a:gd name="connsiteY152" fmla="*/ 860426 h 868681"/>
                <a:gd name="connsiteX153" fmla="*/ 812799 w 1219200"/>
                <a:gd name="connsiteY153" fmla="*/ 868046 h 868681"/>
                <a:gd name="connsiteX154" fmla="*/ 775970 w 1219200"/>
                <a:gd name="connsiteY154" fmla="*/ 820421 h 868681"/>
                <a:gd name="connsiteX155" fmla="*/ 812165 w 1219200"/>
                <a:gd name="connsiteY155" fmla="*/ 774066 h 868681"/>
                <a:gd name="connsiteX156" fmla="*/ 833120 w 1219200"/>
                <a:gd name="connsiteY156" fmla="*/ 781051 h 868681"/>
                <a:gd name="connsiteX157" fmla="*/ 833120 w 1219200"/>
                <a:gd name="connsiteY157" fmla="*/ 752476 h 868681"/>
                <a:gd name="connsiteX158" fmla="*/ 707390 w 1219200"/>
                <a:gd name="connsiteY158" fmla="*/ 741046 h 868681"/>
                <a:gd name="connsiteX159" fmla="*/ 724534 w 1219200"/>
                <a:gd name="connsiteY159" fmla="*/ 743586 h 868681"/>
                <a:gd name="connsiteX160" fmla="*/ 724534 w 1219200"/>
                <a:gd name="connsiteY160" fmla="*/ 744221 h 868681"/>
                <a:gd name="connsiteX161" fmla="*/ 724534 w 1219200"/>
                <a:gd name="connsiteY161" fmla="*/ 762636 h 868681"/>
                <a:gd name="connsiteX162" fmla="*/ 713105 w 1219200"/>
                <a:gd name="connsiteY162" fmla="*/ 760731 h 868681"/>
                <a:gd name="connsiteX163" fmla="*/ 703579 w 1219200"/>
                <a:gd name="connsiteY163" fmla="*/ 768351 h 868681"/>
                <a:gd name="connsiteX164" fmla="*/ 703579 w 1219200"/>
                <a:gd name="connsiteY164" fmla="*/ 775336 h 868681"/>
                <a:gd name="connsiteX165" fmla="*/ 722629 w 1219200"/>
                <a:gd name="connsiteY165" fmla="*/ 775336 h 868681"/>
                <a:gd name="connsiteX166" fmla="*/ 722629 w 1219200"/>
                <a:gd name="connsiteY166" fmla="*/ 796926 h 868681"/>
                <a:gd name="connsiteX167" fmla="*/ 703579 w 1219200"/>
                <a:gd name="connsiteY167" fmla="*/ 796926 h 868681"/>
                <a:gd name="connsiteX168" fmla="*/ 703579 w 1219200"/>
                <a:gd name="connsiteY168" fmla="*/ 865506 h 868681"/>
                <a:gd name="connsiteX169" fmla="*/ 680084 w 1219200"/>
                <a:gd name="connsiteY169" fmla="*/ 865506 h 868681"/>
                <a:gd name="connsiteX170" fmla="*/ 680084 w 1219200"/>
                <a:gd name="connsiteY170" fmla="*/ 796926 h 868681"/>
                <a:gd name="connsiteX171" fmla="*/ 667385 w 1219200"/>
                <a:gd name="connsiteY171" fmla="*/ 796926 h 868681"/>
                <a:gd name="connsiteX172" fmla="*/ 667385 w 1219200"/>
                <a:gd name="connsiteY172" fmla="*/ 775336 h 868681"/>
                <a:gd name="connsiteX173" fmla="*/ 680084 w 1219200"/>
                <a:gd name="connsiteY173" fmla="*/ 775336 h 868681"/>
                <a:gd name="connsiteX174" fmla="*/ 680084 w 1219200"/>
                <a:gd name="connsiteY174" fmla="*/ 764541 h 868681"/>
                <a:gd name="connsiteX175" fmla="*/ 707390 w 1219200"/>
                <a:gd name="connsiteY175" fmla="*/ 741046 h 868681"/>
                <a:gd name="connsiteX176" fmla="*/ 282575 w 1219200"/>
                <a:gd name="connsiteY176" fmla="*/ 741046 h 868681"/>
                <a:gd name="connsiteX177" fmla="*/ 282575 w 1219200"/>
                <a:gd name="connsiteY177" fmla="*/ 782321 h 868681"/>
                <a:gd name="connsiteX178" fmla="*/ 304799 w 1219200"/>
                <a:gd name="connsiteY178" fmla="*/ 774066 h 868681"/>
                <a:gd name="connsiteX179" fmla="*/ 336549 w 1219200"/>
                <a:gd name="connsiteY179" fmla="*/ 815341 h 868681"/>
                <a:gd name="connsiteX180" fmla="*/ 336549 w 1219200"/>
                <a:gd name="connsiteY180" fmla="*/ 866141 h 868681"/>
                <a:gd name="connsiteX181" fmla="*/ 313689 w 1219200"/>
                <a:gd name="connsiteY181" fmla="*/ 866141 h 868681"/>
                <a:gd name="connsiteX182" fmla="*/ 313689 w 1219200"/>
                <a:gd name="connsiteY182" fmla="*/ 817246 h 868681"/>
                <a:gd name="connsiteX183" fmla="*/ 298450 w 1219200"/>
                <a:gd name="connsiteY183" fmla="*/ 796291 h 868681"/>
                <a:gd name="connsiteX184" fmla="*/ 282575 w 1219200"/>
                <a:gd name="connsiteY184" fmla="*/ 816611 h 868681"/>
                <a:gd name="connsiteX185" fmla="*/ 282575 w 1219200"/>
                <a:gd name="connsiteY185" fmla="*/ 866141 h 868681"/>
                <a:gd name="connsiteX186" fmla="*/ 259079 w 1219200"/>
                <a:gd name="connsiteY186" fmla="*/ 866141 h 868681"/>
                <a:gd name="connsiteX187" fmla="*/ 259079 w 1219200"/>
                <a:gd name="connsiteY187" fmla="*/ 752476 h 868681"/>
                <a:gd name="connsiteX188" fmla="*/ 92709 w 1219200"/>
                <a:gd name="connsiteY188" fmla="*/ 648336 h 868681"/>
                <a:gd name="connsiteX189" fmla="*/ 92709 w 1219200"/>
                <a:gd name="connsiteY189" fmla="*/ 649606 h 868681"/>
                <a:gd name="connsiteX190" fmla="*/ 92427 w 1219200"/>
                <a:gd name="connsiteY190" fmla="*/ 648959 h 868681"/>
                <a:gd name="connsiteX191" fmla="*/ 230504 w 1219200"/>
                <a:gd name="connsiteY191" fmla="*/ 643256 h 868681"/>
                <a:gd name="connsiteX192" fmla="*/ 215900 w 1219200"/>
                <a:gd name="connsiteY192" fmla="*/ 654686 h 868681"/>
                <a:gd name="connsiteX193" fmla="*/ 228599 w 1219200"/>
                <a:gd name="connsiteY193" fmla="*/ 667386 h 868681"/>
                <a:gd name="connsiteX194" fmla="*/ 245745 w 1219200"/>
                <a:gd name="connsiteY194" fmla="*/ 658496 h 868681"/>
                <a:gd name="connsiteX195" fmla="*/ 245745 w 1219200"/>
                <a:gd name="connsiteY195" fmla="*/ 647066 h 868681"/>
                <a:gd name="connsiteX196" fmla="*/ 230504 w 1219200"/>
                <a:gd name="connsiteY196" fmla="*/ 643256 h 868681"/>
                <a:gd name="connsiteX197" fmla="*/ 321310 w 1219200"/>
                <a:gd name="connsiteY197" fmla="*/ 614046 h 868681"/>
                <a:gd name="connsiteX198" fmla="*/ 306704 w 1219200"/>
                <a:gd name="connsiteY198" fmla="*/ 622301 h 868681"/>
                <a:gd name="connsiteX199" fmla="*/ 306704 w 1219200"/>
                <a:gd name="connsiteY199" fmla="*/ 656591 h 868681"/>
                <a:gd name="connsiteX200" fmla="*/ 323215 w 1219200"/>
                <a:gd name="connsiteY200" fmla="*/ 664846 h 868681"/>
                <a:gd name="connsiteX201" fmla="*/ 339090 w 1219200"/>
                <a:gd name="connsiteY201" fmla="*/ 640716 h 868681"/>
                <a:gd name="connsiteX202" fmla="*/ 338454 w 1219200"/>
                <a:gd name="connsiteY202" fmla="*/ 640716 h 868681"/>
                <a:gd name="connsiteX203" fmla="*/ 321310 w 1219200"/>
                <a:gd name="connsiteY203" fmla="*/ 614046 h 868681"/>
                <a:gd name="connsiteX204" fmla="*/ 1179195 w 1219200"/>
                <a:gd name="connsiteY204" fmla="*/ 612776 h 868681"/>
                <a:gd name="connsiteX205" fmla="*/ 1163320 w 1219200"/>
                <a:gd name="connsiteY205" fmla="*/ 629921 h 868681"/>
                <a:gd name="connsiteX206" fmla="*/ 1163954 w 1219200"/>
                <a:gd name="connsiteY206" fmla="*/ 629921 h 868681"/>
                <a:gd name="connsiteX207" fmla="*/ 1195704 w 1219200"/>
                <a:gd name="connsiteY207" fmla="*/ 629921 h 868681"/>
                <a:gd name="connsiteX208" fmla="*/ 1179195 w 1219200"/>
                <a:gd name="connsiteY208" fmla="*/ 612776 h 868681"/>
                <a:gd name="connsiteX209" fmla="*/ 689610 w 1219200"/>
                <a:gd name="connsiteY209" fmla="*/ 612776 h 868681"/>
                <a:gd name="connsiteX210" fmla="*/ 673735 w 1219200"/>
                <a:gd name="connsiteY210" fmla="*/ 629921 h 868681"/>
                <a:gd name="connsiteX211" fmla="*/ 674370 w 1219200"/>
                <a:gd name="connsiteY211" fmla="*/ 629921 h 868681"/>
                <a:gd name="connsiteX212" fmla="*/ 706120 w 1219200"/>
                <a:gd name="connsiteY212" fmla="*/ 629921 h 868681"/>
                <a:gd name="connsiteX213" fmla="*/ 689610 w 1219200"/>
                <a:gd name="connsiteY213" fmla="*/ 612776 h 868681"/>
                <a:gd name="connsiteX214" fmla="*/ 410845 w 1219200"/>
                <a:gd name="connsiteY214" fmla="*/ 612776 h 868681"/>
                <a:gd name="connsiteX215" fmla="*/ 395605 w 1219200"/>
                <a:gd name="connsiteY215" fmla="*/ 629921 h 868681"/>
                <a:gd name="connsiteX216" fmla="*/ 427355 w 1219200"/>
                <a:gd name="connsiteY216" fmla="*/ 629921 h 868681"/>
                <a:gd name="connsiteX217" fmla="*/ 410845 w 1219200"/>
                <a:gd name="connsiteY217" fmla="*/ 612776 h 868681"/>
                <a:gd name="connsiteX218" fmla="*/ 991870 w 1219200"/>
                <a:gd name="connsiteY218" fmla="*/ 594361 h 868681"/>
                <a:gd name="connsiteX219" fmla="*/ 1014095 w 1219200"/>
                <a:gd name="connsiteY219" fmla="*/ 594361 h 868681"/>
                <a:gd name="connsiteX220" fmla="*/ 1014095 w 1219200"/>
                <a:gd name="connsiteY220" fmla="*/ 643256 h 868681"/>
                <a:gd name="connsiteX221" fmla="*/ 1029334 w 1219200"/>
                <a:gd name="connsiteY221" fmla="*/ 664846 h 868681"/>
                <a:gd name="connsiteX222" fmla="*/ 1044575 w 1219200"/>
                <a:gd name="connsiteY222" fmla="*/ 644526 h 868681"/>
                <a:gd name="connsiteX223" fmla="*/ 1044575 w 1219200"/>
                <a:gd name="connsiteY223" fmla="*/ 594996 h 868681"/>
                <a:gd name="connsiteX224" fmla="*/ 1066799 w 1219200"/>
                <a:gd name="connsiteY224" fmla="*/ 594996 h 868681"/>
                <a:gd name="connsiteX225" fmla="*/ 1066799 w 1219200"/>
                <a:gd name="connsiteY225" fmla="*/ 684531 h 868681"/>
                <a:gd name="connsiteX226" fmla="*/ 1044575 w 1219200"/>
                <a:gd name="connsiteY226" fmla="*/ 684531 h 868681"/>
                <a:gd name="connsiteX227" fmla="*/ 1044575 w 1219200"/>
                <a:gd name="connsiteY227" fmla="*/ 678181 h 868681"/>
                <a:gd name="connsiteX228" fmla="*/ 1023620 w 1219200"/>
                <a:gd name="connsiteY228" fmla="*/ 686436 h 868681"/>
                <a:gd name="connsiteX229" fmla="*/ 991870 w 1219200"/>
                <a:gd name="connsiteY229" fmla="*/ 645161 h 868681"/>
                <a:gd name="connsiteX230" fmla="*/ 836295 w 1219200"/>
                <a:gd name="connsiteY230" fmla="*/ 594361 h 868681"/>
                <a:gd name="connsiteX231" fmla="*/ 858519 w 1219200"/>
                <a:gd name="connsiteY231" fmla="*/ 594361 h 868681"/>
                <a:gd name="connsiteX232" fmla="*/ 858519 w 1219200"/>
                <a:gd name="connsiteY232" fmla="*/ 643256 h 868681"/>
                <a:gd name="connsiteX233" fmla="*/ 873760 w 1219200"/>
                <a:gd name="connsiteY233" fmla="*/ 664846 h 868681"/>
                <a:gd name="connsiteX234" fmla="*/ 889000 w 1219200"/>
                <a:gd name="connsiteY234" fmla="*/ 644526 h 868681"/>
                <a:gd name="connsiteX235" fmla="*/ 889000 w 1219200"/>
                <a:gd name="connsiteY235" fmla="*/ 594996 h 868681"/>
                <a:gd name="connsiteX236" fmla="*/ 911224 w 1219200"/>
                <a:gd name="connsiteY236" fmla="*/ 594996 h 868681"/>
                <a:gd name="connsiteX237" fmla="*/ 911224 w 1219200"/>
                <a:gd name="connsiteY237" fmla="*/ 684531 h 868681"/>
                <a:gd name="connsiteX238" fmla="*/ 889000 w 1219200"/>
                <a:gd name="connsiteY238" fmla="*/ 684531 h 868681"/>
                <a:gd name="connsiteX239" fmla="*/ 889000 w 1219200"/>
                <a:gd name="connsiteY239" fmla="*/ 678181 h 868681"/>
                <a:gd name="connsiteX240" fmla="*/ 868045 w 1219200"/>
                <a:gd name="connsiteY240" fmla="*/ 686436 h 868681"/>
                <a:gd name="connsiteX241" fmla="*/ 836295 w 1219200"/>
                <a:gd name="connsiteY241" fmla="*/ 645161 h 868681"/>
                <a:gd name="connsiteX242" fmla="*/ 1181099 w 1219200"/>
                <a:gd name="connsiteY242" fmla="*/ 592456 h 868681"/>
                <a:gd name="connsiteX243" fmla="*/ 1219200 w 1219200"/>
                <a:gd name="connsiteY243" fmla="*/ 639446 h 868681"/>
                <a:gd name="connsiteX244" fmla="*/ 1218564 w 1219200"/>
                <a:gd name="connsiteY244" fmla="*/ 639446 h 868681"/>
                <a:gd name="connsiteX245" fmla="*/ 1218564 w 1219200"/>
                <a:gd name="connsiteY245" fmla="*/ 647066 h 868681"/>
                <a:gd name="connsiteX246" fmla="*/ 1163954 w 1219200"/>
                <a:gd name="connsiteY246" fmla="*/ 647066 h 868681"/>
                <a:gd name="connsiteX247" fmla="*/ 1183004 w 1219200"/>
                <a:gd name="connsiteY247" fmla="*/ 664846 h 868681"/>
                <a:gd name="connsiteX248" fmla="*/ 1198879 w 1219200"/>
                <a:gd name="connsiteY248" fmla="*/ 658496 h 868681"/>
                <a:gd name="connsiteX249" fmla="*/ 1214754 w 1219200"/>
                <a:gd name="connsiteY249" fmla="*/ 671831 h 868681"/>
                <a:gd name="connsiteX250" fmla="*/ 1182370 w 1219200"/>
                <a:gd name="connsiteY250" fmla="*/ 686436 h 868681"/>
                <a:gd name="connsiteX251" fmla="*/ 1141095 w 1219200"/>
                <a:gd name="connsiteY251" fmla="*/ 639446 h 868681"/>
                <a:gd name="connsiteX252" fmla="*/ 1181099 w 1219200"/>
                <a:gd name="connsiteY252" fmla="*/ 592456 h 868681"/>
                <a:gd name="connsiteX253" fmla="*/ 691515 w 1219200"/>
                <a:gd name="connsiteY253" fmla="*/ 592456 h 868681"/>
                <a:gd name="connsiteX254" fmla="*/ 729614 w 1219200"/>
                <a:gd name="connsiteY254" fmla="*/ 639446 h 868681"/>
                <a:gd name="connsiteX255" fmla="*/ 728980 w 1219200"/>
                <a:gd name="connsiteY255" fmla="*/ 639446 h 868681"/>
                <a:gd name="connsiteX256" fmla="*/ 728980 w 1219200"/>
                <a:gd name="connsiteY256" fmla="*/ 647066 h 868681"/>
                <a:gd name="connsiteX257" fmla="*/ 674370 w 1219200"/>
                <a:gd name="connsiteY257" fmla="*/ 647066 h 868681"/>
                <a:gd name="connsiteX258" fmla="*/ 693420 w 1219200"/>
                <a:gd name="connsiteY258" fmla="*/ 664846 h 868681"/>
                <a:gd name="connsiteX259" fmla="*/ 709295 w 1219200"/>
                <a:gd name="connsiteY259" fmla="*/ 658496 h 868681"/>
                <a:gd name="connsiteX260" fmla="*/ 725170 w 1219200"/>
                <a:gd name="connsiteY260" fmla="*/ 671831 h 868681"/>
                <a:gd name="connsiteX261" fmla="*/ 692784 w 1219200"/>
                <a:gd name="connsiteY261" fmla="*/ 686436 h 868681"/>
                <a:gd name="connsiteX262" fmla="*/ 651510 w 1219200"/>
                <a:gd name="connsiteY262" fmla="*/ 639446 h 868681"/>
                <a:gd name="connsiteX263" fmla="*/ 691515 w 1219200"/>
                <a:gd name="connsiteY263" fmla="*/ 592456 h 868681"/>
                <a:gd name="connsiteX264" fmla="*/ 412114 w 1219200"/>
                <a:gd name="connsiteY264" fmla="*/ 592456 h 868681"/>
                <a:gd name="connsiteX265" fmla="*/ 448310 w 1219200"/>
                <a:gd name="connsiteY265" fmla="*/ 639446 h 868681"/>
                <a:gd name="connsiteX266" fmla="*/ 448310 w 1219200"/>
                <a:gd name="connsiteY266" fmla="*/ 647066 h 868681"/>
                <a:gd name="connsiteX267" fmla="*/ 395605 w 1219200"/>
                <a:gd name="connsiteY267" fmla="*/ 647066 h 868681"/>
                <a:gd name="connsiteX268" fmla="*/ 415290 w 1219200"/>
                <a:gd name="connsiteY268" fmla="*/ 664846 h 868681"/>
                <a:gd name="connsiteX269" fmla="*/ 430530 w 1219200"/>
                <a:gd name="connsiteY269" fmla="*/ 658496 h 868681"/>
                <a:gd name="connsiteX270" fmla="*/ 446405 w 1219200"/>
                <a:gd name="connsiteY270" fmla="*/ 671831 h 868681"/>
                <a:gd name="connsiteX271" fmla="*/ 413385 w 1219200"/>
                <a:gd name="connsiteY271" fmla="*/ 686436 h 868681"/>
                <a:gd name="connsiteX272" fmla="*/ 372110 w 1219200"/>
                <a:gd name="connsiteY272" fmla="*/ 640081 h 868681"/>
                <a:gd name="connsiteX273" fmla="*/ 412114 w 1219200"/>
                <a:gd name="connsiteY273" fmla="*/ 592456 h 868681"/>
                <a:gd name="connsiteX274" fmla="*/ 326390 w 1219200"/>
                <a:gd name="connsiteY274" fmla="*/ 592456 h 868681"/>
                <a:gd name="connsiteX275" fmla="*/ 361314 w 1219200"/>
                <a:gd name="connsiteY275" fmla="*/ 639446 h 868681"/>
                <a:gd name="connsiteX276" fmla="*/ 326390 w 1219200"/>
                <a:gd name="connsiteY276" fmla="*/ 686436 h 868681"/>
                <a:gd name="connsiteX277" fmla="*/ 306070 w 1219200"/>
                <a:gd name="connsiteY277" fmla="*/ 678816 h 868681"/>
                <a:gd name="connsiteX278" fmla="*/ 306070 w 1219200"/>
                <a:gd name="connsiteY278" fmla="*/ 706121 h 868681"/>
                <a:gd name="connsiteX279" fmla="*/ 283845 w 1219200"/>
                <a:gd name="connsiteY279" fmla="*/ 717551 h 868681"/>
                <a:gd name="connsiteX280" fmla="*/ 283845 w 1219200"/>
                <a:gd name="connsiteY280" fmla="*/ 594361 h 868681"/>
                <a:gd name="connsiteX281" fmla="*/ 306070 w 1219200"/>
                <a:gd name="connsiteY281" fmla="*/ 594361 h 868681"/>
                <a:gd name="connsiteX282" fmla="*/ 306070 w 1219200"/>
                <a:gd name="connsiteY282" fmla="*/ 600711 h 868681"/>
                <a:gd name="connsiteX283" fmla="*/ 326390 w 1219200"/>
                <a:gd name="connsiteY283" fmla="*/ 592456 h 868681"/>
                <a:gd name="connsiteX284" fmla="*/ 231775 w 1219200"/>
                <a:gd name="connsiteY284" fmla="*/ 592456 h 868681"/>
                <a:gd name="connsiteX285" fmla="*/ 268605 w 1219200"/>
                <a:gd name="connsiteY285" fmla="*/ 624206 h 868681"/>
                <a:gd name="connsiteX286" fmla="*/ 268605 w 1219200"/>
                <a:gd name="connsiteY286" fmla="*/ 684531 h 868681"/>
                <a:gd name="connsiteX287" fmla="*/ 267970 w 1219200"/>
                <a:gd name="connsiteY287" fmla="*/ 684531 h 868681"/>
                <a:gd name="connsiteX288" fmla="*/ 245745 w 1219200"/>
                <a:gd name="connsiteY288" fmla="*/ 684531 h 868681"/>
                <a:gd name="connsiteX289" fmla="*/ 245745 w 1219200"/>
                <a:gd name="connsiteY289" fmla="*/ 678181 h 868681"/>
                <a:gd name="connsiteX290" fmla="*/ 224790 w 1219200"/>
                <a:gd name="connsiteY290" fmla="*/ 686436 h 868681"/>
                <a:gd name="connsiteX291" fmla="*/ 193040 w 1219200"/>
                <a:gd name="connsiteY291" fmla="*/ 655321 h 868681"/>
                <a:gd name="connsiteX292" fmla="*/ 227965 w 1219200"/>
                <a:gd name="connsiteY292" fmla="*/ 624841 h 868681"/>
                <a:gd name="connsiteX293" fmla="*/ 245745 w 1219200"/>
                <a:gd name="connsiteY293" fmla="*/ 628651 h 868681"/>
                <a:gd name="connsiteX294" fmla="*/ 245745 w 1219200"/>
                <a:gd name="connsiteY294" fmla="*/ 623571 h 868681"/>
                <a:gd name="connsiteX295" fmla="*/ 230504 w 1219200"/>
                <a:gd name="connsiteY295" fmla="*/ 611506 h 868681"/>
                <a:gd name="connsiteX296" fmla="*/ 209549 w 1219200"/>
                <a:gd name="connsiteY296" fmla="*/ 617221 h 868681"/>
                <a:gd name="connsiteX297" fmla="*/ 200659 w 1219200"/>
                <a:gd name="connsiteY297" fmla="*/ 601346 h 868681"/>
                <a:gd name="connsiteX298" fmla="*/ 231775 w 1219200"/>
                <a:gd name="connsiteY298" fmla="*/ 592456 h 868681"/>
                <a:gd name="connsiteX299" fmla="*/ 1125855 w 1219200"/>
                <a:gd name="connsiteY299" fmla="*/ 591821 h 868681"/>
                <a:gd name="connsiteX300" fmla="*/ 1142364 w 1219200"/>
                <a:gd name="connsiteY300" fmla="*/ 598171 h 868681"/>
                <a:gd name="connsiteX301" fmla="*/ 1141730 w 1219200"/>
                <a:gd name="connsiteY301" fmla="*/ 598806 h 868681"/>
                <a:gd name="connsiteX302" fmla="*/ 1132840 w 1219200"/>
                <a:gd name="connsiteY302" fmla="*/ 621031 h 868681"/>
                <a:gd name="connsiteX303" fmla="*/ 1120140 w 1219200"/>
                <a:gd name="connsiteY303" fmla="*/ 615316 h 868681"/>
                <a:gd name="connsiteX304" fmla="*/ 1106805 w 1219200"/>
                <a:gd name="connsiteY304" fmla="*/ 635001 h 868681"/>
                <a:gd name="connsiteX305" fmla="*/ 1106805 w 1219200"/>
                <a:gd name="connsiteY305" fmla="*/ 683896 h 868681"/>
                <a:gd name="connsiteX306" fmla="*/ 1084579 w 1219200"/>
                <a:gd name="connsiteY306" fmla="*/ 683896 h 868681"/>
                <a:gd name="connsiteX307" fmla="*/ 1084579 w 1219200"/>
                <a:gd name="connsiteY307" fmla="*/ 593726 h 868681"/>
                <a:gd name="connsiteX308" fmla="*/ 1106805 w 1219200"/>
                <a:gd name="connsiteY308" fmla="*/ 593726 h 868681"/>
                <a:gd name="connsiteX309" fmla="*/ 1106805 w 1219200"/>
                <a:gd name="connsiteY309" fmla="*/ 600076 h 868681"/>
                <a:gd name="connsiteX310" fmla="*/ 1125855 w 1219200"/>
                <a:gd name="connsiteY310" fmla="*/ 591821 h 868681"/>
                <a:gd name="connsiteX311" fmla="*/ 47625 w 1219200"/>
                <a:gd name="connsiteY311" fmla="*/ 563881 h 868681"/>
                <a:gd name="connsiteX312" fmla="*/ 90170 w 1219200"/>
                <a:gd name="connsiteY312" fmla="*/ 582296 h 868681"/>
                <a:gd name="connsiteX313" fmla="*/ 73659 w 1219200"/>
                <a:gd name="connsiteY313" fmla="*/ 598806 h 868681"/>
                <a:gd name="connsiteX314" fmla="*/ 46355 w 1219200"/>
                <a:gd name="connsiteY314" fmla="*/ 586741 h 868681"/>
                <a:gd name="connsiteX315" fmla="*/ 28575 w 1219200"/>
                <a:gd name="connsiteY315" fmla="*/ 598171 h 868681"/>
                <a:gd name="connsiteX316" fmla="*/ 33655 w 1219200"/>
                <a:gd name="connsiteY316" fmla="*/ 606426 h 868681"/>
                <a:gd name="connsiteX317" fmla="*/ 52704 w 1219200"/>
                <a:gd name="connsiteY317" fmla="*/ 612776 h 868681"/>
                <a:gd name="connsiteX318" fmla="*/ 81915 w 1219200"/>
                <a:gd name="connsiteY318" fmla="*/ 624841 h 868681"/>
                <a:gd name="connsiteX319" fmla="*/ 92427 w 1219200"/>
                <a:gd name="connsiteY319" fmla="*/ 648959 h 868681"/>
                <a:gd name="connsiteX320" fmla="*/ 79454 w 1219200"/>
                <a:gd name="connsiteY320" fmla="*/ 677626 h 868681"/>
                <a:gd name="connsiteX321" fmla="*/ 47625 w 1219200"/>
                <a:gd name="connsiteY321" fmla="*/ 686436 h 868681"/>
                <a:gd name="connsiteX322" fmla="*/ 0 w 1219200"/>
                <a:gd name="connsiteY322" fmla="*/ 664846 h 868681"/>
                <a:gd name="connsiteX323" fmla="*/ 16510 w 1219200"/>
                <a:gd name="connsiteY323" fmla="*/ 650241 h 868681"/>
                <a:gd name="connsiteX324" fmla="*/ 46989 w 1219200"/>
                <a:gd name="connsiteY324" fmla="*/ 664211 h 868681"/>
                <a:gd name="connsiteX325" fmla="*/ 68579 w 1219200"/>
                <a:gd name="connsiteY325" fmla="*/ 649606 h 868681"/>
                <a:gd name="connsiteX326" fmla="*/ 61595 w 1219200"/>
                <a:gd name="connsiteY326" fmla="*/ 640081 h 868681"/>
                <a:gd name="connsiteX327" fmla="*/ 41909 w 1219200"/>
                <a:gd name="connsiteY327" fmla="*/ 634366 h 868681"/>
                <a:gd name="connsiteX328" fmla="*/ 14605 w 1219200"/>
                <a:gd name="connsiteY328" fmla="*/ 623571 h 868681"/>
                <a:gd name="connsiteX329" fmla="*/ 4444 w 1219200"/>
                <a:gd name="connsiteY329" fmla="*/ 599441 h 868681"/>
                <a:gd name="connsiteX330" fmla="*/ 47625 w 1219200"/>
                <a:gd name="connsiteY330" fmla="*/ 563881 h 868681"/>
                <a:gd name="connsiteX331" fmla="*/ 814070 w 1219200"/>
                <a:gd name="connsiteY331" fmla="*/ 560071 h 868681"/>
                <a:gd name="connsiteX332" fmla="*/ 830579 w 1219200"/>
                <a:gd name="connsiteY332" fmla="*/ 562611 h 868681"/>
                <a:gd name="connsiteX333" fmla="*/ 829945 w 1219200"/>
                <a:gd name="connsiteY333" fmla="*/ 562611 h 868681"/>
                <a:gd name="connsiteX334" fmla="*/ 829945 w 1219200"/>
                <a:gd name="connsiteY334" fmla="*/ 581026 h 868681"/>
                <a:gd name="connsiteX335" fmla="*/ 818515 w 1219200"/>
                <a:gd name="connsiteY335" fmla="*/ 579121 h 868681"/>
                <a:gd name="connsiteX336" fmla="*/ 808989 w 1219200"/>
                <a:gd name="connsiteY336" fmla="*/ 586741 h 868681"/>
                <a:gd name="connsiteX337" fmla="*/ 808989 w 1219200"/>
                <a:gd name="connsiteY337" fmla="*/ 594361 h 868681"/>
                <a:gd name="connsiteX338" fmla="*/ 824230 w 1219200"/>
                <a:gd name="connsiteY338" fmla="*/ 594361 h 868681"/>
                <a:gd name="connsiteX339" fmla="*/ 824230 w 1219200"/>
                <a:gd name="connsiteY339" fmla="*/ 615951 h 868681"/>
                <a:gd name="connsiteX340" fmla="*/ 808989 w 1219200"/>
                <a:gd name="connsiteY340" fmla="*/ 615951 h 868681"/>
                <a:gd name="connsiteX341" fmla="*/ 808989 w 1219200"/>
                <a:gd name="connsiteY341" fmla="*/ 684531 h 868681"/>
                <a:gd name="connsiteX342" fmla="*/ 786765 w 1219200"/>
                <a:gd name="connsiteY342" fmla="*/ 684531 h 868681"/>
                <a:gd name="connsiteX343" fmla="*/ 786765 w 1219200"/>
                <a:gd name="connsiteY343" fmla="*/ 615951 h 868681"/>
                <a:gd name="connsiteX344" fmla="*/ 775970 w 1219200"/>
                <a:gd name="connsiteY344" fmla="*/ 615951 h 868681"/>
                <a:gd name="connsiteX345" fmla="*/ 775970 w 1219200"/>
                <a:gd name="connsiteY345" fmla="*/ 594361 h 868681"/>
                <a:gd name="connsiteX346" fmla="*/ 786765 w 1219200"/>
                <a:gd name="connsiteY346" fmla="*/ 594361 h 868681"/>
                <a:gd name="connsiteX347" fmla="*/ 786765 w 1219200"/>
                <a:gd name="connsiteY347" fmla="*/ 583566 h 868681"/>
                <a:gd name="connsiteX348" fmla="*/ 814070 w 1219200"/>
                <a:gd name="connsiteY348" fmla="*/ 560071 h 868681"/>
                <a:gd name="connsiteX349" fmla="*/ 957579 w 1219200"/>
                <a:gd name="connsiteY349" fmla="*/ 559436 h 868681"/>
                <a:gd name="connsiteX350" fmla="*/ 957579 w 1219200"/>
                <a:gd name="connsiteY350" fmla="*/ 594361 h 868681"/>
                <a:gd name="connsiteX351" fmla="*/ 979170 w 1219200"/>
                <a:gd name="connsiteY351" fmla="*/ 594361 h 868681"/>
                <a:gd name="connsiteX352" fmla="*/ 979170 w 1219200"/>
                <a:gd name="connsiteY352" fmla="*/ 615951 h 868681"/>
                <a:gd name="connsiteX353" fmla="*/ 957579 w 1219200"/>
                <a:gd name="connsiteY353" fmla="*/ 615951 h 868681"/>
                <a:gd name="connsiteX354" fmla="*/ 957579 w 1219200"/>
                <a:gd name="connsiteY354" fmla="*/ 654051 h 868681"/>
                <a:gd name="connsiteX355" fmla="*/ 966470 w 1219200"/>
                <a:gd name="connsiteY355" fmla="*/ 664846 h 868681"/>
                <a:gd name="connsiteX356" fmla="*/ 981075 w 1219200"/>
                <a:gd name="connsiteY356" fmla="*/ 658496 h 868681"/>
                <a:gd name="connsiteX357" fmla="*/ 977900 w 1219200"/>
                <a:gd name="connsiteY357" fmla="*/ 681356 h 868681"/>
                <a:gd name="connsiteX358" fmla="*/ 959485 w 1219200"/>
                <a:gd name="connsiteY358" fmla="*/ 686436 h 868681"/>
                <a:gd name="connsiteX359" fmla="*/ 935355 w 1219200"/>
                <a:gd name="connsiteY359" fmla="*/ 659766 h 868681"/>
                <a:gd name="connsiteX360" fmla="*/ 935355 w 1219200"/>
                <a:gd name="connsiteY360" fmla="*/ 615951 h 868681"/>
                <a:gd name="connsiteX361" fmla="*/ 922655 w 1219200"/>
                <a:gd name="connsiteY361" fmla="*/ 615951 h 868681"/>
                <a:gd name="connsiteX362" fmla="*/ 922655 w 1219200"/>
                <a:gd name="connsiteY362" fmla="*/ 594361 h 868681"/>
                <a:gd name="connsiteX363" fmla="*/ 935355 w 1219200"/>
                <a:gd name="connsiteY363" fmla="*/ 594361 h 868681"/>
                <a:gd name="connsiteX364" fmla="*/ 935355 w 1219200"/>
                <a:gd name="connsiteY364" fmla="*/ 570866 h 868681"/>
                <a:gd name="connsiteX365" fmla="*/ 586739 w 1219200"/>
                <a:gd name="connsiteY365" fmla="*/ 559436 h 868681"/>
                <a:gd name="connsiteX366" fmla="*/ 586739 w 1219200"/>
                <a:gd name="connsiteY366" fmla="*/ 600711 h 868681"/>
                <a:gd name="connsiteX367" fmla="*/ 607695 w 1219200"/>
                <a:gd name="connsiteY367" fmla="*/ 592456 h 868681"/>
                <a:gd name="connsiteX368" fmla="*/ 639445 w 1219200"/>
                <a:gd name="connsiteY368" fmla="*/ 633731 h 868681"/>
                <a:gd name="connsiteX369" fmla="*/ 639445 w 1219200"/>
                <a:gd name="connsiteY369" fmla="*/ 684531 h 868681"/>
                <a:gd name="connsiteX370" fmla="*/ 617220 w 1219200"/>
                <a:gd name="connsiteY370" fmla="*/ 684531 h 868681"/>
                <a:gd name="connsiteX371" fmla="*/ 617220 w 1219200"/>
                <a:gd name="connsiteY371" fmla="*/ 635636 h 868681"/>
                <a:gd name="connsiteX372" fmla="*/ 601980 w 1219200"/>
                <a:gd name="connsiteY372" fmla="*/ 614681 h 868681"/>
                <a:gd name="connsiteX373" fmla="*/ 586739 w 1219200"/>
                <a:gd name="connsiteY373" fmla="*/ 635001 h 868681"/>
                <a:gd name="connsiteX374" fmla="*/ 586739 w 1219200"/>
                <a:gd name="connsiteY374" fmla="*/ 684531 h 868681"/>
                <a:gd name="connsiteX375" fmla="*/ 564515 w 1219200"/>
                <a:gd name="connsiteY375" fmla="*/ 684531 h 868681"/>
                <a:gd name="connsiteX376" fmla="*/ 564515 w 1219200"/>
                <a:gd name="connsiteY376" fmla="*/ 570866 h 868681"/>
                <a:gd name="connsiteX377" fmla="*/ 529590 w 1219200"/>
                <a:gd name="connsiteY377" fmla="*/ 559436 h 868681"/>
                <a:gd name="connsiteX378" fmla="*/ 529590 w 1219200"/>
                <a:gd name="connsiteY378" fmla="*/ 594361 h 868681"/>
                <a:gd name="connsiteX379" fmla="*/ 550545 w 1219200"/>
                <a:gd name="connsiteY379" fmla="*/ 594361 h 868681"/>
                <a:gd name="connsiteX380" fmla="*/ 550545 w 1219200"/>
                <a:gd name="connsiteY380" fmla="*/ 615951 h 868681"/>
                <a:gd name="connsiteX381" fmla="*/ 529590 w 1219200"/>
                <a:gd name="connsiteY381" fmla="*/ 615951 h 868681"/>
                <a:gd name="connsiteX382" fmla="*/ 529590 w 1219200"/>
                <a:gd name="connsiteY382" fmla="*/ 654051 h 868681"/>
                <a:gd name="connsiteX383" fmla="*/ 538480 w 1219200"/>
                <a:gd name="connsiteY383" fmla="*/ 664846 h 868681"/>
                <a:gd name="connsiteX384" fmla="*/ 553084 w 1219200"/>
                <a:gd name="connsiteY384" fmla="*/ 658496 h 868681"/>
                <a:gd name="connsiteX385" fmla="*/ 549909 w 1219200"/>
                <a:gd name="connsiteY385" fmla="*/ 681356 h 868681"/>
                <a:gd name="connsiteX386" fmla="*/ 531495 w 1219200"/>
                <a:gd name="connsiteY386" fmla="*/ 686436 h 868681"/>
                <a:gd name="connsiteX387" fmla="*/ 507364 w 1219200"/>
                <a:gd name="connsiteY387" fmla="*/ 659766 h 868681"/>
                <a:gd name="connsiteX388" fmla="*/ 507364 w 1219200"/>
                <a:gd name="connsiteY388" fmla="*/ 615951 h 868681"/>
                <a:gd name="connsiteX389" fmla="*/ 491489 w 1219200"/>
                <a:gd name="connsiteY389" fmla="*/ 615951 h 868681"/>
                <a:gd name="connsiteX390" fmla="*/ 491489 w 1219200"/>
                <a:gd name="connsiteY390" fmla="*/ 594361 h 868681"/>
                <a:gd name="connsiteX391" fmla="*/ 507364 w 1219200"/>
                <a:gd name="connsiteY391" fmla="*/ 594361 h 868681"/>
                <a:gd name="connsiteX392" fmla="*/ 507364 w 1219200"/>
                <a:gd name="connsiteY392" fmla="*/ 570866 h 868681"/>
                <a:gd name="connsiteX393" fmla="*/ 128269 w 1219200"/>
                <a:gd name="connsiteY393" fmla="*/ 559436 h 868681"/>
                <a:gd name="connsiteX394" fmla="*/ 128269 w 1219200"/>
                <a:gd name="connsiteY394" fmla="*/ 600711 h 868681"/>
                <a:gd name="connsiteX395" fmla="*/ 149224 w 1219200"/>
                <a:gd name="connsiteY395" fmla="*/ 592456 h 868681"/>
                <a:gd name="connsiteX396" fmla="*/ 180974 w 1219200"/>
                <a:gd name="connsiteY396" fmla="*/ 633731 h 868681"/>
                <a:gd name="connsiteX397" fmla="*/ 180974 w 1219200"/>
                <a:gd name="connsiteY397" fmla="*/ 684531 h 868681"/>
                <a:gd name="connsiteX398" fmla="*/ 158750 w 1219200"/>
                <a:gd name="connsiteY398" fmla="*/ 684531 h 868681"/>
                <a:gd name="connsiteX399" fmla="*/ 158750 w 1219200"/>
                <a:gd name="connsiteY399" fmla="*/ 635636 h 868681"/>
                <a:gd name="connsiteX400" fmla="*/ 143510 w 1219200"/>
                <a:gd name="connsiteY400" fmla="*/ 614681 h 868681"/>
                <a:gd name="connsiteX401" fmla="*/ 128269 w 1219200"/>
                <a:gd name="connsiteY401" fmla="*/ 635001 h 868681"/>
                <a:gd name="connsiteX402" fmla="*/ 128269 w 1219200"/>
                <a:gd name="connsiteY402" fmla="*/ 684531 h 868681"/>
                <a:gd name="connsiteX403" fmla="*/ 106045 w 1219200"/>
                <a:gd name="connsiteY403" fmla="*/ 684531 h 868681"/>
                <a:gd name="connsiteX404" fmla="*/ 106045 w 1219200"/>
                <a:gd name="connsiteY404" fmla="*/ 570866 h 868681"/>
                <a:gd name="connsiteX405" fmla="*/ 269875 w 1219200"/>
                <a:gd name="connsiteY405" fmla="*/ 635 h 868681"/>
                <a:gd name="connsiteX406" fmla="*/ 501015 w 1219200"/>
                <a:gd name="connsiteY406" fmla="*/ 635 h 868681"/>
                <a:gd name="connsiteX407" fmla="*/ 554989 w 1219200"/>
                <a:gd name="connsiteY407" fmla="*/ 94615 h 868681"/>
                <a:gd name="connsiteX408" fmla="*/ 391795 w 1219200"/>
                <a:gd name="connsiteY408" fmla="*/ 94615 h 868681"/>
                <a:gd name="connsiteX409" fmla="*/ 391795 w 1219200"/>
                <a:gd name="connsiteY409" fmla="*/ 161925 h 868681"/>
                <a:gd name="connsiteX410" fmla="*/ 539114 w 1219200"/>
                <a:gd name="connsiteY410" fmla="*/ 161925 h 868681"/>
                <a:gd name="connsiteX411" fmla="*/ 539114 w 1219200"/>
                <a:gd name="connsiteY411" fmla="*/ 247650 h 868681"/>
                <a:gd name="connsiteX412" fmla="*/ 391795 w 1219200"/>
                <a:gd name="connsiteY412" fmla="*/ 247650 h 868681"/>
                <a:gd name="connsiteX413" fmla="*/ 391795 w 1219200"/>
                <a:gd name="connsiteY413" fmla="*/ 314325 h 868681"/>
                <a:gd name="connsiteX414" fmla="*/ 595629 w 1219200"/>
                <a:gd name="connsiteY414" fmla="*/ 314325 h 868681"/>
                <a:gd name="connsiteX415" fmla="*/ 595629 w 1219200"/>
                <a:gd name="connsiteY415" fmla="*/ 408305 h 868681"/>
                <a:gd name="connsiteX416" fmla="*/ 269875 w 1219200"/>
                <a:gd name="connsiteY416" fmla="*/ 408305 h 868681"/>
                <a:gd name="connsiteX417" fmla="*/ 539114 w 1219200"/>
                <a:gd name="connsiteY417" fmla="*/ 0 h 868681"/>
                <a:gd name="connsiteX418" fmla="*/ 674370 w 1219200"/>
                <a:gd name="connsiteY418" fmla="*/ 0 h 868681"/>
                <a:gd name="connsiteX419" fmla="*/ 743584 w 1219200"/>
                <a:gd name="connsiteY419" fmla="*/ 132715 h 868681"/>
                <a:gd name="connsiteX420" fmla="*/ 812799 w 1219200"/>
                <a:gd name="connsiteY420" fmla="*/ 0 h 868681"/>
                <a:gd name="connsiteX421" fmla="*/ 946150 w 1219200"/>
                <a:gd name="connsiteY421" fmla="*/ 0 h 868681"/>
                <a:gd name="connsiteX422" fmla="*/ 803275 w 1219200"/>
                <a:gd name="connsiteY422" fmla="*/ 246380 h 868681"/>
                <a:gd name="connsiteX423" fmla="*/ 803275 w 1219200"/>
                <a:gd name="connsiteY423" fmla="*/ 407670 h 868681"/>
                <a:gd name="connsiteX424" fmla="*/ 681355 w 1219200"/>
                <a:gd name="connsiteY424" fmla="*/ 407670 h 868681"/>
                <a:gd name="connsiteX425" fmla="*/ 681355 w 1219200"/>
                <a:gd name="connsiteY425" fmla="*/ 246380 h 868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</a:cxnLst>
              <a:rect l="l" t="t" r="r" b="b"/>
              <a:pathLst>
                <a:path w="1219200" h="868681">
                  <a:moveTo>
                    <a:pt x="245110" y="839471"/>
                  </a:moveTo>
                  <a:lnTo>
                    <a:pt x="246379" y="839471"/>
                  </a:lnTo>
                  <a:lnTo>
                    <a:pt x="245041" y="839979"/>
                  </a:lnTo>
                  <a:close/>
                  <a:moveTo>
                    <a:pt x="522605" y="796926"/>
                  </a:moveTo>
                  <a:cubicBezTo>
                    <a:pt x="509905" y="796926"/>
                    <a:pt x="504189" y="807721"/>
                    <a:pt x="504189" y="821691"/>
                  </a:cubicBezTo>
                  <a:cubicBezTo>
                    <a:pt x="504189" y="831216"/>
                    <a:pt x="508000" y="845821"/>
                    <a:pt x="522605" y="845821"/>
                  </a:cubicBezTo>
                  <a:cubicBezTo>
                    <a:pt x="537845" y="845821"/>
                    <a:pt x="541019" y="831851"/>
                    <a:pt x="541019" y="821691"/>
                  </a:cubicBezTo>
                  <a:cubicBezTo>
                    <a:pt x="541019" y="807721"/>
                    <a:pt x="535305" y="796926"/>
                    <a:pt x="522605" y="796926"/>
                  </a:cubicBezTo>
                  <a:close/>
                  <a:moveTo>
                    <a:pt x="817245" y="796291"/>
                  </a:moveTo>
                  <a:cubicBezTo>
                    <a:pt x="803909" y="796291"/>
                    <a:pt x="800735" y="807086"/>
                    <a:pt x="800735" y="819786"/>
                  </a:cubicBezTo>
                  <a:cubicBezTo>
                    <a:pt x="800735" y="834391"/>
                    <a:pt x="805180" y="846456"/>
                    <a:pt x="817879" y="846456"/>
                  </a:cubicBezTo>
                  <a:cubicBezTo>
                    <a:pt x="824230" y="846456"/>
                    <a:pt x="828674" y="843281"/>
                    <a:pt x="833754" y="838836"/>
                  </a:cubicBezTo>
                  <a:lnTo>
                    <a:pt x="833754" y="838201"/>
                  </a:lnTo>
                  <a:lnTo>
                    <a:pt x="833754" y="803911"/>
                  </a:lnTo>
                  <a:cubicBezTo>
                    <a:pt x="828674" y="798831"/>
                    <a:pt x="824230" y="796291"/>
                    <a:pt x="817245" y="796291"/>
                  </a:cubicBezTo>
                  <a:close/>
                  <a:moveTo>
                    <a:pt x="1179195" y="794386"/>
                  </a:moveTo>
                  <a:cubicBezTo>
                    <a:pt x="1168400" y="794386"/>
                    <a:pt x="1163954" y="803911"/>
                    <a:pt x="1163320" y="811531"/>
                  </a:cubicBezTo>
                  <a:lnTo>
                    <a:pt x="1163954" y="811531"/>
                  </a:lnTo>
                  <a:lnTo>
                    <a:pt x="1195704" y="811531"/>
                  </a:lnTo>
                  <a:cubicBezTo>
                    <a:pt x="1195070" y="801371"/>
                    <a:pt x="1188720" y="794386"/>
                    <a:pt x="1179195" y="794386"/>
                  </a:cubicBezTo>
                  <a:close/>
                  <a:moveTo>
                    <a:pt x="909320" y="794386"/>
                  </a:moveTo>
                  <a:cubicBezTo>
                    <a:pt x="898525" y="794386"/>
                    <a:pt x="894079" y="803911"/>
                    <a:pt x="893445" y="811531"/>
                  </a:cubicBezTo>
                  <a:lnTo>
                    <a:pt x="894079" y="811531"/>
                  </a:lnTo>
                  <a:lnTo>
                    <a:pt x="925829" y="811531"/>
                  </a:lnTo>
                  <a:cubicBezTo>
                    <a:pt x="925195" y="801371"/>
                    <a:pt x="918845" y="794386"/>
                    <a:pt x="909320" y="794386"/>
                  </a:cubicBezTo>
                  <a:close/>
                  <a:moveTo>
                    <a:pt x="737870" y="775971"/>
                  </a:moveTo>
                  <a:lnTo>
                    <a:pt x="761364" y="775971"/>
                  </a:lnTo>
                  <a:lnTo>
                    <a:pt x="761364" y="866141"/>
                  </a:lnTo>
                  <a:lnTo>
                    <a:pt x="737870" y="866141"/>
                  </a:lnTo>
                  <a:close/>
                  <a:moveTo>
                    <a:pt x="143510" y="775971"/>
                  </a:moveTo>
                  <a:lnTo>
                    <a:pt x="167004" y="775971"/>
                  </a:lnTo>
                  <a:lnTo>
                    <a:pt x="167004" y="866141"/>
                  </a:lnTo>
                  <a:lnTo>
                    <a:pt x="143510" y="866141"/>
                  </a:lnTo>
                  <a:close/>
                  <a:moveTo>
                    <a:pt x="635" y="775971"/>
                  </a:moveTo>
                  <a:lnTo>
                    <a:pt x="26670" y="775971"/>
                  </a:lnTo>
                  <a:lnTo>
                    <a:pt x="40004" y="828041"/>
                  </a:lnTo>
                  <a:lnTo>
                    <a:pt x="55245" y="775971"/>
                  </a:lnTo>
                  <a:lnTo>
                    <a:pt x="76200" y="775971"/>
                  </a:lnTo>
                  <a:lnTo>
                    <a:pt x="91439" y="828041"/>
                  </a:lnTo>
                  <a:lnTo>
                    <a:pt x="105409" y="775971"/>
                  </a:lnTo>
                  <a:lnTo>
                    <a:pt x="130810" y="775971"/>
                  </a:lnTo>
                  <a:lnTo>
                    <a:pt x="102235" y="866141"/>
                  </a:lnTo>
                  <a:lnTo>
                    <a:pt x="80644" y="866141"/>
                  </a:lnTo>
                  <a:lnTo>
                    <a:pt x="65405" y="811531"/>
                  </a:lnTo>
                  <a:lnTo>
                    <a:pt x="50165" y="866141"/>
                  </a:lnTo>
                  <a:lnTo>
                    <a:pt x="28575" y="866141"/>
                  </a:lnTo>
                  <a:close/>
                  <a:moveTo>
                    <a:pt x="1181099" y="774066"/>
                  </a:moveTo>
                  <a:cubicBezTo>
                    <a:pt x="1204595" y="774066"/>
                    <a:pt x="1219200" y="795021"/>
                    <a:pt x="1219200" y="821056"/>
                  </a:cubicBezTo>
                  <a:lnTo>
                    <a:pt x="1218564" y="821056"/>
                  </a:lnTo>
                  <a:cubicBezTo>
                    <a:pt x="1218564" y="821056"/>
                    <a:pt x="1218564" y="827406"/>
                    <a:pt x="1218564" y="828676"/>
                  </a:cubicBezTo>
                  <a:lnTo>
                    <a:pt x="1163954" y="828676"/>
                  </a:lnTo>
                  <a:cubicBezTo>
                    <a:pt x="1165224" y="841376"/>
                    <a:pt x="1173480" y="846456"/>
                    <a:pt x="1183004" y="846456"/>
                  </a:cubicBezTo>
                  <a:cubicBezTo>
                    <a:pt x="1188720" y="846456"/>
                    <a:pt x="1193799" y="844551"/>
                    <a:pt x="1198879" y="840106"/>
                  </a:cubicBezTo>
                  <a:lnTo>
                    <a:pt x="1214754" y="853441"/>
                  </a:lnTo>
                  <a:cubicBezTo>
                    <a:pt x="1206500" y="864236"/>
                    <a:pt x="1193799" y="868046"/>
                    <a:pt x="1182370" y="868046"/>
                  </a:cubicBezTo>
                  <a:cubicBezTo>
                    <a:pt x="1156335" y="868046"/>
                    <a:pt x="1141095" y="847726"/>
                    <a:pt x="1141095" y="821056"/>
                  </a:cubicBezTo>
                  <a:cubicBezTo>
                    <a:pt x="1141095" y="792481"/>
                    <a:pt x="1158875" y="774066"/>
                    <a:pt x="1181099" y="774066"/>
                  </a:cubicBezTo>
                  <a:close/>
                  <a:moveTo>
                    <a:pt x="1097915" y="774066"/>
                  </a:moveTo>
                  <a:cubicBezTo>
                    <a:pt x="1113790" y="774066"/>
                    <a:pt x="1125220" y="781051"/>
                    <a:pt x="1133474" y="793751"/>
                  </a:cubicBezTo>
                  <a:lnTo>
                    <a:pt x="1118235" y="808991"/>
                  </a:lnTo>
                  <a:cubicBezTo>
                    <a:pt x="1113155" y="802006"/>
                    <a:pt x="1107439" y="796291"/>
                    <a:pt x="1097915" y="796291"/>
                  </a:cubicBezTo>
                  <a:cubicBezTo>
                    <a:pt x="1085215" y="796291"/>
                    <a:pt x="1078864" y="807086"/>
                    <a:pt x="1078864" y="820421"/>
                  </a:cubicBezTo>
                  <a:cubicBezTo>
                    <a:pt x="1078864" y="833121"/>
                    <a:pt x="1084579" y="845186"/>
                    <a:pt x="1097915" y="845186"/>
                  </a:cubicBezTo>
                  <a:cubicBezTo>
                    <a:pt x="1106170" y="845186"/>
                    <a:pt x="1113155" y="840741"/>
                    <a:pt x="1118235" y="833756"/>
                  </a:cubicBezTo>
                  <a:lnTo>
                    <a:pt x="1118870" y="834391"/>
                  </a:lnTo>
                  <a:lnTo>
                    <a:pt x="1133474" y="848361"/>
                  </a:lnTo>
                  <a:cubicBezTo>
                    <a:pt x="1125855" y="857886"/>
                    <a:pt x="1115060" y="868046"/>
                    <a:pt x="1097280" y="868046"/>
                  </a:cubicBezTo>
                  <a:cubicBezTo>
                    <a:pt x="1072515" y="868046"/>
                    <a:pt x="1054735" y="848361"/>
                    <a:pt x="1054735" y="821056"/>
                  </a:cubicBezTo>
                  <a:cubicBezTo>
                    <a:pt x="1054735" y="796291"/>
                    <a:pt x="1069974" y="774066"/>
                    <a:pt x="1097915" y="774066"/>
                  </a:cubicBezTo>
                  <a:close/>
                  <a:moveTo>
                    <a:pt x="1009015" y="774066"/>
                  </a:moveTo>
                  <a:cubicBezTo>
                    <a:pt x="1033144" y="774066"/>
                    <a:pt x="1041400" y="793116"/>
                    <a:pt x="1041400" y="815341"/>
                  </a:cubicBezTo>
                  <a:lnTo>
                    <a:pt x="1041400" y="866141"/>
                  </a:lnTo>
                  <a:lnTo>
                    <a:pt x="1017905" y="866141"/>
                  </a:lnTo>
                  <a:lnTo>
                    <a:pt x="1017905" y="817246"/>
                  </a:lnTo>
                  <a:cubicBezTo>
                    <a:pt x="1017905" y="804546"/>
                    <a:pt x="1014730" y="796291"/>
                    <a:pt x="1002665" y="796291"/>
                  </a:cubicBezTo>
                  <a:cubicBezTo>
                    <a:pt x="990599" y="796291"/>
                    <a:pt x="986790" y="803276"/>
                    <a:pt x="986790" y="816611"/>
                  </a:cubicBezTo>
                  <a:lnTo>
                    <a:pt x="986790" y="866141"/>
                  </a:lnTo>
                  <a:lnTo>
                    <a:pt x="963295" y="866141"/>
                  </a:lnTo>
                  <a:lnTo>
                    <a:pt x="963295" y="775971"/>
                  </a:lnTo>
                  <a:lnTo>
                    <a:pt x="986790" y="775971"/>
                  </a:lnTo>
                  <a:lnTo>
                    <a:pt x="986790" y="782321"/>
                  </a:lnTo>
                  <a:cubicBezTo>
                    <a:pt x="991870" y="777241"/>
                    <a:pt x="998855" y="774066"/>
                    <a:pt x="1009015" y="774066"/>
                  </a:cubicBezTo>
                  <a:close/>
                  <a:moveTo>
                    <a:pt x="911224" y="774066"/>
                  </a:moveTo>
                  <a:cubicBezTo>
                    <a:pt x="934720" y="774066"/>
                    <a:pt x="949325" y="795021"/>
                    <a:pt x="949325" y="821056"/>
                  </a:cubicBezTo>
                  <a:lnTo>
                    <a:pt x="948689" y="821056"/>
                  </a:lnTo>
                  <a:cubicBezTo>
                    <a:pt x="948689" y="821056"/>
                    <a:pt x="948689" y="827406"/>
                    <a:pt x="948689" y="828676"/>
                  </a:cubicBezTo>
                  <a:lnTo>
                    <a:pt x="894079" y="828676"/>
                  </a:lnTo>
                  <a:cubicBezTo>
                    <a:pt x="895349" y="841376"/>
                    <a:pt x="903605" y="846456"/>
                    <a:pt x="913129" y="846456"/>
                  </a:cubicBezTo>
                  <a:cubicBezTo>
                    <a:pt x="918845" y="846456"/>
                    <a:pt x="923924" y="844551"/>
                    <a:pt x="929004" y="840106"/>
                  </a:cubicBezTo>
                  <a:lnTo>
                    <a:pt x="944879" y="853441"/>
                  </a:lnTo>
                  <a:cubicBezTo>
                    <a:pt x="936625" y="864236"/>
                    <a:pt x="923924" y="868046"/>
                    <a:pt x="912495" y="868046"/>
                  </a:cubicBezTo>
                  <a:cubicBezTo>
                    <a:pt x="886459" y="868046"/>
                    <a:pt x="871220" y="847726"/>
                    <a:pt x="871220" y="821056"/>
                  </a:cubicBezTo>
                  <a:cubicBezTo>
                    <a:pt x="871220" y="792481"/>
                    <a:pt x="889000" y="774066"/>
                    <a:pt x="911224" y="774066"/>
                  </a:cubicBezTo>
                  <a:close/>
                  <a:moveTo>
                    <a:pt x="623570" y="774066"/>
                  </a:moveTo>
                  <a:cubicBezTo>
                    <a:pt x="647700" y="774066"/>
                    <a:pt x="655954" y="793116"/>
                    <a:pt x="655954" y="815341"/>
                  </a:cubicBezTo>
                  <a:lnTo>
                    <a:pt x="655954" y="866141"/>
                  </a:lnTo>
                  <a:lnTo>
                    <a:pt x="632459" y="866141"/>
                  </a:lnTo>
                  <a:lnTo>
                    <a:pt x="632459" y="817246"/>
                  </a:lnTo>
                  <a:cubicBezTo>
                    <a:pt x="632459" y="804546"/>
                    <a:pt x="629284" y="796291"/>
                    <a:pt x="617220" y="796291"/>
                  </a:cubicBezTo>
                  <a:cubicBezTo>
                    <a:pt x="605155" y="796291"/>
                    <a:pt x="601345" y="803276"/>
                    <a:pt x="601345" y="816611"/>
                  </a:cubicBezTo>
                  <a:lnTo>
                    <a:pt x="601345" y="866141"/>
                  </a:lnTo>
                  <a:lnTo>
                    <a:pt x="577849" y="866141"/>
                  </a:lnTo>
                  <a:lnTo>
                    <a:pt x="577849" y="775971"/>
                  </a:lnTo>
                  <a:lnTo>
                    <a:pt x="601345" y="775971"/>
                  </a:lnTo>
                  <a:lnTo>
                    <a:pt x="601345" y="782321"/>
                  </a:lnTo>
                  <a:cubicBezTo>
                    <a:pt x="606424" y="777241"/>
                    <a:pt x="613409" y="774066"/>
                    <a:pt x="623570" y="774066"/>
                  </a:cubicBezTo>
                  <a:close/>
                  <a:moveTo>
                    <a:pt x="522605" y="774066"/>
                  </a:moveTo>
                  <a:cubicBezTo>
                    <a:pt x="548004" y="774066"/>
                    <a:pt x="564515" y="793116"/>
                    <a:pt x="564515" y="821056"/>
                  </a:cubicBezTo>
                  <a:cubicBezTo>
                    <a:pt x="564515" y="848996"/>
                    <a:pt x="546735" y="868046"/>
                    <a:pt x="522605" y="868046"/>
                  </a:cubicBezTo>
                  <a:cubicBezTo>
                    <a:pt x="498474" y="868046"/>
                    <a:pt x="480695" y="848996"/>
                    <a:pt x="480695" y="821056"/>
                  </a:cubicBezTo>
                  <a:cubicBezTo>
                    <a:pt x="480695" y="794386"/>
                    <a:pt x="496570" y="774066"/>
                    <a:pt x="522605" y="774066"/>
                  </a:cubicBezTo>
                  <a:close/>
                  <a:moveTo>
                    <a:pt x="436879" y="774066"/>
                  </a:moveTo>
                  <a:cubicBezTo>
                    <a:pt x="452754" y="774066"/>
                    <a:pt x="464185" y="781051"/>
                    <a:pt x="472439" y="793751"/>
                  </a:cubicBezTo>
                  <a:lnTo>
                    <a:pt x="457200" y="808991"/>
                  </a:lnTo>
                  <a:cubicBezTo>
                    <a:pt x="452120" y="802006"/>
                    <a:pt x="446405" y="796291"/>
                    <a:pt x="436879" y="796291"/>
                  </a:cubicBezTo>
                  <a:cubicBezTo>
                    <a:pt x="424180" y="796291"/>
                    <a:pt x="417829" y="807086"/>
                    <a:pt x="417829" y="820421"/>
                  </a:cubicBezTo>
                  <a:cubicBezTo>
                    <a:pt x="417829" y="833121"/>
                    <a:pt x="423545" y="845186"/>
                    <a:pt x="436879" y="845186"/>
                  </a:cubicBezTo>
                  <a:cubicBezTo>
                    <a:pt x="445135" y="845186"/>
                    <a:pt x="452120" y="840741"/>
                    <a:pt x="457200" y="833756"/>
                  </a:cubicBezTo>
                  <a:lnTo>
                    <a:pt x="457834" y="834391"/>
                  </a:lnTo>
                  <a:lnTo>
                    <a:pt x="472439" y="848361"/>
                  </a:lnTo>
                  <a:cubicBezTo>
                    <a:pt x="464820" y="857886"/>
                    <a:pt x="454025" y="868046"/>
                    <a:pt x="436245" y="868046"/>
                  </a:cubicBezTo>
                  <a:cubicBezTo>
                    <a:pt x="411480" y="868046"/>
                    <a:pt x="393700" y="848361"/>
                    <a:pt x="393700" y="821056"/>
                  </a:cubicBezTo>
                  <a:cubicBezTo>
                    <a:pt x="393700" y="796291"/>
                    <a:pt x="408939" y="774066"/>
                    <a:pt x="436879" y="774066"/>
                  </a:cubicBezTo>
                  <a:close/>
                  <a:moveTo>
                    <a:pt x="219075" y="742316"/>
                  </a:moveTo>
                  <a:lnTo>
                    <a:pt x="219075" y="777241"/>
                  </a:lnTo>
                  <a:lnTo>
                    <a:pt x="245110" y="777241"/>
                  </a:lnTo>
                  <a:lnTo>
                    <a:pt x="245110" y="798831"/>
                  </a:lnTo>
                  <a:lnTo>
                    <a:pt x="219075" y="798831"/>
                  </a:lnTo>
                  <a:lnTo>
                    <a:pt x="219075" y="835661"/>
                  </a:lnTo>
                  <a:cubicBezTo>
                    <a:pt x="219075" y="843916"/>
                    <a:pt x="222250" y="846456"/>
                    <a:pt x="227965" y="846456"/>
                  </a:cubicBezTo>
                  <a:lnTo>
                    <a:pt x="245041" y="839979"/>
                  </a:lnTo>
                  <a:lnTo>
                    <a:pt x="241935" y="862966"/>
                  </a:lnTo>
                  <a:cubicBezTo>
                    <a:pt x="236855" y="866776"/>
                    <a:pt x="225424" y="868681"/>
                    <a:pt x="219709" y="868681"/>
                  </a:cubicBezTo>
                  <a:cubicBezTo>
                    <a:pt x="205739" y="868681"/>
                    <a:pt x="195579" y="857251"/>
                    <a:pt x="195579" y="842011"/>
                  </a:cubicBezTo>
                  <a:lnTo>
                    <a:pt x="195579" y="798831"/>
                  </a:lnTo>
                  <a:lnTo>
                    <a:pt x="179704" y="798831"/>
                  </a:lnTo>
                  <a:lnTo>
                    <a:pt x="179704" y="777241"/>
                  </a:lnTo>
                  <a:lnTo>
                    <a:pt x="195579" y="777241"/>
                  </a:lnTo>
                  <a:lnTo>
                    <a:pt x="195579" y="753746"/>
                  </a:lnTo>
                  <a:close/>
                  <a:moveTo>
                    <a:pt x="749935" y="741681"/>
                  </a:moveTo>
                  <a:cubicBezTo>
                    <a:pt x="757555" y="741681"/>
                    <a:pt x="763269" y="747396"/>
                    <a:pt x="763269" y="755016"/>
                  </a:cubicBezTo>
                  <a:cubicBezTo>
                    <a:pt x="763269" y="762636"/>
                    <a:pt x="757555" y="768351"/>
                    <a:pt x="749935" y="768351"/>
                  </a:cubicBezTo>
                  <a:cubicBezTo>
                    <a:pt x="742314" y="768351"/>
                    <a:pt x="736599" y="762636"/>
                    <a:pt x="736599" y="755016"/>
                  </a:cubicBezTo>
                  <a:cubicBezTo>
                    <a:pt x="736599" y="747396"/>
                    <a:pt x="742314" y="741681"/>
                    <a:pt x="749935" y="741681"/>
                  </a:cubicBezTo>
                  <a:close/>
                  <a:moveTo>
                    <a:pt x="154939" y="741681"/>
                  </a:moveTo>
                  <a:cubicBezTo>
                    <a:pt x="162560" y="741681"/>
                    <a:pt x="168275" y="747396"/>
                    <a:pt x="168275" y="755016"/>
                  </a:cubicBezTo>
                  <a:cubicBezTo>
                    <a:pt x="168275" y="762636"/>
                    <a:pt x="162560" y="768351"/>
                    <a:pt x="154939" y="768351"/>
                  </a:cubicBezTo>
                  <a:cubicBezTo>
                    <a:pt x="147320" y="768351"/>
                    <a:pt x="141605" y="762636"/>
                    <a:pt x="141605" y="755016"/>
                  </a:cubicBezTo>
                  <a:cubicBezTo>
                    <a:pt x="141605" y="747396"/>
                    <a:pt x="147320" y="741681"/>
                    <a:pt x="154939" y="741681"/>
                  </a:cubicBezTo>
                  <a:close/>
                  <a:moveTo>
                    <a:pt x="856614" y="741046"/>
                  </a:moveTo>
                  <a:lnTo>
                    <a:pt x="856614" y="866141"/>
                  </a:lnTo>
                  <a:lnTo>
                    <a:pt x="833120" y="866141"/>
                  </a:lnTo>
                  <a:lnTo>
                    <a:pt x="833120" y="860426"/>
                  </a:lnTo>
                  <a:cubicBezTo>
                    <a:pt x="825500" y="866141"/>
                    <a:pt x="821055" y="868046"/>
                    <a:pt x="812799" y="868046"/>
                  </a:cubicBezTo>
                  <a:cubicBezTo>
                    <a:pt x="786765" y="868046"/>
                    <a:pt x="775970" y="845821"/>
                    <a:pt x="775970" y="820421"/>
                  </a:cubicBezTo>
                  <a:cubicBezTo>
                    <a:pt x="775970" y="793116"/>
                    <a:pt x="788670" y="774066"/>
                    <a:pt x="812165" y="774066"/>
                  </a:cubicBezTo>
                  <a:cubicBezTo>
                    <a:pt x="819784" y="774066"/>
                    <a:pt x="827405" y="775971"/>
                    <a:pt x="833120" y="781051"/>
                  </a:cubicBezTo>
                  <a:lnTo>
                    <a:pt x="833120" y="752476"/>
                  </a:lnTo>
                  <a:close/>
                  <a:moveTo>
                    <a:pt x="707390" y="741046"/>
                  </a:moveTo>
                  <a:cubicBezTo>
                    <a:pt x="712470" y="741046"/>
                    <a:pt x="719454" y="741046"/>
                    <a:pt x="724534" y="743586"/>
                  </a:cubicBezTo>
                  <a:lnTo>
                    <a:pt x="724534" y="744221"/>
                  </a:lnTo>
                  <a:lnTo>
                    <a:pt x="724534" y="762636"/>
                  </a:lnTo>
                  <a:cubicBezTo>
                    <a:pt x="721360" y="761366"/>
                    <a:pt x="716280" y="760731"/>
                    <a:pt x="713105" y="760731"/>
                  </a:cubicBezTo>
                  <a:cubicBezTo>
                    <a:pt x="706120" y="760731"/>
                    <a:pt x="703579" y="762636"/>
                    <a:pt x="703579" y="768351"/>
                  </a:cubicBezTo>
                  <a:lnTo>
                    <a:pt x="703579" y="775336"/>
                  </a:lnTo>
                  <a:lnTo>
                    <a:pt x="722629" y="775336"/>
                  </a:lnTo>
                  <a:lnTo>
                    <a:pt x="722629" y="796926"/>
                  </a:lnTo>
                  <a:lnTo>
                    <a:pt x="703579" y="796926"/>
                  </a:lnTo>
                  <a:lnTo>
                    <a:pt x="703579" y="865506"/>
                  </a:lnTo>
                  <a:lnTo>
                    <a:pt x="680084" y="865506"/>
                  </a:lnTo>
                  <a:lnTo>
                    <a:pt x="680084" y="796926"/>
                  </a:lnTo>
                  <a:lnTo>
                    <a:pt x="667385" y="796926"/>
                  </a:lnTo>
                  <a:lnTo>
                    <a:pt x="667385" y="775336"/>
                  </a:lnTo>
                  <a:lnTo>
                    <a:pt x="680084" y="775336"/>
                  </a:lnTo>
                  <a:lnTo>
                    <a:pt x="680084" y="764541"/>
                  </a:lnTo>
                  <a:cubicBezTo>
                    <a:pt x="680084" y="748031"/>
                    <a:pt x="690879" y="741046"/>
                    <a:pt x="707390" y="741046"/>
                  </a:cubicBezTo>
                  <a:close/>
                  <a:moveTo>
                    <a:pt x="282575" y="741046"/>
                  </a:moveTo>
                  <a:lnTo>
                    <a:pt x="282575" y="782321"/>
                  </a:lnTo>
                  <a:cubicBezTo>
                    <a:pt x="287019" y="777241"/>
                    <a:pt x="295909" y="774066"/>
                    <a:pt x="304799" y="774066"/>
                  </a:cubicBezTo>
                  <a:cubicBezTo>
                    <a:pt x="328295" y="774066"/>
                    <a:pt x="336549" y="792481"/>
                    <a:pt x="336549" y="815341"/>
                  </a:cubicBezTo>
                  <a:lnTo>
                    <a:pt x="336549" y="866141"/>
                  </a:lnTo>
                  <a:lnTo>
                    <a:pt x="313689" y="866141"/>
                  </a:lnTo>
                  <a:lnTo>
                    <a:pt x="313689" y="817246"/>
                  </a:lnTo>
                  <a:cubicBezTo>
                    <a:pt x="313689" y="804546"/>
                    <a:pt x="310515" y="796291"/>
                    <a:pt x="298450" y="796291"/>
                  </a:cubicBezTo>
                  <a:cubicBezTo>
                    <a:pt x="286385" y="796291"/>
                    <a:pt x="282575" y="803276"/>
                    <a:pt x="282575" y="816611"/>
                  </a:cubicBezTo>
                  <a:lnTo>
                    <a:pt x="282575" y="866141"/>
                  </a:lnTo>
                  <a:lnTo>
                    <a:pt x="259079" y="866141"/>
                  </a:lnTo>
                  <a:lnTo>
                    <a:pt x="259079" y="752476"/>
                  </a:lnTo>
                  <a:close/>
                  <a:moveTo>
                    <a:pt x="92709" y="648336"/>
                  </a:moveTo>
                  <a:lnTo>
                    <a:pt x="92709" y="649606"/>
                  </a:lnTo>
                  <a:lnTo>
                    <a:pt x="92427" y="648959"/>
                  </a:lnTo>
                  <a:close/>
                  <a:moveTo>
                    <a:pt x="230504" y="643256"/>
                  </a:moveTo>
                  <a:cubicBezTo>
                    <a:pt x="220345" y="643256"/>
                    <a:pt x="215900" y="647701"/>
                    <a:pt x="215900" y="654686"/>
                  </a:cubicBezTo>
                  <a:cubicBezTo>
                    <a:pt x="215900" y="661671"/>
                    <a:pt x="220345" y="667386"/>
                    <a:pt x="228599" y="667386"/>
                  </a:cubicBezTo>
                  <a:cubicBezTo>
                    <a:pt x="233045" y="667386"/>
                    <a:pt x="240665" y="666116"/>
                    <a:pt x="245745" y="658496"/>
                  </a:cubicBezTo>
                  <a:lnTo>
                    <a:pt x="245745" y="647066"/>
                  </a:lnTo>
                  <a:cubicBezTo>
                    <a:pt x="241299" y="643891"/>
                    <a:pt x="234950" y="643256"/>
                    <a:pt x="230504" y="643256"/>
                  </a:cubicBezTo>
                  <a:close/>
                  <a:moveTo>
                    <a:pt x="321310" y="614046"/>
                  </a:moveTo>
                  <a:cubicBezTo>
                    <a:pt x="314959" y="614046"/>
                    <a:pt x="309879" y="617221"/>
                    <a:pt x="306704" y="622301"/>
                  </a:cubicBezTo>
                  <a:lnTo>
                    <a:pt x="306704" y="656591"/>
                  </a:lnTo>
                  <a:cubicBezTo>
                    <a:pt x="310515" y="661671"/>
                    <a:pt x="316230" y="664846"/>
                    <a:pt x="323215" y="664846"/>
                  </a:cubicBezTo>
                  <a:cubicBezTo>
                    <a:pt x="335915" y="664846"/>
                    <a:pt x="339090" y="653416"/>
                    <a:pt x="339090" y="640716"/>
                  </a:cubicBezTo>
                  <a:lnTo>
                    <a:pt x="338454" y="640716"/>
                  </a:lnTo>
                  <a:cubicBezTo>
                    <a:pt x="338454" y="627381"/>
                    <a:pt x="335280" y="614046"/>
                    <a:pt x="321310" y="614046"/>
                  </a:cubicBezTo>
                  <a:close/>
                  <a:moveTo>
                    <a:pt x="1179195" y="612776"/>
                  </a:moveTo>
                  <a:cubicBezTo>
                    <a:pt x="1168400" y="612776"/>
                    <a:pt x="1163954" y="622301"/>
                    <a:pt x="1163320" y="629921"/>
                  </a:cubicBezTo>
                  <a:lnTo>
                    <a:pt x="1163954" y="629921"/>
                  </a:lnTo>
                  <a:lnTo>
                    <a:pt x="1195704" y="629921"/>
                  </a:lnTo>
                  <a:cubicBezTo>
                    <a:pt x="1195070" y="619761"/>
                    <a:pt x="1188720" y="612776"/>
                    <a:pt x="1179195" y="612776"/>
                  </a:cubicBezTo>
                  <a:close/>
                  <a:moveTo>
                    <a:pt x="689610" y="612776"/>
                  </a:moveTo>
                  <a:cubicBezTo>
                    <a:pt x="678814" y="612776"/>
                    <a:pt x="674370" y="622301"/>
                    <a:pt x="673735" y="629921"/>
                  </a:cubicBezTo>
                  <a:lnTo>
                    <a:pt x="674370" y="629921"/>
                  </a:lnTo>
                  <a:lnTo>
                    <a:pt x="706120" y="629921"/>
                  </a:lnTo>
                  <a:cubicBezTo>
                    <a:pt x="705485" y="619761"/>
                    <a:pt x="699135" y="612776"/>
                    <a:pt x="689610" y="612776"/>
                  </a:cubicBezTo>
                  <a:close/>
                  <a:moveTo>
                    <a:pt x="410845" y="612776"/>
                  </a:moveTo>
                  <a:cubicBezTo>
                    <a:pt x="400685" y="612776"/>
                    <a:pt x="396239" y="622301"/>
                    <a:pt x="395605" y="629921"/>
                  </a:cubicBezTo>
                  <a:lnTo>
                    <a:pt x="427355" y="629921"/>
                  </a:lnTo>
                  <a:cubicBezTo>
                    <a:pt x="426084" y="619761"/>
                    <a:pt x="420370" y="612776"/>
                    <a:pt x="410845" y="612776"/>
                  </a:cubicBezTo>
                  <a:close/>
                  <a:moveTo>
                    <a:pt x="991870" y="594361"/>
                  </a:moveTo>
                  <a:lnTo>
                    <a:pt x="1014095" y="594361"/>
                  </a:lnTo>
                  <a:lnTo>
                    <a:pt x="1014095" y="643256"/>
                  </a:lnTo>
                  <a:cubicBezTo>
                    <a:pt x="1014095" y="655321"/>
                    <a:pt x="1016635" y="664846"/>
                    <a:pt x="1029334" y="664846"/>
                  </a:cubicBezTo>
                  <a:cubicBezTo>
                    <a:pt x="1042034" y="664846"/>
                    <a:pt x="1044575" y="655321"/>
                    <a:pt x="1044575" y="644526"/>
                  </a:cubicBezTo>
                  <a:lnTo>
                    <a:pt x="1044575" y="594996"/>
                  </a:lnTo>
                  <a:lnTo>
                    <a:pt x="1066799" y="594996"/>
                  </a:lnTo>
                  <a:lnTo>
                    <a:pt x="1066799" y="684531"/>
                  </a:lnTo>
                  <a:lnTo>
                    <a:pt x="1044575" y="684531"/>
                  </a:lnTo>
                  <a:lnTo>
                    <a:pt x="1044575" y="678181"/>
                  </a:lnTo>
                  <a:cubicBezTo>
                    <a:pt x="1039495" y="683896"/>
                    <a:pt x="1031875" y="686436"/>
                    <a:pt x="1023620" y="686436"/>
                  </a:cubicBezTo>
                  <a:cubicBezTo>
                    <a:pt x="1000125" y="686436"/>
                    <a:pt x="991870" y="669926"/>
                    <a:pt x="991870" y="645161"/>
                  </a:cubicBezTo>
                  <a:close/>
                  <a:moveTo>
                    <a:pt x="836295" y="594361"/>
                  </a:moveTo>
                  <a:lnTo>
                    <a:pt x="858519" y="594361"/>
                  </a:lnTo>
                  <a:lnTo>
                    <a:pt x="858519" y="643256"/>
                  </a:lnTo>
                  <a:cubicBezTo>
                    <a:pt x="858519" y="655321"/>
                    <a:pt x="861060" y="664846"/>
                    <a:pt x="873760" y="664846"/>
                  </a:cubicBezTo>
                  <a:cubicBezTo>
                    <a:pt x="886459" y="664846"/>
                    <a:pt x="889000" y="655321"/>
                    <a:pt x="889000" y="644526"/>
                  </a:cubicBezTo>
                  <a:lnTo>
                    <a:pt x="889000" y="594996"/>
                  </a:lnTo>
                  <a:lnTo>
                    <a:pt x="911224" y="594996"/>
                  </a:lnTo>
                  <a:lnTo>
                    <a:pt x="911224" y="684531"/>
                  </a:lnTo>
                  <a:lnTo>
                    <a:pt x="889000" y="684531"/>
                  </a:lnTo>
                  <a:lnTo>
                    <a:pt x="889000" y="678181"/>
                  </a:lnTo>
                  <a:cubicBezTo>
                    <a:pt x="883920" y="683896"/>
                    <a:pt x="876299" y="686436"/>
                    <a:pt x="868045" y="686436"/>
                  </a:cubicBezTo>
                  <a:cubicBezTo>
                    <a:pt x="844549" y="686436"/>
                    <a:pt x="836295" y="669926"/>
                    <a:pt x="836295" y="645161"/>
                  </a:cubicBezTo>
                  <a:close/>
                  <a:moveTo>
                    <a:pt x="1181099" y="592456"/>
                  </a:moveTo>
                  <a:cubicBezTo>
                    <a:pt x="1204595" y="592456"/>
                    <a:pt x="1219200" y="613411"/>
                    <a:pt x="1219200" y="639446"/>
                  </a:cubicBezTo>
                  <a:lnTo>
                    <a:pt x="1218564" y="639446"/>
                  </a:lnTo>
                  <a:cubicBezTo>
                    <a:pt x="1218564" y="639446"/>
                    <a:pt x="1218564" y="645796"/>
                    <a:pt x="1218564" y="647066"/>
                  </a:cubicBezTo>
                  <a:lnTo>
                    <a:pt x="1163954" y="647066"/>
                  </a:lnTo>
                  <a:cubicBezTo>
                    <a:pt x="1165224" y="659766"/>
                    <a:pt x="1173480" y="664846"/>
                    <a:pt x="1183004" y="664846"/>
                  </a:cubicBezTo>
                  <a:cubicBezTo>
                    <a:pt x="1188720" y="664846"/>
                    <a:pt x="1193799" y="662941"/>
                    <a:pt x="1198879" y="658496"/>
                  </a:cubicBezTo>
                  <a:lnTo>
                    <a:pt x="1214754" y="671831"/>
                  </a:lnTo>
                  <a:cubicBezTo>
                    <a:pt x="1206500" y="682626"/>
                    <a:pt x="1193799" y="686436"/>
                    <a:pt x="1182370" y="686436"/>
                  </a:cubicBezTo>
                  <a:cubicBezTo>
                    <a:pt x="1156335" y="686436"/>
                    <a:pt x="1141095" y="666116"/>
                    <a:pt x="1141095" y="639446"/>
                  </a:cubicBezTo>
                  <a:cubicBezTo>
                    <a:pt x="1141095" y="610871"/>
                    <a:pt x="1158875" y="592456"/>
                    <a:pt x="1181099" y="592456"/>
                  </a:cubicBezTo>
                  <a:close/>
                  <a:moveTo>
                    <a:pt x="691515" y="592456"/>
                  </a:moveTo>
                  <a:cubicBezTo>
                    <a:pt x="715010" y="592456"/>
                    <a:pt x="729614" y="613411"/>
                    <a:pt x="729614" y="639446"/>
                  </a:cubicBezTo>
                  <a:lnTo>
                    <a:pt x="728980" y="639446"/>
                  </a:lnTo>
                  <a:cubicBezTo>
                    <a:pt x="728980" y="639446"/>
                    <a:pt x="728980" y="645796"/>
                    <a:pt x="728980" y="647066"/>
                  </a:cubicBezTo>
                  <a:lnTo>
                    <a:pt x="674370" y="647066"/>
                  </a:lnTo>
                  <a:cubicBezTo>
                    <a:pt x="675640" y="659766"/>
                    <a:pt x="683894" y="664846"/>
                    <a:pt x="693420" y="664846"/>
                  </a:cubicBezTo>
                  <a:cubicBezTo>
                    <a:pt x="699135" y="664846"/>
                    <a:pt x="704215" y="662941"/>
                    <a:pt x="709295" y="658496"/>
                  </a:cubicBezTo>
                  <a:lnTo>
                    <a:pt x="725170" y="671831"/>
                  </a:lnTo>
                  <a:cubicBezTo>
                    <a:pt x="716915" y="682626"/>
                    <a:pt x="704215" y="686436"/>
                    <a:pt x="692784" y="686436"/>
                  </a:cubicBezTo>
                  <a:cubicBezTo>
                    <a:pt x="666750" y="686436"/>
                    <a:pt x="651510" y="666116"/>
                    <a:pt x="651510" y="639446"/>
                  </a:cubicBezTo>
                  <a:cubicBezTo>
                    <a:pt x="651510" y="610871"/>
                    <a:pt x="669290" y="592456"/>
                    <a:pt x="691515" y="592456"/>
                  </a:cubicBezTo>
                  <a:close/>
                  <a:moveTo>
                    <a:pt x="412114" y="592456"/>
                  </a:moveTo>
                  <a:cubicBezTo>
                    <a:pt x="437515" y="592456"/>
                    <a:pt x="448310" y="615316"/>
                    <a:pt x="448310" y="639446"/>
                  </a:cubicBezTo>
                  <a:cubicBezTo>
                    <a:pt x="448310" y="639446"/>
                    <a:pt x="448310" y="645796"/>
                    <a:pt x="448310" y="647066"/>
                  </a:cubicBezTo>
                  <a:lnTo>
                    <a:pt x="395605" y="647066"/>
                  </a:lnTo>
                  <a:cubicBezTo>
                    <a:pt x="396875" y="659766"/>
                    <a:pt x="405129" y="664846"/>
                    <a:pt x="415290" y="664846"/>
                  </a:cubicBezTo>
                  <a:cubicBezTo>
                    <a:pt x="421004" y="664846"/>
                    <a:pt x="426084" y="662941"/>
                    <a:pt x="430530" y="658496"/>
                  </a:cubicBezTo>
                  <a:lnTo>
                    <a:pt x="446405" y="671831"/>
                  </a:lnTo>
                  <a:cubicBezTo>
                    <a:pt x="438784" y="681991"/>
                    <a:pt x="425450" y="686436"/>
                    <a:pt x="413385" y="686436"/>
                  </a:cubicBezTo>
                  <a:cubicBezTo>
                    <a:pt x="387349" y="686436"/>
                    <a:pt x="372110" y="666116"/>
                    <a:pt x="372110" y="640081"/>
                  </a:cubicBezTo>
                  <a:cubicBezTo>
                    <a:pt x="372110" y="614046"/>
                    <a:pt x="388620" y="592456"/>
                    <a:pt x="412114" y="592456"/>
                  </a:cubicBezTo>
                  <a:close/>
                  <a:moveTo>
                    <a:pt x="326390" y="592456"/>
                  </a:moveTo>
                  <a:cubicBezTo>
                    <a:pt x="350519" y="592456"/>
                    <a:pt x="361314" y="615316"/>
                    <a:pt x="361314" y="639446"/>
                  </a:cubicBezTo>
                  <a:cubicBezTo>
                    <a:pt x="361314" y="662306"/>
                    <a:pt x="351790" y="686436"/>
                    <a:pt x="326390" y="686436"/>
                  </a:cubicBezTo>
                  <a:cubicBezTo>
                    <a:pt x="316230" y="686436"/>
                    <a:pt x="310515" y="682626"/>
                    <a:pt x="306070" y="678816"/>
                  </a:cubicBezTo>
                  <a:lnTo>
                    <a:pt x="306070" y="706121"/>
                  </a:lnTo>
                  <a:lnTo>
                    <a:pt x="283845" y="717551"/>
                  </a:lnTo>
                  <a:lnTo>
                    <a:pt x="283845" y="594361"/>
                  </a:lnTo>
                  <a:lnTo>
                    <a:pt x="306070" y="594361"/>
                  </a:lnTo>
                  <a:lnTo>
                    <a:pt x="306070" y="600711"/>
                  </a:lnTo>
                  <a:cubicBezTo>
                    <a:pt x="311784" y="595631"/>
                    <a:pt x="318135" y="592456"/>
                    <a:pt x="326390" y="592456"/>
                  </a:cubicBezTo>
                  <a:close/>
                  <a:moveTo>
                    <a:pt x="231775" y="592456"/>
                  </a:moveTo>
                  <a:cubicBezTo>
                    <a:pt x="254635" y="592456"/>
                    <a:pt x="268605" y="603251"/>
                    <a:pt x="268605" y="624206"/>
                  </a:cubicBezTo>
                  <a:lnTo>
                    <a:pt x="268605" y="684531"/>
                  </a:lnTo>
                  <a:lnTo>
                    <a:pt x="267970" y="684531"/>
                  </a:lnTo>
                  <a:lnTo>
                    <a:pt x="245745" y="684531"/>
                  </a:lnTo>
                  <a:lnTo>
                    <a:pt x="245745" y="678181"/>
                  </a:lnTo>
                  <a:cubicBezTo>
                    <a:pt x="240665" y="683261"/>
                    <a:pt x="233680" y="686436"/>
                    <a:pt x="224790" y="686436"/>
                  </a:cubicBezTo>
                  <a:cubicBezTo>
                    <a:pt x="207010" y="686436"/>
                    <a:pt x="193040" y="675006"/>
                    <a:pt x="193040" y="655321"/>
                  </a:cubicBezTo>
                  <a:cubicBezTo>
                    <a:pt x="193040" y="635636"/>
                    <a:pt x="206375" y="624841"/>
                    <a:pt x="227965" y="624841"/>
                  </a:cubicBezTo>
                  <a:cubicBezTo>
                    <a:pt x="233680" y="624841"/>
                    <a:pt x="239394" y="625476"/>
                    <a:pt x="245745" y="628651"/>
                  </a:cubicBezTo>
                  <a:lnTo>
                    <a:pt x="245745" y="623571"/>
                  </a:lnTo>
                  <a:cubicBezTo>
                    <a:pt x="245745" y="615316"/>
                    <a:pt x="240030" y="611506"/>
                    <a:pt x="230504" y="611506"/>
                  </a:cubicBezTo>
                  <a:cubicBezTo>
                    <a:pt x="223519" y="611506"/>
                    <a:pt x="216534" y="613411"/>
                    <a:pt x="209549" y="617221"/>
                  </a:cubicBezTo>
                  <a:lnTo>
                    <a:pt x="200659" y="601346"/>
                  </a:lnTo>
                  <a:cubicBezTo>
                    <a:pt x="210185" y="594996"/>
                    <a:pt x="219709" y="592456"/>
                    <a:pt x="231775" y="592456"/>
                  </a:cubicBezTo>
                  <a:close/>
                  <a:moveTo>
                    <a:pt x="1125855" y="591821"/>
                  </a:moveTo>
                  <a:cubicBezTo>
                    <a:pt x="1132204" y="591821"/>
                    <a:pt x="1137920" y="593726"/>
                    <a:pt x="1142364" y="598171"/>
                  </a:cubicBezTo>
                  <a:lnTo>
                    <a:pt x="1141730" y="598806"/>
                  </a:lnTo>
                  <a:lnTo>
                    <a:pt x="1132840" y="621031"/>
                  </a:lnTo>
                  <a:cubicBezTo>
                    <a:pt x="1129665" y="617856"/>
                    <a:pt x="1125220" y="615316"/>
                    <a:pt x="1120140" y="615316"/>
                  </a:cubicBezTo>
                  <a:cubicBezTo>
                    <a:pt x="1109345" y="615316"/>
                    <a:pt x="1106805" y="624206"/>
                    <a:pt x="1106805" y="635001"/>
                  </a:cubicBezTo>
                  <a:lnTo>
                    <a:pt x="1106805" y="683896"/>
                  </a:lnTo>
                  <a:lnTo>
                    <a:pt x="1084579" y="683896"/>
                  </a:lnTo>
                  <a:lnTo>
                    <a:pt x="1084579" y="593726"/>
                  </a:lnTo>
                  <a:lnTo>
                    <a:pt x="1106805" y="593726"/>
                  </a:lnTo>
                  <a:lnTo>
                    <a:pt x="1106805" y="600076"/>
                  </a:lnTo>
                  <a:cubicBezTo>
                    <a:pt x="1111885" y="594996"/>
                    <a:pt x="1118235" y="591821"/>
                    <a:pt x="1125855" y="591821"/>
                  </a:cubicBezTo>
                  <a:close/>
                  <a:moveTo>
                    <a:pt x="47625" y="563881"/>
                  </a:moveTo>
                  <a:cubicBezTo>
                    <a:pt x="66040" y="563881"/>
                    <a:pt x="79375" y="571501"/>
                    <a:pt x="90170" y="582296"/>
                  </a:cubicBezTo>
                  <a:lnTo>
                    <a:pt x="73659" y="598806"/>
                  </a:lnTo>
                  <a:cubicBezTo>
                    <a:pt x="66040" y="591186"/>
                    <a:pt x="58420" y="586741"/>
                    <a:pt x="46355" y="586741"/>
                  </a:cubicBezTo>
                  <a:cubicBezTo>
                    <a:pt x="36194" y="586741"/>
                    <a:pt x="28575" y="589916"/>
                    <a:pt x="28575" y="598171"/>
                  </a:cubicBezTo>
                  <a:cubicBezTo>
                    <a:pt x="28575" y="601981"/>
                    <a:pt x="29845" y="604521"/>
                    <a:pt x="33655" y="606426"/>
                  </a:cubicBezTo>
                  <a:cubicBezTo>
                    <a:pt x="38099" y="608966"/>
                    <a:pt x="43814" y="610236"/>
                    <a:pt x="52704" y="612776"/>
                  </a:cubicBezTo>
                  <a:cubicBezTo>
                    <a:pt x="63500" y="615951"/>
                    <a:pt x="73659" y="617856"/>
                    <a:pt x="81915" y="624841"/>
                  </a:cubicBezTo>
                  <a:lnTo>
                    <a:pt x="92427" y="648959"/>
                  </a:lnTo>
                  <a:lnTo>
                    <a:pt x="79454" y="677626"/>
                  </a:lnTo>
                  <a:cubicBezTo>
                    <a:pt x="71279" y="683738"/>
                    <a:pt x="60008" y="686436"/>
                    <a:pt x="47625" y="686436"/>
                  </a:cubicBezTo>
                  <a:cubicBezTo>
                    <a:pt x="29845" y="686436"/>
                    <a:pt x="10795" y="680721"/>
                    <a:pt x="0" y="664846"/>
                  </a:cubicBezTo>
                  <a:lnTo>
                    <a:pt x="16510" y="650241"/>
                  </a:lnTo>
                  <a:cubicBezTo>
                    <a:pt x="24129" y="659766"/>
                    <a:pt x="35560" y="664211"/>
                    <a:pt x="46989" y="664211"/>
                  </a:cubicBezTo>
                  <a:cubicBezTo>
                    <a:pt x="60325" y="664211"/>
                    <a:pt x="68579" y="657861"/>
                    <a:pt x="68579" y="649606"/>
                  </a:cubicBezTo>
                  <a:cubicBezTo>
                    <a:pt x="68579" y="646431"/>
                    <a:pt x="67310" y="642621"/>
                    <a:pt x="61595" y="640081"/>
                  </a:cubicBezTo>
                  <a:cubicBezTo>
                    <a:pt x="57150" y="638176"/>
                    <a:pt x="52069" y="636906"/>
                    <a:pt x="41909" y="634366"/>
                  </a:cubicBezTo>
                  <a:cubicBezTo>
                    <a:pt x="35560" y="633096"/>
                    <a:pt x="22860" y="629921"/>
                    <a:pt x="14605" y="623571"/>
                  </a:cubicBezTo>
                  <a:cubicBezTo>
                    <a:pt x="6349" y="617221"/>
                    <a:pt x="4444" y="607696"/>
                    <a:pt x="4444" y="599441"/>
                  </a:cubicBezTo>
                  <a:cubicBezTo>
                    <a:pt x="4444" y="574041"/>
                    <a:pt x="26034" y="563881"/>
                    <a:pt x="47625" y="563881"/>
                  </a:cubicBezTo>
                  <a:close/>
                  <a:moveTo>
                    <a:pt x="814070" y="560071"/>
                  </a:moveTo>
                  <a:cubicBezTo>
                    <a:pt x="820420" y="560071"/>
                    <a:pt x="824864" y="561341"/>
                    <a:pt x="830579" y="562611"/>
                  </a:cubicBezTo>
                  <a:lnTo>
                    <a:pt x="829945" y="562611"/>
                  </a:lnTo>
                  <a:lnTo>
                    <a:pt x="829945" y="581026"/>
                  </a:lnTo>
                  <a:cubicBezTo>
                    <a:pt x="824864" y="579756"/>
                    <a:pt x="821055" y="579121"/>
                    <a:pt x="818515" y="579121"/>
                  </a:cubicBezTo>
                  <a:cubicBezTo>
                    <a:pt x="810260" y="579121"/>
                    <a:pt x="808989" y="582296"/>
                    <a:pt x="808989" y="586741"/>
                  </a:cubicBezTo>
                  <a:lnTo>
                    <a:pt x="808989" y="594361"/>
                  </a:lnTo>
                  <a:lnTo>
                    <a:pt x="824230" y="594361"/>
                  </a:lnTo>
                  <a:lnTo>
                    <a:pt x="824230" y="615951"/>
                  </a:lnTo>
                  <a:lnTo>
                    <a:pt x="808989" y="615951"/>
                  </a:lnTo>
                  <a:lnTo>
                    <a:pt x="808989" y="684531"/>
                  </a:lnTo>
                  <a:lnTo>
                    <a:pt x="786765" y="684531"/>
                  </a:lnTo>
                  <a:lnTo>
                    <a:pt x="786765" y="615951"/>
                  </a:lnTo>
                  <a:lnTo>
                    <a:pt x="775970" y="615951"/>
                  </a:lnTo>
                  <a:lnTo>
                    <a:pt x="775970" y="594361"/>
                  </a:lnTo>
                  <a:lnTo>
                    <a:pt x="786765" y="594361"/>
                  </a:lnTo>
                  <a:lnTo>
                    <a:pt x="786765" y="583566"/>
                  </a:lnTo>
                  <a:cubicBezTo>
                    <a:pt x="786765" y="567691"/>
                    <a:pt x="795019" y="560071"/>
                    <a:pt x="814070" y="560071"/>
                  </a:cubicBezTo>
                  <a:close/>
                  <a:moveTo>
                    <a:pt x="957579" y="559436"/>
                  </a:moveTo>
                  <a:lnTo>
                    <a:pt x="957579" y="594361"/>
                  </a:lnTo>
                  <a:lnTo>
                    <a:pt x="979170" y="594361"/>
                  </a:lnTo>
                  <a:lnTo>
                    <a:pt x="979170" y="615951"/>
                  </a:lnTo>
                  <a:lnTo>
                    <a:pt x="957579" y="615951"/>
                  </a:lnTo>
                  <a:lnTo>
                    <a:pt x="957579" y="654051"/>
                  </a:lnTo>
                  <a:cubicBezTo>
                    <a:pt x="957579" y="661671"/>
                    <a:pt x="960754" y="664846"/>
                    <a:pt x="966470" y="664846"/>
                  </a:cubicBezTo>
                  <a:cubicBezTo>
                    <a:pt x="972185" y="664846"/>
                    <a:pt x="977900" y="661671"/>
                    <a:pt x="981075" y="658496"/>
                  </a:cubicBezTo>
                  <a:lnTo>
                    <a:pt x="977900" y="681356"/>
                  </a:lnTo>
                  <a:cubicBezTo>
                    <a:pt x="973454" y="685166"/>
                    <a:pt x="965200" y="686436"/>
                    <a:pt x="959485" y="686436"/>
                  </a:cubicBezTo>
                  <a:cubicBezTo>
                    <a:pt x="945515" y="686436"/>
                    <a:pt x="935355" y="676276"/>
                    <a:pt x="935355" y="659766"/>
                  </a:cubicBezTo>
                  <a:lnTo>
                    <a:pt x="935355" y="615951"/>
                  </a:lnTo>
                  <a:lnTo>
                    <a:pt x="922655" y="615951"/>
                  </a:lnTo>
                  <a:lnTo>
                    <a:pt x="922655" y="594361"/>
                  </a:lnTo>
                  <a:lnTo>
                    <a:pt x="935355" y="594361"/>
                  </a:lnTo>
                  <a:lnTo>
                    <a:pt x="935355" y="570866"/>
                  </a:lnTo>
                  <a:close/>
                  <a:moveTo>
                    <a:pt x="586739" y="559436"/>
                  </a:moveTo>
                  <a:lnTo>
                    <a:pt x="586739" y="600711"/>
                  </a:lnTo>
                  <a:cubicBezTo>
                    <a:pt x="591820" y="595631"/>
                    <a:pt x="597534" y="592456"/>
                    <a:pt x="607695" y="592456"/>
                  </a:cubicBezTo>
                  <a:cubicBezTo>
                    <a:pt x="631825" y="592456"/>
                    <a:pt x="639445" y="610871"/>
                    <a:pt x="639445" y="633731"/>
                  </a:cubicBezTo>
                  <a:lnTo>
                    <a:pt x="639445" y="684531"/>
                  </a:lnTo>
                  <a:lnTo>
                    <a:pt x="617220" y="684531"/>
                  </a:lnTo>
                  <a:lnTo>
                    <a:pt x="617220" y="635636"/>
                  </a:lnTo>
                  <a:cubicBezTo>
                    <a:pt x="617220" y="623571"/>
                    <a:pt x="614680" y="614681"/>
                    <a:pt x="601980" y="614681"/>
                  </a:cubicBezTo>
                  <a:cubicBezTo>
                    <a:pt x="589280" y="614681"/>
                    <a:pt x="586739" y="622936"/>
                    <a:pt x="586739" y="635001"/>
                  </a:cubicBezTo>
                  <a:lnTo>
                    <a:pt x="586739" y="684531"/>
                  </a:lnTo>
                  <a:lnTo>
                    <a:pt x="564515" y="684531"/>
                  </a:lnTo>
                  <a:lnTo>
                    <a:pt x="564515" y="570866"/>
                  </a:lnTo>
                  <a:close/>
                  <a:moveTo>
                    <a:pt x="529590" y="559436"/>
                  </a:moveTo>
                  <a:lnTo>
                    <a:pt x="529590" y="594361"/>
                  </a:lnTo>
                  <a:lnTo>
                    <a:pt x="550545" y="594361"/>
                  </a:lnTo>
                  <a:lnTo>
                    <a:pt x="550545" y="615951"/>
                  </a:lnTo>
                  <a:lnTo>
                    <a:pt x="529590" y="615951"/>
                  </a:lnTo>
                  <a:lnTo>
                    <a:pt x="529590" y="654051"/>
                  </a:lnTo>
                  <a:cubicBezTo>
                    <a:pt x="529590" y="661671"/>
                    <a:pt x="532765" y="664846"/>
                    <a:pt x="538480" y="664846"/>
                  </a:cubicBezTo>
                  <a:cubicBezTo>
                    <a:pt x="544195" y="664846"/>
                    <a:pt x="549275" y="661671"/>
                    <a:pt x="553084" y="658496"/>
                  </a:cubicBezTo>
                  <a:lnTo>
                    <a:pt x="549909" y="681356"/>
                  </a:lnTo>
                  <a:cubicBezTo>
                    <a:pt x="545465" y="685166"/>
                    <a:pt x="537209" y="686436"/>
                    <a:pt x="531495" y="686436"/>
                  </a:cubicBezTo>
                  <a:cubicBezTo>
                    <a:pt x="517525" y="686436"/>
                    <a:pt x="507364" y="676276"/>
                    <a:pt x="507364" y="659766"/>
                  </a:cubicBezTo>
                  <a:lnTo>
                    <a:pt x="507364" y="615951"/>
                  </a:lnTo>
                  <a:lnTo>
                    <a:pt x="491489" y="615951"/>
                  </a:lnTo>
                  <a:lnTo>
                    <a:pt x="491489" y="594361"/>
                  </a:lnTo>
                  <a:lnTo>
                    <a:pt x="507364" y="594361"/>
                  </a:lnTo>
                  <a:lnTo>
                    <a:pt x="507364" y="570866"/>
                  </a:lnTo>
                  <a:close/>
                  <a:moveTo>
                    <a:pt x="128269" y="559436"/>
                  </a:moveTo>
                  <a:lnTo>
                    <a:pt x="128269" y="600711"/>
                  </a:lnTo>
                  <a:cubicBezTo>
                    <a:pt x="133349" y="595631"/>
                    <a:pt x="139064" y="592456"/>
                    <a:pt x="149224" y="592456"/>
                  </a:cubicBezTo>
                  <a:cubicBezTo>
                    <a:pt x="173355" y="592456"/>
                    <a:pt x="180974" y="610871"/>
                    <a:pt x="180974" y="633731"/>
                  </a:cubicBezTo>
                  <a:lnTo>
                    <a:pt x="180974" y="684531"/>
                  </a:lnTo>
                  <a:lnTo>
                    <a:pt x="158750" y="684531"/>
                  </a:lnTo>
                  <a:lnTo>
                    <a:pt x="158750" y="635636"/>
                  </a:lnTo>
                  <a:cubicBezTo>
                    <a:pt x="158750" y="623571"/>
                    <a:pt x="156209" y="614681"/>
                    <a:pt x="143510" y="614681"/>
                  </a:cubicBezTo>
                  <a:cubicBezTo>
                    <a:pt x="130810" y="614681"/>
                    <a:pt x="128269" y="622936"/>
                    <a:pt x="128269" y="635001"/>
                  </a:cubicBezTo>
                  <a:lnTo>
                    <a:pt x="128269" y="684531"/>
                  </a:lnTo>
                  <a:lnTo>
                    <a:pt x="106045" y="684531"/>
                  </a:lnTo>
                  <a:lnTo>
                    <a:pt x="106045" y="570866"/>
                  </a:lnTo>
                  <a:close/>
                  <a:moveTo>
                    <a:pt x="269875" y="635"/>
                  </a:moveTo>
                  <a:lnTo>
                    <a:pt x="501015" y="635"/>
                  </a:lnTo>
                  <a:lnTo>
                    <a:pt x="554989" y="94615"/>
                  </a:lnTo>
                  <a:lnTo>
                    <a:pt x="391795" y="94615"/>
                  </a:lnTo>
                  <a:lnTo>
                    <a:pt x="391795" y="161925"/>
                  </a:lnTo>
                  <a:lnTo>
                    <a:pt x="539114" y="161925"/>
                  </a:lnTo>
                  <a:lnTo>
                    <a:pt x="539114" y="247650"/>
                  </a:lnTo>
                  <a:lnTo>
                    <a:pt x="391795" y="247650"/>
                  </a:lnTo>
                  <a:lnTo>
                    <a:pt x="391795" y="314325"/>
                  </a:lnTo>
                  <a:lnTo>
                    <a:pt x="595629" y="314325"/>
                  </a:lnTo>
                  <a:lnTo>
                    <a:pt x="595629" y="408305"/>
                  </a:lnTo>
                  <a:lnTo>
                    <a:pt x="269875" y="408305"/>
                  </a:lnTo>
                  <a:close/>
                  <a:moveTo>
                    <a:pt x="539114" y="0"/>
                  </a:moveTo>
                  <a:lnTo>
                    <a:pt x="674370" y="0"/>
                  </a:lnTo>
                  <a:lnTo>
                    <a:pt x="743584" y="132715"/>
                  </a:lnTo>
                  <a:lnTo>
                    <a:pt x="812799" y="0"/>
                  </a:lnTo>
                  <a:lnTo>
                    <a:pt x="946150" y="0"/>
                  </a:lnTo>
                  <a:lnTo>
                    <a:pt x="803275" y="246380"/>
                  </a:lnTo>
                  <a:lnTo>
                    <a:pt x="803275" y="407670"/>
                  </a:lnTo>
                  <a:lnTo>
                    <a:pt x="681355" y="407670"/>
                  </a:lnTo>
                  <a:lnTo>
                    <a:pt x="681355" y="246380"/>
                  </a:lnTo>
                  <a:close/>
                </a:path>
              </a:pathLst>
            </a:custGeom>
            <a:solidFill>
              <a:srgbClr val="FFFFFF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11" name="Subtitle 2">
            <a:extLst>
              <a:ext uri="{FF2B5EF4-FFF2-40B4-BE49-F238E27FC236}">
                <a16:creationId xmlns:a16="http://schemas.microsoft.com/office/drawing/2014/main" id="{632E76BF-46D5-8E94-88AA-4783DD302E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90225" y="3864986"/>
            <a:ext cx="4910184" cy="511939"/>
          </a:xfrm>
        </p:spPr>
        <p:txBody>
          <a:bodyPr wrap="square">
            <a:noAutofit/>
          </a:bodyPr>
          <a:lstStyle>
            <a:lvl1pPr marL="0" indent="0" algn="l">
              <a:buNone/>
              <a:defRPr lang="en-GB" sz="16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/>
          </a:p>
        </p:txBody>
      </p:sp>
      <p:sp>
        <p:nvSpPr>
          <p:cNvPr id="12" name="Title 4">
            <a:extLst>
              <a:ext uri="{FF2B5EF4-FFF2-40B4-BE49-F238E27FC236}">
                <a16:creationId xmlns:a16="http://schemas.microsoft.com/office/drawing/2014/main" id="{1F7B1FDC-B90E-6693-A750-B9BA4B535E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90226" y="2127252"/>
            <a:ext cx="4908564" cy="1654043"/>
          </a:xfrm>
        </p:spPr>
        <p:txBody>
          <a:bodyPr anchor="t">
            <a:noAutofit/>
          </a:bodyPr>
          <a:lstStyle>
            <a:lvl1pPr>
              <a:defRPr sz="4200" b="1" i="0">
                <a:solidFill>
                  <a:schemeClr val="bg1"/>
                </a:solidFill>
                <a:latin typeface="EYInterstate Regular" panose="02000503020000020004" pitchFamily="2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3" name="Text Placeholder 288">
            <a:extLst>
              <a:ext uri="{FF2B5EF4-FFF2-40B4-BE49-F238E27FC236}">
                <a16:creationId xmlns:a16="http://schemas.microsoft.com/office/drawing/2014/main" id="{1673B89D-F206-B9D2-CDB7-BDE045C7447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90226" y="4475986"/>
            <a:ext cx="4908565" cy="246221"/>
          </a:xfrm>
        </p:spPr>
        <p:txBody>
          <a:bodyPr wrap="square">
            <a:spAutoFit/>
          </a:bodyPr>
          <a:lstStyle>
            <a:lvl1pPr marL="0" indent="0">
              <a:buNone/>
              <a:defRPr sz="1600" b="1">
                <a:latin typeface="+mj-lt"/>
              </a:defRPr>
            </a:lvl1pPr>
            <a:lvl2pPr marL="252000" indent="0">
              <a:buNone/>
              <a:defRPr sz="1600" b="1">
                <a:latin typeface="+mj-lt"/>
              </a:defRPr>
            </a:lvl2pPr>
            <a:lvl3pPr marL="504000" indent="0">
              <a:buNone/>
              <a:defRPr sz="1600" b="1">
                <a:latin typeface="+mj-lt"/>
              </a:defRPr>
            </a:lvl3pPr>
            <a:lvl4pPr marL="756000" indent="0">
              <a:buNone/>
              <a:defRPr sz="1600" b="1">
                <a:latin typeface="+mj-lt"/>
              </a:defRPr>
            </a:lvl4pPr>
            <a:lvl5pPr marL="1008000" indent="0">
              <a:buNone/>
              <a:defRPr sz="1600" b="1">
                <a:latin typeface="+mj-lt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CB01B256-70C6-9663-9CC6-1F22ADBAE7C3}"/>
              </a:ext>
            </a:extLst>
          </p:cNvPr>
          <p:cNvGrpSpPr/>
          <p:nvPr userDrawn="1"/>
        </p:nvGrpSpPr>
        <p:grpSpPr>
          <a:xfrm>
            <a:off x="486027" y="719509"/>
            <a:ext cx="5709082" cy="4360545"/>
            <a:chOff x="485774" y="719508"/>
            <a:chExt cx="5706110" cy="4360545"/>
          </a:xfrm>
        </p:grpSpPr>
        <p:sp>
          <p:nvSpPr>
            <p:cNvPr id="10" name="Freeform 25">
              <a:extLst>
                <a:ext uri="{FF2B5EF4-FFF2-40B4-BE49-F238E27FC236}">
                  <a16:creationId xmlns:a16="http://schemas.microsoft.com/office/drawing/2014/main" id="{F7E50E80-DFF0-E065-898F-1AFD970459B6}"/>
                </a:ext>
              </a:extLst>
            </p:cNvPr>
            <p:cNvSpPr/>
            <p:nvPr userDrawn="1"/>
          </p:nvSpPr>
          <p:spPr>
            <a:xfrm>
              <a:off x="485774" y="4978453"/>
              <a:ext cx="508000" cy="101600"/>
            </a:xfrm>
            <a:custGeom>
              <a:avLst/>
              <a:gdLst>
                <a:gd name="connsiteX0" fmla="*/ 406400 w 508000"/>
                <a:gd name="connsiteY0" fmla="*/ 0 h 101600"/>
                <a:gd name="connsiteX1" fmla="*/ 508000 w 508000"/>
                <a:gd name="connsiteY1" fmla="*/ 0 h 101600"/>
                <a:gd name="connsiteX2" fmla="*/ 508000 w 508000"/>
                <a:gd name="connsiteY2" fmla="*/ 101600 h 101600"/>
                <a:gd name="connsiteX3" fmla="*/ 406400 w 508000"/>
                <a:gd name="connsiteY3" fmla="*/ 101600 h 101600"/>
                <a:gd name="connsiteX4" fmla="*/ 203200 w 508000"/>
                <a:gd name="connsiteY4" fmla="*/ 0 h 101600"/>
                <a:gd name="connsiteX5" fmla="*/ 304800 w 508000"/>
                <a:gd name="connsiteY5" fmla="*/ 0 h 101600"/>
                <a:gd name="connsiteX6" fmla="*/ 304800 w 508000"/>
                <a:gd name="connsiteY6" fmla="*/ 101600 h 101600"/>
                <a:gd name="connsiteX7" fmla="*/ 203200 w 508000"/>
                <a:gd name="connsiteY7" fmla="*/ 101600 h 101600"/>
                <a:gd name="connsiteX8" fmla="*/ 0 w 508000"/>
                <a:gd name="connsiteY8" fmla="*/ 0 h 101600"/>
                <a:gd name="connsiteX9" fmla="*/ 101600 w 508000"/>
                <a:gd name="connsiteY9" fmla="*/ 0 h 101600"/>
                <a:gd name="connsiteX10" fmla="*/ 101600 w 508000"/>
                <a:gd name="connsiteY10" fmla="*/ 101600 h 101600"/>
                <a:gd name="connsiteX11" fmla="*/ 0 w 508000"/>
                <a:gd name="connsiteY11" fmla="*/ 101600 h 101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08000" h="101600">
                  <a:moveTo>
                    <a:pt x="406400" y="0"/>
                  </a:moveTo>
                  <a:lnTo>
                    <a:pt x="508000" y="0"/>
                  </a:lnTo>
                  <a:lnTo>
                    <a:pt x="508000" y="101600"/>
                  </a:lnTo>
                  <a:lnTo>
                    <a:pt x="406400" y="101600"/>
                  </a:lnTo>
                  <a:close/>
                  <a:moveTo>
                    <a:pt x="203200" y="0"/>
                  </a:moveTo>
                  <a:lnTo>
                    <a:pt x="304800" y="0"/>
                  </a:lnTo>
                  <a:lnTo>
                    <a:pt x="304800" y="101600"/>
                  </a:lnTo>
                  <a:lnTo>
                    <a:pt x="203200" y="101600"/>
                  </a:lnTo>
                  <a:close/>
                  <a:moveTo>
                    <a:pt x="0" y="0"/>
                  </a:moveTo>
                  <a:lnTo>
                    <a:pt x="101600" y="0"/>
                  </a:lnTo>
                  <a:lnTo>
                    <a:pt x="101600" y="101600"/>
                  </a:lnTo>
                  <a:lnTo>
                    <a:pt x="0" y="101600"/>
                  </a:lnTo>
                  <a:close/>
                </a:path>
              </a:pathLst>
            </a:custGeom>
            <a:solidFill>
              <a:schemeClr val="tx2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14" name="Freeform 3">
              <a:extLst>
                <a:ext uri="{FF2B5EF4-FFF2-40B4-BE49-F238E27FC236}">
                  <a16:creationId xmlns:a16="http://schemas.microsoft.com/office/drawing/2014/main" id="{7E9D0337-F340-664F-6A13-B03AA4BA4F82}"/>
                </a:ext>
              </a:extLst>
            </p:cNvPr>
            <p:cNvSpPr/>
            <p:nvPr userDrawn="1"/>
          </p:nvSpPr>
          <p:spPr>
            <a:xfrm>
              <a:off x="485775" y="719508"/>
              <a:ext cx="5706109" cy="4359275"/>
            </a:xfrm>
            <a:custGeom>
              <a:avLst/>
              <a:gdLst>
                <a:gd name="connsiteX0" fmla="*/ 0 w 5706109"/>
                <a:gd name="connsiteY0" fmla="*/ 4157346 h 4359275"/>
                <a:gd name="connsiteX1" fmla="*/ 101600 w 5706109"/>
                <a:gd name="connsiteY1" fmla="*/ 4157346 h 4359275"/>
                <a:gd name="connsiteX2" fmla="*/ 101600 w 5706109"/>
                <a:gd name="connsiteY2" fmla="*/ 1075055 h 4359275"/>
                <a:gd name="connsiteX3" fmla="*/ 101600 w 5706109"/>
                <a:gd name="connsiteY3" fmla="*/ 1075055 h 4359275"/>
                <a:gd name="connsiteX4" fmla="*/ 191770 w 5706109"/>
                <a:gd name="connsiteY4" fmla="*/ 1059180 h 4359275"/>
                <a:gd name="connsiteX5" fmla="*/ 861060 w 5706109"/>
                <a:gd name="connsiteY5" fmla="*/ 942975 h 4359275"/>
                <a:gd name="connsiteX6" fmla="*/ 1195705 w 5706109"/>
                <a:gd name="connsiteY6" fmla="*/ 885190 h 4359275"/>
                <a:gd name="connsiteX7" fmla="*/ 1362710 w 5706109"/>
                <a:gd name="connsiteY7" fmla="*/ 855980 h 4359275"/>
                <a:gd name="connsiteX8" fmla="*/ 1529715 w 5706109"/>
                <a:gd name="connsiteY8" fmla="*/ 826770 h 4359275"/>
                <a:gd name="connsiteX9" fmla="*/ 1864360 w 5706109"/>
                <a:gd name="connsiteY9" fmla="*/ 768985 h 4359275"/>
                <a:gd name="connsiteX10" fmla="*/ 2031365 w 5706109"/>
                <a:gd name="connsiteY10" fmla="*/ 739775 h 4359275"/>
                <a:gd name="connsiteX11" fmla="*/ 2198370 w 5706109"/>
                <a:gd name="connsiteY11" fmla="*/ 710565 h 4359275"/>
                <a:gd name="connsiteX12" fmla="*/ 2365375 w 5706109"/>
                <a:gd name="connsiteY12" fmla="*/ 681355 h 4359275"/>
                <a:gd name="connsiteX13" fmla="*/ 2532380 w 5706109"/>
                <a:gd name="connsiteY13" fmla="*/ 652145 h 4359275"/>
                <a:gd name="connsiteX14" fmla="*/ 2699385 w 5706109"/>
                <a:gd name="connsiteY14" fmla="*/ 622935 h 4359275"/>
                <a:gd name="connsiteX15" fmla="*/ 2866390 w 5706109"/>
                <a:gd name="connsiteY15" fmla="*/ 593725 h 4359275"/>
                <a:gd name="connsiteX16" fmla="*/ 5461000 w 5706109"/>
                <a:gd name="connsiteY16" fmla="*/ 144145 h 4359275"/>
                <a:gd name="connsiteX17" fmla="*/ 5602605 w 5706109"/>
                <a:gd name="connsiteY17" fmla="*/ 119380 h 4359275"/>
                <a:gd name="connsiteX18" fmla="*/ 5602605 w 5706109"/>
                <a:gd name="connsiteY18" fmla="*/ 119380 h 4359275"/>
                <a:gd name="connsiteX19" fmla="*/ 5602605 w 5706109"/>
                <a:gd name="connsiteY19" fmla="*/ 4257676 h 4359275"/>
                <a:gd name="connsiteX20" fmla="*/ 609600 w 5706109"/>
                <a:gd name="connsiteY20" fmla="*/ 4257676 h 4359275"/>
                <a:gd name="connsiteX21" fmla="*/ 609600 w 5706109"/>
                <a:gd name="connsiteY21" fmla="*/ 4359276 h 4359275"/>
                <a:gd name="connsiteX22" fmla="*/ 5706110 w 5706109"/>
                <a:gd name="connsiteY22" fmla="*/ 4359276 h 4359275"/>
                <a:gd name="connsiteX23" fmla="*/ 5706110 w 5706109"/>
                <a:gd name="connsiteY23" fmla="*/ 0 h 4359275"/>
                <a:gd name="connsiteX24" fmla="*/ 5704840 w 5706109"/>
                <a:gd name="connsiteY24" fmla="*/ 0 h 4359275"/>
                <a:gd name="connsiteX25" fmla="*/ 5445760 w 5706109"/>
                <a:gd name="connsiteY25" fmla="*/ 45085 h 4359275"/>
                <a:gd name="connsiteX26" fmla="*/ 2851150 w 5706109"/>
                <a:gd name="connsiteY26" fmla="*/ 494665 h 4359275"/>
                <a:gd name="connsiteX27" fmla="*/ 2684145 w 5706109"/>
                <a:gd name="connsiteY27" fmla="*/ 523875 h 4359275"/>
                <a:gd name="connsiteX28" fmla="*/ 2517140 w 5706109"/>
                <a:gd name="connsiteY28" fmla="*/ 553085 h 4359275"/>
                <a:gd name="connsiteX29" fmla="*/ 2350135 w 5706109"/>
                <a:gd name="connsiteY29" fmla="*/ 582295 h 4359275"/>
                <a:gd name="connsiteX30" fmla="*/ 2183130 w 5706109"/>
                <a:gd name="connsiteY30" fmla="*/ 611505 h 4359275"/>
                <a:gd name="connsiteX31" fmla="*/ 2016125 w 5706109"/>
                <a:gd name="connsiteY31" fmla="*/ 640715 h 4359275"/>
                <a:gd name="connsiteX32" fmla="*/ 1849120 w 5706109"/>
                <a:gd name="connsiteY32" fmla="*/ 669925 h 4359275"/>
                <a:gd name="connsiteX33" fmla="*/ 1514475 w 5706109"/>
                <a:gd name="connsiteY33" fmla="*/ 727710 h 4359275"/>
                <a:gd name="connsiteX34" fmla="*/ 1347470 w 5706109"/>
                <a:gd name="connsiteY34" fmla="*/ 756920 h 4359275"/>
                <a:gd name="connsiteX35" fmla="*/ 1180465 w 5706109"/>
                <a:gd name="connsiteY35" fmla="*/ 786130 h 4359275"/>
                <a:gd name="connsiteX36" fmla="*/ 845820 w 5706109"/>
                <a:gd name="connsiteY36" fmla="*/ 843915 h 4359275"/>
                <a:gd name="connsiteX37" fmla="*/ 176530 w 5706109"/>
                <a:gd name="connsiteY37" fmla="*/ 960120 h 4359275"/>
                <a:gd name="connsiteX38" fmla="*/ 3175 w 5706109"/>
                <a:gd name="connsiteY38" fmla="*/ 989965 h 4359275"/>
                <a:gd name="connsiteX39" fmla="*/ 1905 w 5706109"/>
                <a:gd name="connsiteY39" fmla="*/ 989965 h 4359275"/>
                <a:gd name="connsiteX40" fmla="*/ 1905 w 5706109"/>
                <a:gd name="connsiteY40" fmla="*/ 4158616 h 4359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5706109" h="4359275">
                  <a:moveTo>
                    <a:pt x="0" y="4157346"/>
                  </a:moveTo>
                  <a:lnTo>
                    <a:pt x="101600" y="4157346"/>
                  </a:lnTo>
                  <a:lnTo>
                    <a:pt x="101600" y="1075055"/>
                  </a:lnTo>
                  <a:lnTo>
                    <a:pt x="101600" y="1075055"/>
                  </a:lnTo>
                  <a:lnTo>
                    <a:pt x="191770" y="1059180"/>
                  </a:lnTo>
                  <a:lnTo>
                    <a:pt x="861060" y="942975"/>
                  </a:lnTo>
                  <a:lnTo>
                    <a:pt x="1195705" y="885190"/>
                  </a:lnTo>
                  <a:lnTo>
                    <a:pt x="1362710" y="855980"/>
                  </a:lnTo>
                  <a:lnTo>
                    <a:pt x="1529715" y="826770"/>
                  </a:lnTo>
                  <a:lnTo>
                    <a:pt x="1864360" y="768985"/>
                  </a:lnTo>
                  <a:lnTo>
                    <a:pt x="2031365" y="739775"/>
                  </a:lnTo>
                  <a:lnTo>
                    <a:pt x="2198370" y="710565"/>
                  </a:lnTo>
                  <a:lnTo>
                    <a:pt x="2365375" y="681355"/>
                  </a:lnTo>
                  <a:lnTo>
                    <a:pt x="2532380" y="652145"/>
                  </a:lnTo>
                  <a:lnTo>
                    <a:pt x="2699385" y="622935"/>
                  </a:lnTo>
                  <a:lnTo>
                    <a:pt x="2866390" y="593725"/>
                  </a:lnTo>
                  <a:cubicBezTo>
                    <a:pt x="3731260" y="443865"/>
                    <a:pt x="4596130" y="294005"/>
                    <a:pt x="5461000" y="144145"/>
                  </a:cubicBezTo>
                  <a:lnTo>
                    <a:pt x="5602605" y="119380"/>
                  </a:lnTo>
                  <a:lnTo>
                    <a:pt x="5602605" y="119380"/>
                  </a:lnTo>
                  <a:lnTo>
                    <a:pt x="5602605" y="4257676"/>
                  </a:lnTo>
                  <a:lnTo>
                    <a:pt x="609600" y="4257676"/>
                  </a:lnTo>
                  <a:lnTo>
                    <a:pt x="609600" y="4359276"/>
                  </a:lnTo>
                  <a:lnTo>
                    <a:pt x="5706110" y="4359276"/>
                  </a:lnTo>
                  <a:lnTo>
                    <a:pt x="5706110" y="0"/>
                  </a:lnTo>
                  <a:lnTo>
                    <a:pt x="5704840" y="0"/>
                  </a:lnTo>
                  <a:cubicBezTo>
                    <a:pt x="5618480" y="15240"/>
                    <a:pt x="5532120" y="30480"/>
                    <a:pt x="5445760" y="45085"/>
                  </a:cubicBezTo>
                  <a:cubicBezTo>
                    <a:pt x="4580890" y="194945"/>
                    <a:pt x="3716020" y="344805"/>
                    <a:pt x="2851150" y="494665"/>
                  </a:cubicBezTo>
                  <a:lnTo>
                    <a:pt x="2684145" y="523875"/>
                  </a:lnTo>
                  <a:lnTo>
                    <a:pt x="2517140" y="553085"/>
                  </a:lnTo>
                  <a:lnTo>
                    <a:pt x="2350135" y="582295"/>
                  </a:lnTo>
                  <a:lnTo>
                    <a:pt x="2183130" y="611505"/>
                  </a:lnTo>
                  <a:lnTo>
                    <a:pt x="2016125" y="640715"/>
                  </a:lnTo>
                  <a:lnTo>
                    <a:pt x="1849120" y="669925"/>
                  </a:lnTo>
                  <a:lnTo>
                    <a:pt x="1514475" y="727710"/>
                  </a:lnTo>
                  <a:lnTo>
                    <a:pt x="1347470" y="756920"/>
                  </a:lnTo>
                  <a:lnTo>
                    <a:pt x="1180465" y="786130"/>
                  </a:lnTo>
                  <a:lnTo>
                    <a:pt x="845820" y="843915"/>
                  </a:lnTo>
                  <a:lnTo>
                    <a:pt x="176530" y="960120"/>
                  </a:lnTo>
                  <a:lnTo>
                    <a:pt x="3175" y="989965"/>
                  </a:lnTo>
                  <a:lnTo>
                    <a:pt x="1905" y="989965"/>
                  </a:lnTo>
                  <a:lnTo>
                    <a:pt x="1905" y="4158616"/>
                  </a:lnTo>
                  <a:close/>
                </a:path>
              </a:pathLst>
            </a:custGeom>
            <a:solidFill>
              <a:schemeClr val="tx2"/>
            </a:solidFill>
            <a:ln w="818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 sz="1800"/>
            </a:p>
          </p:txBody>
        </p:sp>
      </p:grpSp>
      <p:sp>
        <p:nvSpPr>
          <p:cNvPr id="15" name="TextBox 14">
            <a:extLst>
              <a:ext uri="{FF2B5EF4-FFF2-40B4-BE49-F238E27FC236}">
                <a16:creationId xmlns:a16="http://schemas.microsoft.com/office/drawing/2014/main" id="{EEB2775D-C14D-1FFE-E3E9-4E62DDA32301}"/>
              </a:ext>
            </a:extLst>
          </p:cNvPr>
          <p:cNvSpPr txBox="1"/>
          <p:nvPr userDrawn="1"/>
        </p:nvSpPr>
        <p:spPr>
          <a:xfrm>
            <a:off x="462225" y="5552405"/>
            <a:ext cx="1045617" cy="197581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r>
              <a:rPr lang="en-GB" sz="1200">
                <a:solidFill>
                  <a:schemeClr val="bg1"/>
                </a:solidFill>
                <a:latin typeface="EYInterstate Light" panose="02000506000000020004" pitchFamily="2" charset="0"/>
              </a:rPr>
              <a:t>Written by</a:t>
            </a:r>
          </a:p>
        </p:txBody>
      </p:sp>
      <p:sp>
        <p:nvSpPr>
          <p:cNvPr id="16" name="Text Placeholder 16">
            <a:extLst>
              <a:ext uri="{FF2B5EF4-FFF2-40B4-BE49-F238E27FC236}">
                <a16:creationId xmlns:a16="http://schemas.microsoft.com/office/drawing/2014/main" id="{FAE2F50B-78AF-04F3-4BFF-980630AF7AF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333879" y="5966393"/>
            <a:ext cx="3090884" cy="180000"/>
          </a:xfrm>
        </p:spPr>
        <p:txBody>
          <a:bodyPr/>
          <a:lstStyle>
            <a:lvl1pPr marL="0" indent="0">
              <a:buNone/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Name Surname</a:t>
            </a:r>
            <a:endParaRPr lang="en-GB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A5473ED8-C1F4-379D-AE01-5E7A3D5F340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333879" y="6164011"/>
            <a:ext cx="3090884" cy="180000"/>
          </a:xfrm>
        </p:spPr>
        <p:txBody>
          <a:bodyPr/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Job Title</a:t>
            </a:r>
            <a:endParaRPr lang="en-GB"/>
          </a:p>
        </p:txBody>
      </p:sp>
      <p:sp>
        <p:nvSpPr>
          <p:cNvPr id="18" name="Picture Placeholder 19">
            <a:extLst>
              <a:ext uri="{FF2B5EF4-FFF2-40B4-BE49-F238E27FC236}">
                <a16:creationId xmlns:a16="http://schemas.microsoft.com/office/drawing/2014/main" id="{812BC08D-D0F7-900D-1481-4C172F6BE56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62224" y="5861846"/>
            <a:ext cx="576300" cy="576000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900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D25B130A-4E65-32BD-4CB8-C7E2B623FD74}"/>
              </a:ext>
            </a:extLst>
          </p:cNvPr>
          <p:cNvCxnSpPr>
            <a:cxnSpLocks/>
          </p:cNvCxnSpPr>
          <p:nvPr userDrawn="1"/>
        </p:nvCxnSpPr>
        <p:spPr>
          <a:xfrm>
            <a:off x="1333879" y="5656264"/>
            <a:ext cx="8126331" cy="0"/>
          </a:xfrm>
          <a:prstGeom prst="line">
            <a:avLst/>
          </a:prstGeom>
          <a:ln w="9525" cap="flat" cmpd="sng" algn="ctr">
            <a:solidFill>
              <a:srgbClr val="C4C4CD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41121476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Fram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E713817A-1A0E-6215-C86F-711F67622AC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0"/>
            <a:ext cx="8390722" cy="6858000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0"/>
                  <a:alpha val="0"/>
                </a:schemeClr>
              </a:gs>
              <a:gs pos="95000">
                <a:srgbClr val="000000">
                  <a:alpha val="70000"/>
                </a:srgbClr>
              </a:gs>
            </a:gsLst>
            <a:lin ang="108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endParaRPr lang="en-US" sz="1200" b="1">
              <a:solidFill>
                <a:schemeClr val="tx1"/>
              </a:solidFill>
            </a:endParaRP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A8D6BAB6-A68E-C404-5D92-6E11D325CFFA}"/>
              </a:ext>
            </a:extLst>
          </p:cNvPr>
          <p:cNvGrpSpPr/>
          <p:nvPr userDrawn="1"/>
        </p:nvGrpSpPr>
        <p:grpSpPr bwMode="black">
          <a:xfrm>
            <a:off x="10568726" y="5167683"/>
            <a:ext cx="1219835" cy="1284606"/>
            <a:chOff x="10563224" y="5158158"/>
            <a:chExt cx="1219200" cy="1284606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BEE0067F-78DC-1ABA-D072-D13444B14ED9}"/>
                </a:ext>
              </a:extLst>
            </p:cNvPr>
            <p:cNvSpPr/>
            <p:nvPr/>
          </p:nvSpPr>
          <p:spPr bwMode="black">
            <a:xfrm>
              <a:off x="10826115" y="5158158"/>
              <a:ext cx="805814" cy="294004"/>
            </a:xfrm>
            <a:custGeom>
              <a:avLst/>
              <a:gdLst>
                <a:gd name="connsiteX0" fmla="*/ 805814 w 805814"/>
                <a:gd name="connsiteY0" fmla="*/ 0 h 294004"/>
                <a:gd name="connsiteX1" fmla="*/ 0 w 805814"/>
                <a:gd name="connsiteY1" fmla="*/ 294005 h 294004"/>
                <a:gd name="connsiteX2" fmla="*/ 805814 w 805814"/>
                <a:gd name="connsiteY2" fmla="*/ 151765 h 294004"/>
                <a:gd name="connsiteX3" fmla="*/ 805814 w 805814"/>
                <a:gd name="connsiteY3" fmla="*/ 0 h 2940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05814" h="294004">
                  <a:moveTo>
                    <a:pt x="805814" y="0"/>
                  </a:moveTo>
                  <a:lnTo>
                    <a:pt x="0" y="294005"/>
                  </a:lnTo>
                  <a:lnTo>
                    <a:pt x="805814" y="151765"/>
                  </a:lnTo>
                  <a:lnTo>
                    <a:pt x="805814" y="0"/>
                  </a:lnTo>
                  <a:close/>
                </a:path>
              </a:pathLst>
            </a:custGeom>
            <a:solidFill>
              <a:srgbClr val="FFE600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23" name="Freeform 22">
              <a:extLst>
                <a:ext uri="{FF2B5EF4-FFF2-40B4-BE49-F238E27FC236}">
                  <a16:creationId xmlns:a16="http://schemas.microsoft.com/office/drawing/2014/main" id="{51F51328-AAA1-9C6C-5EE4-05350DF6D22E}"/>
                </a:ext>
              </a:extLst>
            </p:cNvPr>
            <p:cNvSpPr/>
            <p:nvPr/>
          </p:nvSpPr>
          <p:spPr bwMode="black">
            <a:xfrm>
              <a:off x="10563224" y="5574083"/>
              <a:ext cx="1219200" cy="868681"/>
            </a:xfrm>
            <a:custGeom>
              <a:avLst/>
              <a:gdLst>
                <a:gd name="connsiteX0" fmla="*/ 245110 w 1219200"/>
                <a:gd name="connsiteY0" fmla="*/ 839471 h 868681"/>
                <a:gd name="connsiteX1" fmla="*/ 246379 w 1219200"/>
                <a:gd name="connsiteY1" fmla="*/ 839471 h 868681"/>
                <a:gd name="connsiteX2" fmla="*/ 245041 w 1219200"/>
                <a:gd name="connsiteY2" fmla="*/ 839979 h 868681"/>
                <a:gd name="connsiteX3" fmla="*/ 522605 w 1219200"/>
                <a:gd name="connsiteY3" fmla="*/ 796926 h 868681"/>
                <a:gd name="connsiteX4" fmla="*/ 504189 w 1219200"/>
                <a:gd name="connsiteY4" fmla="*/ 821691 h 868681"/>
                <a:gd name="connsiteX5" fmla="*/ 522605 w 1219200"/>
                <a:gd name="connsiteY5" fmla="*/ 845821 h 868681"/>
                <a:gd name="connsiteX6" fmla="*/ 541019 w 1219200"/>
                <a:gd name="connsiteY6" fmla="*/ 821691 h 868681"/>
                <a:gd name="connsiteX7" fmla="*/ 522605 w 1219200"/>
                <a:gd name="connsiteY7" fmla="*/ 796926 h 868681"/>
                <a:gd name="connsiteX8" fmla="*/ 817245 w 1219200"/>
                <a:gd name="connsiteY8" fmla="*/ 796291 h 868681"/>
                <a:gd name="connsiteX9" fmla="*/ 800735 w 1219200"/>
                <a:gd name="connsiteY9" fmla="*/ 819786 h 868681"/>
                <a:gd name="connsiteX10" fmla="*/ 817879 w 1219200"/>
                <a:gd name="connsiteY10" fmla="*/ 846456 h 868681"/>
                <a:gd name="connsiteX11" fmla="*/ 833754 w 1219200"/>
                <a:gd name="connsiteY11" fmla="*/ 838836 h 868681"/>
                <a:gd name="connsiteX12" fmla="*/ 833754 w 1219200"/>
                <a:gd name="connsiteY12" fmla="*/ 838201 h 868681"/>
                <a:gd name="connsiteX13" fmla="*/ 833754 w 1219200"/>
                <a:gd name="connsiteY13" fmla="*/ 803911 h 868681"/>
                <a:gd name="connsiteX14" fmla="*/ 817245 w 1219200"/>
                <a:gd name="connsiteY14" fmla="*/ 796291 h 868681"/>
                <a:gd name="connsiteX15" fmla="*/ 1179195 w 1219200"/>
                <a:gd name="connsiteY15" fmla="*/ 794386 h 868681"/>
                <a:gd name="connsiteX16" fmla="*/ 1163320 w 1219200"/>
                <a:gd name="connsiteY16" fmla="*/ 811531 h 868681"/>
                <a:gd name="connsiteX17" fmla="*/ 1163954 w 1219200"/>
                <a:gd name="connsiteY17" fmla="*/ 811531 h 868681"/>
                <a:gd name="connsiteX18" fmla="*/ 1195704 w 1219200"/>
                <a:gd name="connsiteY18" fmla="*/ 811531 h 868681"/>
                <a:gd name="connsiteX19" fmla="*/ 1179195 w 1219200"/>
                <a:gd name="connsiteY19" fmla="*/ 794386 h 868681"/>
                <a:gd name="connsiteX20" fmla="*/ 909320 w 1219200"/>
                <a:gd name="connsiteY20" fmla="*/ 794386 h 868681"/>
                <a:gd name="connsiteX21" fmla="*/ 893445 w 1219200"/>
                <a:gd name="connsiteY21" fmla="*/ 811531 h 868681"/>
                <a:gd name="connsiteX22" fmla="*/ 894079 w 1219200"/>
                <a:gd name="connsiteY22" fmla="*/ 811531 h 868681"/>
                <a:gd name="connsiteX23" fmla="*/ 925829 w 1219200"/>
                <a:gd name="connsiteY23" fmla="*/ 811531 h 868681"/>
                <a:gd name="connsiteX24" fmla="*/ 909320 w 1219200"/>
                <a:gd name="connsiteY24" fmla="*/ 794386 h 868681"/>
                <a:gd name="connsiteX25" fmla="*/ 737870 w 1219200"/>
                <a:gd name="connsiteY25" fmla="*/ 775971 h 868681"/>
                <a:gd name="connsiteX26" fmla="*/ 761364 w 1219200"/>
                <a:gd name="connsiteY26" fmla="*/ 775971 h 868681"/>
                <a:gd name="connsiteX27" fmla="*/ 761364 w 1219200"/>
                <a:gd name="connsiteY27" fmla="*/ 866141 h 868681"/>
                <a:gd name="connsiteX28" fmla="*/ 737870 w 1219200"/>
                <a:gd name="connsiteY28" fmla="*/ 866141 h 868681"/>
                <a:gd name="connsiteX29" fmla="*/ 143510 w 1219200"/>
                <a:gd name="connsiteY29" fmla="*/ 775971 h 868681"/>
                <a:gd name="connsiteX30" fmla="*/ 167004 w 1219200"/>
                <a:gd name="connsiteY30" fmla="*/ 775971 h 868681"/>
                <a:gd name="connsiteX31" fmla="*/ 167004 w 1219200"/>
                <a:gd name="connsiteY31" fmla="*/ 866141 h 868681"/>
                <a:gd name="connsiteX32" fmla="*/ 143510 w 1219200"/>
                <a:gd name="connsiteY32" fmla="*/ 866141 h 868681"/>
                <a:gd name="connsiteX33" fmla="*/ 635 w 1219200"/>
                <a:gd name="connsiteY33" fmla="*/ 775971 h 868681"/>
                <a:gd name="connsiteX34" fmla="*/ 26670 w 1219200"/>
                <a:gd name="connsiteY34" fmla="*/ 775971 h 868681"/>
                <a:gd name="connsiteX35" fmla="*/ 40004 w 1219200"/>
                <a:gd name="connsiteY35" fmla="*/ 828041 h 868681"/>
                <a:gd name="connsiteX36" fmla="*/ 55245 w 1219200"/>
                <a:gd name="connsiteY36" fmla="*/ 775971 h 868681"/>
                <a:gd name="connsiteX37" fmla="*/ 76200 w 1219200"/>
                <a:gd name="connsiteY37" fmla="*/ 775971 h 868681"/>
                <a:gd name="connsiteX38" fmla="*/ 91439 w 1219200"/>
                <a:gd name="connsiteY38" fmla="*/ 828041 h 868681"/>
                <a:gd name="connsiteX39" fmla="*/ 105409 w 1219200"/>
                <a:gd name="connsiteY39" fmla="*/ 775971 h 868681"/>
                <a:gd name="connsiteX40" fmla="*/ 130810 w 1219200"/>
                <a:gd name="connsiteY40" fmla="*/ 775971 h 868681"/>
                <a:gd name="connsiteX41" fmla="*/ 102235 w 1219200"/>
                <a:gd name="connsiteY41" fmla="*/ 866141 h 868681"/>
                <a:gd name="connsiteX42" fmla="*/ 80644 w 1219200"/>
                <a:gd name="connsiteY42" fmla="*/ 866141 h 868681"/>
                <a:gd name="connsiteX43" fmla="*/ 65405 w 1219200"/>
                <a:gd name="connsiteY43" fmla="*/ 811531 h 868681"/>
                <a:gd name="connsiteX44" fmla="*/ 50165 w 1219200"/>
                <a:gd name="connsiteY44" fmla="*/ 866141 h 868681"/>
                <a:gd name="connsiteX45" fmla="*/ 28575 w 1219200"/>
                <a:gd name="connsiteY45" fmla="*/ 866141 h 868681"/>
                <a:gd name="connsiteX46" fmla="*/ 1181099 w 1219200"/>
                <a:gd name="connsiteY46" fmla="*/ 774066 h 868681"/>
                <a:gd name="connsiteX47" fmla="*/ 1219200 w 1219200"/>
                <a:gd name="connsiteY47" fmla="*/ 821056 h 868681"/>
                <a:gd name="connsiteX48" fmla="*/ 1218564 w 1219200"/>
                <a:gd name="connsiteY48" fmla="*/ 821056 h 868681"/>
                <a:gd name="connsiteX49" fmla="*/ 1218564 w 1219200"/>
                <a:gd name="connsiteY49" fmla="*/ 828676 h 868681"/>
                <a:gd name="connsiteX50" fmla="*/ 1163954 w 1219200"/>
                <a:gd name="connsiteY50" fmla="*/ 828676 h 868681"/>
                <a:gd name="connsiteX51" fmla="*/ 1183004 w 1219200"/>
                <a:gd name="connsiteY51" fmla="*/ 846456 h 868681"/>
                <a:gd name="connsiteX52" fmla="*/ 1198879 w 1219200"/>
                <a:gd name="connsiteY52" fmla="*/ 840106 h 868681"/>
                <a:gd name="connsiteX53" fmla="*/ 1214754 w 1219200"/>
                <a:gd name="connsiteY53" fmla="*/ 853441 h 868681"/>
                <a:gd name="connsiteX54" fmla="*/ 1182370 w 1219200"/>
                <a:gd name="connsiteY54" fmla="*/ 868046 h 868681"/>
                <a:gd name="connsiteX55" fmla="*/ 1141095 w 1219200"/>
                <a:gd name="connsiteY55" fmla="*/ 821056 h 868681"/>
                <a:gd name="connsiteX56" fmla="*/ 1181099 w 1219200"/>
                <a:gd name="connsiteY56" fmla="*/ 774066 h 868681"/>
                <a:gd name="connsiteX57" fmla="*/ 1097915 w 1219200"/>
                <a:gd name="connsiteY57" fmla="*/ 774066 h 868681"/>
                <a:gd name="connsiteX58" fmla="*/ 1133474 w 1219200"/>
                <a:gd name="connsiteY58" fmla="*/ 793751 h 868681"/>
                <a:gd name="connsiteX59" fmla="*/ 1118235 w 1219200"/>
                <a:gd name="connsiteY59" fmla="*/ 808991 h 868681"/>
                <a:gd name="connsiteX60" fmla="*/ 1097915 w 1219200"/>
                <a:gd name="connsiteY60" fmla="*/ 796291 h 868681"/>
                <a:gd name="connsiteX61" fmla="*/ 1078864 w 1219200"/>
                <a:gd name="connsiteY61" fmla="*/ 820421 h 868681"/>
                <a:gd name="connsiteX62" fmla="*/ 1097915 w 1219200"/>
                <a:gd name="connsiteY62" fmla="*/ 845186 h 868681"/>
                <a:gd name="connsiteX63" fmla="*/ 1118235 w 1219200"/>
                <a:gd name="connsiteY63" fmla="*/ 833756 h 868681"/>
                <a:gd name="connsiteX64" fmla="*/ 1118870 w 1219200"/>
                <a:gd name="connsiteY64" fmla="*/ 834391 h 868681"/>
                <a:gd name="connsiteX65" fmla="*/ 1133474 w 1219200"/>
                <a:gd name="connsiteY65" fmla="*/ 848361 h 868681"/>
                <a:gd name="connsiteX66" fmla="*/ 1097280 w 1219200"/>
                <a:gd name="connsiteY66" fmla="*/ 868046 h 868681"/>
                <a:gd name="connsiteX67" fmla="*/ 1054735 w 1219200"/>
                <a:gd name="connsiteY67" fmla="*/ 821056 h 868681"/>
                <a:gd name="connsiteX68" fmla="*/ 1097915 w 1219200"/>
                <a:gd name="connsiteY68" fmla="*/ 774066 h 868681"/>
                <a:gd name="connsiteX69" fmla="*/ 1009015 w 1219200"/>
                <a:gd name="connsiteY69" fmla="*/ 774066 h 868681"/>
                <a:gd name="connsiteX70" fmla="*/ 1041400 w 1219200"/>
                <a:gd name="connsiteY70" fmla="*/ 815341 h 868681"/>
                <a:gd name="connsiteX71" fmla="*/ 1041400 w 1219200"/>
                <a:gd name="connsiteY71" fmla="*/ 866141 h 868681"/>
                <a:gd name="connsiteX72" fmla="*/ 1017905 w 1219200"/>
                <a:gd name="connsiteY72" fmla="*/ 866141 h 868681"/>
                <a:gd name="connsiteX73" fmla="*/ 1017905 w 1219200"/>
                <a:gd name="connsiteY73" fmla="*/ 817246 h 868681"/>
                <a:gd name="connsiteX74" fmla="*/ 1002665 w 1219200"/>
                <a:gd name="connsiteY74" fmla="*/ 796291 h 868681"/>
                <a:gd name="connsiteX75" fmla="*/ 986790 w 1219200"/>
                <a:gd name="connsiteY75" fmla="*/ 816611 h 868681"/>
                <a:gd name="connsiteX76" fmla="*/ 986790 w 1219200"/>
                <a:gd name="connsiteY76" fmla="*/ 866141 h 868681"/>
                <a:gd name="connsiteX77" fmla="*/ 963295 w 1219200"/>
                <a:gd name="connsiteY77" fmla="*/ 866141 h 868681"/>
                <a:gd name="connsiteX78" fmla="*/ 963295 w 1219200"/>
                <a:gd name="connsiteY78" fmla="*/ 775971 h 868681"/>
                <a:gd name="connsiteX79" fmla="*/ 986790 w 1219200"/>
                <a:gd name="connsiteY79" fmla="*/ 775971 h 868681"/>
                <a:gd name="connsiteX80" fmla="*/ 986790 w 1219200"/>
                <a:gd name="connsiteY80" fmla="*/ 782321 h 868681"/>
                <a:gd name="connsiteX81" fmla="*/ 1009015 w 1219200"/>
                <a:gd name="connsiteY81" fmla="*/ 774066 h 868681"/>
                <a:gd name="connsiteX82" fmla="*/ 911224 w 1219200"/>
                <a:gd name="connsiteY82" fmla="*/ 774066 h 868681"/>
                <a:gd name="connsiteX83" fmla="*/ 949325 w 1219200"/>
                <a:gd name="connsiteY83" fmla="*/ 821056 h 868681"/>
                <a:gd name="connsiteX84" fmla="*/ 948689 w 1219200"/>
                <a:gd name="connsiteY84" fmla="*/ 821056 h 868681"/>
                <a:gd name="connsiteX85" fmla="*/ 948689 w 1219200"/>
                <a:gd name="connsiteY85" fmla="*/ 828676 h 868681"/>
                <a:gd name="connsiteX86" fmla="*/ 894079 w 1219200"/>
                <a:gd name="connsiteY86" fmla="*/ 828676 h 868681"/>
                <a:gd name="connsiteX87" fmla="*/ 913129 w 1219200"/>
                <a:gd name="connsiteY87" fmla="*/ 846456 h 868681"/>
                <a:gd name="connsiteX88" fmla="*/ 929004 w 1219200"/>
                <a:gd name="connsiteY88" fmla="*/ 840106 h 868681"/>
                <a:gd name="connsiteX89" fmla="*/ 944879 w 1219200"/>
                <a:gd name="connsiteY89" fmla="*/ 853441 h 868681"/>
                <a:gd name="connsiteX90" fmla="*/ 912495 w 1219200"/>
                <a:gd name="connsiteY90" fmla="*/ 868046 h 868681"/>
                <a:gd name="connsiteX91" fmla="*/ 871220 w 1219200"/>
                <a:gd name="connsiteY91" fmla="*/ 821056 h 868681"/>
                <a:gd name="connsiteX92" fmla="*/ 911224 w 1219200"/>
                <a:gd name="connsiteY92" fmla="*/ 774066 h 868681"/>
                <a:gd name="connsiteX93" fmla="*/ 623570 w 1219200"/>
                <a:gd name="connsiteY93" fmla="*/ 774066 h 868681"/>
                <a:gd name="connsiteX94" fmla="*/ 655954 w 1219200"/>
                <a:gd name="connsiteY94" fmla="*/ 815341 h 868681"/>
                <a:gd name="connsiteX95" fmla="*/ 655954 w 1219200"/>
                <a:gd name="connsiteY95" fmla="*/ 866141 h 868681"/>
                <a:gd name="connsiteX96" fmla="*/ 632459 w 1219200"/>
                <a:gd name="connsiteY96" fmla="*/ 866141 h 868681"/>
                <a:gd name="connsiteX97" fmla="*/ 632459 w 1219200"/>
                <a:gd name="connsiteY97" fmla="*/ 817246 h 868681"/>
                <a:gd name="connsiteX98" fmla="*/ 617220 w 1219200"/>
                <a:gd name="connsiteY98" fmla="*/ 796291 h 868681"/>
                <a:gd name="connsiteX99" fmla="*/ 601345 w 1219200"/>
                <a:gd name="connsiteY99" fmla="*/ 816611 h 868681"/>
                <a:gd name="connsiteX100" fmla="*/ 601345 w 1219200"/>
                <a:gd name="connsiteY100" fmla="*/ 866141 h 868681"/>
                <a:gd name="connsiteX101" fmla="*/ 577849 w 1219200"/>
                <a:gd name="connsiteY101" fmla="*/ 866141 h 868681"/>
                <a:gd name="connsiteX102" fmla="*/ 577849 w 1219200"/>
                <a:gd name="connsiteY102" fmla="*/ 775971 h 868681"/>
                <a:gd name="connsiteX103" fmla="*/ 601345 w 1219200"/>
                <a:gd name="connsiteY103" fmla="*/ 775971 h 868681"/>
                <a:gd name="connsiteX104" fmla="*/ 601345 w 1219200"/>
                <a:gd name="connsiteY104" fmla="*/ 782321 h 868681"/>
                <a:gd name="connsiteX105" fmla="*/ 623570 w 1219200"/>
                <a:gd name="connsiteY105" fmla="*/ 774066 h 868681"/>
                <a:gd name="connsiteX106" fmla="*/ 522605 w 1219200"/>
                <a:gd name="connsiteY106" fmla="*/ 774066 h 868681"/>
                <a:gd name="connsiteX107" fmla="*/ 564515 w 1219200"/>
                <a:gd name="connsiteY107" fmla="*/ 821056 h 868681"/>
                <a:gd name="connsiteX108" fmla="*/ 522605 w 1219200"/>
                <a:gd name="connsiteY108" fmla="*/ 868046 h 868681"/>
                <a:gd name="connsiteX109" fmla="*/ 480695 w 1219200"/>
                <a:gd name="connsiteY109" fmla="*/ 821056 h 868681"/>
                <a:gd name="connsiteX110" fmla="*/ 522605 w 1219200"/>
                <a:gd name="connsiteY110" fmla="*/ 774066 h 868681"/>
                <a:gd name="connsiteX111" fmla="*/ 436879 w 1219200"/>
                <a:gd name="connsiteY111" fmla="*/ 774066 h 868681"/>
                <a:gd name="connsiteX112" fmla="*/ 472439 w 1219200"/>
                <a:gd name="connsiteY112" fmla="*/ 793751 h 868681"/>
                <a:gd name="connsiteX113" fmla="*/ 457200 w 1219200"/>
                <a:gd name="connsiteY113" fmla="*/ 808991 h 868681"/>
                <a:gd name="connsiteX114" fmla="*/ 436879 w 1219200"/>
                <a:gd name="connsiteY114" fmla="*/ 796291 h 868681"/>
                <a:gd name="connsiteX115" fmla="*/ 417829 w 1219200"/>
                <a:gd name="connsiteY115" fmla="*/ 820421 h 868681"/>
                <a:gd name="connsiteX116" fmla="*/ 436879 w 1219200"/>
                <a:gd name="connsiteY116" fmla="*/ 845186 h 868681"/>
                <a:gd name="connsiteX117" fmla="*/ 457200 w 1219200"/>
                <a:gd name="connsiteY117" fmla="*/ 833756 h 868681"/>
                <a:gd name="connsiteX118" fmla="*/ 457834 w 1219200"/>
                <a:gd name="connsiteY118" fmla="*/ 834391 h 868681"/>
                <a:gd name="connsiteX119" fmla="*/ 472439 w 1219200"/>
                <a:gd name="connsiteY119" fmla="*/ 848361 h 868681"/>
                <a:gd name="connsiteX120" fmla="*/ 436245 w 1219200"/>
                <a:gd name="connsiteY120" fmla="*/ 868046 h 868681"/>
                <a:gd name="connsiteX121" fmla="*/ 393700 w 1219200"/>
                <a:gd name="connsiteY121" fmla="*/ 821056 h 868681"/>
                <a:gd name="connsiteX122" fmla="*/ 436879 w 1219200"/>
                <a:gd name="connsiteY122" fmla="*/ 774066 h 868681"/>
                <a:gd name="connsiteX123" fmla="*/ 219075 w 1219200"/>
                <a:gd name="connsiteY123" fmla="*/ 742316 h 868681"/>
                <a:gd name="connsiteX124" fmla="*/ 219075 w 1219200"/>
                <a:gd name="connsiteY124" fmla="*/ 777241 h 868681"/>
                <a:gd name="connsiteX125" fmla="*/ 245110 w 1219200"/>
                <a:gd name="connsiteY125" fmla="*/ 777241 h 868681"/>
                <a:gd name="connsiteX126" fmla="*/ 245110 w 1219200"/>
                <a:gd name="connsiteY126" fmla="*/ 798831 h 868681"/>
                <a:gd name="connsiteX127" fmla="*/ 219075 w 1219200"/>
                <a:gd name="connsiteY127" fmla="*/ 798831 h 868681"/>
                <a:gd name="connsiteX128" fmla="*/ 219075 w 1219200"/>
                <a:gd name="connsiteY128" fmla="*/ 835661 h 868681"/>
                <a:gd name="connsiteX129" fmla="*/ 227965 w 1219200"/>
                <a:gd name="connsiteY129" fmla="*/ 846456 h 868681"/>
                <a:gd name="connsiteX130" fmla="*/ 245041 w 1219200"/>
                <a:gd name="connsiteY130" fmla="*/ 839979 h 868681"/>
                <a:gd name="connsiteX131" fmla="*/ 241935 w 1219200"/>
                <a:gd name="connsiteY131" fmla="*/ 862966 h 868681"/>
                <a:gd name="connsiteX132" fmla="*/ 219709 w 1219200"/>
                <a:gd name="connsiteY132" fmla="*/ 868681 h 868681"/>
                <a:gd name="connsiteX133" fmla="*/ 195579 w 1219200"/>
                <a:gd name="connsiteY133" fmla="*/ 842011 h 868681"/>
                <a:gd name="connsiteX134" fmla="*/ 195579 w 1219200"/>
                <a:gd name="connsiteY134" fmla="*/ 798831 h 868681"/>
                <a:gd name="connsiteX135" fmla="*/ 179704 w 1219200"/>
                <a:gd name="connsiteY135" fmla="*/ 798831 h 868681"/>
                <a:gd name="connsiteX136" fmla="*/ 179704 w 1219200"/>
                <a:gd name="connsiteY136" fmla="*/ 777241 h 868681"/>
                <a:gd name="connsiteX137" fmla="*/ 195579 w 1219200"/>
                <a:gd name="connsiteY137" fmla="*/ 777241 h 868681"/>
                <a:gd name="connsiteX138" fmla="*/ 195579 w 1219200"/>
                <a:gd name="connsiteY138" fmla="*/ 753746 h 868681"/>
                <a:gd name="connsiteX139" fmla="*/ 749935 w 1219200"/>
                <a:gd name="connsiteY139" fmla="*/ 741681 h 868681"/>
                <a:gd name="connsiteX140" fmla="*/ 763269 w 1219200"/>
                <a:gd name="connsiteY140" fmla="*/ 755016 h 868681"/>
                <a:gd name="connsiteX141" fmla="*/ 749935 w 1219200"/>
                <a:gd name="connsiteY141" fmla="*/ 768351 h 868681"/>
                <a:gd name="connsiteX142" fmla="*/ 736599 w 1219200"/>
                <a:gd name="connsiteY142" fmla="*/ 755016 h 868681"/>
                <a:gd name="connsiteX143" fmla="*/ 749935 w 1219200"/>
                <a:gd name="connsiteY143" fmla="*/ 741681 h 868681"/>
                <a:gd name="connsiteX144" fmla="*/ 154939 w 1219200"/>
                <a:gd name="connsiteY144" fmla="*/ 741681 h 868681"/>
                <a:gd name="connsiteX145" fmla="*/ 168275 w 1219200"/>
                <a:gd name="connsiteY145" fmla="*/ 755016 h 868681"/>
                <a:gd name="connsiteX146" fmla="*/ 154939 w 1219200"/>
                <a:gd name="connsiteY146" fmla="*/ 768351 h 868681"/>
                <a:gd name="connsiteX147" fmla="*/ 141605 w 1219200"/>
                <a:gd name="connsiteY147" fmla="*/ 755016 h 868681"/>
                <a:gd name="connsiteX148" fmla="*/ 154939 w 1219200"/>
                <a:gd name="connsiteY148" fmla="*/ 741681 h 868681"/>
                <a:gd name="connsiteX149" fmla="*/ 856614 w 1219200"/>
                <a:gd name="connsiteY149" fmla="*/ 741046 h 868681"/>
                <a:gd name="connsiteX150" fmla="*/ 856614 w 1219200"/>
                <a:gd name="connsiteY150" fmla="*/ 866141 h 868681"/>
                <a:gd name="connsiteX151" fmla="*/ 833120 w 1219200"/>
                <a:gd name="connsiteY151" fmla="*/ 866141 h 868681"/>
                <a:gd name="connsiteX152" fmla="*/ 833120 w 1219200"/>
                <a:gd name="connsiteY152" fmla="*/ 860426 h 868681"/>
                <a:gd name="connsiteX153" fmla="*/ 812799 w 1219200"/>
                <a:gd name="connsiteY153" fmla="*/ 868046 h 868681"/>
                <a:gd name="connsiteX154" fmla="*/ 775970 w 1219200"/>
                <a:gd name="connsiteY154" fmla="*/ 820421 h 868681"/>
                <a:gd name="connsiteX155" fmla="*/ 812165 w 1219200"/>
                <a:gd name="connsiteY155" fmla="*/ 774066 h 868681"/>
                <a:gd name="connsiteX156" fmla="*/ 833120 w 1219200"/>
                <a:gd name="connsiteY156" fmla="*/ 781051 h 868681"/>
                <a:gd name="connsiteX157" fmla="*/ 833120 w 1219200"/>
                <a:gd name="connsiteY157" fmla="*/ 752476 h 868681"/>
                <a:gd name="connsiteX158" fmla="*/ 707390 w 1219200"/>
                <a:gd name="connsiteY158" fmla="*/ 741046 h 868681"/>
                <a:gd name="connsiteX159" fmla="*/ 724534 w 1219200"/>
                <a:gd name="connsiteY159" fmla="*/ 743586 h 868681"/>
                <a:gd name="connsiteX160" fmla="*/ 724534 w 1219200"/>
                <a:gd name="connsiteY160" fmla="*/ 744221 h 868681"/>
                <a:gd name="connsiteX161" fmla="*/ 724534 w 1219200"/>
                <a:gd name="connsiteY161" fmla="*/ 762636 h 868681"/>
                <a:gd name="connsiteX162" fmla="*/ 713105 w 1219200"/>
                <a:gd name="connsiteY162" fmla="*/ 760731 h 868681"/>
                <a:gd name="connsiteX163" fmla="*/ 703579 w 1219200"/>
                <a:gd name="connsiteY163" fmla="*/ 768351 h 868681"/>
                <a:gd name="connsiteX164" fmla="*/ 703579 w 1219200"/>
                <a:gd name="connsiteY164" fmla="*/ 775336 h 868681"/>
                <a:gd name="connsiteX165" fmla="*/ 722629 w 1219200"/>
                <a:gd name="connsiteY165" fmla="*/ 775336 h 868681"/>
                <a:gd name="connsiteX166" fmla="*/ 722629 w 1219200"/>
                <a:gd name="connsiteY166" fmla="*/ 796926 h 868681"/>
                <a:gd name="connsiteX167" fmla="*/ 703579 w 1219200"/>
                <a:gd name="connsiteY167" fmla="*/ 796926 h 868681"/>
                <a:gd name="connsiteX168" fmla="*/ 703579 w 1219200"/>
                <a:gd name="connsiteY168" fmla="*/ 865506 h 868681"/>
                <a:gd name="connsiteX169" fmla="*/ 680084 w 1219200"/>
                <a:gd name="connsiteY169" fmla="*/ 865506 h 868681"/>
                <a:gd name="connsiteX170" fmla="*/ 680084 w 1219200"/>
                <a:gd name="connsiteY170" fmla="*/ 796926 h 868681"/>
                <a:gd name="connsiteX171" fmla="*/ 667385 w 1219200"/>
                <a:gd name="connsiteY171" fmla="*/ 796926 h 868681"/>
                <a:gd name="connsiteX172" fmla="*/ 667385 w 1219200"/>
                <a:gd name="connsiteY172" fmla="*/ 775336 h 868681"/>
                <a:gd name="connsiteX173" fmla="*/ 680084 w 1219200"/>
                <a:gd name="connsiteY173" fmla="*/ 775336 h 868681"/>
                <a:gd name="connsiteX174" fmla="*/ 680084 w 1219200"/>
                <a:gd name="connsiteY174" fmla="*/ 764541 h 868681"/>
                <a:gd name="connsiteX175" fmla="*/ 707390 w 1219200"/>
                <a:gd name="connsiteY175" fmla="*/ 741046 h 868681"/>
                <a:gd name="connsiteX176" fmla="*/ 282575 w 1219200"/>
                <a:gd name="connsiteY176" fmla="*/ 741046 h 868681"/>
                <a:gd name="connsiteX177" fmla="*/ 282575 w 1219200"/>
                <a:gd name="connsiteY177" fmla="*/ 782321 h 868681"/>
                <a:gd name="connsiteX178" fmla="*/ 304799 w 1219200"/>
                <a:gd name="connsiteY178" fmla="*/ 774066 h 868681"/>
                <a:gd name="connsiteX179" fmla="*/ 336549 w 1219200"/>
                <a:gd name="connsiteY179" fmla="*/ 815341 h 868681"/>
                <a:gd name="connsiteX180" fmla="*/ 336549 w 1219200"/>
                <a:gd name="connsiteY180" fmla="*/ 866141 h 868681"/>
                <a:gd name="connsiteX181" fmla="*/ 313689 w 1219200"/>
                <a:gd name="connsiteY181" fmla="*/ 866141 h 868681"/>
                <a:gd name="connsiteX182" fmla="*/ 313689 w 1219200"/>
                <a:gd name="connsiteY182" fmla="*/ 817246 h 868681"/>
                <a:gd name="connsiteX183" fmla="*/ 298450 w 1219200"/>
                <a:gd name="connsiteY183" fmla="*/ 796291 h 868681"/>
                <a:gd name="connsiteX184" fmla="*/ 282575 w 1219200"/>
                <a:gd name="connsiteY184" fmla="*/ 816611 h 868681"/>
                <a:gd name="connsiteX185" fmla="*/ 282575 w 1219200"/>
                <a:gd name="connsiteY185" fmla="*/ 866141 h 868681"/>
                <a:gd name="connsiteX186" fmla="*/ 259079 w 1219200"/>
                <a:gd name="connsiteY186" fmla="*/ 866141 h 868681"/>
                <a:gd name="connsiteX187" fmla="*/ 259079 w 1219200"/>
                <a:gd name="connsiteY187" fmla="*/ 752476 h 868681"/>
                <a:gd name="connsiteX188" fmla="*/ 92709 w 1219200"/>
                <a:gd name="connsiteY188" fmla="*/ 648336 h 868681"/>
                <a:gd name="connsiteX189" fmla="*/ 92709 w 1219200"/>
                <a:gd name="connsiteY189" fmla="*/ 649606 h 868681"/>
                <a:gd name="connsiteX190" fmla="*/ 92427 w 1219200"/>
                <a:gd name="connsiteY190" fmla="*/ 648959 h 868681"/>
                <a:gd name="connsiteX191" fmla="*/ 230504 w 1219200"/>
                <a:gd name="connsiteY191" fmla="*/ 643256 h 868681"/>
                <a:gd name="connsiteX192" fmla="*/ 215900 w 1219200"/>
                <a:gd name="connsiteY192" fmla="*/ 654686 h 868681"/>
                <a:gd name="connsiteX193" fmla="*/ 228599 w 1219200"/>
                <a:gd name="connsiteY193" fmla="*/ 667386 h 868681"/>
                <a:gd name="connsiteX194" fmla="*/ 245745 w 1219200"/>
                <a:gd name="connsiteY194" fmla="*/ 658496 h 868681"/>
                <a:gd name="connsiteX195" fmla="*/ 245745 w 1219200"/>
                <a:gd name="connsiteY195" fmla="*/ 647066 h 868681"/>
                <a:gd name="connsiteX196" fmla="*/ 230504 w 1219200"/>
                <a:gd name="connsiteY196" fmla="*/ 643256 h 868681"/>
                <a:gd name="connsiteX197" fmla="*/ 321310 w 1219200"/>
                <a:gd name="connsiteY197" fmla="*/ 614046 h 868681"/>
                <a:gd name="connsiteX198" fmla="*/ 306704 w 1219200"/>
                <a:gd name="connsiteY198" fmla="*/ 622301 h 868681"/>
                <a:gd name="connsiteX199" fmla="*/ 306704 w 1219200"/>
                <a:gd name="connsiteY199" fmla="*/ 656591 h 868681"/>
                <a:gd name="connsiteX200" fmla="*/ 323215 w 1219200"/>
                <a:gd name="connsiteY200" fmla="*/ 664846 h 868681"/>
                <a:gd name="connsiteX201" fmla="*/ 339090 w 1219200"/>
                <a:gd name="connsiteY201" fmla="*/ 640716 h 868681"/>
                <a:gd name="connsiteX202" fmla="*/ 338454 w 1219200"/>
                <a:gd name="connsiteY202" fmla="*/ 640716 h 868681"/>
                <a:gd name="connsiteX203" fmla="*/ 321310 w 1219200"/>
                <a:gd name="connsiteY203" fmla="*/ 614046 h 868681"/>
                <a:gd name="connsiteX204" fmla="*/ 1179195 w 1219200"/>
                <a:gd name="connsiteY204" fmla="*/ 612776 h 868681"/>
                <a:gd name="connsiteX205" fmla="*/ 1163320 w 1219200"/>
                <a:gd name="connsiteY205" fmla="*/ 629921 h 868681"/>
                <a:gd name="connsiteX206" fmla="*/ 1163954 w 1219200"/>
                <a:gd name="connsiteY206" fmla="*/ 629921 h 868681"/>
                <a:gd name="connsiteX207" fmla="*/ 1195704 w 1219200"/>
                <a:gd name="connsiteY207" fmla="*/ 629921 h 868681"/>
                <a:gd name="connsiteX208" fmla="*/ 1179195 w 1219200"/>
                <a:gd name="connsiteY208" fmla="*/ 612776 h 868681"/>
                <a:gd name="connsiteX209" fmla="*/ 689610 w 1219200"/>
                <a:gd name="connsiteY209" fmla="*/ 612776 h 868681"/>
                <a:gd name="connsiteX210" fmla="*/ 673735 w 1219200"/>
                <a:gd name="connsiteY210" fmla="*/ 629921 h 868681"/>
                <a:gd name="connsiteX211" fmla="*/ 674370 w 1219200"/>
                <a:gd name="connsiteY211" fmla="*/ 629921 h 868681"/>
                <a:gd name="connsiteX212" fmla="*/ 706120 w 1219200"/>
                <a:gd name="connsiteY212" fmla="*/ 629921 h 868681"/>
                <a:gd name="connsiteX213" fmla="*/ 689610 w 1219200"/>
                <a:gd name="connsiteY213" fmla="*/ 612776 h 868681"/>
                <a:gd name="connsiteX214" fmla="*/ 410845 w 1219200"/>
                <a:gd name="connsiteY214" fmla="*/ 612776 h 868681"/>
                <a:gd name="connsiteX215" fmla="*/ 395605 w 1219200"/>
                <a:gd name="connsiteY215" fmla="*/ 629921 h 868681"/>
                <a:gd name="connsiteX216" fmla="*/ 427355 w 1219200"/>
                <a:gd name="connsiteY216" fmla="*/ 629921 h 868681"/>
                <a:gd name="connsiteX217" fmla="*/ 410845 w 1219200"/>
                <a:gd name="connsiteY217" fmla="*/ 612776 h 868681"/>
                <a:gd name="connsiteX218" fmla="*/ 991870 w 1219200"/>
                <a:gd name="connsiteY218" fmla="*/ 594361 h 868681"/>
                <a:gd name="connsiteX219" fmla="*/ 1014095 w 1219200"/>
                <a:gd name="connsiteY219" fmla="*/ 594361 h 868681"/>
                <a:gd name="connsiteX220" fmla="*/ 1014095 w 1219200"/>
                <a:gd name="connsiteY220" fmla="*/ 643256 h 868681"/>
                <a:gd name="connsiteX221" fmla="*/ 1029334 w 1219200"/>
                <a:gd name="connsiteY221" fmla="*/ 664846 h 868681"/>
                <a:gd name="connsiteX222" fmla="*/ 1044575 w 1219200"/>
                <a:gd name="connsiteY222" fmla="*/ 644526 h 868681"/>
                <a:gd name="connsiteX223" fmla="*/ 1044575 w 1219200"/>
                <a:gd name="connsiteY223" fmla="*/ 594996 h 868681"/>
                <a:gd name="connsiteX224" fmla="*/ 1066799 w 1219200"/>
                <a:gd name="connsiteY224" fmla="*/ 594996 h 868681"/>
                <a:gd name="connsiteX225" fmla="*/ 1066799 w 1219200"/>
                <a:gd name="connsiteY225" fmla="*/ 684531 h 868681"/>
                <a:gd name="connsiteX226" fmla="*/ 1044575 w 1219200"/>
                <a:gd name="connsiteY226" fmla="*/ 684531 h 868681"/>
                <a:gd name="connsiteX227" fmla="*/ 1044575 w 1219200"/>
                <a:gd name="connsiteY227" fmla="*/ 678181 h 868681"/>
                <a:gd name="connsiteX228" fmla="*/ 1023620 w 1219200"/>
                <a:gd name="connsiteY228" fmla="*/ 686436 h 868681"/>
                <a:gd name="connsiteX229" fmla="*/ 991870 w 1219200"/>
                <a:gd name="connsiteY229" fmla="*/ 645161 h 868681"/>
                <a:gd name="connsiteX230" fmla="*/ 836295 w 1219200"/>
                <a:gd name="connsiteY230" fmla="*/ 594361 h 868681"/>
                <a:gd name="connsiteX231" fmla="*/ 858519 w 1219200"/>
                <a:gd name="connsiteY231" fmla="*/ 594361 h 868681"/>
                <a:gd name="connsiteX232" fmla="*/ 858519 w 1219200"/>
                <a:gd name="connsiteY232" fmla="*/ 643256 h 868681"/>
                <a:gd name="connsiteX233" fmla="*/ 873760 w 1219200"/>
                <a:gd name="connsiteY233" fmla="*/ 664846 h 868681"/>
                <a:gd name="connsiteX234" fmla="*/ 889000 w 1219200"/>
                <a:gd name="connsiteY234" fmla="*/ 644526 h 868681"/>
                <a:gd name="connsiteX235" fmla="*/ 889000 w 1219200"/>
                <a:gd name="connsiteY235" fmla="*/ 594996 h 868681"/>
                <a:gd name="connsiteX236" fmla="*/ 911224 w 1219200"/>
                <a:gd name="connsiteY236" fmla="*/ 594996 h 868681"/>
                <a:gd name="connsiteX237" fmla="*/ 911224 w 1219200"/>
                <a:gd name="connsiteY237" fmla="*/ 684531 h 868681"/>
                <a:gd name="connsiteX238" fmla="*/ 889000 w 1219200"/>
                <a:gd name="connsiteY238" fmla="*/ 684531 h 868681"/>
                <a:gd name="connsiteX239" fmla="*/ 889000 w 1219200"/>
                <a:gd name="connsiteY239" fmla="*/ 678181 h 868681"/>
                <a:gd name="connsiteX240" fmla="*/ 868045 w 1219200"/>
                <a:gd name="connsiteY240" fmla="*/ 686436 h 868681"/>
                <a:gd name="connsiteX241" fmla="*/ 836295 w 1219200"/>
                <a:gd name="connsiteY241" fmla="*/ 645161 h 868681"/>
                <a:gd name="connsiteX242" fmla="*/ 1181099 w 1219200"/>
                <a:gd name="connsiteY242" fmla="*/ 592456 h 868681"/>
                <a:gd name="connsiteX243" fmla="*/ 1219200 w 1219200"/>
                <a:gd name="connsiteY243" fmla="*/ 639446 h 868681"/>
                <a:gd name="connsiteX244" fmla="*/ 1218564 w 1219200"/>
                <a:gd name="connsiteY244" fmla="*/ 639446 h 868681"/>
                <a:gd name="connsiteX245" fmla="*/ 1218564 w 1219200"/>
                <a:gd name="connsiteY245" fmla="*/ 647066 h 868681"/>
                <a:gd name="connsiteX246" fmla="*/ 1163954 w 1219200"/>
                <a:gd name="connsiteY246" fmla="*/ 647066 h 868681"/>
                <a:gd name="connsiteX247" fmla="*/ 1183004 w 1219200"/>
                <a:gd name="connsiteY247" fmla="*/ 664846 h 868681"/>
                <a:gd name="connsiteX248" fmla="*/ 1198879 w 1219200"/>
                <a:gd name="connsiteY248" fmla="*/ 658496 h 868681"/>
                <a:gd name="connsiteX249" fmla="*/ 1214754 w 1219200"/>
                <a:gd name="connsiteY249" fmla="*/ 671831 h 868681"/>
                <a:gd name="connsiteX250" fmla="*/ 1182370 w 1219200"/>
                <a:gd name="connsiteY250" fmla="*/ 686436 h 868681"/>
                <a:gd name="connsiteX251" fmla="*/ 1141095 w 1219200"/>
                <a:gd name="connsiteY251" fmla="*/ 639446 h 868681"/>
                <a:gd name="connsiteX252" fmla="*/ 1181099 w 1219200"/>
                <a:gd name="connsiteY252" fmla="*/ 592456 h 868681"/>
                <a:gd name="connsiteX253" fmla="*/ 691515 w 1219200"/>
                <a:gd name="connsiteY253" fmla="*/ 592456 h 868681"/>
                <a:gd name="connsiteX254" fmla="*/ 729614 w 1219200"/>
                <a:gd name="connsiteY254" fmla="*/ 639446 h 868681"/>
                <a:gd name="connsiteX255" fmla="*/ 728980 w 1219200"/>
                <a:gd name="connsiteY255" fmla="*/ 639446 h 868681"/>
                <a:gd name="connsiteX256" fmla="*/ 728980 w 1219200"/>
                <a:gd name="connsiteY256" fmla="*/ 647066 h 868681"/>
                <a:gd name="connsiteX257" fmla="*/ 674370 w 1219200"/>
                <a:gd name="connsiteY257" fmla="*/ 647066 h 868681"/>
                <a:gd name="connsiteX258" fmla="*/ 693420 w 1219200"/>
                <a:gd name="connsiteY258" fmla="*/ 664846 h 868681"/>
                <a:gd name="connsiteX259" fmla="*/ 709295 w 1219200"/>
                <a:gd name="connsiteY259" fmla="*/ 658496 h 868681"/>
                <a:gd name="connsiteX260" fmla="*/ 725170 w 1219200"/>
                <a:gd name="connsiteY260" fmla="*/ 671831 h 868681"/>
                <a:gd name="connsiteX261" fmla="*/ 692784 w 1219200"/>
                <a:gd name="connsiteY261" fmla="*/ 686436 h 868681"/>
                <a:gd name="connsiteX262" fmla="*/ 651510 w 1219200"/>
                <a:gd name="connsiteY262" fmla="*/ 639446 h 868681"/>
                <a:gd name="connsiteX263" fmla="*/ 691515 w 1219200"/>
                <a:gd name="connsiteY263" fmla="*/ 592456 h 868681"/>
                <a:gd name="connsiteX264" fmla="*/ 412114 w 1219200"/>
                <a:gd name="connsiteY264" fmla="*/ 592456 h 868681"/>
                <a:gd name="connsiteX265" fmla="*/ 448310 w 1219200"/>
                <a:gd name="connsiteY265" fmla="*/ 639446 h 868681"/>
                <a:gd name="connsiteX266" fmla="*/ 448310 w 1219200"/>
                <a:gd name="connsiteY266" fmla="*/ 647066 h 868681"/>
                <a:gd name="connsiteX267" fmla="*/ 395605 w 1219200"/>
                <a:gd name="connsiteY267" fmla="*/ 647066 h 868681"/>
                <a:gd name="connsiteX268" fmla="*/ 415290 w 1219200"/>
                <a:gd name="connsiteY268" fmla="*/ 664846 h 868681"/>
                <a:gd name="connsiteX269" fmla="*/ 430530 w 1219200"/>
                <a:gd name="connsiteY269" fmla="*/ 658496 h 868681"/>
                <a:gd name="connsiteX270" fmla="*/ 446405 w 1219200"/>
                <a:gd name="connsiteY270" fmla="*/ 671831 h 868681"/>
                <a:gd name="connsiteX271" fmla="*/ 413385 w 1219200"/>
                <a:gd name="connsiteY271" fmla="*/ 686436 h 868681"/>
                <a:gd name="connsiteX272" fmla="*/ 372110 w 1219200"/>
                <a:gd name="connsiteY272" fmla="*/ 640081 h 868681"/>
                <a:gd name="connsiteX273" fmla="*/ 412114 w 1219200"/>
                <a:gd name="connsiteY273" fmla="*/ 592456 h 868681"/>
                <a:gd name="connsiteX274" fmla="*/ 326390 w 1219200"/>
                <a:gd name="connsiteY274" fmla="*/ 592456 h 868681"/>
                <a:gd name="connsiteX275" fmla="*/ 361314 w 1219200"/>
                <a:gd name="connsiteY275" fmla="*/ 639446 h 868681"/>
                <a:gd name="connsiteX276" fmla="*/ 326390 w 1219200"/>
                <a:gd name="connsiteY276" fmla="*/ 686436 h 868681"/>
                <a:gd name="connsiteX277" fmla="*/ 306070 w 1219200"/>
                <a:gd name="connsiteY277" fmla="*/ 678816 h 868681"/>
                <a:gd name="connsiteX278" fmla="*/ 306070 w 1219200"/>
                <a:gd name="connsiteY278" fmla="*/ 706121 h 868681"/>
                <a:gd name="connsiteX279" fmla="*/ 283845 w 1219200"/>
                <a:gd name="connsiteY279" fmla="*/ 717551 h 868681"/>
                <a:gd name="connsiteX280" fmla="*/ 283845 w 1219200"/>
                <a:gd name="connsiteY280" fmla="*/ 594361 h 868681"/>
                <a:gd name="connsiteX281" fmla="*/ 306070 w 1219200"/>
                <a:gd name="connsiteY281" fmla="*/ 594361 h 868681"/>
                <a:gd name="connsiteX282" fmla="*/ 306070 w 1219200"/>
                <a:gd name="connsiteY282" fmla="*/ 600711 h 868681"/>
                <a:gd name="connsiteX283" fmla="*/ 326390 w 1219200"/>
                <a:gd name="connsiteY283" fmla="*/ 592456 h 868681"/>
                <a:gd name="connsiteX284" fmla="*/ 231775 w 1219200"/>
                <a:gd name="connsiteY284" fmla="*/ 592456 h 868681"/>
                <a:gd name="connsiteX285" fmla="*/ 268605 w 1219200"/>
                <a:gd name="connsiteY285" fmla="*/ 624206 h 868681"/>
                <a:gd name="connsiteX286" fmla="*/ 268605 w 1219200"/>
                <a:gd name="connsiteY286" fmla="*/ 684531 h 868681"/>
                <a:gd name="connsiteX287" fmla="*/ 267970 w 1219200"/>
                <a:gd name="connsiteY287" fmla="*/ 684531 h 868681"/>
                <a:gd name="connsiteX288" fmla="*/ 245745 w 1219200"/>
                <a:gd name="connsiteY288" fmla="*/ 684531 h 868681"/>
                <a:gd name="connsiteX289" fmla="*/ 245745 w 1219200"/>
                <a:gd name="connsiteY289" fmla="*/ 678181 h 868681"/>
                <a:gd name="connsiteX290" fmla="*/ 224790 w 1219200"/>
                <a:gd name="connsiteY290" fmla="*/ 686436 h 868681"/>
                <a:gd name="connsiteX291" fmla="*/ 193040 w 1219200"/>
                <a:gd name="connsiteY291" fmla="*/ 655321 h 868681"/>
                <a:gd name="connsiteX292" fmla="*/ 227965 w 1219200"/>
                <a:gd name="connsiteY292" fmla="*/ 624841 h 868681"/>
                <a:gd name="connsiteX293" fmla="*/ 245745 w 1219200"/>
                <a:gd name="connsiteY293" fmla="*/ 628651 h 868681"/>
                <a:gd name="connsiteX294" fmla="*/ 245745 w 1219200"/>
                <a:gd name="connsiteY294" fmla="*/ 623571 h 868681"/>
                <a:gd name="connsiteX295" fmla="*/ 230504 w 1219200"/>
                <a:gd name="connsiteY295" fmla="*/ 611506 h 868681"/>
                <a:gd name="connsiteX296" fmla="*/ 209549 w 1219200"/>
                <a:gd name="connsiteY296" fmla="*/ 617221 h 868681"/>
                <a:gd name="connsiteX297" fmla="*/ 200659 w 1219200"/>
                <a:gd name="connsiteY297" fmla="*/ 601346 h 868681"/>
                <a:gd name="connsiteX298" fmla="*/ 231775 w 1219200"/>
                <a:gd name="connsiteY298" fmla="*/ 592456 h 868681"/>
                <a:gd name="connsiteX299" fmla="*/ 1125855 w 1219200"/>
                <a:gd name="connsiteY299" fmla="*/ 591821 h 868681"/>
                <a:gd name="connsiteX300" fmla="*/ 1142364 w 1219200"/>
                <a:gd name="connsiteY300" fmla="*/ 598171 h 868681"/>
                <a:gd name="connsiteX301" fmla="*/ 1141730 w 1219200"/>
                <a:gd name="connsiteY301" fmla="*/ 598806 h 868681"/>
                <a:gd name="connsiteX302" fmla="*/ 1132840 w 1219200"/>
                <a:gd name="connsiteY302" fmla="*/ 621031 h 868681"/>
                <a:gd name="connsiteX303" fmla="*/ 1120140 w 1219200"/>
                <a:gd name="connsiteY303" fmla="*/ 615316 h 868681"/>
                <a:gd name="connsiteX304" fmla="*/ 1106805 w 1219200"/>
                <a:gd name="connsiteY304" fmla="*/ 635001 h 868681"/>
                <a:gd name="connsiteX305" fmla="*/ 1106805 w 1219200"/>
                <a:gd name="connsiteY305" fmla="*/ 683896 h 868681"/>
                <a:gd name="connsiteX306" fmla="*/ 1084579 w 1219200"/>
                <a:gd name="connsiteY306" fmla="*/ 683896 h 868681"/>
                <a:gd name="connsiteX307" fmla="*/ 1084579 w 1219200"/>
                <a:gd name="connsiteY307" fmla="*/ 593726 h 868681"/>
                <a:gd name="connsiteX308" fmla="*/ 1106805 w 1219200"/>
                <a:gd name="connsiteY308" fmla="*/ 593726 h 868681"/>
                <a:gd name="connsiteX309" fmla="*/ 1106805 w 1219200"/>
                <a:gd name="connsiteY309" fmla="*/ 600076 h 868681"/>
                <a:gd name="connsiteX310" fmla="*/ 1125855 w 1219200"/>
                <a:gd name="connsiteY310" fmla="*/ 591821 h 868681"/>
                <a:gd name="connsiteX311" fmla="*/ 47625 w 1219200"/>
                <a:gd name="connsiteY311" fmla="*/ 563881 h 868681"/>
                <a:gd name="connsiteX312" fmla="*/ 90170 w 1219200"/>
                <a:gd name="connsiteY312" fmla="*/ 582296 h 868681"/>
                <a:gd name="connsiteX313" fmla="*/ 73659 w 1219200"/>
                <a:gd name="connsiteY313" fmla="*/ 598806 h 868681"/>
                <a:gd name="connsiteX314" fmla="*/ 46355 w 1219200"/>
                <a:gd name="connsiteY314" fmla="*/ 586741 h 868681"/>
                <a:gd name="connsiteX315" fmla="*/ 28575 w 1219200"/>
                <a:gd name="connsiteY315" fmla="*/ 598171 h 868681"/>
                <a:gd name="connsiteX316" fmla="*/ 33655 w 1219200"/>
                <a:gd name="connsiteY316" fmla="*/ 606426 h 868681"/>
                <a:gd name="connsiteX317" fmla="*/ 52704 w 1219200"/>
                <a:gd name="connsiteY317" fmla="*/ 612776 h 868681"/>
                <a:gd name="connsiteX318" fmla="*/ 81915 w 1219200"/>
                <a:gd name="connsiteY318" fmla="*/ 624841 h 868681"/>
                <a:gd name="connsiteX319" fmla="*/ 92427 w 1219200"/>
                <a:gd name="connsiteY319" fmla="*/ 648959 h 868681"/>
                <a:gd name="connsiteX320" fmla="*/ 79454 w 1219200"/>
                <a:gd name="connsiteY320" fmla="*/ 677626 h 868681"/>
                <a:gd name="connsiteX321" fmla="*/ 47625 w 1219200"/>
                <a:gd name="connsiteY321" fmla="*/ 686436 h 868681"/>
                <a:gd name="connsiteX322" fmla="*/ 0 w 1219200"/>
                <a:gd name="connsiteY322" fmla="*/ 664846 h 868681"/>
                <a:gd name="connsiteX323" fmla="*/ 16510 w 1219200"/>
                <a:gd name="connsiteY323" fmla="*/ 650241 h 868681"/>
                <a:gd name="connsiteX324" fmla="*/ 46989 w 1219200"/>
                <a:gd name="connsiteY324" fmla="*/ 664211 h 868681"/>
                <a:gd name="connsiteX325" fmla="*/ 68579 w 1219200"/>
                <a:gd name="connsiteY325" fmla="*/ 649606 h 868681"/>
                <a:gd name="connsiteX326" fmla="*/ 61595 w 1219200"/>
                <a:gd name="connsiteY326" fmla="*/ 640081 h 868681"/>
                <a:gd name="connsiteX327" fmla="*/ 41909 w 1219200"/>
                <a:gd name="connsiteY327" fmla="*/ 634366 h 868681"/>
                <a:gd name="connsiteX328" fmla="*/ 14605 w 1219200"/>
                <a:gd name="connsiteY328" fmla="*/ 623571 h 868681"/>
                <a:gd name="connsiteX329" fmla="*/ 4444 w 1219200"/>
                <a:gd name="connsiteY329" fmla="*/ 599441 h 868681"/>
                <a:gd name="connsiteX330" fmla="*/ 47625 w 1219200"/>
                <a:gd name="connsiteY330" fmla="*/ 563881 h 868681"/>
                <a:gd name="connsiteX331" fmla="*/ 814070 w 1219200"/>
                <a:gd name="connsiteY331" fmla="*/ 560071 h 868681"/>
                <a:gd name="connsiteX332" fmla="*/ 830579 w 1219200"/>
                <a:gd name="connsiteY332" fmla="*/ 562611 h 868681"/>
                <a:gd name="connsiteX333" fmla="*/ 829945 w 1219200"/>
                <a:gd name="connsiteY333" fmla="*/ 562611 h 868681"/>
                <a:gd name="connsiteX334" fmla="*/ 829945 w 1219200"/>
                <a:gd name="connsiteY334" fmla="*/ 581026 h 868681"/>
                <a:gd name="connsiteX335" fmla="*/ 818515 w 1219200"/>
                <a:gd name="connsiteY335" fmla="*/ 579121 h 868681"/>
                <a:gd name="connsiteX336" fmla="*/ 808989 w 1219200"/>
                <a:gd name="connsiteY336" fmla="*/ 586741 h 868681"/>
                <a:gd name="connsiteX337" fmla="*/ 808989 w 1219200"/>
                <a:gd name="connsiteY337" fmla="*/ 594361 h 868681"/>
                <a:gd name="connsiteX338" fmla="*/ 824230 w 1219200"/>
                <a:gd name="connsiteY338" fmla="*/ 594361 h 868681"/>
                <a:gd name="connsiteX339" fmla="*/ 824230 w 1219200"/>
                <a:gd name="connsiteY339" fmla="*/ 615951 h 868681"/>
                <a:gd name="connsiteX340" fmla="*/ 808989 w 1219200"/>
                <a:gd name="connsiteY340" fmla="*/ 615951 h 868681"/>
                <a:gd name="connsiteX341" fmla="*/ 808989 w 1219200"/>
                <a:gd name="connsiteY341" fmla="*/ 684531 h 868681"/>
                <a:gd name="connsiteX342" fmla="*/ 786765 w 1219200"/>
                <a:gd name="connsiteY342" fmla="*/ 684531 h 868681"/>
                <a:gd name="connsiteX343" fmla="*/ 786765 w 1219200"/>
                <a:gd name="connsiteY343" fmla="*/ 615951 h 868681"/>
                <a:gd name="connsiteX344" fmla="*/ 775970 w 1219200"/>
                <a:gd name="connsiteY344" fmla="*/ 615951 h 868681"/>
                <a:gd name="connsiteX345" fmla="*/ 775970 w 1219200"/>
                <a:gd name="connsiteY345" fmla="*/ 594361 h 868681"/>
                <a:gd name="connsiteX346" fmla="*/ 786765 w 1219200"/>
                <a:gd name="connsiteY346" fmla="*/ 594361 h 868681"/>
                <a:gd name="connsiteX347" fmla="*/ 786765 w 1219200"/>
                <a:gd name="connsiteY347" fmla="*/ 583566 h 868681"/>
                <a:gd name="connsiteX348" fmla="*/ 814070 w 1219200"/>
                <a:gd name="connsiteY348" fmla="*/ 560071 h 868681"/>
                <a:gd name="connsiteX349" fmla="*/ 957579 w 1219200"/>
                <a:gd name="connsiteY349" fmla="*/ 559436 h 868681"/>
                <a:gd name="connsiteX350" fmla="*/ 957579 w 1219200"/>
                <a:gd name="connsiteY350" fmla="*/ 594361 h 868681"/>
                <a:gd name="connsiteX351" fmla="*/ 979170 w 1219200"/>
                <a:gd name="connsiteY351" fmla="*/ 594361 h 868681"/>
                <a:gd name="connsiteX352" fmla="*/ 979170 w 1219200"/>
                <a:gd name="connsiteY352" fmla="*/ 615951 h 868681"/>
                <a:gd name="connsiteX353" fmla="*/ 957579 w 1219200"/>
                <a:gd name="connsiteY353" fmla="*/ 615951 h 868681"/>
                <a:gd name="connsiteX354" fmla="*/ 957579 w 1219200"/>
                <a:gd name="connsiteY354" fmla="*/ 654051 h 868681"/>
                <a:gd name="connsiteX355" fmla="*/ 966470 w 1219200"/>
                <a:gd name="connsiteY355" fmla="*/ 664846 h 868681"/>
                <a:gd name="connsiteX356" fmla="*/ 981075 w 1219200"/>
                <a:gd name="connsiteY356" fmla="*/ 658496 h 868681"/>
                <a:gd name="connsiteX357" fmla="*/ 977900 w 1219200"/>
                <a:gd name="connsiteY357" fmla="*/ 681356 h 868681"/>
                <a:gd name="connsiteX358" fmla="*/ 959485 w 1219200"/>
                <a:gd name="connsiteY358" fmla="*/ 686436 h 868681"/>
                <a:gd name="connsiteX359" fmla="*/ 935355 w 1219200"/>
                <a:gd name="connsiteY359" fmla="*/ 659766 h 868681"/>
                <a:gd name="connsiteX360" fmla="*/ 935355 w 1219200"/>
                <a:gd name="connsiteY360" fmla="*/ 615951 h 868681"/>
                <a:gd name="connsiteX361" fmla="*/ 922655 w 1219200"/>
                <a:gd name="connsiteY361" fmla="*/ 615951 h 868681"/>
                <a:gd name="connsiteX362" fmla="*/ 922655 w 1219200"/>
                <a:gd name="connsiteY362" fmla="*/ 594361 h 868681"/>
                <a:gd name="connsiteX363" fmla="*/ 935355 w 1219200"/>
                <a:gd name="connsiteY363" fmla="*/ 594361 h 868681"/>
                <a:gd name="connsiteX364" fmla="*/ 935355 w 1219200"/>
                <a:gd name="connsiteY364" fmla="*/ 570866 h 868681"/>
                <a:gd name="connsiteX365" fmla="*/ 586739 w 1219200"/>
                <a:gd name="connsiteY365" fmla="*/ 559436 h 868681"/>
                <a:gd name="connsiteX366" fmla="*/ 586739 w 1219200"/>
                <a:gd name="connsiteY366" fmla="*/ 600711 h 868681"/>
                <a:gd name="connsiteX367" fmla="*/ 607695 w 1219200"/>
                <a:gd name="connsiteY367" fmla="*/ 592456 h 868681"/>
                <a:gd name="connsiteX368" fmla="*/ 639445 w 1219200"/>
                <a:gd name="connsiteY368" fmla="*/ 633731 h 868681"/>
                <a:gd name="connsiteX369" fmla="*/ 639445 w 1219200"/>
                <a:gd name="connsiteY369" fmla="*/ 684531 h 868681"/>
                <a:gd name="connsiteX370" fmla="*/ 617220 w 1219200"/>
                <a:gd name="connsiteY370" fmla="*/ 684531 h 868681"/>
                <a:gd name="connsiteX371" fmla="*/ 617220 w 1219200"/>
                <a:gd name="connsiteY371" fmla="*/ 635636 h 868681"/>
                <a:gd name="connsiteX372" fmla="*/ 601980 w 1219200"/>
                <a:gd name="connsiteY372" fmla="*/ 614681 h 868681"/>
                <a:gd name="connsiteX373" fmla="*/ 586739 w 1219200"/>
                <a:gd name="connsiteY373" fmla="*/ 635001 h 868681"/>
                <a:gd name="connsiteX374" fmla="*/ 586739 w 1219200"/>
                <a:gd name="connsiteY374" fmla="*/ 684531 h 868681"/>
                <a:gd name="connsiteX375" fmla="*/ 564515 w 1219200"/>
                <a:gd name="connsiteY375" fmla="*/ 684531 h 868681"/>
                <a:gd name="connsiteX376" fmla="*/ 564515 w 1219200"/>
                <a:gd name="connsiteY376" fmla="*/ 570866 h 868681"/>
                <a:gd name="connsiteX377" fmla="*/ 529590 w 1219200"/>
                <a:gd name="connsiteY377" fmla="*/ 559436 h 868681"/>
                <a:gd name="connsiteX378" fmla="*/ 529590 w 1219200"/>
                <a:gd name="connsiteY378" fmla="*/ 594361 h 868681"/>
                <a:gd name="connsiteX379" fmla="*/ 550545 w 1219200"/>
                <a:gd name="connsiteY379" fmla="*/ 594361 h 868681"/>
                <a:gd name="connsiteX380" fmla="*/ 550545 w 1219200"/>
                <a:gd name="connsiteY380" fmla="*/ 615951 h 868681"/>
                <a:gd name="connsiteX381" fmla="*/ 529590 w 1219200"/>
                <a:gd name="connsiteY381" fmla="*/ 615951 h 868681"/>
                <a:gd name="connsiteX382" fmla="*/ 529590 w 1219200"/>
                <a:gd name="connsiteY382" fmla="*/ 654051 h 868681"/>
                <a:gd name="connsiteX383" fmla="*/ 538480 w 1219200"/>
                <a:gd name="connsiteY383" fmla="*/ 664846 h 868681"/>
                <a:gd name="connsiteX384" fmla="*/ 553084 w 1219200"/>
                <a:gd name="connsiteY384" fmla="*/ 658496 h 868681"/>
                <a:gd name="connsiteX385" fmla="*/ 549909 w 1219200"/>
                <a:gd name="connsiteY385" fmla="*/ 681356 h 868681"/>
                <a:gd name="connsiteX386" fmla="*/ 531495 w 1219200"/>
                <a:gd name="connsiteY386" fmla="*/ 686436 h 868681"/>
                <a:gd name="connsiteX387" fmla="*/ 507364 w 1219200"/>
                <a:gd name="connsiteY387" fmla="*/ 659766 h 868681"/>
                <a:gd name="connsiteX388" fmla="*/ 507364 w 1219200"/>
                <a:gd name="connsiteY388" fmla="*/ 615951 h 868681"/>
                <a:gd name="connsiteX389" fmla="*/ 491489 w 1219200"/>
                <a:gd name="connsiteY389" fmla="*/ 615951 h 868681"/>
                <a:gd name="connsiteX390" fmla="*/ 491489 w 1219200"/>
                <a:gd name="connsiteY390" fmla="*/ 594361 h 868681"/>
                <a:gd name="connsiteX391" fmla="*/ 507364 w 1219200"/>
                <a:gd name="connsiteY391" fmla="*/ 594361 h 868681"/>
                <a:gd name="connsiteX392" fmla="*/ 507364 w 1219200"/>
                <a:gd name="connsiteY392" fmla="*/ 570866 h 868681"/>
                <a:gd name="connsiteX393" fmla="*/ 128269 w 1219200"/>
                <a:gd name="connsiteY393" fmla="*/ 559436 h 868681"/>
                <a:gd name="connsiteX394" fmla="*/ 128269 w 1219200"/>
                <a:gd name="connsiteY394" fmla="*/ 600711 h 868681"/>
                <a:gd name="connsiteX395" fmla="*/ 149224 w 1219200"/>
                <a:gd name="connsiteY395" fmla="*/ 592456 h 868681"/>
                <a:gd name="connsiteX396" fmla="*/ 180974 w 1219200"/>
                <a:gd name="connsiteY396" fmla="*/ 633731 h 868681"/>
                <a:gd name="connsiteX397" fmla="*/ 180974 w 1219200"/>
                <a:gd name="connsiteY397" fmla="*/ 684531 h 868681"/>
                <a:gd name="connsiteX398" fmla="*/ 158750 w 1219200"/>
                <a:gd name="connsiteY398" fmla="*/ 684531 h 868681"/>
                <a:gd name="connsiteX399" fmla="*/ 158750 w 1219200"/>
                <a:gd name="connsiteY399" fmla="*/ 635636 h 868681"/>
                <a:gd name="connsiteX400" fmla="*/ 143510 w 1219200"/>
                <a:gd name="connsiteY400" fmla="*/ 614681 h 868681"/>
                <a:gd name="connsiteX401" fmla="*/ 128269 w 1219200"/>
                <a:gd name="connsiteY401" fmla="*/ 635001 h 868681"/>
                <a:gd name="connsiteX402" fmla="*/ 128269 w 1219200"/>
                <a:gd name="connsiteY402" fmla="*/ 684531 h 868681"/>
                <a:gd name="connsiteX403" fmla="*/ 106045 w 1219200"/>
                <a:gd name="connsiteY403" fmla="*/ 684531 h 868681"/>
                <a:gd name="connsiteX404" fmla="*/ 106045 w 1219200"/>
                <a:gd name="connsiteY404" fmla="*/ 570866 h 868681"/>
                <a:gd name="connsiteX405" fmla="*/ 269875 w 1219200"/>
                <a:gd name="connsiteY405" fmla="*/ 635 h 868681"/>
                <a:gd name="connsiteX406" fmla="*/ 501015 w 1219200"/>
                <a:gd name="connsiteY406" fmla="*/ 635 h 868681"/>
                <a:gd name="connsiteX407" fmla="*/ 554989 w 1219200"/>
                <a:gd name="connsiteY407" fmla="*/ 94615 h 868681"/>
                <a:gd name="connsiteX408" fmla="*/ 391795 w 1219200"/>
                <a:gd name="connsiteY408" fmla="*/ 94615 h 868681"/>
                <a:gd name="connsiteX409" fmla="*/ 391795 w 1219200"/>
                <a:gd name="connsiteY409" fmla="*/ 161925 h 868681"/>
                <a:gd name="connsiteX410" fmla="*/ 539114 w 1219200"/>
                <a:gd name="connsiteY410" fmla="*/ 161925 h 868681"/>
                <a:gd name="connsiteX411" fmla="*/ 539114 w 1219200"/>
                <a:gd name="connsiteY411" fmla="*/ 247650 h 868681"/>
                <a:gd name="connsiteX412" fmla="*/ 391795 w 1219200"/>
                <a:gd name="connsiteY412" fmla="*/ 247650 h 868681"/>
                <a:gd name="connsiteX413" fmla="*/ 391795 w 1219200"/>
                <a:gd name="connsiteY413" fmla="*/ 314325 h 868681"/>
                <a:gd name="connsiteX414" fmla="*/ 595629 w 1219200"/>
                <a:gd name="connsiteY414" fmla="*/ 314325 h 868681"/>
                <a:gd name="connsiteX415" fmla="*/ 595629 w 1219200"/>
                <a:gd name="connsiteY415" fmla="*/ 408305 h 868681"/>
                <a:gd name="connsiteX416" fmla="*/ 269875 w 1219200"/>
                <a:gd name="connsiteY416" fmla="*/ 408305 h 868681"/>
                <a:gd name="connsiteX417" fmla="*/ 539114 w 1219200"/>
                <a:gd name="connsiteY417" fmla="*/ 0 h 868681"/>
                <a:gd name="connsiteX418" fmla="*/ 674370 w 1219200"/>
                <a:gd name="connsiteY418" fmla="*/ 0 h 868681"/>
                <a:gd name="connsiteX419" fmla="*/ 743584 w 1219200"/>
                <a:gd name="connsiteY419" fmla="*/ 132715 h 868681"/>
                <a:gd name="connsiteX420" fmla="*/ 812799 w 1219200"/>
                <a:gd name="connsiteY420" fmla="*/ 0 h 868681"/>
                <a:gd name="connsiteX421" fmla="*/ 946150 w 1219200"/>
                <a:gd name="connsiteY421" fmla="*/ 0 h 868681"/>
                <a:gd name="connsiteX422" fmla="*/ 803275 w 1219200"/>
                <a:gd name="connsiteY422" fmla="*/ 246380 h 868681"/>
                <a:gd name="connsiteX423" fmla="*/ 803275 w 1219200"/>
                <a:gd name="connsiteY423" fmla="*/ 407670 h 868681"/>
                <a:gd name="connsiteX424" fmla="*/ 681355 w 1219200"/>
                <a:gd name="connsiteY424" fmla="*/ 407670 h 868681"/>
                <a:gd name="connsiteX425" fmla="*/ 681355 w 1219200"/>
                <a:gd name="connsiteY425" fmla="*/ 246380 h 868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</a:cxnLst>
              <a:rect l="l" t="t" r="r" b="b"/>
              <a:pathLst>
                <a:path w="1219200" h="868681">
                  <a:moveTo>
                    <a:pt x="245110" y="839471"/>
                  </a:moveTo>
                  <a:lnTo>
                    <a:pt x="246379" y="839471"/>
                  </a:lnTo>
                  <a:lnTo>
                    <a:pt x="245041" y="839979"/>
                  </a:lnTo>
                  <a:close/>
                  <a:moveTo>
                    <a:pt x="522605" y="796926"/>
                  </a:moveTo>
                  <a:cubicBezTo>
                    <a:pt x="509905" y="796926"/>
                    <a:pt x="504189" y="807721"/>
                    <a:pt x="504189" y="821691"/>
                  </a:cubicBezTo>
                  <a:cubicBezTo>
                    <a:pt x="504189" y="831216"/>
                    <a:pt x="508000" y="845821"/>
                    <a:pt x="522605" y="845821"/>
                  </a:cubicBezTo>
                  <a:cubicBezTo>
                    <a:pt x="537845" y="845821"/>
                    <a:pt x="541019" y="831851"/>
                    <a:pt x="541019" y="821691"/>
                  </a:cubicBezTo>
                  <a:cubicBezTo>
                    <a:pt x="541019" y="807721"/>
                    <a:pt x="535305" y="796926"/>
                    <a:pt x="522605" y="796926"/>
                  </a:cubicBezTo>
                  <a:close/>
                  <a:moveTo>
                    <a:pt x="817245" y="796291"/>
                  </a:moveTo>
                  <a:cubicBezTo>
                    <a:pt x="803909" y="796291"/>
                    <a:pt x="800735" y="807086"/>
                    <a:pt x="800735" y="819786"/>
                  </a:cubicBezTo>
                  <a:cubicBezTo>
                    <a:pt x="800735" y="834391"/>
                    <a:pt x="805180" y="846456"/>
                    <a:pt x="817879" y="846456"/>
                  </a:cubicBezTo>
                  <a:cubicBezTo>
                    <a:pt x="824230" y="846456"/>
                    <a:pt x="828674" y="843281"/>
                    <a:pt x="833754" y="838836"/>
                  </a:cubicBezTo>
                  <a:lnTo>
                    <a:pt x="833754" y="838201"/>
                  </a:lnTo>
                  <a:lnTo>
                    <a:pt x="833754" y="803911"/>
                  </a:lnTo>
                  <a:cubicBezTo>
                    <a:pt x="828674" y="798831"/>
                    <a:pt x="824230" y="796291"/>
                    <a:pt x="817245" y="796291"/>
                  </a:cubicBezTo>
                  <a:close/>
                  <a:moveTo>
                    <a:pt x="1179195" y="794386"/>
                  </a:moveTo>
                  <a:cubicBezTo>
                    <a:pt x="1168400" y="794386"/>
                    <a:pt x="1163954" y="803911"/>
                    <a:pt x="1163320" y="811531"/>
                  </a:cubicBezTo>
                  <a:lnTo>
                    <a:pt x="1163954" y="811531"/>
                  </a:lnTo>
                  <a:lnTo>
                    <a:pt x="1195704" y="811531"/>
                  </a:lnTo>
                  <a:cubicBezTo>
                    <a:pt x="1195070" y="801371"/>
                    <a:pt x="1188720" y="794386"/>
                    <a:pt x="1179195" y="794386"/>
                  </a:cubicBezTo>
                  <a:close/>
                  <a:moveTo>
                    <a:pt x="909320" y="794386"/>
                  </a:moveTo>
                  <a:cubicBezTo>
                    <a:pt x="898525" y="794386"/>
                    <a:pt x="894079" y="803911"/>
                    <a:pt x="893445" y="811531"/>
                  </a:cubicBezTo>
                  <a:lnTo>
                    <a:pt x="894079" y="811531"/>
                  </a:lnTo>
                  <a:lnTo>
                    <a:pt x="925829" y="811531"/>
                  </a:lnTo>
                  <a:cubicBezTo>
                    <a:pt x="925195" y="801371"/>
                    <a:pt x="918845" y="794386"/>
                    <a:pt x="909320" y="794386"/>
                  </a:cubicBezTo>
                  <a:close/>
                  <a:moveTo>
                    <a:pt x="737870" y="775971"/>
                  </a:moveTo>
                  <a:lnTo>
                    <a:pt x="761364" y="775971"/>
                  </a:lnTo>
                  <a:lnTo>
                    <a:pt x="761364" y="866141"/>
                  </a:lnTo>
                  <a:lnTo>
                    <a:pt x="737870" y="866141"/>
                  </a:lnTo>
                  <a:close/>
                  <a:moveTo>
                    <a:pt x="143510" y="775971"/>
                  </a:moveTo>
                  <a:lnTo>
                    <a:pt x="167004" y="775971"/>
                  </a:lnTo>
                  <a:lnTo>
                    <a:pt x="167004" y="866141"/>
                  </a:lnTo>
                  <a:lnTo>
                    <a:pt x="143510" y="866141"/>
                  </a:lnTo>
                  <a:close/>
                  <a:moveTo>
                    <a:pt x="635" y="775971"/>
                  </a:moveTo>
                  <a:lnTo>
                    <a:pt x="26670" y="775971"/>
                  </a:lnTo>
                  <a:lnTo>
                    <a:pt x="40004" y="828041"/>
                  </a:lnTo>
                  <a:lnTo>
                    <a:pt x="55245" y="775971"/>
                  </a:lnTo>
                  <a:lnTo>
                    <a:pt x="76200" y="775971"/>
                  </a:lnTo>
                  <a:lnTo>
                    <a:pt x="91439" y="828041"/>
                  </a:lnTo>
                  <a:lnTo>
                    <a:pt x="105409" y="775971"/>
                  </a:lnTo>
                  <a:lnTo>
                    <a:pt x="130810" y="775971"/>
                  </a:lnTo>
                  <a:lnTo>
                    <a:pt x="102235" y="866141"/>
                  </a:lnTo>
                  <a:lnTo>
                    <a:pt x="80644" y="866141"/>
                  </a:lnTo>
                  <a:lnTo>
                    <a:pt x="65405" y="811531"/>
                  </a:lnTo>
                  <a:lnTo>
                    <a:pt x="50165" y="866141"/>
                  </a:lnTo>
                  <a:lnTo>
                    <a:pt x="28575" y="866141"/>
                  </a:lnTo>
                  <a:close/>
                  <a:moveTo>
                    <a:pt x="1181099" y="774066"/>
                  </a:moveTo>
                  <a:cubicBezTo>
                    <a:pt x="1204595" y="774066"/>
                    <a:pt x="1219200" y="795021"/>
                    <a:pt x="1219200" y="821056"/>
                  </a:cubicBezTo>
                  <a:lnTo>
                    <a:pt x="1218564" y="821056"/>
                  </a:lnTo>
                  <a:cubicBezTo>
                    <a:pt x="1218564" y="821056"/>
                    <a:pt x="1218564" y="827406"/>
                    <a:pt x="1218564" y="828676"/>
                  </a:cubicBezTo>
                  <a:lnTo>
                    <a:pt x="1163954" y="828676"/>
                  </a:lnTo>
                  <a:cubicBezTo>
                    <a:pt x="1165224" y="841376"/>
                    <a:pt x="1173480" y="846456"/>
                    <a:pt x="1183004" y="846456"/>
                  </a:cubicBezTo>
                  <a:cubicBezTo>
                    <a:pt x="1188720" y="846456"/>
                    <a:pt x="1193799" y="844551"/>
                    <a:pt x="1198879" y="840106"/>
                  </a:cubicBezTo>
                  <a:lnTo>
                    <a:pt x="1214754" y="853441"/>
                  </a:lnTo>
                  <a:cubicBezTo>
                    <a:pt x="1206500" y="864236"/>
                    <a:pt x="1193799" y="868046"/>
                    <a:pt x="1182370" y="868046"/>
                  </a:cubicBezTo>
                  <a:cubicBezTo>
                    <a:pt x="1156335" y="868046"/>
                    <a:pt x="1141095" y="847726"/>
                    <a:pt x="1141095" y="821056"/>
                  </a:cubicBezTo>
                  <a:cubicBezTo>
                    <a:pt x="1141095" y="792481"/>
                    <a:pt x="1158875" y="774066"/>
                    <a:pt x="1181099" y="774066"/>
                  </a:cubicBezTo>
                  <a:close/>
                  <a:moveTo>
                    <a:pt x="1097915" y="774066"/>
                  </a:moveTo>
                  <a:cubicBezTo>
                    <a:pt x="1113790" y="774066"/>
                    <a:pt x="1125220" y="781051"/>
                    <a:pt x="1133474" y="793751"/>
                  </a:cubicBezTo>
                  <a:lnTo>
                    <a:pt x="1118235" y="808991"/>
                  </a:lnTo>
                  <a:cubicBezTo>
                    <a:pt x="1113155" y="802006"/>
                    <a:pt x="1107439" y="796291"/>
                    <a:pt x="1097915" y="796291"/>
                  </a:cubicBezTo>
                  <a:cubicBezTo>
                    <a:pt x="1085215" y="796291"/>
                    <a:pt x="1078864" y="807086"/>
                    <a:pt x="1078864" y="820421"/>
                  </a:cubicBezTo>
                  <a:cubicBezTo>
                    <a:pt x="1078864" y="833121"/>
                    <a:pt x="1084579" y="845186"/>
                    <a:pt x="1097915" y="845186"/>
                  </a:cubicBezTo>
                  <a:cubicBezTo>
                    <a:pt x="1106170" y="845186"/>
                    <a:pt x="1113155" y="840741"/>
                    <a:pt x="1118235" y="833756"/>
                  </a:cubicBezTo>
                  <a:lnTo>
                    <a:pt x="1118870" y="834391"/>
                  </a:lnTo>
                  <a:lnTo>
                    <a:pt x="1133474" y="848361"/>
                  </a:lnTo>
                  <a:cubicBezTo>
                    <a:pt x="1125855" y="857886"/>
                    <a:pt x="1115060" y="868046"/>
                    <a:pt x="1097280" y="868046"/>
                  </a:cubicBezTo>
                  <a:cubicBezTo>
                    <a:pt x="1072515" y="868046"/>
                    <a:pt x="1054735" y="848361"/>
                    <a:pt x="1054735" y="821056"/>
                  </a:cubicBezTo>
                  <a:cubicBezTo>
                    <a:pt x="1054735" y="796291"/>
                    <a:pt x="1069974" y="774066"/>
                    <a:pt x="1097915" y="774066"/>
                  </a:cubicBezTo>
                  <a:close/>
                  <a:moveTo>
                    <a:pt x="1009015" y="774066"/>
                  </a:moveTo>
                  <a:cubicBezTo>
                    <a:pt x="1033144" y="774066"/>
                    <a:pt x="1041400" y="793116"/>
                    <a:pt x="1041400" y="815341"/>
                  </a:cubicBezTo>
                  <a:lnTo>
                    <a:pt x="1041400" y="866141"/>
                  </a:lnTo>
                  <a:lnTo>
                    <a:pt x="1017905" y="866141"/>
                  </a:lnTo>
                  <a:lnTo>
                    <a:pt x="1017905" y="817246"/>
                  </a:lnTo>
                  <a:cubicBezTo>
                    <a:pt x="1017905" y="804546"/>
                    <a:pt x="1014730" y="796291"/>
                    <a:pt x="1002665" y="796291"/>
                  </a:cubicBezTo>
                  <a:cubicBezTo>
                    <a:pt x="990599" y="796291"/>
                    <a:pt x="986790" y="803276"/>
                    <a:pt x="986790" y="816611"/>
                  </a:cubicBezTo>
                  <a:lnTo>
                    <a:pt x="986790" y="866141"/>
                  </a:lnTo>
                  <a:lnTo>
                    <a:pt x="963295" y="866141"/>
                  </a:lnTo>
                  <a:lnTo>
                    <a:pt x="963295" y="775971"/>
                  </a:lnTo>
                  <a:lnTo>
                    <a:pt x="986790" y="775971"/>
                  </a:lnTo>
                  <a:lnTo>
                    <a:pt x="986790" y="782321"/>
                  </a:lnTo>
                  <a:cubicBezTo>
                    <a:pt x="991870" y="777241"/>
                    <a:pt x="998855" y="774066"/>
                    <a:pt x="1009015" y="774066"/>
                  </a:cubicBezTo>
                  <a:close/>
                  <a:moveTo>
                    <a:pt x="911224" y="774066"/>
                  </a:moveTo>
                  <a:cubicBezTo>
                    <a:pt x="934720" y="774066"/>
                    <a:pt x="949325" y="795021"/>
                    <a:pt x="949325" y="821056"/>
                  </a:cubicBezTo>
                  <a:lnTo>
                    <a:pt x="948689" y="821056"/>
                  </a:lnTo>
                  <a:cubicBezTo>
                    <a:pt x="948689" y="821056"/>
                    <a:pt x="948689" y="827406"/>
                    <a:pt x="948689" y="828676"/>
                  </a:cubicBezTo>
                  <a:lnTo>
                    <a:pt x="894079" y="828676"/>
                  </a:lnTo>
                  <a:cubicBezTo>
                    <a:pt x="895349" y="841376"/>
                    <a:pt x="903605" y="846456"/>
                    <a:pt x="913129" y="846456"/>
                  </a:cubicBezTo>
                  <a:cubicBezTo>
                    <a:pt x="918845" y="846456"/>
                    <a:pt x="923924" y="844551"/>
                    <a:pt x="929004" y="840106"/>
                  </a:cubicBezTo>
                  <a:lnTo>
                    <a:pt x="944879" y="853441"/>
                  </a:lnTo>
                  <a:cubicBezTo>
                    <a:pt x="936625" y="864236"/>
                    <a:pt x="923924" y="868046"/>
                    <a:pt x="912495" y="868046"/>
                  </a:cubicBezTo>
                  <a:cubicBezTo>
                    <a:pt x="886459" y="868046"/>
                    <a:pt x="871220" y="847726"/>
                    <a:pt x="871220" y="821056"/>
                  </a:cubicBezTo>
                  <a:cubicBezTo>
                    <a:pt x="871220" y="792481"/>
                    <a:pt x="889000" y="774066"/>
                    <a:pt x="911224" y="774066"/>
                  </a:cubicBezTo>
                  <a:close/>
                  <a:moveTo>
                    <a:pt x="623570" y="774066"/>
                  </a:moveTo>
                  <a:cubicBezTo>
                    <a:pt x="647700" y="774066"/>
                    <a:pt x="655954" y="793116"/>
                    <a:pt x="655954" y="815341"/>
                  </a:cubicBezTo>
                  <a:lnTo>
                    <a:pt x="655954" y="866141"/>
                  </a:lnTo>
                  <a:lnTo>
                    <a:pt x="632459" y="866141"/>
                  </a:lnTo>
                  <a:lnTo>
                    <a:pt x="632459" y="817246"/>
                  </a:lnTo>
                  <a:cubicBezTo>
                    <a:pt x="632459" y="804546"/>
                    <a:pt x="629284" y="796291"/>
                    <a:pt x="617220" y="796291"/>
                  </a:cubicBezTo>
                  <a:cubicBezTo>
                    <a:pt x="605155" y="796291"/>
                    <a:pt x="601345" y="803276"/>
                    <a:pt x="601345" y="816611"/>
                  </a:cubicBezTo>
                  <a:lnTo>
                    <a:pt x="601345" y="866141"/>
                  </a:lnTo>
                  <a:lnTo>
                    <a:pt x="577849" y="866141"/>
                  </a:lnTo>
                  <a:lnTo>
                    <a:pt x="577849" y="775971"/>
                  </a:lnTo>
                  <a:lnTo>
                    <a:pt x="601345" y="775971"/>
                  </a:lnTo>
                  <a:lnTo>
                    <a:pt x="601345" y="782321"/>
                  </a:lnTo>
                  <a:cubicBezTo>
                    <a:pt x="606424" y="777241"/>
                    <a:pt x="613409" y="774066"/>
                    <a:pt x="623570" y="774066"/>
                  </a:cubicBezTo>
                  <a:close/>
                  <a:moveTo>
                    <a:pt x="522605" y="774066"/>
                  </a:moveTo>
                  <a:cubicBezTo>
                    <a:pt x="548004" y="774066"/>
                    <a:pt x="564515" y="793116"/>
                    <a:pt x="564515" y="821056"/>
                  </a:cubicBezTo>
                  <a:cubicBezTo>
                    <a:pt x="564515" y="848996"/>
                    <a:pt x="546735" y="868046"/>
                    <a:pt x="522605" y="868046"/>
                  </a:cubicBezTo>
                  <a:cubicBezTo>
                    <a:pt x="498474" y="868046"/>
                    <a:pt x="480695" y="848996"/>
                    <a:pt x="480695" y="821056"/>
                  </a:cubicBezTo>
                  <a:cubicBezTo>
                    <a:pt x="480695" y="794386"/>
                    <a:pt x="496570" y="774066"/>
                    <a:pt x="522605" y="774066"/>
                  </a:cubicBezTo>
                  <a:close/>
                  <a:moveTo>
                    <a:pt x="436879" y="774066"/>
                  </a:moveTo>
                  <a:cubicBezTo>
                    <a:pt x="452754" y="774066"/>
                    <a:pt x="464185" y="781051"/>
                    <a:pt x="472439" y="793751"/>
                  </a:cubicBezTo>
                  <a:lnTo>
                    <a:pt x="457200" y="808991"/>
                  </a:lnTo>
                  <a:cubicBezTo>
                    <a:pt x="452120" y="802006"/>
                    <a:pt x="446405" y="796291"/>
                    <a:pt x="436879" y="796291"/>
                  </a:cubicBezTo>
                  <a:cubicBezTo>
                    <a:pt x="424180" y="796291"/>
                    <a:pt x="417829" y="807086"/>
                    <a:pt x="417829" y="820421"/>
                  </a:cubicBezTo>
                  <a:cubicBezTo>
                    <a:pt x="417829" y="833121"/>
                    <a:pt x="423545" y="845186"/>
                    <a:pt x="436879" y="845186"/>
                  </a:cubicBezTo>
                  <a:cubicBezTo>
                    <a:pt x="445135" y="845186"/>
                    <a:pt x="452120" y="840741"/>
                    <a:pt x="457200" y="833756"/>
                  </a:cubicBezTo>
                  <a:lnTo>
                    <a:pt x="457834" y="834391"/>
                  </a:lnTo>
                  <a:lnTo>
                    <a:pt x="472439" y="848361"/>
                  </a:lnTo>
                  <a:cubicBezTo>
                    <a:pt x="464820" y="857886"/>
                    <a:pt x="454025" y="868046"/>
                    <a:pt x="436245" y="868046"/>
                  </a:cubicBezTo>
                  <a:cubicBezTo>
                    <a:pt x="411480" y="868046"/>
                    <a:pt x="393700" y="848361"/>
                    <a:pt x="393700" y="821056"/>
                  </a:cubicBezTo>
                  <a:cubicBezTo>
                    <a:pt x="393700" y="796291"/>
                    <a:pt x="408939" y="774066"/>
                    <a:pt x="436879" y="774066"/>
                  </a:cubicBezTo>
                  <a:close/>
                  <a:moveTo>
                    <a:pt x="219075" y="742316"/>
                  </a:moveTo>
                  <a:lnTo>
                    <a:pt x="219075" y="777241"/>
                  </a:lnTo>
                  <a:lnTo>
                    <a:pt x="245110" y="777241"/>
                  </a:lnTo>
                  <a:lnTo>
                    <a:pt x="245110" y="798831"/>
                  </a:lnTo>
                  <a:lnTo>
                    <a:pt x="219075" y="798831"/>
                  </a:lnTo>
                  <a:lnTo>
                    <a:pt x="219075" y="835661"/>
                  </a:lnTo>
                  <a:cubicBezTo>
                    <a:pt x="219075" y="843916"/>
                    <a:pt x="222250" y="846456"/>
                    <a:pt x="227965" y="846456"/>
                  </a:cubicBezTo>
                  <a:lnTo>
                    <a:pt x="245041" y="839979"/>
                  </a:lnTo>
                  <a:lnTo>
                    <a:pt x="241935" y="862966"/>
                  </a:lnTo>
                  <a:cubicBezTo>
                    <a:pt x="236855" y="866776"/>
                    <a:pt x="225424" y="868681"/>
                    <a:pt x="219709" y="868681"/>
                  </a:cubicBezTo>
                  <a:cubicBezTo>
                    <a:pt x="205739" y="868681"/>
                    <a:pt x="195579" y="857251"/>
                    <a:pt x="195579" y="842011"/>
                  </a:cubicBezTo>
                  <a:lnTo>
                    <a:pt x="195579" y="798831"/>
                  </a:lnTo>
                  <a:lnTo>
                    <a:pt x="179704" y="798831"/>
                  </a:lnTo>
                  <a:lnTo>
                    <a:pt x="179704" y="777241"/>
                  </a:lnTo>
                  <a:lnTo>
                    <a:pt x="195579" y="777241"/>
                  </a:lnTo>
                  <a:lnTo>
                    <a:pt x="195579" y="753746"/>
                  </a:lnTo>
                  <a:close/>
                  <a:moveTo>
                    <a:pt x="749935" y="741681"/>
                  </a:moveTo>
                  <a:cubicBezTo>
                    <a:pt x="757555" y="741681"/>
                    <a:pt x="763269" y="747396"/>
                    <a:pt x="763269" y="755016"/>
                  </a:cubicBezTo>
                  <a:cubicBezTo>
                    <a:pt x="763269" y="762636"/>
                    <a:pt x="757555" y="768351"/>
                    <a:pt x="749935" y="768351"/>
                  </a:cubicBezTo>
                  <a:cubicBezTo>
                    <a:pt x="742314" y="768351"/>
                    <a:pt x="736599" y="762636"/>
                    <a:pt x="736599" y="755016"/>
                  </a:cubicBezTo>
                  <a:cubicBezTo>
                    <a:pt x="736599" y="747396"/>
                    <a:pt x="742314" y="741681"/>
                    <a:pt x="749935" y="741681"/>
                  </a:cubicBezTo>
                  <a:close/>
                  <a:moveTo>
                    <a:pt x="154939" y="741681"/>
                  </a:moveTo>
                  <a:cubicBezTo>
                    <a:pt x="162560" y="741681"/>
                    <a:pt x="168275" y="747396"/>
                    <a:pt x="168275" y="755016"/>
                  </a:cubicBezTo>
                  <a:cubicBezTo>
                    <a:pt x="168275" y="762636"/>
                    <a:pt x="162560" y="768351"/>
                    <a:pt x="154939" y="768351"/>
                  </a:cubicBezTo>
                  <a:cubicBezTo>
                    <a:pt x="147320" y="768351"/>
                    <a:pt x="141605" y="762636"/>
                    <a:pt x="141605" y="755016"/>
                  </a:cubicBezTo>
                  <a:cubicBezTo>
                    <a:pt x="141605" y="747396"/>
                    <a:pt x="147320" y="741681"/>
                    <a:pt x="154939" y="741681"/>
                  </a:cubicBezTo>
                  <a:close/>
                  <a:moveTo>
                    <a:pt x="856614" y="741046"/>
                  </a:moveTo>
                  <a:lnTo>
                    <a:pt x="856614" y="866141"/>
                  </a:lnTo>
                  <a:lnTo>
                    <a:pt x="833120" y="866141"/>
                  </a:lnTo>
                  <a:lnTo>
                    <a:pt x="833120" y="860426"/>
                  </a:lnTo>
                  <a:cubicBezTo>
                    <a:pt x="825500" y="866141"/>
                    <a:pt x="821055" y="868046"/>
                    <a:pt x="812799" y="868046"/>
                  </a:cubicBezTo>
                  <a:cubicBezTo>
                    <a:pt x="786765" y="868046"/>
                    <a:pt x="775970" y="845821"/>
                    <a:pt x="775970" y="820421"/>
                  </a:cubicBezTo>
                  <a:cubicBezTo>
                    <a:pt x="775970" y="793116"/>
                    <a:pt x="788670" y="774066"/>
                    <a:pt x="812165" y="774066"/>
                  </a:cubicBezTo>
                  <a:cubicBezTo>
                    <a:pt x="819784" y="774066"/>
                    <a:pt x="827405" y="775971"/>
                    <a:pt x="833120" y="781051"/>
                  </a:cubicBezTo>
                  <a:lnTo>
                    <a:pt x="833120" y="752476"/>
                  </a:lnTo>
                  <a:close/>
                  <a:moveTo>
                    <a:pt x="707390" y="741046"/>
                  </a:moveTo>
                  <a:cubicBezTo>
                    <a:pt x="712470" y="741046"/>
                    <a:pt x="719454" y="741046"/>
                    <a:pt x="724534" y="743586"/>
                  </a:cubicBezTo>
                  <a:lnTo>
                    <a:pt x="724534" y="744221"/>
                  </a:lnTo>
                  <a:lnTo>
                    <a:pt x="724534" y="762636"/>
                  </a:lnTo>
                  <a:cubicBezTo>
                    <a:pt x="721360" y="761366"/>
                    <a:pt x="716280" y="760731"/>
                    <a:pt x="713105" y="760731"/>
                  </a:cubicBezTo>
                  <a:cubicBezTo>
                    <a:pt x="706120" y="760731"/>
                    <a:pt x="703579" y="762636"/>
                    <a:pt x="703579" y="768351"/>
                  </a:cubicBezTo>
                  <a:lnTo>
                    <a:pt x="703579" y="775336"/>
                  </a:lnTo>
                  <a:lnTo>
                    <a:pt x="722629" y="775336"/>
                  </a:lnTo>
                  <a:lnTo>
                    <a:pt x="722629" y="796926"/>
                  </a:lnTo>
                  <a:lnTo>
                    <a:pt x="703579" y="796926"/>
                  </a:lnTo>
                  <a:lnTo>
                    <a:pt x="703579" y="865506"/>
                  </a:lnTo>
                  <a:lnTo>
                    <a:pt x="680084" y="865506"/>
                  </a:lnTo>
                  <a:lnTo>
                    <a:pt x="680084" y="796926"/>
                  </a:lnTo>
                  <a:lnTo>
                    <a:pt x="667385" y="796926"/>
                  </a:lnTo>
                  <a:lnTo>
                    <a:pt x="667385" y="775336"/>
                  </a:lnTo>
                  <a:lnTo>
                    <a:pt x="680084" y="775336"/>
                  </a:lnTo>
                  <a:lnTo>
                    <a:pt x="680084" y="764541"/>
                  </a:lnTo>
                  <a:cubicBezTo>
                    <a:pt x="680084" y="748031"/>
                    <a:pt x="690879" y="741046"/>
                    <a:pt x="707390" y="741046"/>
                  </a:cubicBezTo>
                  <a:close/>
                  <a:moveTo>
                    <a:pt x="282575" y="741046"/>
                  </a:moveTo>
                  <a:lnTo>
                    <a:pt x="282575" y="782321"/>
                  </a:lnTo>
                  <a:cubicBezTo>
                    <a:pt x="287019" y="777241"/>
                    <a:pt x="295909" y="774066"/>
                    <a:pt x="304799" y="774066"/>
                  </a:cubicBezTo>
                  <a:cubicBezTo>
                    <a:pt x="328295" y="774066"/>
                    <a:pt x="336549" y="792481"/>
                    <a:pt x="336549" y="815341"/>
                  </a:cubicBezTo>
                  <a:lnTo>
                    <a:pt x="336549" y="866141"/>
                  </a:lnTo>
                  <a:lnTo>
                    <a:pt x="313689" y="866141"/>
                  </a:lnTo>
                  <a:lnTo>
                    <a:pt x="313689" y="817246"/>
                  </a:lnTo>
                  <a:cubicBezTo>
                    <a:pt x="313689" y="804546"/>
                    <a:pt x="310515" y="796291"/>
                    <a:pt x="298450" y="796291"/>
                  </a:cubicBezTo>
                  <a:cubicBezTo>
                    <a:pt x="286385" y="796291"/>
                    <a:pt x="282575" y="803276"/>
                    <a:pt x="282575" y="816611"/>
                  </a:cubicBezTo>
                  <a:lnTo>
                    <a:pt x="282575" y="866141"/>
                  </a:lnTo>
                  <a:lnTo>
                    <a:pt x="259079" y="866141"/>
                  </a:lnTo>
                  <a:lnTo>
                    <a:pt x="259079" y="752476"/>
                  </a:lnTo>
                  <a:close/>
                  <a:moveTo>
                    <a:pt x="92709" y="648336"/>
                  </a:moveTo>
                  <a:lnTo>
                    <a:pt x="92709" y="649606"/>
                  </a:lnTo>
                  <a:lnTo>
                    <a:pt x="92427" y="648959"/>
                  </a:lnTo>
                  <a:close/>
                  <a:moveTo>
                    <a:pt x="230504" y="643256"/>
                  </a:moveTo>
                  <a:cubicBezTo>
                    <a:pt x="220345" y="643256"/>
                    <a:pt x="215900" y="647701"/>
                    <a:pt x="215900" y="654686"/>
                  </a:cubicBezTo>
                  <a:cubicBezTo>
                    <a:pt x="215900" y="661671"/>
                    <a:pt x="220345" y="667386"/>
                    <a:pt x="228599" y="667386"/>
                  </a:cubicBezTo>
                  <a:cubicBezTo>
                    <a:pt x="233045" y="667386"/>
                    <a:pt x="240665" y="666116"/>
                    <a:pt x="245745" y="658496"/>
                  </a:cubicBezTo>
                  <a:lnTo>
                    <a:pt x="245745" y="647066"/>
                  </a:lnTo>
                  <a:cubicBezTo>
                    <a:pt x="241299" y="643891"/>
                    <a:pt x="234950" y="643256"/>
                    <a:pt x="230504" y="643256"/>
                  </a:cubicBezTo>
                  <a:close/>
                  <a:moveTo>
                    <a:pt x="321310" y="614046"/>
                  </a:moveTo>
                  <a:cubicBezTo>
                    <a:pt x="314959" y="614046"/>
                    <a:pt x="309879" y="617221"/>
                    <a:pt x="306704" y="622301"/>
                  </a:cubicBezTo>
                  <a:lnTo>
                    <a:pt x="306704" y="656591"/>
                  </a:lnTo>
                  <a:cubicBezTo>
                    <a:pt x="310515" y="661671"/>
                    <a:pt x="316230" y="664846"/>
                    <a:pt x="323215" y="664846"/>
                  </a:cubicBezTo>
                  <a:cubicBezTo>
                    <a:pt x="335915" y="664846"/>
                    <a:pt x="339090" y="653416"/>
                    <a:pt x="339090" y="640716"/>
                  </a:cubicBezTo>
                  <a:lnTo>
                    <a:pt x="338454" y="640716"/>
                  </a:lnTo>
                  <a:cubicBezTo>
                    <a:pt x="338454" y="627381"/>
                    <a:pt x="335280" y="614046"/>
                    <a:pt x="321310" y="614046"/>
                  </a:cubicBezTo>
                  <a:close/>
                  <a:moveTo>
                    <a:pt x="1179195" y="612776"/>
                  </a:moveTo>
                  <a:cubicBezTo>
                    <a:pt x="1168400" y="612776"/>
                    <a:pt x="1163954" y="622301"/>
                    <a:pt x="1163320" y="629921"/>
                  </a:cubicBezTo>
                  <a:lnTo>
                    <a:pt x="1163954" y="629921"/>
                  </a:lnTo>
                  <a:lnTo>
                    <a:pt x="1195704" y="629921"/>
                  </a:lnTo>
                  <a:cubicBezTo>
                    <a:pt x="1195070" y="619761"/>
                    <a:pt x="1188720" y="612776"/>
                    <a:pt x="1179195" y="612776"/>
                  </a:cubicBezTo>
                  <a:close/>
                  <a:moveTo>
                    <a:pt x="689610" y="612776"/>
                  </a:moveTo>
                  <a:cubicBezTo>
                    <a:pt x="678814" y="612776"/>
                    <a:pt x="674370" y="622301"/>
                    <a:pt x="673735" y="629921"/>
                  </a:cubicBezTo>
                  <a:lnTo>
                    <a:pt x="674370" y="629921"/>
                  </a:lnTo>
                  <a:lnTo>
                    <a:pt x="706120" y="629921"/>
                  </a:lnTo>
                  <a:cubicBezTo>
                    <a:pt x="705485" y="619761"/>
                    <a:pt x="699135" y="612776"/>
                    <a:pt x="689610" y="612776"/>
                  </a:cubicBezTo>
                  <a:close/>
                  <a:moveTo>
                    <a:pt x="410845" y="612776"/>
                  </a:moveTo>
                  <a:cubicBezTo>
                    <a:pt x="400685" y="612776"/>
                    <a:pt x="396239" y="622301"/>
                    <a:pt x="395605" y="629921"/>
                  </a:cubicBezTo>
                  <a:lnTo>
                    <a:pt x="427355" y="629921"/>
                  </a:lnTo>
                  <a:cubicBezTo>
                    <a:pt x="426084" y="619761"/>
                    <a:pt x="420370" y="612776"/>
                    <a:pt x="410845" y="612776"/>
                  </a:cubicBezTo>
                  <a:close/>
                  <a:moveTo>
                    <a:pt x="991870" y="594361"/>
                  </a:moveTo>
                  <a:lnTo>
                    <a:pt x="1014095" y="594361"/>
                  </a:lnTo>
                  <a:lnTo>
                    <a:pt x="1014095" y="643256"/>
                  </a:lnTo>
                  <a:cubicBezTo>
                    <a:pt x="1014095" y="655321"/>
                    <a:pt x="1016635" y="664846"/>
                    <a:pt x="1029334" y="664846"/>
                  </a:cubicBezTo>
                  <a:cubicBezTo>
                    <a:pt x="1042034" y="664846"/>
                    <a:pt x="1044575" y="655321"/>
                    <a:pt x="1044575" y="644526"/>
                  </a:cubicBezTo>
                  <a:lnTo>
                    <a:pt x="1044575" y="594996"/>
                  </a:lnTo>
                  <a:lnTo>
                    <a:pt x="1066799" y="594996"/>
                  </a:lnTo>
                  <a:lnTo>
                    <a:pt x="1066799" y="684531"/>
                  </a:lnTo>
                  <a:lnTo>
                    <a:pt x="1044575" y="684531"/>
                  </a:lnTo>
                  <a:lnTo>
                    <a:pt x="1044575" y="678181"/>
                  </a:lnTo>
                  <a:cubicBezTo>
                    <a:pt x="1039495" y="683896"/>
                    <a:pt x="1031875" y="686436"/>
                    <a:pt x="1023620" y="686436"/>
                  </a:cubicBezTo>
                  <a:cubicBezTo>
                    <a:pt x="1000125" y="686436"/>
                    <a:pt x="991870" y="669926"/>
                    <a:pt x="991870" y="645161"/>
                  </a:cubicBezTo>
                  <a:close/>
                  <a:moveTo>
                    <a:pt x="836295" y="594361"/>
                  </a:moveTo>
                  <a:lnTo>
                    <a:pt x="858519" y="594361"/>
                  </a:lnTo>
                  <a:lnTo>
                    <a:pt x="858519" y="643256"/>
                  </a:lnTo>
                  <a:cubicBezTo>
                    <a:pt x="858519" y="655321"/>
                    <a:pt x="861060" y="664846"/>
                    <a:pt x="873760" y="664846"/>
                  </a:cubicBezTo>
                  <a:cubicBezTo>
                    <a:pt x="886459" y="664846"/>
                    <a:pt x="889000" y="655321"/>
                    <a:pt x="889000" y="644526"/>
                  </a:cubicBezTo>
                  <a:lnTo>
                    <a:pt x="889000" y="594996"/>
                  </a:lnTo>
                  <a:lnTo>
                    <a:pt x="911224" y="594996"/>
                  </a:lnTo>
                  <a:lnTo>
                    <a:pt x="911224" y="684531"/>
                  </a:lnTo>
                  <a:lnTo>
                    <a:pt x="889000" y="684531"/>
                  </a:lnTo>
                  <a:lnTo>
                    <a:pt x="889000" y="678181"/>
                  </a:lnTo>
                  <a:cubicBezTo>
                    <a:pt x="883920" y="683896"/>
                    <a:pt x="876299" y="686436"/>
                    <a:pt x="868045" y="686436"/>
                  </a:cubicBezTo>
                  <a:cubicBezTo>
                    <a:pt x="844549" y="686436"/>
                    <a:pt x="836295" y="669926"/>
                    <a:pt x="836295" y="645161"/>
                  </a:cubicBezTo>
                  <a:close/>
                  <a:moveTo>
                    <a:pt x="1181099" y="592456"/>
                  </a:moveTo>
                  <a:cubicBezTo>
                    <a:pt x="1204595" y="592456"/>
                    <a:pt x="1219200" y="613411"/>
                    <a:pt x="1219200" y="639446"/>
                  </a:cubicBezTo>
                  <a:lnTo>
                    <a:pt x="1218564" y="639446"/>
                  </a:lnTo>
                  <a:cubicBezTo>
                    <a:pt x="1218564" y="639446"/>
                    <a:pt x="1218564" y="645796"/>
                    <a:pt x="1218564" y="647066"/>
                  </a:cubicBezTo>
                  <a:lnTo>
                    <a:pt x="1163954" y="647066"/>
                  </a:lnTo>
                  <a:cubicBezTo>
                    <a:pt x="1165224" y="659766"/>
                    <a:pt x="1173480" y="664846"/>
                    <a:pt x="1183004" y="664846"/>
                  </a:cubicBezTo>
                  <a:cubicBezTo>
                    <a:pt x="1188720" y="664846"/>
                    <a:pt x="1193799" y="662941"/>
                    <a:pt x="1198879" y="658496"/>
                  </a:cubicBezTo>
                  <a:lnTo>
                    <a:pt x="1214754" y="671831"/>
                  </a:lnTo>
                  <a:cubicBezTo>
                    <a:pt x="1206500" y="682626"/>
                    <a:pt x="1193799" y="686436"/>
                    <a:pt x="1182370" y="686436"/>
                  </a:cubicBezTo>
                  <a:cubicBezTo>
                    <a:pt x="1156335" y="686436"/>
                    <a:pt x="1141095" y="666116"/>
                    <a:pt x="1141095" y="639446"/>
                  </a:cubicBezTo>
                  <a:cubicBezTo>
                    <a:pt x="1141095" y="610871"/>
                    <a:pt x="1158875" y="592456"/>
                    <a:pt x="1181099" y="592456"/>
                  </a:cubicBezTo>
                  <a:close/>
                  <a:moveTo>
                    <a:pt x="691515" y="592456"/>
                  </a:moveTo>
                  <a:cubicBezTo>
                    <a:pt x="715010" y="592456"/>
                    <a:pt x="729614" y="613411"/>
                    <a:pt x="729614" y="639446"/>
                  </a:cubicBezTo>
                  <a:lnTo>
                    <a:pt x="728980" y="639446"/>
                  </a:lnTo>
                  <a:cubicBezTo>
                    <a:pt x="728980" y="639446"/>
                    <a:pt x="728980" y="645796"/>
                    <a:pt x="728980" y="647066"/>
                  </a:cubicBezTo>
                  <a:lnTo>
                    <a:pt x="674370" y="647066"/>
                  </a:lnTo>
                  <a:cubicBezTo>
                    <a:pt x="675640" y="659766"/>
                    <a:pt x="683894" y="664846"/>
                    <a:pt x="693420" y="664846"/>
                  </a:cubicBezTo>
                  <a:cubicBezTo>
                    <a:pt x="699135" y="664846"/>
                    <a:pt x="704215" y="662941"/>
                    <a:pt x="709295" y="658496"/>
                  </a:cubicBezTo>
                  <a:lnTo>
                    <a:pt x="725170" y="671831"/>
                  </a:lnTo>
                  <a:cubicBezTo>
                    <a:pt x="716915" y="682626"/>
                    <a:pt x="704215" y="686436"/>
                    <a:pt x="692784" y="686436"/>
                  </a:cubicBezTo>
                  <a:cubicBezTo>
                    <a:pt x="666750" y="686436"/>
                    <a:pt x="651510" y="666116"/>
                    <a:pt x="651510" y="639446"/>
                  </a:cubicBezTo>
                  <a:cubicBezTo>
                    <a:pt x="651510" y="610871"/>
                    <a:pt x="669290" y="592456"/>
                    <a:pt x="691515" y="592456"/>
                  </a:cubicBezTo>
                  <a:close/>
                  <a:moveTo>
                    <a:pt x="412114" y="592456"/>
                  </a:moveTo>
                  <a:cubicBezTo>
                    <a:pt x="437515" y="592456"/>
                    <a:pt x="448310" y="615316"/>
                    <a:pt x="448310" y="639446"/>
                  </a:cubicBezTo>
                  <a:cubicBezTo>
                    <a:pt x="448310" y="639446"/>
                    <a:pt x="448310" y="645796"/>
                    <a:pt x="448310" y="647066"/>
                  </a:cubicBezTo>
                  <a:lnTo>
                    <a:pt x="395605" y="647066"/>
                  </a:lnTo>
                  <a:cubicBezTo>
                    <a:pt x="396875" y="659766"/>
                    <a:pt x="405129" y="664846"/>
                    <a:pt x="415290" y="664846"/>
                  </a:cubicBezTo>
                  <a:cubicBezTo>
                    <a:pt x="421004" y="664846"/>
                    <a:pt x="426084" y="662941"/>
                    <a:pt x="430530" y="658496"/>
                  </a:cubicBezTo>
                  <a:lnTo>
                    <a:pt x="446405" y="671831"/>
                  </a:lnTo>
                  <a:cubicBezTo>
                    <a:pt x="438784" y="681991"/>
                    <a:pt x="425450" y="686436"/>
                    <a:pt x="413385" y="686436"/>
                  </a:cubicBezTo>
                  <a:cubicBezTo>
                    <a:pt x="387349" y="686436"/>
                    <a:pt x="372110" y="666116"/>
                    <a:pt x="372110" y="640081"/>
                  </a:cubicBezTo>
                  <a:cubicBezTo>
                    <a:pt x="372110" y="614046"/>
                    <a:pt x="388620" y="592456"/>
                    <a:pt x="412114" y="592456"/>
                  </a:cubicBezTo>
                  <a:close/>
                  <a:moveTo>
                    <a:pt x="326390" y="592456"/>
                  </a:moveTo>
                  <a:cubicBezTo>
                    <a:pt x="350519" y="592456"/>
                    <a:pt x="361314" y="615316"/>
                    <a:pt x="361314" y="639446"/>
                  </a:cubicBezTo>
                  <a:cubicBezTo>
                    <a:pt x="361314" y="662306"/>
                    <a:pt x="351790" y="686436"/>
                    <a:pt x="326390" y="686436"/>
                  </a:cubicBezTo>
                  <a:cubicBezTo>
                    <a:pt x="316230" y="686436"/>
                    <a:pt x="310515" y="682626"/>
                    <a:pt x="306070" y="678816"/>
                  </a:cubicBezTo>
                  <a:lnTo>
                    <a:pt x="306070" y="706121"/>
                  </a:lnTo>
                  <a:lnTo>
                    <a:pt x="283845" y="717551"/>
                  </a:lnTo>
                  <a:lnTo>
                    <a:pt x="283845" y="594361"/>
                  </a:lnTo>
                  <a:lnTo>
                    <a:pt x="306070" y="594361"/>
                  </a:lnTo>
                  <a:lnTo>
                    <a:pt x="306070" y="600711"/>
                  </a:lnTo>
                  <a:cubicBezTo>
                    <a:pt x="311784" y="595631"/>
                    <a:pt x="318135" y="592456"/>
                    <a:pt x="326390" y="592456"/>
                  </a:cubicBezTo>
                  <a:close/>
                  <a:moveTo>
                    <a:pt x="231775" y="592456"/>
                  </a:moveTo>
                  <a:cubicBezTo>
                    <a:pt x="254635" y="592456"/>
                    <a:pt x="268605" y="603251"/>
                    <a:pt x="268605" y="624206"/>
                  </a:cubicBezTo>
                  <a:lnTo>
                    <a:pt x="268605" y="684531"/>
                  </a:lnTo>
                  <a:lnTo>
                    <a:pt x="267970" y="684531"/>
                  </a:lnTo>
                  <a:lnTo>
                    <a:pt x="245745" y="684531"/>
                  </a:lnTo>
                  <a:lnTo>
                    <a:pt x="245745" y="678181"/>
                  </a:lnTo>
                  <a:cubicBezTo>
                    <a:pt x="240665" y="683261"/>
                    <a:pt x="233680" y="686436"/>
                    <a:pt x="224790" y="686436"/>
                  </a:cubicBezTo>
                  <a:cubicBezTo>
                    <a:pt x="207010" y="686436"/>
                    <a:pt x="193040" y="675006"/>
                    <a:pt x="193040" y="655321"/>
                  </a:cubicBezTo>
                  <a:cubicBezTo>
                    <a:pt x="193040" y="635636"/>
                    <a:pt x="206375" y="624841"/>
                    <a:pt x="227965" y="624841"/>
                  </a:cubicBezTo>
                  <a:cubicBezTo>
                    <a:pt x="233680" y="624841"/>
                    <a:pt x="239394" y="625476"/>
                    <a:pt x="245745" y="628651"/>
                  </a:cubicBezTo>
                  <a:lnTo>
                    <a:pt x="245745" y="623571"/>
                  </a:lnTo>
                  <a:cubicBezTo>
                    <a:pt x="245745" y="615316"/>
                    <a:pt x="240030" y="611506"/>
                    <a:pt x="230504" y="611506"/>
                  </a:cubicBezTo>
                  <a:cubicBezTo>
                    <a:pt x="223519" y="611506"/>
                    <a:pt x="216534" y="613411"/>
                    <a:pt x="209549" y="617221"/>
                  </a:cubicBezTo>
                  <a:lnTo>
                    <a:pt x="200659" y="601346"/>
                  </a:lnTo>
                  <a:cubicBezTo>
                    <a:pt x="210185" y="594996"/>
                    <a:pt x="219709" y="592456"/>
                    <a:pt x="231775" y="592456"/>
                  </a:cubicBezTo>
                  <a:close/>
                  <a:moveTo>
                    <a:pt x="1125855" y="591821"/>
                  </a:moveTo>
                  <a:cubicBezTo>
                    <a:pt x="1132204" y="591821"/>
                    <a:pt x="1137920" y="593726"/>
                    <a:pt x="1142364" y="598171"/>
                  </a:cubicBezTo>
                  <a:lnTo>
                    <a:pt x="1141730" y="598806"/>
                  </a:lnTo>
                  <a:lnTo>
                    <a:pt x="1132840" y="621031"/>
                  </a:lnTo>
                  <a:cubicBezTo>
                    <a:pt x="1129665" y="617856"/>
                    <a:pt x="1125220" y="615316"/>
                    <a:pt x="1120140" y="615316"/>
                  </a:cubicBezTo>
                  <a:cubicBezTo>
                    <a:pt x="1109345" y="615316"/>
                    <a:pt x="1106805" y="624206"/>
                    <a:pt x="1106805" y="635001"/>
                  </a:cubicBezTo>
                  <a:lnTo>
                    <a:pt x="1106805" y="683896"/>
                  </a:lnTo>
                  <a:lnTo>
                    <a:pt x="1084579" y="683896"/>
                  </a:lnTo>
                  <a:lnTo>
                    <a:pt x="1084579" y="593726"/>
                  </a:lnTo>
                  <a:lnTo>
                    <a:pt x="1106805" y="593726"/>
                  </a:lnTo>
                  <a:lnTo>
                    <a:pt x="1106805" y="600076"/>
                  </a:lnTo>
                  <a:cubicBezTo>
                    <a:pt x="1111885" y="594996"/>
                    <a:pt x="1118235" y="591821"/>
                    <a:pt x="1125855" y="591821"/>
                  </a:cubicBezTo>
                  <a:close/>
                  <a:moveTo>
                    <a:pt x="47625" y="563881"/>
                  </a:moveTo>
                  <a:cubicBezTo>
                    <a:pt x="66040" y="563881"/>
                    <a:pt x="79375" y="571501"/>
                    <a:pt x="90170" y="582296"/>
                  </a:cubicBezTo>
                  <a:lnTo>
                    <a:pt x="73659" y="598806"/>
                  </a:lnTo>
                  <a:cubicBezTo>
                    <a:pt x="66040" y="591186"/>
                    <a:pt x="58420" y="586741"/>
                    <a:pt x="46355" y="586741"/>
                  </a:cubicBezTo>
                  <a:cubicBezTo>
                    <a:pt x="36194" y="586741"/>
                    <a:pt x="28575" y="589916"/>
                    <a:pt x="28575" y="598171"/>
                  </a:cubicBezTo>
                  <a:cubicBezTo>
                    <a:pt x="28575" y="601981"/>
                    <a:pt x="29845" y="604521"/>
                    <a:pt x="33655" y="606426"/>
                  </a:cubicBezTo>
                  <a:cubicBezTo>
                    <a:pt x="38099" y="608966"/>
                    <a:pt x="43814" y="610236"/>
                    <a:pt x="52704" y="612776"/>
                  </a:cubicBezTo>
                  <a:cubicBezTo>
                    <a:pt x="63500" y="615951"/>
                    <a:pt x="73659" y="617856"/>
                    <a:pt x="81915" y="624841"/>
                  </a:cubicBezTo>
                  <a:lnTo>
                    <a:pt x="92427" y="648959"/>
                  </a:lnTo>
                  <a:lnTo>
                    <a:pt x="79454" y="677626"/>
                  </a:lnTo>
                  <a:cubicBezTo>
                    <a:pt x="71279" y="683738"/>
                    <a:pt x="60008" y="686436"/>
                    <a:pt x="47625" y="686436"/>
                  </a:cubicBezTo>
                  <a:cubicBezTo>
                    <a:pt x="29845" y="686436"/>
                    <a:pt x="10795" y="680721"/>
                    <a:pt x="0" y="664846"/>
                  </a:cubicBezTo>
                  <a:lnTo>
                    <a:pt x="16510" y="650241"/>
                  </a:lnTo>
                  <a:cubicBezTo>
                    <a:pt x="24129" y="659766"/>
                    <a:pt x="35560" y="664211"/>
                    <a:pt x="46989" y="664211"/>
                  </a:cubicBezTo>
                  <a:cubicBezTo>
                    <a:pt x="60325" y="664211"/>
                    <a:pt x="68579" y="657861"/>
                    <a:pt x="68579" y="649606"/>
                  </a:cubicBezTo>
                  <a:cubicBezTo>
                    <a:pt x="68579" y="646431"/>
                    <a:pt x="67310" y="642621"/>
                    <a:pt x="61595" y="640081"/>
                  </a:cubicBezTo>
                  <a:cubicBezTo>
                    <a:pt x="57150" y="638176"/>
                    <a:pt x="52069" y="636906"/>
                    <a:pt x="41909" y="634366"/>
                  </a:cubicBezTo>
                  <a:cubicBezTo>
                    <a:pt x="35560" y="633096"/>
                    <a:pt x="22860" y="629921"/>
                    <a:pt x="14605" y="623571"/>
                  </a:cubicBezTo>
                  <a:cubicBezTo>
                    <a:pt x="6349" y="617221"/>
                    <a:pt x="4444" y="607696"/>
                    <a:pt x="4444" y="599441"/>
                  </a:cubicBezTo>
                  <a:cubicBezTo>
                    <a:pt x="4444" y="574041"/>
                    <a:pt x="26034" y="563881"/>
                    <a:pt x="47625" y="563881"/>
                  </a:cubicBezTo>
                  <a:close/>
                  <a:moveTo>
                    <a:pt x="814070" y="560071"/>
                  </a:moveTo>
                  <a:cubicBezTo>
                    <a:pt x="820420" y="560071"/>
                    <a:pt x="824864" y="561341"/>
                    <a:pt x="830579" y="562611"/>
                  </a:cubicBezTo>
                  <a:lnTo>
                    <a:pt x="829945" y="562611"/>
                  </a:lnTo>
                  <a:lnTo>
                    <a:pt x="829945" y="581026"/>
                  </a:lnTo>
                  <a:cubicBezTo>
                    <a:pt x="824864" y="579756"/>
                    <a:pt x="821055" y="579121"/>
                    <a:pt x="818515" y="579121"/>
                  </a:cubicBezTo>
                  <a:cubicBezTo>
                    <a:pt x="810260" y="579121"/>
                    <a:pt x="808989" y="582296"/>
                    <a:pt x="808989" y="586741"/>
                  </a:cubicBezTo>
                  <a:lnTo>
                    <a:pt x="808989" y="594361"/>
                  </a:lnTo>
                  <a:lnTo>
                    <a:pt x="824230" y="594361"/>
                  </a:lnTo>
                  <a:lnTo>
                    <a:pt x="824230" y="615951"/>
                  </a:lnTo>
                  <a:lnTo>
                    <a:pt x="808989" y="615951"/>
                  </a:lnTo>
                  <a:lnTo>
                    <a:pt x="808989" y="684531"/>
                  </a:lnTo>
                  <a:lnTo>
                    <a:pt x="786765" y="684531"/>
                  </a:lnTo>
                  <a:lnTo>
                    <a:pt x="786765" y="615951"/>
                  </a:lnTo>
                  <a:lnTo>
                    <a:pt x="775970" y="615951"/>
                  </a:lnTo>
                  <a:lnTo>
                    <a:pt x="775970" y="594361"/>
                  </a:lnTo>
                  <a:lnTo>
                    <a:pt x="786765" y="594361"/>
                  </a:lnTo>
                  <a:lnTo>
                    <a:pt x="786765" y="583566"/>
                  </a:lnTo>
                  <a:cubicBezTo>
                    <a:pt x="786765" y="567691"/>
                    <a:pt x="795019" y="560071"/>
                    <a:pt x="814070" y="560071"/>
                  </a:cubicBezTo>
                  <a:close/>
                  <a:moveTo>
                    <a:pt x="957579" y="559436"/>
                  </a:moveTo>
                  <a:lnTo>
                    <a:pt x="957579" y="594361"/>
                  </a:lnTo>
                  <a:lnTo>
                    <a:pt x="979170" y="594361"/>
                  </a:lnTo>
                  <a:lnTo>
                    <a:pt x="979170" y="615951"/>
                  </a:lnTo>
                  <a:lnTo>
                    <a:pt x="957579" y="615951"/>
                  </a:lnTo>
                  <a:lnTo>
                    <a:pt x="957579" y="654051"/>
                  </a:lnTo>
                  <a:cubicBezTo>
                    <a:pt x="957579" y="661671"/>
                    <a:pt x="960754" y="664846"/>
                    <a:pt x="966470" y="664846"/>
                  </a:cubicBezTo>
                  <a:cubicBezTo>
                    <a:pt x="972185" y="664846"/>
                    <a:pt x="977900" y="661671"/>
                    <a:pt x="981075" y="658496"/>
                  </a:cubicBezTo>
                  <a:lnTo>
                    <a:pt x="977900" y="681356"/>
                  </a:lnTo>
                  <a:cubicBezTo>
                    <a:pt x="973454" y="685166"/>
                    <a:pt x="965200" y="686436"/>
                    <a:pt x="959485" y="686436"/>
                  </a:cubicBezTo>
                  <a:cubicBezTo>
                    <a:pt x="945515" y="686436"/>
                    <a:pt x="935355" y="676276"/>
                    <a:pt x="935355" y="659766"/>
                  </a:cubicBezTo>
                  <a:lnTo>
                    <a:pt x="935355" y="615951"/>
                  </a:lnTo>
                  <a:lnTo>
                    <a:pt x="922655" y="615951"/>
                  </a:lnTo>
                  <a:lnTo>
                    <a:pt x="922655" y="594361"/>
                  </a:lnTo>
                  <a:lnTo>
                    <a:pt x="935355" y="594361"/>
                  </a:lnTo>
                  <a:lnTo>
                    <a:pt x="935355" y="570866"/>
                  </a:lnTo>
                  <a:close/>
                  <a:moveTo>
                    <a:pt x="586739" y="559436"/>
                  </a:moveTo>
                  <a:lnTo>
                    <a:pt x="586739" y="600711"/>
                  </a:lnTo>
                  <a:cubicBezTo>
                    <a:pt x="591820" y="595631"/>
                    <a:pt x="597534" y="592456"/>
                    <a:pt x="607695" y="592456"/>
                  </a:cubicBezTo>
                  <a:cubicBezTo>
                    <a:pt x="631825" y="592456"/>
                    <a:pt x="639445" y="610871"/>
                    <a:pt x="639445" y="633731"/>
                  </a:cubicBezTo>
                  <a:lnTo>
                    <a:pt x="639445" y="684531"/>
                  </a:lnTo>
                  <a:lnTo>
                    <a:pt x="617220" y="684531"/>
                  </a:lnTo>
                  <a:lnTo>
                    <a:pt x="617220" y="635636"/>
                  </a:lnTo>
                  <a:cubicBezTo>
                    <a:pt x="617220" y="623571"/>
                    <a:pt x="614680" y="614681"/>
                    <a:pt x="601980" y="614681"/>
                  </a:cubicBezTo>
                  <a:cubicBezTo>
                    <a:pt x="589280" y="614681"/>
                    <a:pt x="586739" y="622936"/>
                    <a:pt x="586739" y="635001"/>
                  </a:cubicBezTo>
                  <a:lnTo>
                    <a:pt x="586739" y="684531"/>
                  </a:lnTo>
                  <a:lnTo>
                    <a:pt x="564515" y="684531"/>
                  </a:lnTo>
                  <a:lnTo>
                    <a:pt x="564515" y="570866"/>
                  </a:lnTo>
                  <a:close/>
                  <a:moveTo>
                    <a:pt x="529590" y="559436"/>
                  </a:moveTo>
                  <a:lnTo>
                    <a:pt x="529590" y="594361"/>
                  </a:lnTo>
                  <a:lnTo>
                    <a:pt x="550545" y="594361"/>
                  </a:lnTo>
                  <a:lnTo>
                    <a:pt x="550545" y="615951"/>
                  </a:lnTo>
                  <a:lnTo>
                    <a:pt x="529590" y="615951"/>
                  </a:lnTo>
                  <a:lnTo>
                    <a:pt x="529590" y="654051"/>
                  </a:lnTo>
                  <a:cubicBezTo>
                    <a:pt x="529590" y="661671"/>
                    <a:pt x="532765" y="664846"/>
                    <a:pt x="538480" y="664846"/>
                  </a:cubicBezTo>
                  <a:cubicBezTo>
                    <a:pt x="544195" y="664846"/>
                    <a:pt x="549275" y="661671"/>
                    <a:pt x="553084" y="658496"/>
                  </a:cubicBezTo>
                  <a:lnTo>
                    <a:pt x="549909" y="681356"/>
                  </a:lnTo>
                  <a:cubicBezTo>
                    <a:pt x="545465" y="685166"/>
                    <a:pt x="537209" y="686436"/>
                    <a:pt x="531495" y="686436"/>
                  </a:cubicBezTo>
                  <a:cubicBezTo>
                    <a:pt x="517525" y="686436"/>
                    <a:pt x="507364" y="676276"/>
                    <a:pt x="507364" y="659766"/>
                  </a:cubicBezTo>
                  <a:lnTo>
                    <a:pt x="507364" y="615951"/>
                  </a:lnTo>
                  <a:lnTo>
                    <a:pt x="491489" y="615951"/>
                  </a:lnTo>
                  <a:lnTo>
                    <a:pt x="491489" y="594361"/>
                  </a:lnTo>
                  <a:lnTo>
                    <a:pt x="507364" y="594361"/>
                  </a:lnTo>
                  <a:lnTo>
                    <a:pt x="507364" y="570866"/>
                  </a:lnTo>
                  <a:close/>
                  <a:moveTo>
                    <a:pt x="128269" y="559436"/>
                  </a:moveTo>
                  <a:lnTo>
                    <a:pt x="128269" y="600711"/>
                  </a:lnTo>
                  <a:cubicBezTo>
                    <a:pt x="133349" y="595631"/>
                    <a:pt x="139064" y="592456"/>
                    <a:pt x="149224" y="592456"/>
                  </a:cubicBezTo>
                  <a:cubicBezTo>
                    <a:pt x="173355" y="592456"/>
                    <a:pt x="180974" y="610871"/>
                    <a:pt x="180974" y="633731"/>
                  </a:cubicBezTo>
                  <a:lnTo>
                    <a:pt x="180974" y="684531"/>
                  </a:lnTo>
                  <a:lnTo>
                    <a:pt x="158750" y="684531"/>
                  </a:lnTo>
                  <a:lnTo>
                    <a:pt x="158750" y="635636"/>
                  </a:lnTo>
                  <a:cubicBezTo>
                    <a:pt x="158750" y="623571"/>
                    <a:pt x="156209" y="614681"/>
                    <a:pt x="143510" y="614681"/>
                  </a:cubicBezTo>
                  <a:cubicBezTo>
                    <a:pt x="130810" y="614681"/>
                    <a:pt x="128269" y="622936"/>
                    <a:pt x="128269" y="635001"/>
                  </a:cubicBezTo>
                  <a:lnTo>
                    <a:pt x="128269" y="684531"/>
                  </a:lnTo>
                  <a:lnTo>
                    <a:pt x="106045" y="684531"/>
                  </a:lnTo>
                  <a:lnTo>
                    <a:pt x="106045" y="570866"/>
                  </a:lnTo>
                  <a:close/>
                  <a:moveTo>
                    <a:pt x="269875" y="635"/>
                  </a:moveTo>
                  <a:lnTo>
                    <a:pt x="501015" y="635"/>
                  </a:lnTo>
                  <a:lnTo>
                    <a:pt x="554989" y="94615"/>
                  </a:lnTo>
                  <a:lnTo>
                    <a:pt x="391795" y="94615"/>
                  </a:lnTo>
                  <a:lnTo>
                    <a:pt x="391795" y="161925"/>
                  </a:lnTo>
                  <a:lnTo>
                    <a:pt x="539114" y="161925"/>
                  </a:lnTo>
                  <a:lnTo>
                    <a:pt x="539114" y="247650"/>
                  </a:lnTo>
                  <a:lnTo>
                    <a:pt x="391795" y="247650"/>
                  </a:lnTo>
                  <a:lnTo>
                    <a:pt x="391795" y="314325"/>
                  </a:lnTo>
                  <a:lnTo>
                    <a:pt x="595629" y="314325"/>
                  </a:lnTo>
                  <a:lnTo>
                    <a:pt x="595629" y="408305"/>
                  </a:lnTo>
                  <a:lnTo>
                    <a:pt x="269875" y="408305"/>
                  </a:lnTo>
                  <a:close/>
                  <a:moveTo>
                    <a:pt x="539114" y="0"/>
                  </a:moveTo>
                  <a:lnTo>
                    <a:pt x="674370" y="0"/>
                  </a:lnTo>
                  <a:lnTo>
                    <a:pt x="743584" y="132715"/>
                  </a:lnTo>
                  <a:lnTo>
                    <a:pt x="812799" y="0"/>
                  </a:lnTo>
                  <a:lnTo>
                    <a:pt x="946150" y="0"/>
                  </a:lnTo>
                  <a:lnTo>
                    <a:pt x="803275" y="246380"/>
                  </a:lnTo>
                  <a:lnTo>
                    <a:pt x="803275" y="407670"/>
                  </a:lnTo>
                  <a:lnTo>
                    <a:pt x="681355" y="407670"/>
                  </a:lnTo>
                  <a:lnTo>
                    <a:pt x="681355" y="246380"/>
                  </a:lnTo>
                  <a:close/>
                </a:path>
              </a:pathLst>
            </a:custGeom>
            <a:solidFill>
              <a:srgbClr val="FFFFFF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9167EEE6-F985-2112-F3A8-85F1A04A37BD}"/>
              </a:ext>
            </a:extLst>
          </p:cNvPr>
          <p:cNvGrpSpPr/>
          <p:nvPr userDrawn="1"/>
        </p:nvGrpSpPr>
        <p:grpSpPr>
          <a:xfrm>
            <a:off x="486029" y="6164633"/>
            <a:ext cx="4943508" cy="318770"/>
            <a:chOff x="485775" y="6164633"/>
            <a:chExt cx="4940935" cy="318770"/>
          </a:xfrm>
        </p:grpSpPr>
        <p:sp>
          <p:nvSpPr>
            <p:cNvPr id="24" name="Freeform 23">
              <a:extLst>
                <a:ext uri="{FF2B5EF4-FFF2-40B4-BE49-F238E27FC236}">
                  <a16:creationId xmlns:a16="http://schemas.microsoft.com/office/drawing/2014/main" id="{BDF3ED9A-57E4-25C5-BC4E-AC1C77798191}"/>
                </a:ext>
              </a:extLst>
            </p:cNvPr>
            <p:cNvSpPr/>
            <p:nvPr userDrawn="1"/>
          </p:nvSpPr>
          <p:spPr>
            <a:xfrm>
              <a:off x="485775" y="6164633"/>
              <a:ext cx="405765" cy="81280"/>
            </a:xfrm>
            <a:custGeom>
              <a:avLst/>
              <a:gdLst>
                <a:gd name="connsiteX0" fmla="*/ 324485 w 405765"/>
                <a:gd name="connsiteY0" fmla="*/ 0 h 81280"/>
                <a:gd name="connsiteX1" fmla="*/ 405765 w 405765"/>
                <a:gd name="connsiteY1" fmla="*/ 0 h 81280"/>
                <a:gd name="connsiteX2" fmla="*/ 405765 w 405765"/>
                <a:gd name="connsiteY2" fmla="*/ 81280 h 81280"/>
                <a:gd name="connsiteX3" fmla="*/ 324485 w 405765"/>
                <a:gd name="connsiteY3" fmla="*/ 81280 h 81280"/>
                <a:gd name="connsiteX4" fmla="*/ 161925 w 405765"/>
                <a:gd name="connsiteY4" fmla="*/ 0 h 81280"/>
                <a:gd name="connsiteX5" fmla="*/ 243205 w 405765"/>
                <a:gd name="connsiteY5" fmla="*/ 0 h 81280"/>
                <a:gd name="connsiteX6" fmla="*/ 243205 w 405765"/>
                <a:gd name="connsiteY6" fmla="*/ 81280 h 81280"/>
                <a:gd name="connsiteX7" fmla="*/ 161925 w 405765"/>
                <a:gd name="connsiteY7" fmla="*/ 81280 h 81280"/>
                <a:gd name="connsiteX8" fmla="*/ 0 w 405765"/>
                <a:gd name="connsiteY8" fmla="*/ 0 h 81280"/>
                <a:gd name="connsiteX9" fmla="*/ 81280 w 405765"/>
                <a:gd name="connsiteY9" fmla="*/ 0 h 81280"/>
                <a:gd name="connsiteX10" fmla="*/ 81280 w 405765"/>
                <a:gd name="connsiteY10" fmla="*/ 81280 h 81280"/>
                <a:gd name="connsiteX11" fmla="*/ 0 w 405765"/>
                <a:gd name="connsiteY11" fmla="*/ 81280 h 812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05765" h="81280">
                  <a:moveTo>
                    <a:pt x="324485" y="0"/>
                  </a:moveTo>
                  <a:lnTo>
                    <a:pt x="405765" y="0"/>
                  </a:lnTo>
                  <a:lnTo>
                    <a:pt x="405765" y="81280"/>
                  </a:lnTo>
                  <a:lnTo>
                    <a:pt x="324485" y="81280"/>
                  </a:lnTo>
                  <a:close/>
                  <a:moveTo>
                    <a:pt x="161925" y="0"/>
                  </a:moveTo>
                  <a:lnTo>
                    <a:pt x="243205" y="0"/>
                  </a:lnTo>
                  <a:lnTo>
                    <a:pt x="243205" y="81280"/>
                  </a:lnTo>
                  <a:lnTo>
                    <a:pt x="161925" y="81280"/>
                  </a:lnTo>
                  <a:close/>
                  <a:moveTo>
                    <a:pt x="0" y="0"/>
                  </a:moveTo>
                  <a:lnTo>
                    <a:pt x="81280" y="0"/>
                  </a:lnTo>
                  <a:lnTo>
                    <a:pt x="81280" y="81280"/>
                  </a:lnTo>
                  <a:lnTo>
                    <a:pt x="0" y="81280"/>
                  </a:lnTo>
                  <a:close/>
                </a:path>
              </a:pathLst>
            </a:custGeom>
            <a:solidFill>
              <a:srgbClr val="FFE600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25" name="Freeform 24">
              <a:extLst>
                <a:ext uri="{FF2B5EF4-FFF2-40B4-BE49-F238E27FC236}">
                  <a16:creationId xmlns:a16="http://schemas.microsoft.com/office/drawing/2014/main" id="{F8AD9B21-63CE-8D03-9802-DB2391C6BC13}"/>
                </a:ext>
              </a:extLst>
            </p:cNvPr>
            <p:cNvSpPr/>
            <p:nvPr userDrawn="1"/>
          </p:nvSpPr>
          <p:spPr bwMode="black">
            <a:xfrm>
              <a:off x="485779" y="6344974"/>
              <a:ext cx="4940931" cy="138429"/>
            </a:xfrm>
            <a:custGeom>
              <a:avLst/>
              <a:gdLst>
                <a:gd name="connsiteX0" fmla="*/ 1032512 w 4940931"/>
                <a:gd name="connsiteY0" fmla="*/ 137477 h 138429"/>
                <a:gd name="connsiteX1" fmla="*/ 1032512 w 4940931"/>
                <a:gd name="connsiteY1" fmla="*/ 137794 h 138429"/>
                <a:gd name="connsiteX2" fmla="*/ 1030607 w 4940931"/>
                <a:gd name="connsiteY2" fmla="*/ 138429 h 138429"/>
                <a:gd name="connsiteX3" fmla="*/ 4929501 w 4940931"/>
                <a:gd name="connsiteY3" fmla="*/ 87629 h 138429"/>
                <a:gd name="connsiteX4" fmla="*/ 4933946 w 4940931"/>
                <a:gd name="connsiteY4" fmla="*/ 88264 h 138429"/>
                <a:gd name="connsiteX5" fmla="*/ 4937756 w 4940931"/>
                <a:gd name="connsiteY5" fmla="*/ 90804 h 138429"/>
                <a:gd name="connsiteX6" fmla="*/ 4940296 w 4940931"/>
                <a:gd name="connsiteY6" fmla="*/ 94614 h 138429"/>
                <a:gd name="connsiteX7" fmla="*/ 4940931 w 4940931"/>
                <a:gd name="connsiteY7" fmla="*/ 99059 h 138429"/>
                <a:gd name="connsiteX8" fmla="*/ 4940296 w 4940931"/>
                <a:gd name="connsiteY8" fmla="*/ 103504 h 138429"/>
                <a:gd name="connsiteX9" fmla="*/ 4937756 w 4940931"/>
                <a:gd name="connsiteY9" fmla="*/ 107314 h 138429"/>
                <a:gd name="connsiteX10" fmla="*/ 4933946 w 4940931"/>
                <a:gd name="connsiteY10" fmla="*/ 109854 h 138429"/>
                <a:gd name="connsiteX11" fmla="*/ 4929501 w 4940931"/>
                <a:gd name="connsiteY11" fmla="*/ 110489 h 138429"/>
                <a:gd name="connsiteX12" fmla="*/ 4925056 w 4940931"/>
                <a:gd name="connsiteY12" fmla="*/ 109854 h 138429"/>
                <a:gd name="connsiteX13" fmla="*/ 4921246 w 4940931"/>
                <a:gd name="connsiteY13" fmla="*/ 107314 h 138429"/>
                <a:gd name="connsiteX14" fmla="*/ 4918706 w 4940931"/>
                <a:gd name="connsiteY14" fmla="*/ 103504 h 138429"/>
                <a:gd name="connsiteX15" fmla="*/ 4918071 w 4940931"/>
                <a:gd name="connsiteY15" fmla="*/ 99059 h 138429"/>
                <a:gd name="connsiteX16" fmla="*/ 4918706 w 4940931"/>
                <a:gd name="connsiteY16" fmla="*/ 94614 h 138429"/>
                <a:gd name="connsiteX17" fmla="*/ 4921246 w 4940931"/>
                <a:gd name="connsiteY17" fmla="*/ 90804 h 138429"/>
                <a:gd name="connsiteX18" fmla="*/ 4925056 w 4940931"/>
                <a:gd name="connsiteY18" fmla="*/ 88264 h 138429"/>
                <a:gd name="connsiteX19" fmla="*/ 4929501 w 4940931"/>
                <a:gd name="connsiteY19" fmla="*/ 87629 h 138429"/>
                <a:gd name="connsiteX20" fmla="*/ 3079110 w 4940931"/>
                <a:gd name="connsiteY20" fmla="*/ 87629 h 138429"/>
                <a:gd name="connsiteX21" fmla="*/ 3083555 w 4940931"/>
                <a:gd name="connsiteY21" fmla="*/ 88264 h 138429"/>
                <a:gd name="connsiteX22" fmla="*/ 3087365 w 4940931"/>
                <a:gd name="connsiteY22" fmla="*/ 90804 h 138429"/>
                <a:gd name="connsiteX23" fmla="*/ 3089905 w 4940931"/>
                <a:gd name="connsiteY23" fmla="*/ 94614 h 138429"/>
                <a:gd name="connsiteX24" fmla="*/ 3090540 w 4940931"/>
                <a:gd name="connsiteY24" fmla="*/ 99059 h 138429"/>
                <a:gd name="connsiteX25" fmla="*/ 3089905 w 4940931"/>
                <a:gd name="connsiteY25" fmla="*/ 103504 h 138429"/>
                <a:gd name="connsiteX26" fmla="*/ 3087365 w 4940931"/>
                <a:gd name="connsiteY26" fmla="*/ 107314 h 138429"/>
                <a:gd name="connsiteX27" fmla="*/ 3083555 w 4940931"/>
                <a:gd name="connsiteY27" fmla="*/ 109854 h 138429"/>
                <a:gd name="connsiteX28" fmla="*/ 3079110 w 4940931"/>
                <a:gd name="connsiteY28" fmla="*/ 110489 h 138429"/>
                <a:gd name="connsiteX29" fmla="*/ 3074665 w 4940931"/>
                <a:gd name="connsiteY29" fmla="*/ 109854 h 138429"/>
                <a:gd name="connsiteX30" fmla="*/ 3070855 w 4940931"/>
                <a:gd name="connsiteY30" fmla="*/ 107314 h 138429"/>
                <a:gd name="connsiteX31" fmla="*/ 3068315 w 4940931"/>
                <a:gd name="connsiteY31" fmla="*/ 103504 h 138429"/>
                <a:gd name="connsiteX32" fmla="*/ 3067680 w 4940931"/>
                <a:gd name="connsiteY32" fmla="*/ 99059 h 138429"/>
                <a:gd name="connsiteX33" fmla="*/ 3068315 w 4940931"/>
                <a:gd name="connsiteY33" fmla="*/ 94614 h 138429"/>
                <a:gd name="connsiteX34" fmla="*/ 3070855 w 4940931"/>
                <a:gd name="connsiteY34" fmla="*/ 90804 h 138429"/>
                <a:gd name="connsiteX35" fmla="*/ 3074665 w 4940931"/>
                <a:gd name="connsiteY35" fmla="*/ 88264 h 138429"/>
                <a:gd name="connsiteX36" fmla="*/ 3079110 w 4940931"/>
                <a:gd name="connsiteY36" fmla="*/ 87629 h 138429"/>
                <a:gd name="connsiteX37" fmla="*/ 1565275 w 4940931"/>
                <a:gd name="connsiteY37" fmla="*/ 87629 h 138429"/>
                <a:gd name="connsiteX38" fmla="*/ 1569720 w 4940931"/>
                <a:gd name="connsiteY38" fmla="*/ 88264 h 138429"/>
                <a:gd name="connsiteX39" fmla="*/ 1573529 w 4940931"/>
                <a:gd name="connsiteY39" fmla="*/ 90804 h 138429"/>
                <a:gd name="connsiteX40" fmla="*/ 1576069 w 4940931"/>
                <a:gd name="connsiteY40" fmla="*/ 94614 h 138429"/>
                <a:gd name="connsiteX41" fmla="*/ 1576705 w 4940931"/>
                <a:gd name="connsiteY41" fmla="*/ 99059 h 138429"/>
                <a:gd name="connsiteX42" fmla="*/ 1576069 w 4940931"/>
                <a:gd name="connsiteY42" fmla="*/ 103504 h 138429"/>
                <a:gd name="connsiteX43" fmla="*/ 1573529 w 4940931"/>
                <a:gd name="connsiteY43" fmla="*/ 107314 h 138429"/>
                <a:gd name="connsiteX44" fmla="*/ 1569720 w 4940931"/>
                <a:gd name="connsiteY44" fmla="*/ 109854 h 138429"/>
                <a:gd name="connsiteX45" fmla="*/ 1565275 w 4940931"/>
                <a:gd name="connsiteY45" fmla="*/ 110489 h 138429"/>
                <a:gd name="connsiteX46" fmla="*/ 1560830 w 4940931"/>
                <a:gd name="connsiteY46" fmla="*/ 109854 h 138429"/>
                <a:gd name="connsiteX47" fmla="*/ 1557020 w 4940931"/>
                <a:gd name="connsiteY47" fmla="*/ 107314 h 138429"/>
                <a:gd name="connsiteX48" fmla="*/ 1554479 w 4940931"/>
                <a:gd name="connsiteY48" fmla="*/ 103504 h 138429"/>
                <a:gd name="connsiteX49" fmla="*/ 1553844 w 4940931"/>
                <a:gd name="connsiteY49" fmla="*/ 99059 h 138429"/>
                <a:gd name="connsiteX50" fmla="*/ 1554479 w 4940931"/>
                <a:gd name="connsiteY50" fmla="*/ 94614 h 138429"/>
                <a:gd name="connsiteX51" fmla="*/ 1557020 w 4940931"/>
                <a:gd name="connsiteY51" fmla="*/ 90804 h 138429"/>
                <a:gd name="connsiteX52" fmla="*/ 1560830 w 4940931"/>
                <a:gd name="connsiteY52" fmla="*/ 88264 h 138429"/>
                <a:gd name="connsiteX53" fmla="*/ 1565275 w 4940931"/>
                <a:gd name="connsiteY53" fmla="*/ 87629 h 138429"/>
                <a:gd name="connsiteX54" fmla="*/ 2642230 w 4940931"/>
                <a:gd name="connsiteY54" fmla="*/ 73024 h 138429"/>
                <a:gd name="connsiteX55" fmla="*/ 2630800 w 4940931"/>
                <a:gd name="connsiteY55" fmla="*/ 76199 h 138429"/>
                <a:gd name="connsiteX56" fmla="*/ 2626355 w 4940931"/>
                <a:gd name="connsiteY56" fmla="*/ 84454 h 138429"/>
                <a:gd name="connsiteX57" fmla="*/ 2627625 w 4940931"/>
                <a:gd name="connsiteY57" fmla="*/ 90169 h 138429"/>
                <a:gd name="connsiteX58" fmla="*/ 2630800 w 4940931"/>
                <a:gd name="connsiteY58" fmla="*/ 93979 h 138429"/>
                <a:gd name="connsiteX59" fmla="*/ 2635245 w 4940931"/>
                <a:gd name="connsiteY59" fmla="*/ 96519 h 138429"/>
                <a:gd name="connsiteX60" fmla="*/ 2641595 w 4940931"/>
                <a:gd name="connsiteY60" fmla="*/ 97154 h 138429"/>
                <a:gd name="connsiteX61" fmla="*/ 2647310 w 4940931"/>
                <a:gd name="connsiteY61" fmla="*/ 96519 h 138429"/>
                <a:gd name="connsiteX62" fmla="*/ 2652390 w 4940931"/>
                <a:gd name="connsiteY62" fmla="*/ 93979 h 138429"/>
                <a:gd name="connsiteX63" fmla="*/ 2656835 w 4940931"/>
                <a:gd name="connsiteY63" fmla="*/ 90804 h 138429"/>
                <a:gd name="connsiteX64" fmla="*/ 2660010 w 4940931"/>
                <a:gd name="connsiteY64" fmla="*/ 86994 h 138429"/>
                <a:gd name="connsiteX65" fmla="*/ 2660010 w 4940931"/>
                <a:gd name="connsiteY65" fmla="*/ 75564 h 138429"/>
                <a:gd name="connsiteX66" fmla="*/ 2656200 w 4940931"/>
                <a:gd name="connsiteY66" fmla="*/ 74294 h 138429"/>
                <a:gd name="connsiteX67" fmla="*/ 2652390 w 4940931"/>
                <a:gd name="connsiteY67" fmla="*/ 73659 h 138429"/>
                <a:gd name="connsiteX68" fmla="*/ 2647945 w 4940931"/>
                <a:gd name="connsiteY68" fmla="*/ 73024 h 138429"/>
                <a:gd name="connsiteX69" fmla="*/ 2642230 w 4940931"/>
                <a:gd name="connsiteY69" fmla="*/ 73024 h 138429"/>
                <a:gd name="connsiteX70" fmla="*/ 4664706 w 4940931"/>
                <a:gd name="connsiteY70" fmla="*/ 43814 h 138429"/>
                <a:gd name="connsiteX71" fmla="*/ 4657086 w 4940931"/>
                <a:gd name="connsiteY71" fmla="*/ 45719 h 138429"/>
                <a:gd name="connsiteX72" fmla="*/ 4651371 w 4940931"/>
                <a:gd name="connsiteY72" fmla="*/ 50799 h 138429"/>
                <a:gd name="connsiteX73" fmla="*/ 4647561 w 4940931"/>
                <a:gd name="connsiteY73" fmla="*/ 59054 h 138429"/>
                <a:gd name="connsiteX74" fmla="*/ 4646291 w 4940931"/>
                <a:gd name="connsiteY74" fmla="*/ 69849 h 138429"/>
                <a:gd name="connsiteX75" fmla="*/ 4647561 w 4940931"/>
                <a:gd name="connsiteY75" fmla="*/ 81279 h 138429"/>
                <a:gd name="connsiteX76" fmla="*/ 4651371 w 4940931"/>
                <a:gd name="connsiteY76" fmla="*/ 89534 h 138429"/>
                <a:gd name="connsiteX77" fmla="*/ 4657721 w 4940931"/>
                <a:gd name="connsiteY77" fmla="*/ 94614 h 138429"/>
                <a:gd name="connsiteX78" fmla="*/ 4665341 w 4940931"/>
                <a:gd name="connsiteY78" fmla="*/ 96519 h 138429"/>
                <a:gd name="connsiteX79" fmla="*/ 4672961 w 4940931"/>
                <a:gd name="connsiteY79" fmla="*/ 94614 h 138429"/>
                <a:gd name="connsiteX80" fmla="*/ 4678676 w 4940931"/>
                <a:gd name="connsiteY80" fmla="*/ 88899 h 138429"/>
                <a:gd name="connsiteX81" fmla="*/ 4682486 w 4940931"/>
                <a:gd name="connsiteY81" fmla="*/ 80644 h 138429"/>
                <a:gd name="connsiteX82" fmla="*/ 4683756 w 4940931"/>
                <a:gd name="connsiteY82" fmla="*/ 70484 h 138429"/>
                <a:gd name="connsiteX83" fmla="*/ 4684391 w 4940931"/>
                <a:gd name="connsiteY83" fmla="*/ 69849 h 138429"/>
                <a:gd name="connsiteX84" fmla="*/ 4683121 w 4940931"/>
                <a:gd name="connsiteY84" fmla="*/ 59054 h 138429"/>
                <a:gd name="connsiteX85" fmla="*/ 4679311 w 4940931"/>
                <a:gd name="connsiteY85" fmla="*/ 50799 h 138429"/>
                <a:gd name="connsiteX86" fmla="*/ 4672961 w 4940931"/>
                <a:gd name="connsiteY86" fmla="*/ 45719 h 138429"/>
                <a:gd name="connsiteX87" fmla="*/ 4664706 w 4940931"/>
                <a:gd name="connsiteY87" fmla="*/ 43814 h 138429"/>
                <a:gd name="connsiteX88" fmla="*/ 4264020 w 4940931"/>
                <a:gd name="connsiteY88" fmla="*/ 43814 h 138429"/>
                <a:gd name="connsiteX89" fmla="*/ 4256400 w 4940931"/>
                <a:gd name="connsiteY89" fmla="*/ 45719 h 138429"/>
                <a:gd name="connsiteX90" fmla="*/ 4250685 w 4940931"/>
                <a:gd name="connsiteY90" fmla="*/ 50799 h 138429"/>
                <a:gd name="connsiteX91" fmla="*/ 4246875 w 4940931"/>
                <a:gd name="connsiteY91" fmla="*/ 59054 h 138429"/>
                <a:gd name="connsiteX92" fmla="*/ 4245605 w 4940931"/>
                <a:gd name="connsiteY92" fmla="*/ 69849 h 138429"/>
                <a:gd name="connsiteX93" fmla="*/ 4246875 w 4940931"/>
                <a:gd name="connsiteY93" fmla="*/ 81279 h 138429"/>
                <a:gd name="connsiteX94" fmla="*/ 4250685 w 4940931"/>
                <a:gd name="connsiteY94" fmla="*/ 89534 h 138429"/>
                <a:gd name="connsiteX95" fmla="*/ 4257035 w 4940931"/>
                <a:gd name="connsiteY95" fmla="*/ 94614 h 138429"/>
                <a:gd name="connsiteX96" fmla="*/ 4264655 w 4940931"/>
                <a:gd name="connsiteY96" fmla="*/ 96519 h 138429"/>
                <a:gd name="connsiteX97" fmla="*/ 4272275 w 4940931"/>
                <a:gd name="connsiteY97" fmla="*/ 94614 h 138429"/>
                <a:gd name="connsiteX98" fmla="*/ 4277990 w 4940931"/>
                <a:gd name="connsiteY98" fmla="*/ 88899 h 138429"/>
                <a:gd name="connsiteX99" fmla="*/ 4281800 w 4940931"/>
                <a:gd name="connsiteY99" fmla="*/ 80644 h 138429"/>
                <a:gd name="connsiteX100" fmla="*/ 4283070 w 4940931"/>
                <a:gd name="connsiteY100" fmla="*/ 70484 h 138429"/>
                <a:gd name="connsiteX101" fmla="*/ 4283705 w 4940931"/>
                <a:gd name="connsiteY101" fmla="*/ 69849 h 138429"/>
                <a:gd name="connsiteX102" fmla="*/ 4282435 w 4940931"/>
                <a:gd name="connsiteY102" fmla="*/ 59054 h 138429"/>
                <a:gd name="connsiteX103" fmla="*/ 4278625 w 4940931"/>
                <a:gd name="connsiteY103" fmla="*/ 50799 h 138429"/>
                <a:gd name="connsiteX104" fmla="*/ 4272275 w 4940931"/>
                <a:gd name="connsiteY104" fmla="*/ 45719 h 138429"/>
                <a:gd name="connsiteX105" fmla="*/ 4264020 w 4940931"/>
                <a:gd name="connsiteY105" fmla="*/ 43814 h 138429"/>
                <a:gd name="connsiteX106" fmla="*/ 1420495 w 4940931"/>
                <a:gd name="connsiteY106" fmla="*/ 43814 h 138429"/>
                <a:gd name="connsiteX107" fmla="*/ 1412875 w 4940931"/>
                <a:gd name="connsiteY107" fmla="*/ 45719 h 138429"/>
                <a:gd name="connsiteX108" fmla="*/ 1407160 w 4940931"/>
                <a:gd name="connsiteY108" fmla="*/ 50799 h 138429"/>
                <a:gd name="connsiteX109" fmla="*/ 1403350 w 4940931"/>
                <a:gd name="connsiteY109" fmla="*/ 59054 h 138429"/>
                <a:gd name="connsiteX110" fmla="*/ 1402080 w 4940931"/>
                <a:gd name="connsiteY110" fmla="*/ 69849 h 138429"/>
                <a:gd name="connsiteX111" fmla="*/ 1403350 w 4940931"/>
                <a:gd name="connsiteY111" fmla="*/ 81279 h 138429"/>
                <a:gd name="connsiteX112" fmla="*/ 1407160 w 4940931"/>
                <a:gd name="connsiteY112" fmla="*/ 89534 h 138429"/>
                <a:gd name="connsiteX113" fmla="*/ 1413510 w 4940931"/>
                <a:gd name="connsiteY113" fmla="*/ 94614 h 138429"/>
                <a:gd name="connsiteX114" fmla="*/ 1421130 w 4940931"/>
                <a:gd name="connsiteY114" fmla="*/ 96519 h 138429"/>
                <a:gd name="connsiteX115" fmla="*/ 1428750 w 4940931"/>
                <a:gd name="connsiteY115" fmla="*/ 94614 h 138429"/>
                <a:gd name="connsiteX116" fmla="*/ 1434465 w 4940931"/>
                <a:gd name="connsiteY116" fmla="*/ 88899 h 138429"/>
                <a:gd name="connsiteX117" fmla="*/ 1438275 w 4940931"/>
                <a:gd name="connsiteY117" fmla="*/ 80644 h 138429"/>
                <a:gd name="connsiteX118" fmla="*/ 1439545 w 4940931"/>
                <a:gd name="connsiteY118" fmla="*/ 70484 h 138429"/>
                <a:gd name="connsiteX119" fmla="*/ 1440180 w 4940931"/>
                <a:gd name="connsiteY119" fmla="*/ 69849 h 138429"/>
                <a:gd name="connsiteX120" fmla="*/ 1438910 w 4940931"/>
                <a:gd name="connsiteY120" fmla="*/ 59054 h 138429"/>
                <a:gd name="connsiteX121" fmla="*/ 1435100 w 4940931"/>
                <a:gd name="connsiteY121" fmla="*/ 50799 h 138429"/>
                <a:gd name="connsiteX122" fmla="*/ 1428750 w 4940931"/>
                <a:gd name="connsiteY122" fmla="*/ 45719 h 138429"/>
                <a:gd name="connsiteX123" fmla="*/ 1420495 w 4940931"/>
                <a:gd name="connsiteY123" fmla="*/ 43814 h 138429"/>
                <a:gd name="connsiteX124" fmla="*/ 4041770 w 4940931"/>
                <a:gd name="connsiteY124" fmla="*/ 43180 h 138429"/>
                <a:gd name="connsiteX125" fmla="*/ 4034785 w 4940931"/>
                <a:gd name="connsiteY125" fmla="*/ 44450 h 138429"/>
                <a:gd name="connsiteX126" fmla="*/ 4029705 w 4940931"/>
                <a:gd name="connsiteY126" fmla="*/ 48260 h 138429"/>
                <a:gd name="connsiteX127" fmla="*/ 4025895 w 4940931"/>
                <a:gd name="connsiteY127" fmla="*/ 54610 h 138429"/>
                <a:gd name="connsiteX128" fmla="*/ 4023990 w 4940931"/>
                <a:gd name="connsiteY128" fmla="*/ 62865 h 138429"/>
                <a:gd name="connsiteX129" fmla="*/ 4060185 w 4940931"/>
                <a:gd name="connsiteY129" fmla="*/ 62865 h 138429"/>
                <a:gd name="connsiteX130" fmla="*/ 4058915 w 4940931"/>
                <a:gd name="connsiteY130" fmla="*/ 55245 h 138429"/>
                <a:gd name="connsiteX131" fmla="*/ 4055740 w 4940931"/>
                <a:gd name="connsiteY131" fmla="*/ 48895 h 138429"/>
                <a:gd name="connsiteX132" fmla="*/ 4050025 w 4940931"/>
                <a:gd name="connsiteY132" fmla="*/ 44450 h 138429"/>
                <a:gd name="connsiteX133" fmla="*/ 4041770 w 4940931"/>
                <a:gd name="connsiteY133" fmla="*/ 43180 h 138429"/>
                <a:gd name="connsiteX134" fmla="*/ 3728081 w 4940931"/>
                <a:gd name="connsiteY134" fmla="*/ 43180 h 138429"/>
                <a:gd name="connsiteX135" fmla="*/ 3721096 w 4940931"/>
                <a:gd name="connsiteY135" fmla="*/ 44450 h 138429"/>
                <a:gd name="connsiteX136" fmla="*/ 3716016 w 4940931"/>
                <a:gd name="connsiteY136" fmla="*/ 48260 h 138429"/>
                <a:gd name="connsiteX137" fmla="*/ 3712206 w 4940931"/>
                <a:gd name="connsiteY137" fmla="*/ 54610 h 138429"/>
                <a:gd name="connsiteX138" fmla="*/ 3710301 w 4940931"/>
                <a:gd name="connsiteY138" fmla="*/ 62865 h 138429"/>
                <a:gd name="connsiteX139" fmla="*/ 3746496 w 4940931"/>
                <a:gd name="connsiteY139" fmla="*/ 62865 h 138429"/>
                <a:gd name="connsiteX140" fmla="*/ 3745226 w 4940931"/>
                <a:gd name="connsiteY140" fmla="*/ 55245 h 138429"/>
                <a:gd name="connsiteX141" fmla="*/ 3742051 w 4940931"/>
                <a:gd name="connsiteY141" fmla="*/ 48895 h 138429"/>
                <a:gd name="connsiteX142" fmla="*/ 3736336 w 4940931"/>
                <a:gd name="connsiteY142" fmla="*/ 44450 h 138429"/>
                <a:gd name="connsiteX143" fmla="*/ 3728081 w 4940931"/>
                <a:gd name="connsiteY143" fmla="*/ 43180 h 138429"/>
                <a:gd name="connsiteX144" fmla="*/ 3541391 w 4940931"/>
                <a:gd name="connsiteY144" fmla="*/ 43180 h 138429"/>
                <a:gd name="connsiteX145" fmla="*/ 3534406 w 4940931"/>
                <a:gd name="connsiteY145" fmla="*/ 44450 h 138429"/>
                <a:gd name="connsiteX146" fmla="*/ 3529326 w 4940931"/>
                <a:gd name="connsiteY146" fmla="*/ 48260 h 138429"/>
                <a:gd name="connsiteX147" fmla="*/ 3525516 w 4940931"/>
                <a:gd name="connsiteY147" fmla="*/ 54610 h 138429"/>
                <a:gd name="connsiteX148" fmla="*/ 3523611 w 4940931"/>
                <a:gd name="connsiteY148" fmla="*/ 62865 h 138429"/>
                <a:gd name="connsiteX149" fmla="*/ 3559806 w 4940931"/>
                <a:gd name="connsiteY149" fmla="*/ 62865 h 138429"/>
                <a:gd name="connsiteX150" fmla="*/ 3558536 w 4940931"/>
                <a:gd name="connsiteY150" fmla="*/ 55245 h 138429"/>
                <a:gd name="connsiteX151" fmla="*/ 3555361 w 4940931"/>
                <a:gd name="connsiteY151" fmla="*/ 48895 h 138429"/>
                <a:gd name="connsiteX152" fmla="*/ 3549646 w 4940931"/>
                <a:gd name="connsiteY152" fmla="*/ 44450 h 138429"/>
                <a:gd name="connsiteX153" fmla="*/ 3541391 w 4940931"/>
                <a:gd name="connsiteY153" fmla="*/ 43180 h 138429"/>
                <a:gd name="connsiteX154" fmla="*/ 3463285 w 4940931"/>
                <a:gd name="connsiteY154" fmla="*/ 43180 h 138429"/>
                <a:gd name="connsiteX155" fmla="*/ 3458205 w 4940931"/>
                <a:gd name="connsiteY155" fmla="*/ 43815 h 138429"/>
                <a:gd name="connsiteX156" fmla="*/ 3453125 w 4940931"/>
                <a:gd name="connsiteY156" fmla="*/ 45720 h 138429"/>
                <a:gd name="connsiteX157" fmla="*/ 3448680 w 4940931"/>
                <a:gd name="connsiteY157" fmla="*/ 48895 h 138429"/>
                <a:gd name="connsiteX158" fmla="*/ 3445505 w 4940931"/>
                <a:gd name="connsiteY158" fmla="*/ 52705 h 138429"/>
                <a:gd name="connsiteX159" fmla="*/ 3445505 w 4940931"/>
                <a:gd name="connsiteY159" fmla="*/ 85725 h 138429"/>
                <a:gd name="connsiteX160" fmla="*/ 3448680 w 4940931"/>
                <a:gd name="connsiteY160" fmla="*/ 89535 h 138429"/>
                <a:gd name="connsiteX161" fmla="*/ 3453125 w 4940931"/>
                <a:gd name="connsiteY161" fmla="*/ 92710 h 138429"/>
                <a:gd name="connsiteX162" fmla="*/ 3458205 w 4940931"/>
                <a:gd name="connsiteY162" fmla="*/ 95250 h 138429"/>
                <a:gd name="connsiteX163" fmla="*/ 3463920 w 4940931"/>
                <a:gd name="connsiteY163" fmla="*/ 95885 h 138429"/>
                <a:gd name="connsiteX164" fmla="*/ 3476620 w 4940931"/>
                <a:gd name="connsiteY164" fmla="*/ 89535 h 138429"/>
                <a:gd name="connsiteX165" fmla="*/ 3481065 w 4940931"/>
                <a:gd name="connsiteY165" fmla="*/ 71120 h 138429"/>
                <a:gd name="connsiteX166" fmla="*/ 3480430 w 4940931"/>
                <a:gd name="connsiteY166" fmla="*/ 71755 h 138429"/>
                <a:gd name="connsiteX167" fmla="*/ 3475985 w 4940931"/>
                <a:gd name="connsiteY167" fmla="*/ 50165 h 138429"/>
                <a:gd name="connsiteX168" fmla="*/ 3463285 w 4940931"/>
                <a:gd name="connsiteY168" fmla="*/ 43180 h 138429"/>
                <a:gd name="connsiteX169" fmla="*/ 3343271 w 4940931"/>
                <a:gd name="connsiteY169" fmla="*/ 43180 h 138429"/>
                <a:gd name="connsiteX170" fmla="*/ 3336286 w 4940931"/>
                <a:gd name="connsiteY170" fmla="*/ 44450 h 138429"/>
                <a:gd name="connsiteX171" fmla="*/ 3331206 w 4940931"/>
                <a:gd name="connsiteY171" fmla="*/ 48260 h 138429"/>
                <a:gd name="connsiteX172" fmla="*/ 3327396 w 4940931"/>
                <a:gd name="connsiteY172" fmla="*/ 54610 h 138429"/>
                <a:gd name="connsiteX173" fmla="*/ 3325491 w 4940931"/>
                <a:gd name="connsiteY173" fmla="*/ 62865 h 138429"/>
                <a:gd name="connsiteX174" fmla="*/ 3361686 w 4940931"/>
                <a:gd name="connsiteY174" fmla="*/ 62865 h 138429"/>
                <a:gd name="connsiteX175" fmla="*/ 3360416 w 4940931"/>
                <a:gd name="connsiteY175" fmla="*/ 55245 h 138429"/>
                <a:gd name="connsiteX176" fmla="*/ 3357241 w 4940931"/>
                <a:gd name="connsiteY176" fmla="*/ 48895 h 138429"/>
                <a:gd name="connsiteX177" fmla="*/ 3351526 w 4940931"/>
                <a:gd name="connsiteY177" fmla="*/ 44450 h 138429"/>
                <a:gd name="connsiteX178" fmla="*/ 3343271 w 4940931"/>
                <a:gd name="connsiteY178" fmla="*/ 43180 h 138429"/>
                <a:gd name="connsiteX179" fmla="*/ 2976876 w 4940931"/>
                <a:gd name="connsiteY179" fmla="*/ 43180 h 138429"/>
                <a:gd name="connsiteX180" fmla="*/ 2969891 w 4940931"/>
                <a:gd name="connsiteY180" fmla="*/ 44450 h 138429"/>
                <a:gd name="connsiteX181" fmla="*/ 2964811 w 4940931"/>
                <a:gd name="connsiteY181" fmla="*/ 48260 h 138429"/>
                <a:gd name="connsiteX182" fmla="*/ 2961001 w 4940931"/>
                <a:gd name="connsiteY182" fmla="*/ 54610 h 138429"/>
                <a:gd name="connsiteX183" fmla="*/ 2959096 w 4940931"/>
                <a:gd name="connsiteY183" fmla="*/ 62865 h 138429"/>
                <a:gd name="connsiteX184" fmla="*/ 2995291 w 4940931"/>
                <a:gd name="connsiteY184" fmla="*/ 62865 h 138429"/>
                <a:gd name="connsiteX185" fmla="*/ 2994021 w 4940931"/>
                <a:gd name="connsiteY185" fmla="*/ 55245 h 138429"/>
                <a:gd name="connsiteX186" fmla="*/ 2990846 w 4940931"/>
                <a:gd name="connsiteY186" fmla="*/ 48895 h 138429"/>
                <a:gd name="connsiteX187" fmla="*/ 2985131 w 4940931"/>
                <a:gd name="connsiteY187" fmla="*/ 44450 h 138429"/>
                <a:gd name="connsiteX188" fmla="*/ 2976876 w 4940931"/>
                <a:gd name="connsiteY188" fmla="*/ 43180 h 138429"/>
                <a:gd name="connsiteX189" fmla="*/ 2527930 w 4940931"/>
                <a:gd name="connsiteY189" fmla="*/ 43180 h 138429"/>
                <a:gd name="connsiteX190" fmla="*/ 2520945 w 4940931"/>
                <a:gd name="connsiteY190" fmla="*/ 44450 h 138429"/>
                <a:gd name="connsiteX191" fmla="*/ 2515865 w 4940931"/>
                <a:gd name="connsiteY191" fmla="*/ 48260 h 138429"/>
                <a:gd name="connsiteX192" fmla="*/ 2512055 w 4940931"/>
                <a:gd name="connsiteY192" fmla="*/ 54610 h 138429"/>
                <a:gd name="connsiteX193" fmla="*/ 2510150 w 4940931"/>
                <a:gd name="connsiteY193" fmla="*/ 62865 h 138429"/>
                <a:gd name="connsiteX194" fmla="*/ 2546345 w 4940931"/>
                <a:gd name="connsiteY194" fmla="*/ 62865 h 138429"/>
                <a:gd name="connsiteX195" fmla="*/ 2545075 w 4940931"/>
                <a:gd name="connsiteY195" fmla="*/ 55245 h 138429"/>
                <a:gd name="connsiteX196" fmla="*/ 2541900 w 4940931"/>
                <a:gd name="connsiteY196" fmla="*/ 48895 h 138429"/>
                <a:gd name="connsiteX197" fmla="*/ 2536185 w 4940931"/>
                <a:gd name="connsiteY197" fmla="*/ 44450 h 138429"/>
                <a:gd name="connsiteX198" fmla="*/ 2527930 w 4940931"/>
                <a:gd name="connsiteY198" fmla="*/ 43180 h 138429"/>
                <a:gd name="connsiteX199" fmla="*/ 2214240 w 4940931"/>
                <a:gd name="connsiteY199" fmla="*/ 43180 h 138429"/>
                <a:gd name="connsiteX200" fmla="*/ 2207255 w 4940931"/>
                <a:gd name="connsiteY200" fmla="*/ 44450 h 138429"/>
                <a:gd name="connsiteX201" fmla="*/ 2202175 w 4940931"/>
                <a:gd name="connsiteY201" fmla="*/ 48260 h 138429"/>
                <a:gd name="connsiteX202" fmla="*/ 2198365 w 4940931"/>
                <a:gd name="connsiteY202" fmla="*/ 54610 h 138429"/>
                <a:gd name="connsiteX203" fmla="*/ 2196460 w 4940931"/>
                <a:gd name="connsiteY203" fmla="*/ 62865 h 138429"/>
                <a:gd name="connsiteX204" fmla="*/ 2232655 w 4940931"/>
                <a:gd name="connsiteY204" fmla="*/ 62865 h 138429"/>
                <a:gd name="connsiteX205" fmla="*/ 2231385 w 4940931"/>
                <a:gd name="connsiteY205" fmla="*/ 55245 h 138429"/>
                <a:gd name="connsiteX206" fmla="*/ 2228210 w 4940931"/>
                <a:gd name="connsiteY206" fmla="*/ 48895 h 138429"/>
                <a:gd name="connsiteX207" fmla="*/ 2222495 w 4940931"/>
                <a:gd name="connsiteY207" fmla="*/ 44450 h 138429"/>
                <a:gd name="connsiteX208" fmla="*/ 2214240 w 4940931"/>
                <a:gd name="connsiteY208" fmla="*/ 43180 h 138429"/>
                <a:gd name="connsiteX209" fmla="*/ 2027551 w 4940931"/>
                <a:gd name="connsiteY209" fmla="*/ 43180 h 138429"/>
                <a:gd name="connsiteX210" fmla="*/ 2020566 w 4940931"/>
                <a:gd name="connsiteY210" fmla="*/ 44450 h 138429"/>
                <a:gd name="connsiteX211" fmla="*/ 2015486 w 4940931"/>
                <a:gd name="connsiteY211" fmla="*/ 48260 h 138429"/>
                <a:gd name="connsiteX212" fmla="*/ 2011676 w 4940931"/>
                <a:gd name="connsiteY212" fmla="*/ 54610 h 138429"/>
                <a:gd name="connsiteX213" fmla="*/ 2009771 w 4940931"/>
                <a:gd name="connsiteY213" fmla="*/ 62865 h 138429"/>
                <a:gd name="connsiteX214" fmla="*/ 2045966 w 4940931"/>
                <a:gd name="connsiteY214" fmla="*/ 62865 h 138429"/>
                <a:gd name="connsiteX215" fmla="*/ 2044696 w 4940931"/>
                <a:gd name="connsiteY215" fmla="*/ 55245 h 138429"/>
                <a:gd name="connsiteX216" fmla="*/ 2041521 w 4940931"/>
                <a:gd name="connsiteY216" fmla="*/ 48895 h 138429"/>
                <a:gd name="connsiteX217" fmla="*/ 2035806 w 4940931"/>
                <a:gd name="connsiteY217" fmla="*/ 44450 h 138429"/>
                <a:gd name="connsiteX218" fmla="*/ 2027551 w 4940931"/>
                <a:gd name="connsiteY218" fmla="*/ 43180 h 138429"/>
                <a:gd name="connsiteX219" fmla="*/ 1949445 w 4940931"/>
                <a:gd name="connsiteY219" fmla="*/ 43180 h 138429"/>
                <a:gd name="connsiteX220" fmla="*/ 1944365 w 4940931"/>
                <a:gd name="connsiteY220" fmla="*/ 43815 h 138429"/>
                <a:gd name="connsiteX221" fmla="*/ 1939285 w 4940931"/>
                <a:gd name="connsiteY221" fmla="*/ 45720 h 138429"/>
                <a:gd name="connsiteX222" fmla="*/ 1934840 w 4940931"/>
                <a:gd name="connsiteY222" fmla="*/ 48895 h 138429"/>
                <a:gd name="connsiteX223" fmla="*/ 1931665 w 4940931"/>
                <a:gd name="connsiteY223" fmla="*/ 52705 h 138429"/>
                <a:gd name="connsiteX224" fmla="*/ 1931665 w 4940931"/>
                <a:gd name="connsiteY224" fmla="*/ 85725 h 138429"/>
                <a:gd name="connsiteX225" fmla="*/ 1934840 w 4940931"/>
                <a:gd name="connsiteY225" fmla="*/ 89535 h 138429"/>
                <a:gd name="connsiteX226" fmla="*/ 1939285 w 4940931"/>
                <a:gd name="connsiteY226" fmla="*/ 92710 h 138429"/>
                <a:gd name="connsiteX227" fmla="*/ 1944365 w 4940931"/>
                <a:gd name="connsiteY227" fmla="*/ 95250 h 138429"/>
                <a:gd name="connsiteX228" fmla="*/ 1950080 w 4940931"/>
                <a:gd name="connsiteY228" fmla="*/ 95885 h 138429"/>
                <a:gd name="connsiteX229" fmla="*/ 1962780 w 4940931"/>
                <a:gd name="connsiteY229" fmla="*/ 89535 h 138429"/>
                <a:gd name="connsiteX230" fmla="*/ 1967225 w 4940931"/>
                <a:gd name="connsiteY230" fmla="*/ 71120 h 138429"/>
                <a:gd name="connsiteX231" fmla="*/ 1966590 w 4940931"/>
                <a:gd name="connsiteY231" fmla="*/ 71755 h 138429"/>
                <a:gd name="connsiteX232" fmla="*/ 1962145 w 4940931"/>
                <a:gd name="connsiteY232" fmla="*/ 50165 h 138429"/>
                <a:gd name="connsiteX233" fmla="*/ 1949445 w 4940931"/>
                <a:gd name="connsiteY233" fmla="*/ 43180 h 138429"/>
                <a:gd name="connsiteX234" fmla="*/ 1829431 w 4940931"/>
                <a:gd name="connsiteY234" fmla="*/ 43180 h 138429"/>
                <a:gd name="connsiteX235" fmla="*/ 1822446 w 4940931"/>
                <a:gd name="connsiteY235" fmla="*/ 44450 h 138429"/>
                <a:gd name="connsiteX236" fmla="*/ 1817366 w 4940931"/>
                <a:gd name="connsiteY236" fmla="*/ 48260 h 138429"/>
                <a:gd name="connsiteX237" fmla="*/ 1813556 w 4940931"/>
                <a:gd name="connsiteY237" fmla="*/ 54610 h 138429"/>
                <a:gd name="connsiteX238" fmla="*/ 1811651 w 4940931"/>
                <a:gd name="connsiteY238" fmla="*/ 62865 h 138429"/>
                <a:gd name="connsiteX239" fmla="*/ 1847846 w 4940931"/>
                <a:gd name="connsiteY239" fmla="*/ 62865 h 138429"/>
                <a:gd name="connsiteX240" fmla="*/ 1846576 w 4940931"/>
                <a:gd name="connsiteY240" fmla="*/ 55245 h 138429"/>
                <a:gd name="connsiteX241" fmla="*/ 1843401 w 4940931"/>
                <a:gd name="connsiteY241" fmla="*/ 48895 h 138429"/>
                <a:gd name="connsiteX242" fmla="*/ 1837686 w 4940931"/>
                <a:gd name="connsiteY242" fmla="*/ 44450 h 138429"/>
                <a:gd name="connsiteX243" fmla="*/ 1829431 w 4940931"/>
                <a:gd name="connsiteY243" fmla="*/ 43180 h 138429"/>
                <a:gd name="connsiteX244" fmla="*/ 1178561 w 4940931"/>
                <a:gd name="connsiteY244" fmla="*/ 43180 h 138429"/>
                <a:gd name="connsiteX245" fmla="*/ 1171576 w 4940931"/>
                <a:gd name="connsiteY245" fmla="*/ 44450 h 138429"/>
                <a:gd name="connsiteX246" fmla="*/ 1166496 w 4940931"/>
                <a:gd name="connsiteY246" fmla="*/ 48260 h 138429"/>
                <a:gd name="connsiteX247" fmla="*/ 1162686 w 4940931"/>
                <a:gd name="connsiteY247" fmla="*/ 54610 h 138429"/>
                <a:gd name="connsiteX248" fmla="*/ 1160781 w 4940931"/>
                <a:gd name="connsiteY248" fmla="*/ 62865 h 138429"/>
                <a:gd name="connsiteX249" fmla="*/ 1196976 w 4940931"/>
                <a:gd name="connsiteY249" fmla="*/ 62865 h 138429"/>
                <a:gd name="connsiteX250" fmla="*/ 1195706 w 4940931"/>
                <a:gd name="connsiteY250" fmla="*/ 55245 h 138429"/>
                <a:gd name="connsiteX251" fmla="*/ 1192531 w 4940931"/>
                <a:gd name="connsiteY251" fmla="*/ 48895 h 138429"/>
                <a:gd name="connsiteX252" fmla="*/ 1186816 w 4940931"/>
                <a:gd name="connsiteY252" fmla="*/ 44450 h 138429"/>
                <a:gd name="connsiteX253" fmla="*/ 1178561 w 4940931"/>
                <a:gd name="connsiteY253" fmla="*/ 43180 h 138429"/>
                <a:gd name="connsiteX254" fmla="*/ 898525 w 4940931"/>
                <a:gd name="connsiteY254" fmla="*/ 43180 h 138429"/>
                <a:gd name="connsiteX255" fmla="*/ 891540 w 4940931"/>
                <a:gd name="connsiteY255" fmla="*/ 44450 h 138429"/>
                <a:gd name="connsiteX256" fmla="*/ 886460 w 4940931"/>
                <a:gd name="connsiteY256" fmla="*/ 48260 h 138429"/>
                <a:gd name="connsiteX257" fmla="*/ 882650 w 4940931"/>
                <a:gd name="connsiteY257" fmla="*/ 54610 h 138429"/>
                <a:gd name="connsiteX258" fmla="*/ 880745 w 4940931"/>
                <a:gd name="connsiteY258" fmla="*/ 62865 h 138429"/>
                <a:gd name="connsiteX259" fmla="*/ 916940 w 4940931"/>
                <a:gd name="connsiteY259" fmla="*/ 62865 h 138429"/>
                <a:gd name="connsiteX260" fmla="*/ 915670 w 4940931"/>
                <a:gd name="connsiteY260" fmla="*/ 55245 h 138429"/>
                <a:gd name="connsiteX261" fmla="*/ 912495 w 4940931"/>
                <a:gd name="connsiteY261" fmla="*/ 48895 h 138429"/>
                <a:gd name="connsiteX262" fmla="*/ 906780 w 4940931"/>
                <a:gd name="connsiteY262" fmla="*/ 44450 h 138429"/>
                <a:gd name="connsiteX263" fmla="*/ 898525 w 4940931"/>
                <a:gd name="connsiteY263" fmla="*/ 43180 h 138429"/>
                <a:gd name="connsiteX264" fmla="*/ 584834 w 4940931"/>
                <a:gd name="connsiteY264" fmla="*/ 43180 h 138429"/>
                <a:gd name="connsiteX265" fmla="*/ 577849 w 4940931"/>
                <a:gd name="connsiteY265" fmla="*/ 44450 h 138429"/>
                <a:gd name="connsiteX266" fmla="*/ 572769 w 4940931"/>
                <a:gd name="connsiteY266" fmla="*/ 48260 h 138429"/>
                <a:gd name="connsiteX267" fmla="*/ 568959 w 4940931"/>
                <a:gd name="connsiteY267" fmla="*/ 54610 h 138429"/>
                <a:gd name="connsiteX268" fmla="*/ 567054 w 4940931"/>
                <a:gd name="connsiteY268" fmla="*/ 62865 h 138429"/>
                <a:gd name="connsiteX269" fmla="*/ 603249 w 4940931"/>
                <a:gd name="connsiteY269" fmla="*/ 62865 h 138429"/>
                <a:gd name="connsiteX270" fmla="*/ 601979 w 4940931"/>
                <a:gd name="connsiteY270" fmla="*/ 55245 h 138429"/>
                <a:gd name="connsiteX271" fmla="*/ 598804 w 4940931"/>
                <a:gd name="connsiteY271" fmla="*/ 48895 h 138429"/>
                <a:gd name="connsiteX272" fmla="*/ 593089 w 4940931"/>
                <a:gd name="connsiteY272" fmla="*/ 44450 h 138429"/>
                <a:gd name="connsiteX273" fmla="*/ 584834 w 4940931"/>
                <a:gd name="connsiteY273" fmla="*/ 43180 h 138429"/>
                <a:gd name="connsiteX274" fmla="*/ 398145 w 4940931"/>
                <a:gd name="connsiteY274" fmla="*/ 43180 h 138429"/>
                <a:gd name="connsiteX275" fmla="*/ 391160 w 4940931"/>
                <a:gd name="connsiteY275" fmla="*/ 44450 h 138429"/>
                <a:gd name="connsiteX276" fmla="*/ 386080 w 4940931"/>
                <a:gd name="connsiteY276" fmla="*/ 48260 h 138429"/>
                <a:gd name="connsiteX277" fmla="*/ 382270 w 4940931"/>
                <a:gd name="connsiteY277" fmla="*/ 54610 h 138429"/>
                <a:gd name="connsiteX278" fmla="*/ 380365 w 4940931"/>
                <a:gd name="connsiteY278" fmla="*/ 62865 h 138429"/>
                <a:gd name="connsiteX279" fmla="*/ 416560 w 4940931"/>
                <a:gd name="connsiteY279" fmla="*/ 62865 h 138429"/>
                <a:gd name="connsiteX280" fmla="*/ 415290 w 4940931"/>
                <a:gd name="connsiteY280" fmla="*/ 55245 h 138429"/>
                <a:gd name="connsiteX281" fmla="*/ 412115 w 4940931"/>
                <a:gd name="connsiteY281" fmla="*/ 48895 h 138429"/>
                <a:gd name="connsiteX282" fmla="*/ 406400 w 4940931"/>
                <a:gd name="connsiteY282" fmla="*/ 44450 h 138429"/>
                <a:gd name="connsiteX283" fmla="*/ 398145 w 4940931"/>
                <a:gd name="connsiteY283" fmla="*/ 43180 h 138429"/>
                <a:gd name="connsiteX284" fmla="*/ 320039 w 4940931"/>
                <a:gd name="connsiteY284" fmla="*/ 43180 h 138429"/>
                <a:gd name="connsiteX285" fmla="*/ 314959 w 4940931"/>
                <a:gd name="connsiteY285" fmla="*/ 43815 h 138429"/>
                <a:gd name="connsiteX286" fmla="*/ 309879 w 4940931"/>
                <a:gd name="connsiteY286" fmla="*/ 45720 h 138429"/>
                <a:gd name="connsiteX287" fmla="*/ 305434 w 4940931"/>
                <a:gd name="connsiteY287" fmla="*/ 48895 h 138429"/>
                <a:gd name="connsiteX288" fmla="*/ 302259 w 4940931"/>
                <a:gd name="connsiteY288" fmla="*/ 52705 h 138429"/>
                <a:gd name="connsiteX289" fmla="*/ 302259 w 4940931"/>
                <a:gd name="connsiteY289" fmla="*/ 85725 h 138429"/>
                <a:gd name="connsiteX290" fmla="*/ 305434 w 4940931"/>
                <a:gd name="connsiteY290" fmla="*/ 89535 h 138429"/>
                <a:gd name="connsiteX291" fmla="*/ 309879 w 4940931"/>
                <a:gd name="connsiteY291" fmla="*/ 92710 h 138429"/>
                <a:gd name="connsiteX292" fmla="*/ 314959 w 4940931"/>
                <a:gd name="connsiteY292" fmla="*/ 95250 h 138429"/>
                <a:gd name="connsiteX293" fmla="*/ 320674 w 4940931"/>
                <a:gd name="connsiteY293" fmla="*/ 95885 h 138429"/>
                <a:gd name="connsiteX294" fmla="*/ 333374 w 4940931"/>
                <a:gd name="connsiteY294" fmla="*/ 89535 h 138429"/>
                <a:gd name="connsiteX295" fmla="*/ 337819 w 4940931"/>
                <a:gd name="connsiteY295" fmla="*/ 71120 h 138429"/>
                <a:gd name="connsiteX296" fmla="*/ 337184 w 4940931"/>
                <a:gd name="connsiteY296" fmla="*/ 71755 h 138429"/>
                <a:gd name="connsiteX297" fmla="*/ 332739 w 4940931"/>
                <a:gd name="connsiteY297" fmla="*/ 50165 h 138429"/>
                <a:gd name="connsiteX298" fmla="*/ 320039 w 4940931"/>
                <a:gd name="connsiteY298" fmla="*/ 43180 h 138429"/>
                <a:gd name="connsiteX299" fmla="*/ 200025 w 4940931"/>
                <a:gd name="connsiteY299" fmla="*/ 43180 h 138429"/>
                <a:gd name="connsiteX300" fmla="*/ 193040 w 4940931"/>
                <a:gd name="connsiteY300" fmla="*/ 44450 h 138429"/>
                <a:gd name="connsiteX301" fmla="*/ 187960 w 4940931"/>
                <a:gd name="connsiteY301" fmla="*/ 48260 h 138429"/>
                <a:gd name="connsiteX302" fmla="*/ 184150 w 4940931"/>
                <a:gd name="connsiteY302" fmla="*/ 54610 h 138429"/>
                <a:gd name="connsiteX303" fmla="*/ 182245 w 4940931"/>
                <a:gd name="connsiteY303" fmla="*/ 62865 h 138429"/>
                <a:gd name="connsiteX304" fmla="*/ 218440 w 4940931"/>
                <a:gd name="connsiteY304" fmla="*/ 62865 h 138429"/>
                <a:gd name="connsiteX305" fmla="*/ 217170 w 4940931"/>
                <a:gd name="connsiteY305" fmla="*/ 55245 h 138429"/>
                <a:gd name="connsiteX306" fmla="*/ 213995 w 4940931"/>
                <a:gd name="connsiteY306" fmla="*/ 48895 h 138429"/>
                <a:gd name="connsiteX307" fmla="*/ 208280 w 4940931"/>
                <a:gd name="connsiteY307" fmla="*/ 44450 h 138429"/>
                <a:gd name="connsiteX308" fmla="*/ 200025 w 4940931"/>
                <a:gd name="connsiteY308" fmla="*/ 43180 h 138429"/>
                <a:gd name="connsiteX309" fmla="*/ 4439281 w 4940931"/>
                <a:gd name="connsiteY309" fmla="*/ 43179 h 138429"/>
                <a:gd name="connsiteX310" fmla="*/ 4426581 w 4940931"/>
                <a:gd name="connsiteY310" fmla="*/ 49529 h 138429"/>
                <a:gd name="connsiteX311" fmla="*/ 4422136 w 4940931"/>
                <a:gd name="connsiteY311" fmla="*/ 67944 h 138429"/>
                <a:gd name="connsiteX312" fmla="*/ 4423406 w 4940931"/>
                <a:gd name="connsiteY312" fmla="*/ 80644 h 138429"/>
                <a:gd name="connsiteX313" fmla="*/ 4426581 w 4940931"/>
                <a:gd name="connsiteY313" fmla="*/ 89534 h 138429"/>
                <a:gd name="connsiteX314" fmla="*/ 4432296 w 4940931"/>
                <a:gd name="connsiteY314" fmla="*/ 94614 h 138429"/>
                <a:gd name="connsiteX315" fmla="*/ 4439916 w 4940931"/>
                <a:gd name="connsiteY315" fmla="*/ 96519 h 138429"/>
                <a:gd name="connsiteX316" fmla="*/ 4444996 w 4940931"/>
                <a:gd name="connsiteY316" fmla="*/ 95884 h 138429"/>
                <a:gd name="connsiteX317" fmla="*/ 4450076 w 4940931"/>
                <a:gd name="connsiteY317" fmla="*/ 93344 h 138429"/>
                <a:gd name="connsiteX318" fmla="*/ 4454521 w 4940931"/>
                <a:gd name="connsiteY318" fmla="*/ 90169 h 138429"/>
                <a:gd name="connsiteX319" fmla="*/ 4457696 w 4940931"/>
                <a:gd name="connsiteY319" fmla="*/ 86359 h 138429"/>
                <a:gd name="connsiteX320" fmla="*/ 4457696 w 4940931"/>
                <a:gd name="connsiteY320" fmla="*/ 53339 h 138429"/>
                <a:gd name="connsiteX321" fmla="*/ 4454521 w 4940931"/>
                <a:gd name="connsiteY321" fmla="*/ 49529 h 138429"/>
                <a:gd name="connsiteX322" fmla="*/ 4450076 w 4940931"/>
                <a:gd name="connsiteY322" fmla="*/ 46354 h 138429"/>
                <a:gd name="connsiteX323" fmla="*/ 4444996 w 4940931"/>
                <a:gd name="connsiteY323" fmla="*/ 43814 h 138429"/>
                <a:gd name="connsiteX324" fmla="*/ 4439281 w 4940931"/>
                <a:gd name="connsiteY324" fmla="*/ 43179 h 138429"/>
                <a:gd name="connsiteX325" fmla="*/ 1014731 w 4940931"/>
                <a:gd name="connsiteY325" fmla="*/ 43179 h 138429"/>
                <a:gd name="connsiteX326" fmla="*/ 1002032 w 4940931"/>
                <a:gd name="connsiteY326" fmla="*/ 49529 h 138429"/>
                <a:gd name="connsiteX327" fmla="*/ 997587 w 4940931"/>
                <a:gd name="connsiteY327" fmla="*/ 67944 h 138429"/>
                <a:gd name="connsiteX328" fmla="*/ 1002032 w 4940931"/>
                <a:gd name="connsiteY328" fmla="*/ 88899 h 138429"/>
                <a:gd name="connsiteX329" fmla="*/ 1015367 w 4940931"/>
                <a:gd name="connsiteY329" fmla="*/ 95884 h 138429"/>
                <a:gd name="connsiteX330" fmla="*/ 1024891 w 4940931"/>
                <a:gd name="connsiteY330" fmla="*/ 93344 h 138429"/>
                <a:gd name="connsiteX331" fmla="*/ 1033147 w 4940931"/>
                <a:gd name="connsiteY331" fmla="*/ 86359 h 138429"/>
                <a:gd name="connsiteX332" fmla="*/ 1033147 w 4940931"/>
                <a:gd name="connsiteY332" fmla="*/ 53339 h 138429"/>
                <a:gd name="connsiteX333" fmla="*/ 1029971 w 4940931"/>
                <a:gd name="connsiteY333" fmla="*/ 49529 h 138429"/>
                <a:gd name="connsiteX334" fmla="*/ 1025526 w 4940931"/>
                <a:gd name="connsiteY334" fmla="*/ 46354 h 138429"/>
                <a:gd name="connsiteX335" fmla="*/ 1020446 w 4940931"/>
                <a:gd name="connsiteY335" fmla="*/ 43814 h 138429"/>
                <a:gd name="connsiteX336" fmla="*/ 1014731 w 4940931"/>
                <a:gd name="connsiteY336" fmla="*/ 43179 h 138429"/>
                <a:gd name="connsiteX337" fmla="*/ 4524370 w 4940931"/>
                <a:gd name="connsiteY337" fmla="*/ 31114 h 138429"/>
                <a:gd name="connsiteX338" fmla="*/ 4538975 w 4940931"/>
                <a:gd name="connsiteY338" fmla="*/ 31114 h 138429"/>
                <a:gd name="connsiteX339" fmla="*/ 4552310 w 4940931"/>
                <a:gd name="connsiteY339" fmla="*/ 84454 h 138429"/>
                <a:gd name="connsiteX340" fmla="*/ 4566915 w 4940931"/>
                <a:gd name="connsiteY340" fmla="*/ 31114 h 138429"/>
                <a:gd name="connsiteX341" fmla="*/ 4579615 w 4940931"/>
                <a:gd name="connsiteY341" fmla="*/ 31114 h 138429"/>
                <a:gd name="connsiteX342" fmla="*/ 4594220 w 4940931"/>
                <a:gd name="connsiteY342" fmla="*/ 84454 h 138429"/>
                <a:gd name="connsiteX343" fmla="*/ 4606920 w 4940931"/>
                <a:gd name="connsiteY343" fmla="*/ 31114 h 138429"/>
                <a:gd name="connsiteX344" fmla="*/ 4622160 w 4940931"/>
                <a:gd name="connsiteY344" fmla="*/ 31114 h 138429"/>
                <a:gd name="connsiteX345" fmla="*/ 4600570 w 4940931"/>
                <a:gd name="connsiteY345" fmla="*/ 108584 h 138429"/>
                <a:gd name="connsiteX346" fmla="*/ 4587235 w 4940931"/>
                <a:gd name="connsiteY346" fmla="*/ 108584 h 138429"/>
                <a:gd name="connsiteX347" fmla="*/ 4572630 w 4940931"/>
                <a:gd name="connsiteY347" fmla="*/ 54609 h 138429"/>
                <a:gd name="connsiteX348" fmla="*/ 4558660 w 4940931"/>
                <a:gd name="connsiteY348" fmla="*/ 108584 h 138429"/>
                <a:gd name="connsiteX349" fmla="*/ 4545325 w 4940931"/>
                <a:gd name="connsiteY349" fmla="*/ 108584 h 138429"/>
                <a:gd name="connsiteX350" fmla="*/ 4123686 w 4940931"/>
                <a:gd name="connsiteY350" fmla="*/ 31114 h 138429"/>
                <a:gd name="connsiteX351" fmla="*/ 4138926 w 4940931"/>
                <a:gd name="connsiteY351" fmla="*/ 31114 h 138429"/>
                <a:gd name="connsiteX352" fmla="*/ 4152261 w 4940931"/>
                <a:gd name="connsiteY352" fmla="*/ 84454 h 138429"/>
                <a:gd name="connsiteX353" fmla="*/ 4166866 w 4940931"/>
                <a:gd name="connsiteY353" fmla="*/ 31114 h 138429"/>
                <a:gd name="connsiteX354" fmla="*/ 4178931 w 4940931"/>
                <a:gd name="connsiteY354" fmla="*/ 31114 h 138429"/>
                <a:gd name="connsiteX355" fmla="*/ 4193536 w 4940931"/>
                <a:gd name="connsiteY355" fmla="*/ 84454 h 138429"/>
                <a:gd name="connsiteX356" fmla="*/ 4206871 w 4940931"/>
                <a:gd name="connsiteY356" fmla="*/ 31114 h 138429"/>
                <a:gd name="connsiteX357" fmla="*/ 4222111 w 4940931"/>
                <a:gd name="connsiteY357" fmla="*/ 31114 h 138429"/>
                <a:gd name="connsiteX358" fmla="*/ 4200521 w 4940931"/>
                <a:gd name="connsiteY358" fmla="*/ 108584 h 138429"/>
                <a:gd name="connsiteX359" fmla="*/ 4187186 w 4940931"/>
                <a:gd name="connsiteY359" fmla="*/ 108584 h 138429"/>
                <a:gd name="connsiteX360" fmla="*/ 4172581 w 4940931"/>
                <a:gd name="connsiteY360" fmla="*/ 54609 h 138429"/>
                <a:gd name="connsiteX361" fmla="*/ 4157976 w 4940931"/>
                <a:gd name="connsiteY361" fmla="*/ 108584 h 138429"/>
                <a:gd name="connsiteX362" fmla="*/ 4145276 w 4940931"/>
                <a:gd name="connsiteY362" fmla="*/ 108584 h 138429"/>
                <a:gd name="connsiteX363" fmla="*/ 2837811 w 4940931"/>
                <a:gd name="connsiteY363" fmla="*/ 31114 h 138429"/>
                <a:gd name="connsiteX364" fmla="*/ 2852416 w 4940931"/>
                <a:gd name="connsiteY364" fmla="*/ 31114 h 138429"/>
                <a:gd name="connsiteX365" fmla="*/ 2865751 w 4940931"/>
                <a:gd name="connsiteY365" fmla="*/ 84454 h 138429"/>
                <a:gd name="connsiteX366" fmla="*/ 2880356 w 4940931"/>
                <a:gd name="connsiteY366" fmla="*/ 31114 h 138429"/>
                <a:gd name="connsiteX367" fmla="*/ 2893056 w 4940931"/>
                <a:gd name="connsiteY367" fmla="*/ 31114 h 138429"/>
                <a:gd name="connsiteX368" fmla="*/ 2907661 w 4940931"/>
                <a:gd name="connsiteY368" fmla="*/ 84454 h 138429"/>
                <a:gd name="connsiteX369" fmla="*/ 2920361 w 4940931"/>
                <a:gd name="connsiteY369" fmla="*/ 31114 h 138429"/>
                <a:gd name="connsiteX370" fmla="*/ 2935601 w 4940931"/>
                <a:gd name="connsiteY370" fmla="*/ 31114 h 138429"/>
                <a:gd name="connsiteX371" fmla="*/ 2914011 w 4940931"/>
                <a:gd name="connsiteY371" fmla="*/ 108584 h 138429"/>
                <a:gd name="connsiteX372" fmla="*/ 2900676 w 4940931"/>
                <a:gd name="connsiteY372" fmla="*/ 108584 h 138429"/>
                <a:gd name="connsiteX373" fmla="*/ 2886706 w 4940931"/>
                <a:gd name="connsiteY373" fmla="*/ 54609 h 138429"/>
                <a:gd name="connsiteX374" fmla="*/ 2872101 w 4940931"/>
                <a:gd name="connsiteY374" fmla="*/ 108584 h 138429"/>
                <a:gd name="connsiteX375" fmla="*/ 2858766 w 4940931"/>
                <a:gd name="connsiteY375" fmla="*/ 108584 h 138429"/>
                <a:gd name="connsiteX376" fmla="*/ 1354455 w 4940931"/>
                <a:gd name="connsiteY376" fmla="*/ 31114 h 138429"/>
                <a:gd name="connsiteX377" fmla="*/ 1369695 w 4940931"/>
                <a:gd name="connsiteY377" fmla="*/ 31114 h 138429"/>
                <a:gd name="connsiteX378" fmla="*/ 1369695 w 4940931"/>
                <a:gd name="connsiteY378" fmla="*/ 109219 h 138429"/>
                <a:gd name="connsiteX379" fmla="*/ 1354455 w 4940931"/>
                <a:gd name="connsiteY379" fmla="*/ 109219 h 138429"/>
                <a:gd name="connsiteX380" fmla="*/ 2646040 w 4940931"/>
                <a:gd name="connsiteY380" fmla="*/ 29844 h 138429"/>
                <a:gd name="connsiteX381" fmla="*/ 2658105 w 4940931"/>
                <a:gd name="connsiteY381" fmla="*/ 31749 h 138429"/>
                <a:gd name="connsiteX382" fmla="*/ 2667630 w 4940931"/>
                <a:gd name="connsiteY382" fmla="*/ 36829 h 138429"/>
                <a:gd name="connsiteX383" fmla="*/ 2673345 w 4940931"/>
                <a:gd name="connsiteY383" fmla="*/ 45084 h 138429"/>
                <a:gd name="connsiteX384" fmla="*/ 2675250 w 4940931"/>
                <a:gd name="connsiteY384" fmla="*/ 56514 h 138429"/>
                <a:gd name="connsiteX385" fmla="*/ 2675250 w 4940931"/>
                <a:gd name="connsiteY385" fmla="*/ 109854 h 138429"/>
                <a:gd name="connsiteX386" fmla="*/ 2660010 w 4940931"/>
                <a:gd name="connsiteY386" fmla="*/ 109854 h 138429"/>
                <a:gd name="connsiteX387" fmla="*/ 2660010 w 4940931"/>
                <a:gd name="connsiteY387" fmla="*/ 108584 h 138429"/>
                <a:gd name="connsiteX388" fmla="*/ 2660010 w 4940931"/>
                <a:gd name="connsiteY388" fmla="*/ 100964 h 138429"/>
                <a:gd name="connsiteX389" fmla="*/ 2654930 w 4940931"/>
                <a:gd name="connsiteY389" fmla="*/ 104774 h 138429"/>
                <a:gd name="connsiteX390" fmla="*/ 2651120 w 4940931"/>
                <a:gd name="connsiteY390" fmla="*/ 107314 h 138429"/>
                <a:gd name="connsiteX391" fmla="*/ 2646040 w 4940931"/>
                <a:gd name="connsiteY391" fmla="*/ 109219 h 138429"/>
                <a:gd name="connsiteX392" fmla="*/ 2639055 w 4940931"/>
                <a:gd name="connsiteY392" fmla="*/ 109854 h 138429"/>
                <a:gd name="connsiteX393" fmla="*/ 2629530 w 4940931"/>
                <a:gd name="connsiteY393" fmla="*/ 108584 h 138429"/>
                <a:gd name="connsiteX394" fmla="*/ 2620640 w 4940931"/>
                <a:gd name="connsiteY394" fmla="*/ 104139 h 138429"/>
                <a:gd name="connsiteX395" fmla="*/ 2614290 w 4940931"/>
                <a:gd name="connsiteY395" fmla="*/ 95884 h 138429"/>
                <a:gd name="connsiteX396" fmla="*/ 2611750 w 4940931"/>
                <a:gd name="connsiteY396" fmla="*/ 83819 h 138429"/>
                <a:gd name="connsiteX397" fmla="*/ 2614290 w 4940931"/>
                <a:gd name="connsiteY397" fmla="*/ 72389 h 138429"/>
                <a:gd name="connsiteX398" fmla="*/ 2620640 w 4940931"/>
                <a:gd name="connsiteY398" fmla="*/ 64769 h 138429"/>
                <a:gd name="connsiteX399" fmla="*/ 2630800 w 4940931"/>
                <a:gd name="connsiteY399" fmla="*/ 60324 h 138429"/>
                <a:gd name="connsiteX400" fmla="*/ 2642865 w 4940931"/>
                <a:gd name="connsiteY400" fmla="*/ 59054 h 138429"/>
                <a:gd name="connsiteX401" fmla="*/ 2653025 w 4940931"/>
                <a:gd name="connsiteY401" fmla="*/ 59689 h 138429"/>
                <a:gd name="connsiteX402" fmla="*/ 2660010 w 4940931"/>
                <a:gd name="connsiteY402" fmla="*/ 61594 h 138429"/>
                <a:gd name="connsiteX403" fmla="*/ 2660010 w 4940931"/>
                <a:gd name="connsiteY403" fmla="*/ 55879 h 138429"/>
                <a:gd name="connsiteX404" fmla="*/ 2656200 w 4940931"/>
                <a:gd name="connsiteY404" fmla="*/ 46354 h 138429"/>
                <a:gd name="connsiteX405" fmla="*/ 2645405 w 4940931"/>
                <a:gd name="connsiteY405" fmla="*/ 43179 h 138429"/>
                <a:gd name="connsiteX406" fmla="*/ 2634610 w 4940931"/>
                <a:gd name="connsiteY406" fmla="*/ 44449 h 138429"/>
                <a:gd name="connsiteX407" fmla="*/ 2625085 w 4940931"/>
                <a:gd name="connsiteY407" fmla="*/ 48259 h 138429"/>
                <a:gd name="connsiteX408" fmla="*/ 2619370 w 4940931"/>
                <a:gd name="connsiteY408" fmla="*/ 36829 h 138429"/>
                <a:gd name="connsiteX409" fmla="*/ 2631435 w 4940931"/>
                <a:gd name="connsiteY409" fmla="*/ 31749 h 138429"/>
                <a:gd name="connsiteX410" fmla="*/ 2646040 w 4940931"/>
                <a:gd name="connsiteY410" fmla="*/ 29844 h 138429"/>
                <a:gd name="connsiteX411" fmla="*/ 1114426 w 4940931"/>
                <a:gd name="connsiteY411" fmla="*/ 29844 h 138429"/>
                <a:gd name="connsiteX412" fmla="*/ 1129666 w 4940931"/>
                <a:gd name="connsiteY412" fmla="*/ 29844 h 138429"/>
                <a:gd name="connsiteX413" fmla="*/ 1129666 w 4940931"/>
                <a:gd name="connsiteY413" fmla="*/ 107949 h 138429"/>
                <a:gd name="connsiteX414" fmla="*/ 1114426 w 4940931"/>
                <a:gd name="connsiteY414" fmla="*/ 107949 h 138429"/>
                <a:gd name="connsiteX415" fmla="*/ 1114426 w 4940931"/>
                <a:gd name="connsiteY415" fmla="*/ 100964 h 138429"/>
                <a:gd name="connsiteX416" fmla="*/ 1106171 w 4940931"/>
                <a:gd name="connsiteY416" fmla="*/ 107314 h 138429"/>
                <a:gd name="connsiteX417" fmla="*/ 1094741 w 4940931"/>
                <a:gd name="connsiteY417" fmla="*/ 109854 h 138429"/>
                <a:gd name="connsiteX418" fmla="*/ 1073786 w 4940931"/>
                <a:gd name="connsiteY418" fmla="*/ 100964 h 138429"/>
                <a:gd name="connsiteX419" fmla="*/ 1066800 w 4940931"/>
                <a:gd name="connsiteY419" fmla="*/ 74929 h 138429"/>
                <a:gd name="connsiteX420" fmla="*/ 1066800 w 4940931"/>
                <a:gd name="connsiteY420" fmla="*/ 30479 h 138429"/>
                <a:gd name="connsiteX421" fmla="*/ 1082040 w 4940931"/>
                <a:gd name="connsiteY421" fmla="*/ 30479 h 138429"/>
                <a:gd name="connsiteX422" fmla="*/ 1082040 w 4940931"/>
                <a:gd name="connsiteY422" fmla="*/ 74294 h 138429"/>
                <a:gd name="connsiteX423" fmla="*/ 1085851 w 4940931"/>
                <a:gd name="connsiteY423" fmla="*/ 90169 h 138429"/>
                <a:gd name="connsiteX424" fmla="*/ 1097916 w 4940931"/>
                <a:gd name="connsiteY424" fmla="*/ 95249 h 138429"/>
                <a:gd name="connsiteX425" fmla="*/ 1109981 w 4940931"/>
                <a:gd name="connsiteY425" fmla="*/ 90169 h 138429"/>
                <a:gd name="connsiteX426" fmla="*/ 1114426 w 4940931"/>
                <a:gd name="connsiteY426" fmla="*/ 75564 h 138429"/>
                <a:gd name="connsiteX427" fmla="*/ 1011556 w 4940931"/>
                <a:gd name="connsiteY427" fmla="*/ 29844 h 138429"/>
                <a:gd name="connsiteX428" fmla="*/ 1017272 w 4940931"/>
                <a:gd name="connsiteY428" fmla="*/ 30479 h 138429"/>
                <a:gd name="connsiteX429" fmla="*/ 1022352 w 4940931"/>
                <a:gd name="connsiteY429" fmla="*/ 32384 h 138429"/>
                <a:gd name="connsiteX430" fmla="*/ 1026797 w 4940931"/>
                <a:gd name="connsiteY430" fmla="*/ 35559 h 138429"/>
                <a:gd name="connsiteX431" fmla="*/ 1030607 w 4940931"/>
                <a:gd name="connsiteY431" fmla="*/ 38734 h 138429"/>
                <a:gd name="connsiteX432" fmla="*/ 1030607 w 4940931"/>
                <a:gd name="connsiteY432" fmla="*/ 31749 h 138429"/>
                <a:gd name="connsiteX433" fmla="*/ 1045847 w 4940931"/>
                <a:gd name="connsiteY433" fmla="*/ 31749 h 138429"/>
                <a:gd name="connsiteX434" fmla="*/ 1045847 w 4940931"/>
                <a:gd name="connsiteY434" fmla="*/ 130809 h 138429"/>
                <a:gd name="connsiteX435" fmla="*/ 1032512 w 4940931"/>
                <a:gd name="connsiteY435" fmla="*/ 137477 h 138429"/>
                <a:gd name="connsiteX436" fmla="*/ 1032512 w 4940931"/>
                <a:gd name="connsiteY436" fmla="*/ 101599 h 138429"/>
                <a:gd name="connsiteX437" fmla="*/ 1022986 w 4940931"/>
                <a:gd name="connsiteY437" fmla="*/ 107949 h 138429"/>
                <a:gd name="connsiteX438" fmla="*/ 1011556 w 4940931"/>
                <a:gd name="connsiteY438" fmla="*/ 110489 h 138429"/>
                <a:gd name="connsiteX439" fmla="*/ 999491 w 4940931"/>
                <a:gd name="connsiteY439" fmla="*/ 107949 h 138429"/>
                <a:gd name="connsiteX440" fmla="*/ 989966 w 4940931"/>
                <a:gd name="connsiteY440" fmla="*/ 100329 h 138429"/>
                <a:gd name="connsiteX441" fmla="*/ 983616 w 4940931"/>
                <a:gd name="connsiteY441" fmla="*/ 87629 h 138429"/>
                <a:gd name="connsiteX442" fmla="*/ 981076 w 4940931"/>
                <a:gd name="connsiteY442" fmla="*/ 68579 h 138429"/>
                <a:gd name="connsiteX443" fmla="*/ 983616 w 4940931"/>
                <a:gd name="connsiteY443" fmla="*/ 51434 h 138429"/>
                <a:gd name="connsiteX444" fmla="*/ 990601 w 4940931"/>
                <a:gd name="connsiteY444" fmla="*/ 39369 h 138429"/>
                <a:gd name="connsiteX445" fmla="*/ 1000126 w 4940931"/>
                <a:gd name="connsiteY445" fmla="*/ 32384 h 138429"/>
                <a:gd name="connsiteX446" fmla="*/ 1011556 w 4940931"/>
                <a:gd name="connsiteY446" fmla="*/ 29844 h 138429"/>
                <a:gd name="connsiteX447" fmla="*/ 4871716 w 4940931"/>
                <a:gd name="connsiteY447" fmla="*/ 29210 h 138429"/>
                <a:gd name="connsiteX448" fmla="*/ 4885686 w 4940931"/>
                <a:gd name="connsiteY448" fmla="*/ 31750 h 138429"/>
                <a:gd name="connsiteX449" fmla="*/ 4897751 w 4940931"/>
                <a:gd name="connsiteY449" fmla="*/ 38100 h 138429"/>
                <a:gd name="connsiteX450" fmla="*/ 4899021 w 4940931"/>
                <a:gd name="connsiteY450" fmla="*/ 38100 h 138429"/>
                <a:gd name="connsiteX451" fmla="*/ 4892036 w 4940931"/>
                <a:gd name="connsiteY451" fmla="*/ 50165 h 138429"/>
                <a:gd name="connsiteX452" fmla="*/ 4882511 w 4940931"/>
                <a:gd name="connsiteY452" fmla="*/ 45085 h 138429"/>
                <a:gd name="connsiteX453" fmla="*/ 4872351 w 4940931"/>
                <a:gd name="connsiteY453" fmla="*/ 43180 h 138429"/>
                <a:gd name="connsiteX454" fmla="*/ 4864096 w 4940931"/>
                <a:gd name="connsiteY454" fmla="*/ 45085 h 138429"/>
                <a:gd name="connsiteX455" fmla="*/ 4861556 w 4940931"/>
                <a:gd name="connsiteY455" fmla="*/ 50165 h 138429"/>
                <a:gd name="connsiteX456" fmla="*/ 4861556 w 4940931"/>
                <a:gd name="connsiteY456" fmla="*/ 52705 h 138429"/>
                <a:gd name="connsiteX457" fmla="*/ 4863461 w 4940931"/>
                <a:gd name="connsiteY457" fmla="*/ 55245 h 138429"/>
                <a:gd name="connsiteX458" fmla="*/ 4867906 w 4940931"/>
                <a:gd name="connsiteY458" fmla="*/ 57785 h 138429"/>
                <a:gd name="connsiteX459" fmla="*/ 4874891 w 4940931"/>
                <a:gd name="connsiteY459" fmla="*/ 60960 h 138429"/>
                <a:gd name="connsiteX460" fmla="*/ 4886321 w 4940931"/>
                <a:gd name="connsiteY460" fmla="*/ 66040 h 138429"/>
                <a:gd name="connsiteX461" fmla="*/ 4894576 w 4940931"/>
                <a:gd name="connsiteY461" fmla="*/ 71120 h 138429"/>
                <a:gd name="connsiteX462" fmla="*/ 4899656 w 4940931"/>
                <a:gd name="connsiteY462" fmla="*/ 78105 h 138429"/>
                <a:gd name="connsiteX463" fmla="*/ 4901561 w 4940931"/>
                <a:gd name="connsiteY463" fmla="*/ 87630 h 138429"/>
                <a:gd name="connsiteX464" fmla="*/ 4899021 w 4940931"/>
                <a:gd name="connsiteY464" fmla="*/ 98425 h 138429"/>
                <a:gd name="connsiteX465" fmla="*/ 4892671 w 4940931"/>
                <a:gd name="connsiteY465" fmla="*/ 105410 h 138429"/>
                <a:gd name="connsiteX466" fmla="*/ 4883146 w 4940931"/>
                <a:gd name="connsiteY466" fmla="*/ 109220 h 138429"/>
                <a:gd name="connsiteX467" fmla="*/ 4872351 w 4940931"/>
                <a:gd name="connsiteY467" fmla="*/ 110490 h 138429"/>
                <a:gd name="connsiteX468" fmla="*/ 4857111 w 4940931"/>
                <a:gd name="connsiteY468" fmla="*/ 107950 h 138429"/>
                <a:gd name="connsiteX469" fmla="*/ 4842506 w 4940931"/>
                <a:gd name="connsiteY469" fmla="*/ 100965 h 138429"/>
                <a:gd name="connsiteX470" fmla="*/ 4849491 w 4940931"/>
                <a:gd name="connsiteY470" fmla="*/ 89535 h 138429"/>
                <a:gd name="connsiteX471" fmla="*/ 4860921 w 4940931"/>
                <a:gd name="connsiteY471" fmla="*/ 95250 h 138429"/>
                <a:gd name="connsiteX472" fmla="*/ 4872351 w 4940931"/>
                <a:gd name="connsiteY472" fmla="*/ 97155 h 138429"/>
                <a:gd name="connsiteX473" fmla="*/ 4883146 w 4940931"/>
                <a:gd name="connsiteY473" fmla="*/ 94615 h 138429"/>
                <a:gd name="connsiteX474" fmla="*/ 4886321 w 4940931"/>
                <a:gd name="connsiteY474" fmla="*/ 88265 h 138429"/>
                <a:gd name="connsiteX475" fmla="*/ 4885051 w 4940931"/>
                <a:gd name="connsiteY475" fmla="*/ 84455 h 138429"/>
                <a:gd name="connsiteX476" fmla="*/ 4881241 w 4940931"/>
                <a:gd name="connsiteY476" fmla="*/ 81280 h 138429"/>
                <a:gd name="connsiteX477" fmla="*/ 4875526 w 4940931"/>
                <a:gd name="connsiteY477" fmla="*/ 78105 h 138429"/>
                <a:gd name="connsiteX478" fmla="*/ 4867906 w 4940931"/>
                <a:gd name="connsiteY478" fmla="*/ 74930 h 138429"/>
                <a:gd name="connsiteX479" fmla="*/ 4857111 w 4940931"/>
                <a:gd name="connsiteY479" fmla="*/ 69850 h 138429"/>
                <a:gd name="connsiteX480" fmla="*/ 4850126 w 4940931"/>
                <a:gd name="connsiteY480" fmla="*/ 64770 h 138429"/>
                <a:gd name="connsiteX481" fmla="*/ 4846316 w 4940931"/>
                <a:gd name="connsiteY481" fmla="*/ 58420 h 138429"/>
                <a:gd name="connsiteX482" fmla="*/ 4845046 w 4940931"/>
                <a:gd name="connsiteY482" fmla="*/ 50165 h 138429"/>
                <a:gd name="connsiteX483" fmla="*/ 4846951 w 4940931"/>
                <a:gd name="connsiteY483" fmla="*/ 40640 h 138429"/>
                <a:gd name="connsiteX484" fmla="*/ 4852666 w 4940931"/>
                <a:gd name="connsiteY484" fmla="*/ 34290 h 138429"/>
                <a:gd name="connsiteX485" fmla="*/ 4860921 w 4940931"/>
                <a:gd name="connsiteY485" fmla="*/ 30480 h 138429"/>
                <a:gd name="connsiteX486" fmla="*/ 4871716 w 4940931"/>
                <a:gd name="connsiteY486" fmla="*/ 29210 h 138429"/>
                <a:gd name="connsiteX487" fmla="*/ 4749796 w 4940931"/>
                <a:gd name="connsiteY487" fmla="*/ 29210 h 138429"/>
                <a:gd name="connsiteX488" fmla="*/ 4757416 w 4940931"/>
                <a:gd name="connsiteY488" fmla="*/ 29845 h 138429"/>
                <a:gd name="connsiteX489" fmla="*/ 4763131 w 4940931"/>
                <a:gd name="connsiteY489" fmla="*/ 32385 h 138429"/>
                <a:gd name="connsiteX490" fmla="*/ 4759321 w 4940931"/>
                <a:gd name="connsiteY490" fmla="*/ 46990 h 138429"/>
                <a:gd name="connsiteX491" fmla="*/ 4758051 w 4940931"/>
                <a:gd name="connsiteY491" fmla="*/ 46990 h 138429"/>
                <a:gd name="connsiteX492" fmla="*/ 4752971 w 4940931"/>
                <a:gd name="connsiteY492" fmla="*/ 45085 h 138429"/>
                <a:gd name="connsiteX493" fmla="*/ 4746621 w 4940931"/>
                <a:gd name="connsiteY493" fmla="*/ 44450 h 138429"/>
                <a:gd name="connsiteX494" fmla="*/ 4735191 w 4940931"/>
                <a:gd name="connsiteY494" fmla="*/ 49530 h 138429"/>
                <a:gd name="connsiteX495" fmla="*/ 4731381 w 4940931"/>
                <a:gd name="connsiteY495" fmla="*/ 64770 h 138429"/>
                <a:gd name="connsiteX496" fmla="*/ 4731381 w 4940931"/>
                <a:gd name="connsiteY496" fmla="*/ 109220 h 138429"/>
                <a:gd name="connsiteX497" fmla="*/ 4716141 w 4940931"/>
                <a:gd name="connsiteY497" fmla="*/ 109220 h 138429"/>
                <a:gd name="connsiteX498" fmla="*/ 4716141 w 4940931"/>
                <a:gd name="connsiteY498" fmla="*/ 31115 h 138429"/>
                <a:gd name="connsiteX499" fmla="*/ 4731381 w 4940931"/>
                <a:gd name="connsiteY499" fmla="*/ 31115 h 138429"/>
                <a:gd name="connsiteX500" fmla="*/ 4731381 w 4940931"/>
                <a:gd name="connsiteY500" fmla="*/ 38735 h 138429"/>
                <a:gd name="connsiteX501" fmla="*/ 4734556 w 4940931"/>
                <a:gd name="connsiteY501" fmla="*/ 34925 h 138429"/>
                <a:gd name="connsiteX502" fmla="*/ 4739001 w 4940931"/>
                <a:gd name="connsiteY502" fmla="*/ 31750 h 138429"/>
                <a:gd name="connsiteX503" fmla="*/ 4744081 w 4940931"/>
                <a:gd name="connsiteY503" fmla="*/ 29845 h 138429"/>
                <a:gd name="connsiteX504" fmla="*/ 4749796 w 4940931"/>
                <a:gd name="connsiteY504" fmla="*/ 29210 h 138429"/>
                <a:gd name="connsiteX505" fmla="*/ 4349110 w 4940931"/>
                <a:gd name="connsiteY505" fmla="*/ 29210 h 138429"/>
                <a:gd name="connsiteX506" fmla="*/ 4356730 w 4940931"/>
                <a:gd name="connsiteY506" fmla="*/ 29845 h 138429"/>
                <a:gd name="connsiteX507" fmla="*/ 4362445 w 4940931"/>
                <a:gd name="connsiteY507" fmla="*/ 32385 h 138429"/>
                <a:gd name="connsiteX508" fmla="*/ 4358635 w 4940931"/>
                <a:gd name="connsiteY508" fmla="*/ 46990 h 138429"/>
                <a:gd name="connsiteX509" fmla="*/ 4357365 w 4940931"/>
                <a:gd name="connsiteY509" fmla="*/ 46990 h 138429"/>
                <a:gd name="connsiteX510" fmla="*/ 4352285 w 4940931"/>
                <a:gd name="connsiteY510" fmla="*/ 45085 h 138429"/>
                <a:gd name="connsiteX511" fmla="*/ 4345935 w 4940931"/>
                <a:gd name="connsiteY511" fmla="*/ 44450 h 138429"/>
                <a:gd name="connsiteX512" fmla="*/ 4334505 w 4940931"/>
                <a:gd name="connsiteY512" fmla="*/ 49530 h 138429"/>
                <a:gd name="connsiteX513" fmla="*/ 4330695 w 4940931"/>
                <a:gd name="connsiteY513" fmla="*/ 64770 h 138429"/>
                <a:gd name="connsiteX514" fmla="*/ 4330695 w 4940931"/>
                <a:gd name="connsiteY514" fmla="*/ 109220 h 138429"/>
                <a:gd name="connsiteX515" fmla="*/ 4315455 w 4940931"/>
                <a:gd name="connsiteY515" fmla="*/ 109220 h 138429"/>
                <a:gd name="connsiteX516" fmla="*/ 4315455 w 4940931"/>
                <a:gd name="connsiteY516" fmla="*/ 31115 h 138429"/>
                <a:gd name="connsiteX517" fmla="*/ 4330695 w 4940931"/>
                <a:gd name="connsiteY517" fmla="*/ 31115 h 138429"/>
                <a:gd name="connsiteX518" fmla="*/ 4330695 w 4940931"/>
                <a:gd name="connsiteY518" fmla="*/ 38735 h 138429"/>
                <a:gd name="connsiteX519" fmla="*/ 4333870 w 4940931"/>
                <a:gd name="connsiteY519" fmla="*/ 34925 h 138429"/>
                <a:gd name="connsiteX520" fmla="*/ 4338315 w 4940931"/>
                <a:gd name="connsiteY520" fmla="*/ 31750 h 138429"/>
                <a:gd name="connsiteX521" fmla="*/ 4343395 w 4940931"/>
                <a:gd name="connsiteY521" fmla="*/ 29845 h 138429"/>
                <a:gd name="connsiteX522" fmla="*/ 4349110 w 4940931"/>
                <a:gd name="connsiteY522" fmla="*/ 29210 h 138429"/>
                <a:gd name="connsiteX523" fmla="*/ 4044310 w 4940931"/>
                <a:gd name="connsiteY523" fmla="*/ 29210 h 138429"/>
                <a:gd name="connsiteX524" fmla="*/ 4058915 w 4940931"/>
                <a:gd name="connsiteY524" fmla="*/ 32385 h 138429"/>
                <a:gd name="connsiteX525" fmla="*/ 4069075 w 4940931"/>
                <a:gd name="connsiteY525" fmla="*/ 40640 h 138429"/>
                <a:gd name="connsiteX526" fmla="*/ 4075425 w 4940931"/>
                <a:gd name="connsiteY526" fmla="*/ 53340 h 138429"/>
                <a:gd name="connsiteX527" fmla="*/ 4077330 w 4940931"/>
                <a:gd name="connsiteY527" fmla="*/ 68580 h 138429"/>
                <a:gd name="connsiteX528" fmla="*/ 4076060 w 4940931"/>
                <a:gd name="connsiteY528" fmla="*/ 68580 h 138429"/>
                <a:gd name="connsiteX529" fmla="*/ 4076060 w 4940931"/>
                <a:gd name="connsiteY529" fmla="*/ 72390 h 138429"/>
                <a:gd name="connsiteX530" fmla="*/ 4076060 w 4940931"/>
                <a:gd name="connsiteY530" fmla="*/ 75565 h 138429"/>
                <a:gd name="connsiteX531" fmla="*/ 4024625 w 4940931"/>
                <a:gd name="connsiteY531" fmla="*/ 75565 h 138429"/>
                <a:gd name="connsiteX532" fmla="*/ 4027165 w 4940931"/>
                <a:gd name="connsiteY532" fmla="*/ 85090 h 138429"/>
                <a:gd name="connsiteX533" fmla="*/ 4031610 w 4940931"/>
                <a:gd name="connsiteY533" fmla="*/ 91440 h 138429"/>
                <a:gd name="connsiteX534" fmla="*/ 4037325 w 4940931"/>
                <a:gd name="connsiteY534" fmla="*/ 95250 h 138429"/>
                <a:gd name="connsiteX535" fmla="*/ 4044310 w 4940931"/>
                <a:gd name="connsiteY535" fmla="*/ 96520 h 138429"/>
                <a:gd name="connsiteX536" fmla="*/ 4049390 w 4940931"/>
                <a:gd name="connsiteY536" fmla="*/ 96520 h 138429"/>
                <a:gd name="connsiteX537" fmla="*/ 4053835 w 4940931"/>
                <a:gd name="connsiteY537" fmla="*/ 95250 h 138429"/>
                <a:gd name="connsiteX538" fmla="*/ 4057645 w 4940931"/>
                <a:gd name="connsiteY538" fmla="*/ 93345 h 138429"/>
                <a:gd name="connsiteX539" fmla="*/ 4062090 w 4940931"/>
                <a:gd name="connsiteY539" fmla="*/ 90805 h 138429"/>
                <a:gd name="connsiteX540" fmla="*/ 4070980 w 4940931"/>
                <a:gd name="connsiteY540" fmla="*/ 100330 h 138429"/>
                <a:gd name="connsiteX541" fmla="*/ 4065265 w 4940931"/>
                <a:gd name="connsiteY541" fmla="*/ 104775 h 138429"/>
                <a:gd name="connsiteX542" fmla="*/ 4059550 w 4940931"/>
                <a:gd name="connsiteY542" fmla="*/ 107950 h 138429"/>
                <a:gd name="connsiteX543" fmla="*/ 4052565 w 4940931"/>
                <a:gd name="connsiteY543" fmla="*/ 109855 h 138429"/>
                <a:gd name="connsiteX544" fmla="*/ 4043675 w 4940931"/>
                <a:gd name="connsiteY544" fmla="*/ 110490 h 138429"/>
                <a:gd name="connsiteX545" fmla="*/ 4034150 w 4940931"/>
                <a:gd name="connsiteY545" fmla="*/ 109220 h 138429"/>
                <a:gd name="connsiteX546" fmla="*/ 4026530 w 4940931"/>
                <a:gd name="connsiteY546" fmla="*/ 105410 h 138429"/>
                <a:gd name="connsiteX547" fmla="*/ 4020180 w 4940931"/>
                <a:gd name="connsiteY547" fmla="*/ 100330 h 138429"/>
                <a:gd name="connsiteX548" fmla="*/ 4015100 w 4940931"/>
                <a:gd name="connsiteY548" fmla="*/ 92710 h 138429"/>
                <a:gd name="connsiteX549" fmla="*/ 4011290 w 4940931"/>
                <a:gd name="connsiteY549" fmla="*/ 82550 h 138429"/>
                <a:gd name="connsiteX550" fmla="*/ 4010020 w 4940931"/>
                <a:gd name="connsiteY550" fmla="*/ 69850 h 138429"/>
                <a:gd name="connsiteX551" fmla="*/ 4012560 w 4940931"/>
                <a:gd name="connsiteY551" fmla="*/ 52070 h 138429"/>
                <a:gd name="connsiteX552" fmla="*/ 4019545 w 4940931"/>
                <a:gd name="connsiteY552" fmla="*/ 39370 h 138429"/>
                <a:gd name="connsiteX553" fmla="*/ 4030340 w 4940931"/>
                <a:gd name="connsiteY553" fmla="*/ 31750 h 138429"/>
                <a:gd name="connsiteX554" fmla="*/ 4044310 w 4940931"/>
                <a:gd name="connsiteY554" fmla="*/ 29210 h 138429"/>
                <a:gd name="connsiteX555" fmla="*/ 3811900 w 4940931"/>
                <a:gd name="connsiteY555" fmla="*/ 29210 h 138429"/>
                <a:gd name="connsiteX556" fmla="*/ 3819520 w 4940931"/>
                <a:gd name="connsiteY556" fmla="*/ 29845 h 138429"/>
                <a:gd name="connsiteX557" fmla="*/ 3825235 w 4940931"/>
                <a:gd name="connsiteY557" fmla="*/ 32385 h 138429"/>
                <a:gd name="connsiteX558" fmla="*/ 3821425 w 4940931"/>
                <a:gd name="connsiteY558" fmla="*/ 46990 h 138429"/>
                <a:gd name="connsiteX559" fmla="*/ 3820155 w 4940931"/>
                <a:gd name="connsiteY559" fmla="*/ 46990 h 138429"/>
                <a:gd name="connsiteX560" fmla="*/ 3815075 w 4940931"/>
                <a:gd name="connsiteY560" fmla="*/ 45085 h 138429"/>
                <a:gd name="connsiteX561" fmla="*/ 3808725 w 4940931"/>
                <a:gd name="connsiteY561" fmla="*/ 44450 h 138429"/>
                <a:gd name="connsiteX562" fmla="*/ 3797295 w 4940931"/>
                <a:gd name="connsiteY562" fmla="*/ 49530 h 138429"/>
                <a:gd name="connsiteX563" fmla="*/ 3793485 w 4940931"/>
                <a:gd name="connsiteY563" fmla="*/ 64770 h 138429"/>
                <a:gd name="connsiteX564" fmla="*/ 3793485 w 4940931"/>
                <a:gd name="connsiteY564" fmla="*/ 109220 h 138429"/>
                <a:gd name="connsiteX565" fmla="*/ 3778245 w 4940931"/>
                <a:gd name="connsiteY565" fmla="*/ 109220 h 138429"/>
                <a:gd name="connsiteX566" fmla="*/ 3778245 w 4940931"/>
                <a:gd name="connsiteY566" fmla="*/ 31115 h 138429"/>
                <a:gd name="connsiteX567" fmla="*/ 3793485 w 4940931"/>
                <a:gd name="connsiteY567" fmla="*/ 31115 h 138429"/>
                <a:gd name="connsiteX568" fmla="*/ 3793485 w 4940931"/>
                <a:gd name="connsiteY568" fmla="*/ 38735 h 138429"/>
                <a:gd name="connsiteX569" fmla="*/ 3796660 w 4940931"/>
                <a:gd name="connsiteY569" fmla="*/ 34925 h 138429"/>
                <a:gd name="connsiteX570" fmla="*/ 3801105 w 4940931"/>
                <a:gd name="connsiteY570" fmla="*/ 31750 h 138429"/>
                <a:gd name="connsiteX571" fmla="*/ 3806185 w 4940931"/>
                <a:gd name="connsiteY571" fmla="*/ 29845 h 138429"/>
                <a:gd name="connsiteX572" fmla="*/ 3811900 w 4940931"/>
                <a:gd name="connsiteY572" fmla="*/ 29210 h 138429"/>
                <a:gd name="connsiteX573" fmla="*/ 3729986 w 4940931"/>
                <a:gd name="connsiteY573" fmla="*/ 29210 h 138429"/>
                <a:gd name="connsiteX574" fmla="*/ 3744591 w 4940931"/>
                <a:gd name="connsiteY574" fmla="*/ 32385 h 138429"/>
                <a:gd name="connsiteX575" fmla="*/ 3754751 w 4940931"/>
                <a:gd name="connsiteY575" fmla="*/ 40640 h 138429"/>
                <a:gd name="connsiteX576" fmla="*/ 3761101 w 4940931"/>
                <a:gd name="connsiteY576" fmla="*/ 53340 h 138429"/>
                <a:gd name="connsiteX577" fmla="*/ 3763006 w 4940931"/>
                <a:gd name="connsiteY577" fmla="*/ 68580 h 138429"/>
                <a:gd name="connsiteX578" fmla="*/ 3761736 w 4940931"/>
                <a:gd name="connsiteY578" fmla="*/ 68580 h 138429"/>
                <a:gd name="connsiteX579" fmla="*/ 3761736 w 4940931"/>
                <a:gd name="connsiteY579" fmla="*/ 72390 h 138429"/>
                <a:gd name="connsiteX580" fmla="*/ 3761736 w 4940931"/>
                <a:gd name="connsiteY580" fmla="*/ 75565 h 138429"/>
                <a:gd name="connsiteX581" fmla="*/ 3710301 w 4940931"/>
                <a:gd name="connsiteY581" fmla="*/ 75565 h 138429"/>
                <a:gd name="connsiteX582" fmla="*/ 3712841 w 4940931"/>
                <a:gd name="connsiteY582" fmla="*/ 85090 h 138429"/>
                <a:gd name="connsiteX583" fmla="*/ 3717286 w 4940931"/>
                <a:gd name="connsiteY583" fmla="*/ 91440 h 138429"/>
                <a:gd name="connsiteX584" fmla="*/ 3723001 w 4940931"/>
                <a:gd name="connsiteY584" fmla="*/ 95250 h 138429"/>
                <a:gd name="connsiteX585" fmla="*/ 3729986 w 4940931"/>
                <a:gd name="connsiteY585" fmla="*/ 96520 h 138429"/>
                <a:gd name="connsiteX586" fmla="*/ 3735066 w 4940931"/>
                <a:gd name="connsiteY586" fmla="*/ 96520 h 138429"/>
                <a:gd name="connsiteX587" fmla="*/ 3739511 w 4940931"/>
                <a:gd name="connsiteY587" fmla="*/ 95250 h 138429"/>
                <a:gd name="connsiteX588" fmla="*/ 3743321 w 4940931"/>
                <a:gd name="connsiteY588" fmla="*/ 93345 h 138429"/>
                <a:gd name="connsiteX589" fmla="*/ 3747766 w 4940931"/>
                <a:gd name="connsiteY589" fmla="*/ 90805 h 138429"/>
                <a:gd name="connsiteX590" fmla="*/ 3756656 w 4940931"/>
                <a:gd name="connsiteY590" fmla="*/ 100330 h 138429"/>
                <a:gd name="connsiteX591" fmla="*/ 3750941 w 4940931"/>
                <a:gd name="connsiteY591" fmla="*/ 104775 h 138429"/>
                <a:gd name="connsiteX592" fmla="*/ 3745226 w 4940931"/>
                <a:gd name="connsiteY592" fmla="*/ 107950 h 138429"/>
                <a:gd name="connsiteX593" fmla="*/ 3738241 w 4940931"/>
                <a:gd name="connsiteY593" fmla="*/ 109855 h 138429"/>
                <a:gd name="connsiteX594" fmla="*/ 3729351 w 4940931"/>
                <a:gd name="connsiteY594" fmla="*/ 110490 h 138429"/>
                <a:gd name="connsiteX595" fmla="*/ 3719826 w 4940931"/>
                <a:gd name="connsiteY595" fmla="*/ 109220 h 138429"/>
                <a:gd name="connsiteX596" fmla="*/ 3712206 w 4940931"/>
                <a:gd name="connsiteY596" fmla="*/ 105410 h 138429"/>
                <a:gd name="connsiteX597" fmla="*/ 3705856 w 4940931"/>
                <a:gd name="connsiteY597" fmla="*/ 100330 h 138429"/>
                <a:gd name="connsiteX598" fmla="*/ 3700776 w 4940931"/>
                <a:gd name="connsiteY598" fmla="*/ 92710 h 138429"/>
                <a:gd name="connsiteX599" fmla="*/ 3696966 w 4940931"/>
                <a:gd name="connsiteY599" fmla="*/ 82550 h 138429"/>
                <a:gd name="connsiteX600" fmla="*/ 3695696 w 4940931"/>
                <a:gd name="connsiteY600" fmla="*/ 69850 h 138429"/>
                <a:gd name="connsiteX601" fmla="*/ 3698236 w 4940931"/>
                <a:gd name="connsiteY601" fmla="*/ 52070 h 138429"/>
                <a:gd name="connsiteX602" fmla="*/ 3705221 w 4940931"/>
                <a:gd name="connsiteY602" fmla="*/ 39370 h 138429"/>
                <a:gd name="connsiteX603" fmla="*/ 3716016 w 4940931"/>
                <a:gd name="connsiteY603" fmla="*/ 31750 h 138429"/>
                <a:gd name="connsiteX604" fmla="*/ 3729986 w 4940931"/>
                <a:gd name="connsiteY604" fmla="*/ 29210 h 138429"/>
                <a:gd name="connsiteX605" fmla="*/ 3543296 w 4940931"/>
                <a:gd name="connsiteY605" fmla="*/ 29210 h 138429"/>
                <a:gd name="connsiteX606" fmla="*/ 3557901 w 4940931"/>
                <a:gd name="connsiteY606" fmla="*/ 32385 h 138429"/>
                <a:gd name="connsiteX607" fmla="*/ 3568061 w 4940931"/>
                <a:gd name="connsiteY607" fmla="*/ 40640 h 138429"/>
                <a:gd name="connsiteX608" fmla="*/ 3574411 w 4940931"/>
                <a:gd name="connsiteY608" fmla="*/ 53340 h 138429"/>
                <a:gd name="connsiteX609" fmla="*/ 3576316 w 4940931"/>
                <a:gd name="connsiteY609" fmla="*/ 68580 h 138429"/>
                <a:gd name="connsiteX610" fmla="*/ 3575046 w 4940931"/>
                <a:gd name="connsiteY610" fmla="*/ 68580 h 138429"/>
                <a:gd name="connsiteX611" fmla="*/ 3575046 w 4940931"/>
                <a:gd name="connsiteY611" fmla="*/ 72390 h 138429"/>
                <a:gd name="connsiteX612" fmla="*/ 3575046 w 4940931"/>
                <a:gd name="connsiteY612" fmla="*/ 75565 h 138429"/>
                <a:gd name="connsiteX613" fmla="*/ 3523611 w 4940931"/>
                <a:gd name="connsiteY613" fmla="*/ 75565 h 138429"/>
                <a:gd name="connsiteX614" fmla="*/ 3526151 w 4940931"/>
                <a:gd name="connsiteY614" fmla="*/ 85090 h 138429"/>
                <a:gd name="connsiteX615" fmla="*/ 3530596 w 4940931"/>
                <a:gd name="connsiteY615" fmla="*/ 91440 h 138429"/>
                <a:gd name="connsiteX616" fmla="*/ 3536311 w 4940931"/>
                <a:gd name="connsiteY616" fmla="*/ 95250 h 138429"/>
                <a:gd name="connsiteX617" fmla="*/ 3543296 w 4940931"/>
                <a:gd name="connsiteY617" fmla="*/ 96520 h 138429"/>
                <a:gd name="connsiteX618" fmla="*/ 3548376 w 4940931"/>
                <a:gd name="connsiteY618" fmla="*/ 96520 h 138429"/>
                <a:gd name="connsiteX619" fmla="*/ 3552821 w 4940931"/>
                <a:gd name="connsiteY619" fmla="*/ 95250 h 138429"/>
                <a:gd name="connsiteX620" fmla="*/ 3556631 w 4940931"/>
                <a:gd name="connsiteY620" fmla="*/ 93345 h 138429"/>
                <a:gd name="connsiteX621" fmla="*/ 3561076 w 4940931"/>
                <a:gd name="connsiteY621" fmla="*/ 90805 h 138429"/>
                <a:gd name="connsiteX622" fmla="*/ 3569966 w 4940931"/>
                <a:gd name="connsiteY622" fmla="*/ 100330 h 138429"/>
                <a:gd name="connsiteX623" fmla="*/ 3564251 w 4940931"/>
                <a:gd name="connsiteY623" fmla="*/ 104775 h 138429"/>
                <a:gd name="connsiteX624" fmla="*/ 3558536 w 4940931"/>
                <a:gd name="connsiteY624" fmla="*/ 107950 h 138429"/>
                <a:gd name="connsiteX625" fmla="*/ 3551551 w 4940931"/>
                <a:gd name="connsiteY625" fmla="*/ 109855 h 138429"/>
                <a:gd name="connsiteX626" fmla="*/ 3542661 w 4940931"/>
                <a:gd name="connsiteY626" fmla="*/ 110490 h 138429"/>
                <a:gd name="connsiteX627" fmla="*/ 3533136 w 4940931"/>
                <a:gd name="connsiteY627" fmla="*/ 109220 h 138429"/>
                <a:gd name="connsiteX628" fmla="*/ 3525516 w 4940931"/>
                <a:gd name="connsiteY628" fmla="*/ 105410 h 138429"/>
                <a:gd name="connsiteX629" fmla="*/ 3519166 w 4940931"/>
                <a:gd name="connsiteY629" fmla="*/ 100330 h 138429"/>
                <a:gd name="connsiteX630" fmla="*/ 3514086 w 4940931"/>
                <a:gd name="connsiteY630" fmla="*/ 92710 h 138429"/>
                <a:gd name="connsiteX631" fmla="*/ 3510276 w 4940931"/>
                <a:gd name="connsiteY631" fmla="*/ 82550 h 138429"/>
                <a:gd name="connsiteX632" fmla="*/ 3509006 w 4940931"/>
                <a:gd name="connsiteY632" fmla="*/ 69850 h 138429"/>
                <a:gd name="connsiteX633" fmla="*/ 3511546 w 4940931"/>
                <a:gd name="connsiteY633" fmla="*/ 52070 h 138429"/>
                <a:gd name="connsiteX634" fmla="*/ 3518531 w 4940931"/>
                <a:gd name="connsiteY634" fmla="*/ 39370 h 138429"/>
                <a:gd name="connsiteX635" fmla="*/ 3529326 w 4940931"/>
                <a:gd name="connsiteY635" fmla="*/ 31750 h 138429"/>
                <a:gd name="connsiteX636" fmla="*/ 3543296 w 4940931"/>
                <a:gd name="connsiteY636" fmla="*/ 29210 h 138429"/>
                <a:gd name="connsiteX637" fmla="*/ 3345176 w 4940931"/>
                <a:gd name="connsiteY637" fmla="*/ 29210 h 138429"/>
                <a:gd name="connsiteX638" fmla="*/ 3359781 w 4940931"/>
                <a:gd name="connsiteY638" fmla="*/ 32385 h 138429"/>
                <a:gd name="connsiteX639" fmla="*/ 3369941 w 4940931"/>
                <a:gd name="connsiteY639" fmla="*/ 40640 h 138429"/>
                <a:gd name="connsiteX640" fmla="*/ 3376291 w 4940931"/>
                <a:gd name="connsiteY640" fmla="*/ 53340 h 138429"/>
                <a:gd name="connsiteX641" fmla="*/ 3378196 w 4940931"/>
                <a:gd name="connsiteY641" fmla="*/ 68580 h 138429"/>
                <a:gd name="connsiteX642" fmla="*/ 3376926 w 4940931"/>
                <a:gd name="connsiteY642" fmla="*/ 68580 h 138429"/>
                <a:gd name="connsiteX643" fmla="*/ 3376926 w 4940931"/>
                <a:gd name="connsiteY643" fmla="*/ 72390 h 138429"/>
                <a:gd name="connsiteX644" fmla="*/ 3376926 w 4940931"/>
                <a:gd name="connsiteY644" fmla="*/ 75565 h 138429"/>
                <a:gd name="connsiteX645" fmla="*/ 3325491 w 4940931"/>
                <a:gd name="connsiteY645" fmla="*/ 75565 h 138429"/>
                <a:gd name="connsiteX646" fmla="*/ 3328031 w 4940931"/>
                <a:gd name="connsiteY646" fmla="*/ 85090 h 138429"/>
                <a:gd name="connsiteX647" fmla="*/ 3332476 w 4940931"/>
                <a:gd name="connsiteY647" fmla="*/ 91440 h 138429"/>
                <a:gd name="connsiteX648" fmla="*/ 3338191 w 4940931"/>
                <a:gd name="connsiteY648" fmla="*/ 95250 h 138429"/>
                <a:gd name="connsiteX649" fmla="*/ 3345176 w 4940931"/>
                <a:gd name="connsiteY649" fmla="*/ 96520 h 138429"/>
                <a:gd name="connsiteX650" fmla="*/ 3350256 w 4940931"/>
                <a:gd name="connsiteY650" fmla="*/ 96520 h 138429"/>
                <a:gd name="connsiteX651" fmla="*/ 3354701 w 4940931"/>
                <a:gd name="connsiteY651" fmla="*/ 95250 h 138429"/>
                <a:gd name="connsiteX652" fmla="*/ 3358511 w 4940931"/>
                <a:gd name="connsiteY652" fmla="*/ 93345 h 138429"/>
                <a:gd name="connsiteX653" fmla="*/ 3362956 w 4940931"/>
                <a:gd name="connsiteY653" fmla="*/ 90805 h 138429"/>
                <a:gd name="connsiteX654" fmla="*/ 3371846 w 4940931"/>
                <a:gd name="connsiteY654" fmla="*/ 100330 h 138429"/>
                <a:gd name="connsiteX655" fmla="*/ 3366131 w 4940931"/>
                <a:gd name="connsiteY655" fmla="*/ 104775 h 138429"/>
                <a:gd name="connsiteX656" fmla="*/ 3360416 w 4940931"/>
                <a:gd name="connsiteY656" fmla="*/ 107950 h 138429"/>
                <a:gd name="connsiteX657" fmla="*/ 3353431 w 4940931"/>
                <a:gd name="connsiteY657" fmla="*/ 109855 h 138429"/>
                <a:gd name="connsiteX658" fmla="*/ 3344541 w 4940931"/>
                <a:gd name="connsiteY658" fmla="*/ 110490 h 138429"/>
                <a:gd name="connsiteX659" fmla="*/ 3335016 w 4940931"/>
                <a:gd name="connsiteY659" fmla="*/ 109220 h 138429"/>
                <a:gd name="connsiteX660" fmla="*/ 3327396 w 4940931"/>
                <a:gd name="connsiteY660" fmla="*/ 105410 h 138429"/>
                <a:gd name="connsiteX661" fmla="*/ 3321046 w 4940931"/>
                <a:gd name="connsiteY661" fmla="*/ 100330 h 138429"/>
                <a:gd name="connsiteX662" fmla="*/ 3315966 w 4940931"/>
                <a:gd name="connsiteY662" fmla="*/ 92710 h 138429"/>
                <a:gd name="connsiteX663" fmla="*/ 3312156 w 4940931"/>
                <a:gd name="connsiteY663" fmla="*/ 82550 h 138429"/>
                <a:gd name="connsiteX664" fmla="*/ 3310886 w 4940931"/>
                <a:gd name="connsiteY664" fmla="*/ 69850 h 138429"/>
                <a:gd name="connsiteX665" fmla="*/ 3313426 w 4940931"/>
                <a:gd name="connsiteY665" fmla="*/ 52070 h 138429"/>
                <a:gd name="connsiteX666" fmla="*/ 3320411 w 4940931"/>
                <a:gd name="connsiteY666" fmla="*/ 39370 h 138429"/>
                <a:gd name="connsiteX667" fmla="*/ 3331206 w 4940931"/>
                <a:gd name="connsiteY667" fmla="*/ 31750 h 138429"/>
                <a:gd name="connsiteX668" fmla="*/ 3345176 w 4940931"/>
                <a:gd name="connsiteY668" fmla="*/ 29210 h 138429"/>
                <a:gd name="connsiteX669" fmla="*/ 3060696 w 4940931"/>
                <a:gd name="connsiteY669" fmla="*/ 29210 h 138429"/>
                <a:gd name="connsiteX670" fmla="*/ 3068316 w 4940931"/>
                <a:gd name="connsiteY670" fmla="*/ 29845 h 138429"/>
                <a:gd name="connsiteX671" fmla="*/ 3074031 w 4940931"/>
                <a:gd name="connsiteY671" fmla="*/ 32385 h 138429"/>
                <a:gd name="connsiteX672" fmla="*/ 3070221 w 4940931"/>
                <a:gd name="connsiteY672" fmla="*/ 46990 h 138429"/>
                <a:gd name="connsiteX673" fmla="*/ 3068951 w 4940931"/>
                <a:gd name="connsiteY673" fmla="*/ 46990 h 138429"/>
                <a:gd name="connsiteX674" fmla="*/ 3063871 w 4940931"/>
                <a:gd name="connsiteY674" fmla="*/ 45085 h 138429"/>
                <a:gd name="connsiteX675" fmla="*/ 3057521 w 4940931"/>
                <a:gd name="connsiteY675" fmla="*/ 44450 h 138429"/>
                <a:gd name="connsiteX676" fmla="*/ 3046091 w 4940931"/>
                <a:gd name="connsiteY676" fmla="*/ 49530 h 138429"/>
                <a:gd name="connsiteX677" fmla="*/ 3042281 w 4940931"/>
                <a:gd name="connsiteY677" fmla="*/ 64770 h 138429"/>
                <a:gd name="connsiteX678" fmla="*/ 3042281 w 4940931"/>
                <a:gd name="connsiteY678" fmla="*/ 109220 h 138429"/>
                <a:gd name="connsiteX679" fmla="*/ 3027041 w 4940931"/>
                <a:gd name="connsiteY679" fmla="*/ 109220 h 138429"/>
                <a:gd name="connsiteX680" fmla="*/ 3027041 w 4940931"/>
                <a:gd name="connsiteY680" fmla="*/ 31115 h 138429"/>
                <a:gd name="connsiteX681" fmla="*/ 3042281 w 4940931"/>
                <a:gd name="connsiteY681" fmla="*/ 31115 h 138429"/>
                <a:gd name="connsiteX682" fmla="*/ 3042281 w 4940931"/>
                <a:gd name="connsiteY682" fmla="*/ 38735 h 138429"/>
                <a:gd name="connsiteX683" fmla="*/ 3045456 w 4940931"/>
                <a:gd name="connsiteY683" fmla="*/ 34925 h 138429"/>
                <a:gd name="connsiteX684" fmla="*/ 3049901 w 4940931"/>
                <a:gd name="connsiteY684" fmla="*/ 31750 h 138429"/>
                <a:gd name="connsiteX685" fmla="*/ 3054981 w 4940931"/>
                <a:gd name="connsiteY685" fmla="*/ 29845 h 138429"/>
                <a:gd name="connsiteX686" fmla="*/ 3060696 w 4940931"/>
                <a:gd name="connsiteY686" fmla="*/ 29210 h 138429"/>
                <a:gd name="connsiteX687" fmla="*/ 2978781 w 4940931"/>
                <a:gd name="connsiteY687" fmla="*/ 29210 h 138429"/>
                <a:gd name="connsiteX688" fmla="*/ 2993386 w 4940931"/>
                <a:gd name="connsiteY688" fmla="*/ 32385 h 138429"/>
                <a:gd name="connsiteX689" fmla="*/ 3003546 w 4940931"/>
                <a:gd name="connsiteY689" fmla="*/ 40640 h 138429"/>
                <a:gd name="connsiteX690" fmla="*/ 3009896 w 4940931"/>
                <a:gd name="connsiteY690" fmla="*/ 53340 h 138429"/>
                <a:gd name="connsiteX691" fmla="*/ 3011801 w 4940931"/>
                <a:gd name="connsiteY691" fmla="*/ 68580 h 138429"/>
                <a:gd name="connsiteX692" fmla="*/ 3010531 w 4940931"/>
                <a:gd name="connsiteY692" fmla="*/ 68580 h 138429"/>
                <a:gd name="connsiteX693" fmla="*/ 3010531 w 4940931"/>
                <a:gd name="connsiteY693" fmla="*/ 72390 h 138429"/>
                <a:gd name="connsiteX694" fmla="*/ 3010531 w 4940931"/>
                <a:gd name="connsiteY694" fmla="*/ 75565 h 138429"/>
                <a:gd name="connsiteX695" fmla="*/ 2959096 w 4940931"/>
                <a:gd name="connsiteY695" fmla="*/ 75565 h 138429"/>
                <a:gd name="connsiteX696" fmla="*/ 2961636 w 4940931"/>
                <a:gd name="connsiteY696" fmla="*/ 85090 h 138429"/>
                <a:gd name="connsiteX697" fmla="*/ 2966081 w 4940931"/>
                <a:gd name="connsiteY697" fmla="*/ 91440 h 138429"/>
                <a:gd name="connsiteX698" fmla="*/ 2971796 w 4940931"/>
                <a:gd name="connsiteY698" fmla="*/ 95250 h 138429"/>
                <a:gd name="connsiteX699" fmla="*/ 2978781 w 4940931"/>
                <a:gd name="connsiteY699" fmla="*/ 96520 h 138429"/>
                <a:gd name="connsiteX700" fmla="*/ 2983861 w 4940931"/>
                <a:gd name="connsiteY700" fmla="*/ 96520 h 138429"/>
                <a:gd name="connsiteX701" fmla="*/ 2988306 w 4940931"/>
                <a:gd name="connsiteY701" fmla="*/ 95250 h 138429"/>
                <a:gd name="connsiteX702" fmla="*/ 2992116 w 4940931"/>
                <a:gd name="connsiteY702" fmla="*/ 93345 h 138429"/>
                <a:gd name="connsiteX703" fmla="*/ 2996561 w 4940931"/>
                <a:gd name="connsiteY703" fmla="*/ 90805 h 138429"/>
                <a:gd name="connsiteX704" fmla="*/ 3005451 w 4940931"/>
                <a:gd name="connsiteY704" fmla="*/ 100330 h 138429"/>
                <a:gd name="connsiteX705" fmla="*/ 2999736 w 4940931"/>
                <a:gd name="connsiteY705" fmla="*/ 104775 h 138429"/>
                <a:gd name="connsiteX706" fmla="*/ 2994021 w 4940931"/>
                <a:gd name="connsiteY706" fmla="*/ 107950 h 138429"/>
                <a:gd name="connsiteX707" fmla="*/ 2987036 w 4940931"/>
                <a:gd name="connsiteY707" fmla="*/ 109855 h 138429"/>
                <a:gd name="connsiteX708" fmla="*/ 2978146 w 4940931"/>
                <a:gd name="connsiteY708" fmla="*/ 110490 h 138429"/>
                <a:gd name="connsiteX709" fmla="*/ 2968621 w 4940931"/>
                <a:gd name="connsiteY709" fmla="*/ 109220 h 138429"/>
                <a:gd name="connsiteX710" fmla="*/ 2961001 w 4940931"/>
                <a:gd name="connsiteY710" fmla="*/ 105410 h 138429"/>
                <a:gd name="connsiteX711" fmla="*/ 2954651 w 4940931"/>
                <a:gd name="connsiteY711" fmla="*/ 100330 h 138429"/>
                <a:gd name="connsiteX712" fmla="*/ 2949571 w 4940931"/>
                <a:gd name="connsiteY712" fmla="*/ 92710 h 138429"/>
                <a:gd name="connsiteX713" fmla="*/ 2945761 w 4940931"/>
                <a:gd name="connsiteY713" fmla="*/ 82550 h 138429"/>
                <a:gd name="connsiteX714" fmla="*/ 2944491 w 4940931"/>
                <a:gd name="connsiteY714" fmla="*/ 69850 h 138429"/>
                <a:gd name="connsiteX715" fmla="*/ 2947031 w 4940931"/>
                <a:gd name="connsiteY715" fmla="*/ 52070 h 138429"/>
                <a:gd name="connsiteX716" fmla="*/ 2954016 w 4940931"/>
                <a:gd name="connsiteY716" fmla="*/ 39370 h 138429"/>
                <a:gd name="connsiteX717" fmla="*/ 2964811 w 4940931"/>
                <a:gd name="connsiteY717" fmla="*/ 31750 h 138429"/>
                <a:gd name="connsiteX718" fmla="*/ 2978781 w 4940931"/>
                <a:gd name="connsiteY718" fmla="*/ 29210 h 138429"/>
                <a:gd name="connsiteX719" fmla="*/ 2798440 w 4940931"/>
                <a:gd name="connsiteY719" fmla="*/ 29210 h 138429"/>
                <a:gd name="connsiteX720" fmla="*/ 2813045 w 4940931"/>
                <a:gd name="connsiteY720" fmla="*/ 31750 h 138429"/>
                <a:gd name="connsiteX721" fmla="*/ 2825110 w 4940931"/>
                <a:gd name="connsiteY721" fmla="*/ 38100 h 138429"/>
                <a:gd name="connsiteX722" fmla="*/ 2827015 w 4940931"/>
                <a:gd name="connsiteY722" fmla="*/ 38100 h 138429"/>
                <a:gd name="connsiteX723" fmla="*/ 2820030 w 4940931"/>
                <a:gd name="connsiteY723" fmla="*/ 50165 h 138429"/>
                <a:gd name="connsiteX724" fmla="*/ 2810505 w 4940931"/>
                <a:gd name="connsiteY724" fmla="*/ 45085 h 138429"/>
                <a:gd name="connsiteX725" fmla="*/ 2799710 w 4940931"/>
                <a:gd name="connsiteY725" fmla="*/ 43180 h 138429"/>
                <a:gd name="connsiteX726" fmla="*/ 2791455 w 4940931"/>
                <a:gd name="connsiteY726" fmla="*/ 45085 h 138429"/>
                <a:gd name="connsiteX727" fmla="*/ 2788915 w 4940931"/>
                <a:gd name="connsiteY727" fmla="*/ 50165 h 138429"/>
                <a:gd name="connsiteX728" fmla="*/ 2788915 w 4940931"/>
                <a:gd name="connsiteY728" fmla="*/ 52705 h 138429"/>
                <a:gd name="connsiteX729" fmla="*/ 2790820 w 4940931"/>
                <a:gd name="connsiteY729" fmla="*/ 55245 h 138429"/>
                <a:gd name="connsiteX730" fmla="*/ 2795265 w 4940931"/>
                <a:gd name="connsiteY730" fmla="*/ 57785 h 138429"/>
                <a:gd name="connsiteX731" fmla="*/ 2802250 w 4940931"/>
                <a:gd name="connsiteY731" fmla="*/ 60960 h 138429"/>
                <a:gd name="connsiteX732" fmla="*/ 2813680 w 4940931"/>
                <a:gd name="connsiteY732" fmla="*/ 66040 h 138429"/>
                <a:gd name="connsiteX733" fmla="*/ 2821935 w 4940931"/>
                <a:gd name="connsiteY733" fmla="*/ 71120 h 138429"/>
                <a:gd name="connsiteX734" fmla="*/ 2827015 w 4940931"/>
                <a:gd name="connsiteY734" fmla="*/ 78105 h 138429"/>
                <a:gd name="connsiteX735" fmla="*/ 2828920 w 4940931"/>
                <a:gd name="connsiteY735" fmla="*/ 87630 h 138429"/>
                <a:gd name="connsiteX736" fmla="*/ 2826380 w 4940931"/>
                <a:gd name="connsiteY736" fmla="*/ 98425 h 138429"/>
                <a:gd name="connsiteX737" fmla="*/ 2820030 w 4940931"/>
                <a:gd name="connsiteY737" fmla="*/ 105410 h 138429"/>
                <a:gd name="connsiteX738" fmla="*/ 2810505 w 4940931"/>
                <a:gd name="connsiteY738" fmla="*/ 109220 h 138429"/>
                <a:gd name="connsiteX739" fmla="*/ 2799710 w 4940931"/>
                <a:gd name="connsiteY739" fmla="*/ 110490 h 138429"/>
                <a:gd name="connsiteX740" fmla="*/ 2783835 w 4940931"/>
                <a:gd name="connsiteY740" fmla="*/ 107950 h 138429"/>
                <a:gd name="connsiteX741" fmla="*/ 2769230 w 4940931"/>
                <a:gd name="connsiteY741" fmla="*/ 100965 h 138429"/>
                <a:gd name="connsiteX742" fmla="*/ 2776215 w 4940931"/>
                <a:gd name="connsiteY742" fmla="*/ 89535 h 138429"/>
                <a:gd name="connsiteX743" fmla="*/ 2787645 w 4940931"/>
                <a:gd name="connsiteY743" fmla="*/ 95250 h 138429"/>
                <a:gd name="connsiteX744" fmla="*/ 2799075 w 4940931"/>
                <a:gd name="connsiteY744" fmla="*/ 97155 h 138429"/>
                <a:gd name="connsiteX745" fmla="*/ 2809870 w 4940931"/>
                <a:gd name="connsiteY745" fmla="*/ 94615 h 138429"/>
                <a:gd name="connsiteX746" fmla="*/ 2813045 w 4940931"/>
                <a:gd name="connsiteY746" fmla="*/ 88265 h 138429"/>
                <a:gd name="connsiteX747" fmla="*/ 2811775 w 4940931"/>
                <a:gd name="connsiteY747" fmla="*/ 84455 h 138429"/>
                <a:gd name="connsiteX748" fmla="*/ 2807965 w 4940931"/>
                <a:gd name="connsiteY748" fmla="*/ 81280 h 138429"/>
                <a:gd name="connsiteX749" fmla="*/ 2802250 w 4940931"/>
                <a:gd name="connsiteY749" fmla="*/ 78105 h 138429"/>
                <a:gd name="connsiteX750" fmla="*/ 2794630 w 4940931"/>
                <a:gd name="connsiteY750" fmla="*/ 74930 h 138429"/>
                <a:gd name="connsiteX751" fmla="*/ 2783835 w 4940931"/>
                <a:gd name="connsiteY751" fmla="*/ 69850 h 138429"/>
                <a:gd name="connsiteX752" fmla="*/ 2776850 w 4940931"/>
                <a:gd name="connsiteY752" fmla="*/ 64770 h 138429"/>
                <a:gd name="connsiteX753" fmla="*/ 2773040 w 4940931"/>
                <a:gd name="connsiteY753" fmla="*/ 58420 h 138429"/>
                <a:gd name="connsiteX754" fmla="*/ 2771770 w 4940931"/>
                <a:gd name="connsiteY754" fmla="*/ 50165 h 138429"/>
                <a:gd name="connsiteX755" fmla="*/ 2773675 w 4940931"/>
                <a:gd name="connsiteY755" fmla="*/ 40640 h 138429"/>
                <a:gd name="connsiteX756" fmla="*/ 2779390 w 4940931"/>
                <a:gd name="connsiteY756" fmla="*/ 34290 h 138429"/>
                <a:gd name="connsiteX757" fmla="*/ 2787645 w 4940931"/>
                <a:gd name="connsiteY757" fmla="*/ 30480 h 138429"/>
                <a:gd name="connsiteX758" fmla="*/ 2798440 w 4940931"/>
                <a:gd name="connsiteY758" fmla="*/ 29210 h 138429"/>
                <a:gd name="connsiteX759" fmla="*/ 2723510 w 4940931"/>
                <a:gd name="connsiteY759" fmla="*/ 29210 h 138429"/>
                <a:gd name="connsiteX760" fmla="*/ 2729225 w 4940931"/>
                <a:gd name="connsiteY760" fmla="*/ 29210 h 138429"/>
                <a:gd name="connsiteX761" fmla="*/ 2741290 w 4940931"/>
                <a:gd name="connsiteY761" fmla="*/ 31750 h 138429"/>
                <a:gd name="connsiteX762" fmla="*/ 2750180 w 4940931"/>
                <a:gd name="connsiteY762" fmla="*/ 38100 h 138429"/>
                <a:gd name="connsiteX763" fmla="*/ 2755260 w 4940931"/>
                <a:gd name="connsiteY763" fmla="*/ 48895 h 138429"/>
                <a:gd name="connsiteX764" fmla="*/ 2757165 w 4940931"/>
                <a:gd name="connsiteY764" fmla="*/ 64135 h 138429"/>
                <a:gd name="connsiteX765" fmla="*/ 2757165 w 4940931"/>
                <a:gd name="connsiteY765" fmla="*/ 108585 h 138429"/>
                <a:gd name="connsiteX766" fmla="*/ 2741925 w 4940931"/>
                <a:gd name="connsiteY766" fmla="*/ 108585 h 138429"/>
                <a:gd name="connsiteX767" fmla="*/ 2741290 w 4940931"/>
                <a:gd name="connsiteY767" fmla="*/ 108585 h 138429"/>
                <a:gd name="connsiteX768" fmla="*/ 2741290 w 4940931"/>
                <a:gd name="connsiteY768" fmla="*/ 64770 h 138429"/>
                <a:gd name="connsiteX769" fmla="*/ 2737480 w 4940931"/>
                <a:gd name="connsiteY769" fmla="*/ 48895 h 138429"/>
                <a:gd name="connsiteX770" fmla="*/ 2725415 w 4940931"/>
                <a:gd name="connsiteY770" fmla="*/ 43180 h 138429"/>
                <a:gd name="connsiteX771" fmla="*/ 2718430 w 4940931"/>
                <a:gd name="connsiteY771" fmla="*/ 44450 h 138429"/>
                <a:gd name="connsiteX772" fmla="*/ 2713350 w 4940931"/>
                <a:gd name="connsiteY772" fmla="*/ 48260 h 138429"/>
                <a:gd name="connsiteX773" fmla="*/ 2710175 w 4940931"/>
                <a:gd name="connsiteY773" fmla="*/ 54610 h 138429"/>
                <a:gd name="connsiteX774" fmla="*/ 2709540 w 4940931"/>
                <a:gd name="connsiteY774" fmla="*/ 62865 h 138429"/>
                <a:gd name="connsiteX775" fmla="*/ 2709540 w 4940931"/>
                <a:gd name="connsiteY775" fmla="*/ 108585 h 138429"/>
                <a:gd name="connsiteX776" fmla="*/ 2694300 w 4940931"/>
                <a:gd name="connsiteY776" fmla="*/ 108585 h 138429"/>
                <a:gd name="connsiteX777" fmla="*/ 2694300 w 4940931"/>
                <a:gd name="connsiteY777" fmla="*/ 30480 h 138429"/>
                <a:gd name="connsiteX778" fmla="*/ 2709540 w 4940931"/>
                <a:gd name="connsiteY778" fmla="*/ 30480 h 138429"/>
                <a:gd name="connsiteX779" fmla="*/ 2709540 w 4940931"/>
                <a:gd name="connsiteY779" fmla="*/ 38100 h 138429"/>
                <a:gd name="connsiteX780" fmla="*/ 2713350 w 4940931"/>
                <a:gd name="connsiteY780" fmla="*/ 34290 h 138429"/>
                <a:gd name="connsiteX781" fmla="*/ 2717795 w 4940931"/>
                <a:gd name="connsiteY781" fmla="*/ 31115 h 138429"/>
                <a:gd name="connsiteX782" fmla="*/ 2723510 w 4940931"/>
                <a:gd name="connsiteY782" fmla="*/ 29210 h 138429"/>
                <a:gd name="connsiteX783" fmla="*/ 2530470 w 4940931"/>
                <a:gd name="connsiteY783" fmla="*/ 29210 h 138429"/>
                <a:gd name="connsiteX784" fmla="*/ 2545075 w 4940931"/>
                <a:gd name="connsiteY784" fmla="*/ 32385 h 138429"/>
                <a:gd name="connsiteX785" fmla="*/ 2555235 w 4940931"/>
                <a:gd name="connsiteY785" fmla="*/ 40640 h 138429"/>
                <a:gd name="connsiteX786" fmla="*/ 2561585 w 4940931"/>
                <a:gd name="connsiteY786" fmla="*/ 53340 h 138429"/>
                <a:gd name="connsiteX787" fmla="*/ 2563490 w 4940931"/>
                <a:gd name="connsiteY787" fmla="*/ 68580 h 138429"/>
                <a:gd name="connsiteX788" fmla="*/ 2562220 w 4940931"/>
                <a:gd name="connsiteY788" fmla="*/ 68580 h 138429"/>
                <a:gd name="connsiteX789" fmla="*/ 2562220 w 4940931"/>
                <a:gd name="connsiteY789" fmla="*/ 72390 h 138429"/>
                <a:gd name="connsiteX790" fmla="*/ 2562220 w 4940931"/>
                <a:gd name="connsiteY790" fmla="*/ 75565 h 138429"/>
                <a:gd name="connsiteX791" fmla="*/ 2510785 w 4940931"/>
                <a:gd name="connsiteY791" fmla="*/ 75565 h 138429"/>
                <a:gd name="connsiteX792" fmla="*/ 2513325 w 4940931"/>
                <a:gd name="connsiteY792" fmla="*/ 85090 h 138429"/>
                <a:gd name="connsiteX793" fmla="*/ 2517770 w 4940931"/>
                <a:gd name="connsiteY793" fmla="*/ 91440 h 138429"/>
                <a:gd name="connsiteX794" fmla="*/ 2523485 w 4940931"/>
                <a:gd name="connsiteY794" fmla="*/ 95250 h 138429"/>
                <a:gd name="connsiteX795" fmla="*/ 2530470 w 4940931"/>
                <a:gd name="connsiteY795" fmla="*/ 96520 h 138429"/>
                <a:gd name="connsiteX796" fmla="*/ 2535550 w 4940931"/>
                <a:gd name="connsiteY796" fmla="*/ 96520 h 138429"/>
                <a:gd name="connsiteX797" fmla="*/ 2539995 w 4940931"/>
                <a:gd name="connsiteY797" fmla="*/ 95250 h 138429"/>
                <a:gd name="connsiteX798" fmla="*/ 2543805 w 4940931"/>
                <a:gd name="connsiteY798" fmla="*/ 93345 h 138429"/>
                <a:gd name="connsiteX799" fmla="*/ 2548250 w 4940931"/>
                <a:gd name="connsiteY799" fmla="*/ 90805 h 138429"/>
                <a:gd name="connsiteX800" fmla="*/ 2557140 w 4940931"/>
                <a:gd name="connsiteY800" fmla="*/ 100330 h 138429"/>
                <a:gd name="connsiteX801" fmla="*/ 2551425 w 4940931"/>
                <a:gd name="connsiteY801" fmla="*/ 104775 h 138429"/>
                <a:gd name="connsiteX802" fmla="*/ 2545710 w 4940931"/>
                <a:gd name="connsiteY802" fmla="*/ 107950 h 138429"/>
                <a:gd name="connsiteX803" fmla="*/ 2538725 w 4940931"/>
                <a:gd name="connsiteY803" fmla="*/ 109855 h 138429"/>
                <a:gd name="connsiteX804" fmla="*/ 2529835 w 4940931"/>
                <a:gd name="connsiteY804" fmla="*/ 110490 h 138429"/>
                <a:gd name="connsiteX805" fmla="*/ 2520310 w 4940931"/>
                <a:gd name="connsiteY805" fmla="*/ 109220 h 138429"/>
                <a:gd name="connsiteX806" fmla="*/ 2512690 w 4940931"/>
                <a:gd name="connsiteY806" fmla="*/ 105410 h 138429"/>
                <a:gd name="connsiteX807" fmla="*/ 2506340 w 4940931"/>
                <a:gd name="connsiteY807" fmla="*/ 100330 h 138429"/>
                <a:gd name="connsiteX808" fmla="*/ 2501260 w 4940931"/>
                <a:gd name="connsiteY808" fmla="*/ 92710 h 138429"/>
                <a:gd name="connsiteX809" fmla="*/ 2497450 w 4940931"/>
                <a:gd name="connsiteY809" fmla="*/ 82550 h 138429"/>
                <a:gd name="connsiteX810" fmla="*/ 2496180 w 4940931"/>
                <a:gd name="connsiteY810" fmla="*/ 69850 h 138429"/>
                <a:gd name="connsiteX811" fmla="*/ 2498720 w 4940931"/>
                <a:gd name="connsiteY811" fmla="*/ 52070 h 138429"/>
                <a:gd name="connsiteX812" fmla="*/ 2505705 w 4940931"/>
                <a:gd name="connsiteY812" fmla="*/ 39370 h 138429"/>
                <a:gd name="connsiteX813" fmla="*/ 2516500 w 4940931"/>
                <a:gd name="connsiteY813" fmla="*/ 31750 h 138429"/>
                <a:gd name="connsiteX814" fmla="*/ 2530470 w 4940931"/>
                <a:gd name="connsiteY814" fmla="*/ 29210 h 138429"/>
                <a:gd name="connsiteX815" fmla="*/ 2298061 w 4940931"/>
                <a:gd name="connsiteY815" fmla="*/ 29210 h 138429"/>
                <a:gd name="connsiteX816" fmla="*/ 2305681 w 4940931"/>
                <a:gd name="connsiteY816" fmla="*/ 29845 h 138429"/>
                <a:gd name="connsiteX817" fmla="*/ 2311396 w 4940931"/>
                <a:gd name="connsiteY817" fmla="*/ 32385 h 138429"/>
                <a:gd name="connsiteX818" fmla="*/ 2307586 w 4940931"/>
                <a:gd name="connsiteY818" fmla="*/ 46990 h 138429"/>
                <a:gd name="connsiteX819" fmla="*/ 2306316 w 4940931"/>
                <a:gd name="connsiteY819" fmla="*/ 46990 h 138429"/>
                <a:gd name="connsiteX820" fmla="*/ 2301236 w 4940931"/>
                <a:gd name="connsiteY820" fmla="*/ 45085 h 138429"/>
                <a:gd name="connsiteX821" fmla="*/ 2294886 w 4940931"/>
                <a:gd name="connsiteY821" fmla="*/ 44450 h 138429"/>
                <a:gd name="connsiteX822" fmla="*/ 2283456 w 4940931"/>
                <a:gd name="connsiteY822" fmla="*/ 49530 h 138429"/>
                <a:gd name="connsiteX823" fmla="*/ 2279646 w 4940931"/>
                <a:gd name="connsiteY823" fmla="*/ 64770 h 138429"/>
                <a:gd name="connsiteX824" fmla="*/ 2279646 w 4940931"/>
                <a:gd name="connsiteY824" fmla="*/ 109220 h 138429"/>
                <a:gd name="connsiteX825" fmla="*/ 2264406 w 4940931"/>
                <a:gd name="connsiteY825" fmla="*/ 109220 h 138429"/>
                <a:gd name="connsiteX826" fmla="*/ 2264406 w 4940931"/>
                <a:gd name="connsiteY826" fmla="*/ 31115 h 138429"/>
                <a:gd name="connsiteX827" fmla="*/ 2279646 w 4940931"/>
                <a:gd name="connsiteY827" fmla="*/ 31115 h 138429"/>
                <a:gd name="connsiteX828" fmla="*/ 2279646 w 4940931"/>
                <a:gd name="connsiteY828" fmla="*/ 38735 h 138429"/>
                <a:gd name="connsiteX829" fmla="*/ 2282821 w 4940931"/>
                <a:gd name="connsiteY829" fmla="*/ 34925 h 138429"/>
                <a:gd name="connsiteX830" fmla="*/ 2287266 w 4940931"/>
                <a:gd name="connsiteY830" fmla="*/ 31750 h 138429"/>
                <a:gd name="connsiteX831" fmla="*/ 2292346 w 4940931"/>
                <a:gd name="connsiteY831" fmla="*/ 29845 h 138429"/>
                <a:gd name="connsiteX832" fmla="*/ 2298061 w 4940931"/>
                <a:gd name="connsiteY832" fmla="*/ 29210 h 138429"/>
                <a:gd name="connsiteX833" fmla="*/ 2216145 w 4940931"/>
                <a:gd name="connsiteY833" fmla="*/ 29210 h 138429"/>
                <a:gd name="connsiteX834" fmla="*/ 2230750 w 4940931"/>
                <a:gd name="connsiteY834" fmla="*/ 32385 h 138429"/>
                <a:gd name="connsiteX835" fmla="*/ 2240910 w 4940931"/>
                <a:gd name="connsiteY835" fmla="*/ 40640 h 138429"/>
                <a:gd name="connsiteX836" fmla="*/ 2247260 w 4940931"/>
                <a:gd name="connsiteY836" fmla="*/ 53340 h 138429"/>
                <a:gd name="connsiteX837" fmla="*/ 2249165 w 4940931"/>
                <a:gd name="connsiteY837" fmla="*/ 68580 h 138429"/>
                <a:gd name="connsiteX838" fmla="*/ 2247895 w 4940931"/>
                <a:gd name="connsiteY838" fmla="*/ 68580 h 138429"/>
                <a:gd name="connsiteX839" fmla="*/ 2247895 w 4940931"/>
                <a:gd name="connsiteY839" fmla="*/ 72390 h 138429"/>
                <a:gd name="connsiteX840" fmla="*/ 2247895 w 4940931"/>
                <a:gd name="connsiteY840" fmla="*/ 75565 h 138429"/>
                <a:gd name="connsiteX841" fmla="*/ 2196460 w 4940931"/>
                <a:gd name="connsiteY841" fmla="*/ 75565 h 138429"/>
                <a:gd name="connsiteX842" fmla="*/ 2199000 w 4940931"/>
                <a:gd name="connsiteY842" fmla="*/ 85090 h 138429"/>
                <a:gd name="connsiteX843" fmla="*/ 2203445 w 4940931"/>
                <a:gd name="connsiteY843" fmla="*/ 91440 h 138429"/>
                <a:gd name="connsiteX844" fmla="*/ 2209160 w 4940931"/>
                <a:gd name="connsiteY844" fmla="*/ 95250 h 138429"/>
                <a:gd name="connsiteX845" fmla="*/ 2216145 w 4940931"/>
                <a:gd name="connsiteY845" fmla="*/ 96520 h 138429"/>
                <a:gd name="connsiteX846" fmla="*/ 2221225 w 4940931"/>
                <a:gd name="connsiteY846" fmla="*/ 96520 h 138429"/>
                <a:gd name="connsiteX847" fmla="*/ 2225670 w 4940931"/>
                <a:gd name="connsiteY847" fmla="*/ 95250 h 138429"/>
                <a:gd name="connsiteX848" fmla="*/ 2229480 w 4940931"/>
                <a:gd name="connsiteY848" fmla="*/ 93345 h 138429"/>
                <a:gd name="connsiteX849" fmla="*/ 2233925 w 4940931"/>
                <a:gd name="connsiteY849" fmla="*/ 90805 h 138429"/>
                <a:gd name="connsiteX850" fmla="*/ 2242815 w 4940931"/>
                <a:gd name="connsiteY850" fmla="*/ 100330 h 138429"/>
                <a:gd name="connsiteX851" fmla="*/ 2237100 w 4940931"/>
                <a:gd name="connsiteY851" fmla="*/ 104775 h 138429"/>
                <a:gd name="connsiteX852" fmla="*/ 2231385 w 4940931"/>
                <a:gd name="connsiteY852" fmla="*/ 107950 h 138429"/>
                <a:gd name="connsiteX853" fmla="*/ 2224400 w 4940931"/>
                <a:gd name="connsiteY853" fmla="*/ 109855 h 138429"/>
                <a:gd name="connsiteX854" fmla="*/ 2215510 w 4940931"/>
                <a:gd name="connsiteY854" fmla="*/ 110490 h 138429"/>
                <a:gd name="connsiteX855" fmla="*/ 2205985 w 4940931"/>
                <a:gd name="connsiteY855" fmla="*/ 109220 h 138429"/>
                <a:gd name="connsiteX856" fmla="*/ 2198365 w 4940931"/>
                <a:gd name="connsiteY856" fmla="*/ 105410 h 138429"/>
                <a:gd name="connsiteX857" fmla="*/ 2192015 w 4940931"/>
                <a:gd name="connsiteY857" fmla="*/ 100330 h 138429"/>
                <a:gd name="connsiteX858" fmla="*/ 2186935 w 4940931"/>
                <a:gd name="connsiteY858" fmla="*/ 92710 h 138429"/>
                <a:gd name="connsiteX859" fmla="*/ 2183125 w 4940931"/>
                <a:gd name="connsiteY859" fmla="*/ 82550 h 138429"/>
                <a:gd name="connsiteX860" fmla="*/ 2181855 w 4940931"/>
                <a:gd name="connsiteY860" fmla="*/ 69850 h 138429"/>
                <a:gd name="connsiteX861" fmla="*/ 2184395 w 4940931"/>
                <a:gd name="connsiteY861" fmla="*/ 52070 h 138429"/>
                <a:gd name="connsiteX862" fmla="*/ 2191380 w 4940931"/>
                <a:gd name="connsiteY862" fmla="*/ 39370 h 138429"/>
                <a:gd name="connsiteX863" fmla="*/ 2202175 w 4940931"/>
                <a:gd name="connsiteY863" fmla="*/ 31750 h 138429"/>
                <a:gd name="connsiteX864" fmla="*/ 2216145 w 4940931"/>
                <a:gd name="connsiteY864" fmla="*/ 29210 h 138429"/>
                <a:gd name="connsiteX865" fmla="*/ 2029456 w 4940931"/>
                <a:gd name="connsiteY865" fmla="*/ 29210 h 138429"/>
                <a:gd name="connsiteX866" fmla="*/ 2044061 w 4940931"/>
                <a:gd name="connsiteY866" fmla="*/ 32385 h 138429"/>
                <a:gd name="connsiteX867" fmla="*/ 2054221 w 4940931"/>
                <a:gd name="connsiteY867" fmla="*/ 40640 h 138429"/>
                <a:gd name="connsiteX868" fmla="*/ 2060571 w 4940931"/>
                <a:gd name="connsiteY868" fmla="*/ 53340 h 138429"/>
                <a:gd name="connsiteX869" fmla="*/ 2062476 w 4940931"/>
                <a:gd name="connsiteY869" fmla="*/ 68580 h 138429"/>
                <a:gd name="connsiteX870" fmla="*/ 2061206 w 4940931"/>
                <a:gd name="connsiteY870" fmla="*/ 68580 h 138429"/>
                <a:gd name="connsiteX871" fmla="*/ 2061206 w 4940931"/>
                <a:gd name="connsiteY871" fmla="*/ 72390 h 138429"/>
                <a:gd name="connsiteX872" fmla="*/ 2061206 w 4940931"/>
                <a:gd name="connsiteY872" fmla="*/ 75565 h 138429"/>
                <a:gd name="connsiteX873" fmla="*/ 2009771 w 4940931"/>
                <a:gd name="connsiteY873" fmla="*/ 75565 h 138429"/>
                <a:gd name="connsiteX874" fmla="*/ 2012311 w 4940931"/>
                <a:gd name="connsiteY874" fmla="*/ 85090 h 138429"/>
                <a:gd name="connsiteX875" fmla="*/ 2016756 w 4940931"/>
                <a:gd name="connsiteY875" fmla="*/ 91440 h 138429"/>
                <a:gd name="connsiteX876" fmla="*/ 2022471 w 4940931"/>
                <a:gd name="connsiteY876" fmla="*/ 95250 h 138429"/>
                <a:gd name="connsiteX877" fmla="*/ 2029456 w 4940931"/>
                <a:gd name="connsiteY877" fmla="*/ 96520 h 138429"/>
                <a:gd name="connsiteX878" fmla="*/ 2034536 w 4940931"/>
                <a:gd name="connsiteY878" fmla="*/ 96520 h 138429"/>
                <a:gd name="connsiteX879" fmla="*/ 2038981 w 4940931"/>
                <a:gd name="connsiteY879" fmla="*/ 95250 h 138429"/>
                <a:gd name="connsiteX880" fmla="*/ 2042791 w 4940931"/>
                <a:gd name="connsiteY880" fmla="*/ 93345 h 138429"/>
                <a:gd name="connsiteX881" fmla="*/ 2047236 w 4940931"/>
                <a:gd name="connsiteY881" fmla="*/ 90805 h 138429"/>
                <a:gd name="connsiteX882" fmla="*/ 2056126 w 4940931"/>
                <a:gd name="connsiteY882" fmla="*/ 100330 h 138429"/>
                <a:gd name="connsiteX883" fmla="*/ 2050411 w 4940931"/>
                <a:gd name="connsiteY883" fmla="*/ 104775 h 138429"/>
                <a:gd name="connsiteX884" fmla="*/ 2044696 w 4940931"/>
                <a:gd name="connsiteY884" fmla="*/ 107950 h 138429"/>
                <a:gd name="connsiteX885" fmla="*/ 2037711 w 4940931"/>
                <a:gd name="connsiteY885" fmla="*/ 109855 h 138429"/>
                <a:gd name="connsiteX886" fmla="*/ 2028821 w 4940931"/>
                <a:gd name="connsiteY886" fmla="*/ 110490 h 138429"/>
                <a:gd name="connsiteX887" fmla="*/ 2019296 w 4940931"/>
                <a:gd name="connsiteY887" fmla="*/ 109220 h 138429"/>
                <a:gd name="connsiteX888" fmla="*/ 2011676 w 4940931"/>
                <a:gd name="connsiteY888" fmla="*/ 105410 h 138429"/>
                <a:gd name="connsiteX889" fmla="*/ 2005326 w 4940931"/>
                <a:gd name="connsiteY889" fmla="*/ 100330 h 138429"/>
                <a:gd name="connsiteX890" fmla="*/ 2000246 w 4940931"/>
                <a:gd name="connsiteY890" fmla="*/ 92710 h 138429"/>
                <a:gd name="connsiteX891" fmla="*/ 1996436 w 4940931"/>
                <a:gd name="connsiteY891" fmla="*/ 82550 h 138429"/>
                <a:gd name="connsiteX892" fmla="*/ 1995166 w 4940931"/>
                <a:gd name="connsiteY892" fmla="*/ 69850 h 138429"/>
                <a:gd name="connsiteX893" fmla="*/ 1997706 w 4940931"/>
                <a:gd name="connsiteY893" fmla="*/ 52070 h 138429"/>
                <a:gd name="connsiteX894" fmla="*/ 2004691 w 4940931"/>
                <a:gd name="connsiteY894" fmla="*/ 39370 h 138429"/>
                <a:gd name="connsiteX895" fmla="*/ 2015486 w 4940931"/>
                <a:gd name="connsiteY895" fmla="*/ 31750 h 138429"/>
                <a:gd name="connsiteX896" fmla="*/ 2029456 w 4940931"/>
                <a:gd name="connsiteY896" fmla="*/ 29210 h 138429"/>
                <a:gd name="connsiteX897" fmla="*/ 1831336 w 4940931"/>
                <a:gd name="connsiteY897" fmla="*/ 29210 h 138429"/>
                <a:gd name="connsiteX898" fmla="*/ 1845941 w 4940931"/>
                <a:gd name="connsiteY898" fmla="*/ 32385 h 138429"/>
                <a:gd name="connsiteX899" fmla="*/ 1856101 w 4940931"/>
                <a:gd name="connsiteY899" fmla="*/ 40640 h 138429"/>
                <a:gd name="connsiteX900" fmla="*/ 1862451 w 4940931"/>
                <a:gd name="connsiteY900" fmla="*/ 53340 h 138429"/>
                <a:gd name="connsiteX901" fmla="*/ 1864356 w 4940931"/>
                <a:gd name="connsiteY901" fmla="*/ 68580 h 138429"/>
                <a:gd name="connsiteX902" fmla="*/ 1863086 w 4940931"/>
                <a:gd name="connsiteY902" fmla="*/ 68580 h 138429"/>
                <a:gd name="connsiteX903" fmla="*/ 1863086 w 4940931"/>
                <a:gd name="connsiteY903" fmla="*/ 72390 h 138429"/>
                <a:gd name="connsiteX904" fmla="*/ 1863086 w 4940931"/>
                <a:gd name="connsiteY904" fmla="*/ 75565 h 138429"/>
                <a:gd name="connsiteX905" fmla="*/ 1811651 w 4940931"/>
                <a:gd name="connsiteY905" fmla="*/ 75565 h 138429"/>
                <a:gd name="connsiteX906" fmla="*/ 1814191 w 4940931"/>
                <a:gd name="connsiteY906" fmla="*/ 85090 h 138429"/>
                <a:gd name="connsiteX907" fmla="*/ 1818636 w 4940931"/>
                <a:gd name="connsiteY907" fmla="*/ 91440 h 138429"/>
                <a:gd name="connsiteX908" fmla="*/ 1824351 w 4940931"/>
                <a:gd name="connsiteY908" fmla="*/ 95250 h 138429"/>
                <a:gd name="connsiteX909" fmla="*/ 1831336 w 4940931"/>
                <a:gd name="connsiteY909" fmla="*/ 96520 h 138429"/>
                <a:gd name="connsiteX910" fmla="*/ 1836416 w 4940931"/>
                <a:gd name="connsiteY910" fmla="*/ 96520 h 138429"/>
                <a:gd name="connsiteX911" fmla="*/ 1840861 w 4940931"/>
                <a:gd name="connsiteY911" fmla="*/ 95250 h 138429"/>
                <a:gd name="connsiteX912" fmla="*/ 1844671 w 4940931"/>
                <a:gd name="connsiteY912" fmla="*/ 93345 h 138429"/>
                <a:gd name="connsiteX913" fmla="*/ 1849116 w 4940931"/>
                <a:gd name="connsiteY913" fmla="*/ 90805 h 138429"/>
                <a:gd name="connsiteX914" fmla="*/ 1858006 w 4940931"/>
                <a:gd name="connsiteY914" fmla="*/ 100330 h 138429"/>
                <a:gd name="connsiteX915" fmla="*/ 1852291 w 4940931"/>
                <a:gd name="connsiteY915" fmla="*/ 104775 h 138429"/>
                <a:gd name="connsiteX916" fmla="*/ 1846576 w 4940931"/>
                <a:gd name="connsiteY916" fmla="*/ 107950 h 138429"/>
                <a:gd name="connsiteX917" fmla="*/ 1839591 w 4940931"/>
                <a:gd name="connsiteY917" fmla="*/ 109855 h 138429"/>
                <a:gd name="connsiteX918" fmla="*/ 1830701 w 4940931"/>
                <a:gd name="connsiteY918" fmla="*/ 110490 h 138429"/>
                <a:gd name="connsiteX919" fmla="*/ 1821176 w 4940931"/>
                <a:gd name="connsiteY919" fmla="*/ 109220 h 138429"/>
                <a:gd name="connsiteX920" fmla="*/ 1813556 w 4940931"/>
                <a:gd name="connsiteY920" fmla="*/ 105410 h 138429"/>
                <a:gd name="connsiteX921" fmla="*/ 1807206 w 4940931"/>
                <a:gd name="connsiteY921" fmla="*/ 100330 h 138429"/>
                <a:gd name="connsiteX922" fmla="*/ 1802126 w 4940931"/>
                <a:gd name="connsiteY922" fmla="*/ 92710 h 138429"/>
                <a:gd name="connsiteX923" fmla="*/ 1798316 w 4940931"/>
                <a:gd name="connsiteY923" fmla="*/ 82550 h 138429"/>
                <a:gd name="connsiteX924" fmla="*/ 1797046 w 4940931"/>
                <a:gd name="connsiteY924" fmla="*/ 69850 h 138429"/>
                <a:gd name="connsiteX925" fmla="*/ 1799586 w 4940931"/>
                <a:gd name="connsiteY925" fmla="*/ 52070 h 138429"/>
                <a:gd name="connsiteX926" fmla="*/ 1806571 w 4940931"/>
                <a:gd name="connsiteY926" fmla="*/ 39370 h 138429"/>
                <a:gd name="connsiteX927" fmla="*/ 1817366 w 4940931"/>
                <a:gd name="connsiteY927" fmla="*/ 31750 h 138429"/>
                <a:gd name="connsiteX928" fmla="*/ 1831336 w 4940931"/>
                <a:gd name="connsiteY928" fmla="*/ 29210 h 138429"/>
                <a:gd name="connsiteX929" fmla="*/ 1501140 w 4940931"/>
                <a:gd name="connsiteY929" fmla="*/ 29210 h 138429"/>
                <a:gd name="connsiteX930" fmla="*/ 1506856 w 4940931"/>
                <a:gd name="connsiteY930" fmla="*/ 29210 h 138429"/>
                <a:gd name="connsiteX931" fmla="*/ 1518920 w 4940931"/>
                <a:gd name="connsiteY931" fmla="*/ 31750 h 138429"/>
                <a:gd name="connsiteX932" fmla="*/ 1527811 w 4940931"/>
                <a:gd name="connsiteY932" fmla="*/ 38100 h 138429"/>
                <a:gd name="connsiteX933" fmla="*/ 1532891 w 4940931"/>
                <a:gd name="connsiteY933" fmla="*/ 48895 h 138429"/>
                <a:gd name="connsiteX934" fmla="*/ 1534796 w 4940931"/>
                <a:gd name="connsiteY934" fmla="*/ 64135 h 138429"/>
                <a:gd name="connsiteX935" fmla="*/ 1534796 w 4940931"/>
                <a:gd name="connsiteY935" fmla="*/ 108585 h 138429"/>
                <a:gd name="connsiteX936" fmla="*/ 1519556 w 4940931"/>
                <a:gd name="connsiteY936" fmla="*/ 108585 h 138429"/>
                <a:gd name="connsiteX937" fmla="*/ 1518920 w 4940931"/>
                <a:gd name="connsiteY937" fmla="*/ 108585 h 138429"/>
                <a:gd name="connsiteX938" fmla="*/ 1518920 w 4940931"/>
                <a:gd name="connsiteY938" fmla="*/ 64770 h 138429"/>
                <a:gd name="connsiteX939" fmla="*/ 1515111 w 4940931"/>
                <a:gd name="connsiteY939" fmla="*/ 48895 h 138429"/>
                <a:gd name="connsiteX940" fmla="*/ 1503046 w 4940931"/>
                <a:gd name="connsiteY940" fmla="*/ 43180 h 138429"/>
                <a:gd name="connsiteX941" fmla="*/ 1496061 w 4940931"/>
                <a:gd name="connsiteY941" fmla="*/ 44450 h 138429"/>
                <a:gd name="connsiteX942" fmla="*/ 1490981 w 4940931"/>
                <a:gd name="connsiteY942" fmla="*/ 48260 h 138429"/>
                <a:gd name="connsiteX943" fmla="*/ 1487806 w 4940931"/>
                <a:gd name="connsiteY943" fmla="*/ 54610 h 138429"/>
                <a:gd name="connsiteX944" fmla="*/ 1487170 w 4940931"/>
                <a:gd name="connsiteY944" fmla="*/ 62865 h 138429"/>
                <a:gd name="connsiteX945" fmla="*/ 1487170 w 4940931"/>
                <a:gd name="connsiteY945" fmla="*/ 108585 h 138429"/>
                <a:gd name="connsiteX946" fmla="*/ 1471931 w 4940931"/>
                <a:gd name="connsiteY946" fmla="*/ 108585 h 138429"/>
                <a:gd name="connsiteX947" fmla="*/ 1471931 w 4940931"/>
                <a:gd name="connsiteY947" fmla="*/ 30480 h 138429"/>
                <a:gd name="connsiteX948" fmla="*/ 1487170 w 4940931"/>
                <a:gd name="connsiteY948" fmla="*/ 30480 h 138429"/>
                <a:gd name="connsiteX949" fmla="*/ 1487170 w 4940931"/>
                <a:gd name="connsiteY949" fmla="*/ 38100 h 138429"/>
                <a:gd name="connsiteX950" fmla="*/ 1490981 w 4940931"/>
                <a:gd name="connsiteY950" fmla="*/ 34290 h 138429"/>
                <a:gd name="connsiteX951" fmla="*/ 1495426 w 4940931"/>
                <a:gd name="connsiteY951" fmla="*/ 31115 h 138429"/>
                <a:gd name="connsiteX952" fmla="*/ 1501140 w 4940931"/>
                <a:gd name="connsiteY952" fmla="*/ 29210 h 138429"/>
                <a:gd name="connsiteX953" fmla="*/ 1250316 w 4940931"/>
                <a:gd name="connsiteY953" fmla="*/ 29210 h 138429"/>
                <a:gd name="connsiteX954" fmla="*/ 1264286 w 4940931"/>
                <a:gd name="connsiteY954" fmla="*/ 31750 h 138429"/>
                <a:gd name="connsiteX955" fmla="*/ 1276350 w 4940931"/>
                <a:gd name="connsiteY955" fmla="*/ 38100 h 138429"/>
                <a:gd name="connsiteX956" fmla="*/ 1278256 w 4940931"/>
                <a:gd name="connsiteY956" fmla="*/ 38100 h 138429"/>
                <a:gd name="connsiteX957" fmla="*/ 1271271 w 4940931"/>
                <a:gd name="connsiteY957" fmla="*/ 50165 h 138429"/>
                <a:gd name="connsiteX958" fmla="*/ 1261746 w 4940931"/>
                <a:gd name="connsiteY958" fmla="*/ 45085 h 138429"/>
                <a:gd name="connsiteX959" fmla="*/ 1250951 w 4940931"/>
                <a:gd name="connsiteY959" fmla="*/ 43180 h 138429"/>
                <a:gd name="connsiteX960" fmla="*/ 1242696 w 4940931"/>
                <a:gd name="connsiteY960" fmla="*/ 45085 h 138429"/>
                <a:gd name="connsiteX961" fmla="*/ 1240156 w 4940931"/>
                <a:gd name="connsiteY961" fmla="*/ 50165 h 138429"/>
                <a:gd name="connsiteX962" fmla="*/ 1240156 w 4940931"/>
                <a:gd name="connsiteY962" fmla="*/ 52705 h 138429"/>
                <a:gd name="connsiteX963" fmla="*/ 1242061 w 4940931"/>
                <a:gd name="connsiteY963" fmla="*/ 55245 h 138429"/>
                <a:gd name="connsiteX964" fmla="*/ 1246506 w 4940931"/>
                <a:gd name="connsiteY964" fmla="*/ 57785 h 138429"/>
                <a:gd name="connsiteX965" fmla="*/ 1253491 w 4940931"/>
                <a:gd name="connsiteY965" fmla="*/ 60960 h 138429"/>
                <a:gd name="connsiteX966" fmla="*/ 1264921 w 4940931"/>
                <a:gd name="connsiteY966" fmla="*/ 66040 h 138429"/>
                <a:gd name="connsiteX967" fmla="*/ 1273176 w 4940931"/>
                <a:gd name="connsiteY967" fmla="*/ 71120 h 138429"/>
                <a:gd name="connsiteX968" fmla="*/ 1278256 w 4940931"/>
                <a:gd name="connsiteY968" fmla="*/ 78105 h 138429"/>
                <a:gd name="connsiteX969" fmla="*/ 1280161 w 4940931"/>
                <a:gd name="connsiteY969" fmla="*/ 87630 h 138429"/>
                <a:gd name="connsiteX970" fmla="*/ 1277621 w 4940931"/>
                <a:gd name="connsiteY970" fmla="*/ 98425 h 138429"/>
                <a:gd name="connsiteX971" fmla="*/ 1271271 w 4940931"/>
                <a:gd name="connsiteY971" fmla="*/ 105410 h 138429"/>
                <a:gd name="connsiteX972" fmla="*/ 1261746 w 4940931"/>
                <a:gd name="connsiteY972" fmla="*/ 109220 h 138429"/>
                <a:gd name="connsiteX973" fmla="*/ 1250951 w 4940931"/>
                <a:gd name="connsiteY973" fmla="*/ 110490 h 138429"/>
                <a:gd name="connsiteX974" fmla="*/ 1235711 w 4940931"/>
                <a:gd name="connsiteY974" fmla="*/ 107950 h 138429"/>
                <a:gd name="connsiteX975" fmla="*/ 1221106 w 4940931"/>
                <a:gd name="connsiteY975" fmla="*/ 100965 h 138429"/>
                <a:gd name="connsiteX976" fmla="*/ 1228091 w 4940931"/>
                <a:gd name="connsiteY976" fmla="*/ 89535 h 138429"/>
                <a:gd name="connsiteX977" fmla="*/ 1239521 w 4940931"/>
                <a:gd name="connsiteY977" fmla="*/ 95250 h 138429"/>
                <a:gd name="connsiteX978" fmla="*/ 1250951 w 4940931"/>
                <a:gd name="connsiteY978" fmla="*/ 97155 h 138429"/>
                <a:gd name="connsiteX979" fmla="*/ 1261746 w 4940931"/>
                <a:gd name="connsiteY979" fmla="*/ 94615 h 138429"/>
                <a:gd name="connsiteX980" fmla="*/ 1264921 w 4940931"/>
                <a:gd name="connsiteY980" fmla="*/ 88265 h 138429"/>
                <a:gd name="connsiteX981" fmla="*/ 1263650 w 4940931"/>
                <a:gd name="connsiteY981" fmla="*/ 84455 h 138429"/>
                <a:gd name="connsiteX982" fmla="*/ 1259841 w 4940931"/>
                <a:gd name="connsiteY982" fmla="*/ 81280 h 138429"/>
                <a:gd name="connsiteX983" fmla="*/ 1254125 w 4940931"/>
                <a:gd name="connsiteY983" fmla="*/ 78105 h 138429"/>
                <a:gd name="connsiteX984" fmla="*/ 1246506 w 4940931"/>
                <a:gd name="connsiteY984" fmla="*/ 74930 h 138429"/>
                <a:gd name="connsiteX985" fmla="*/ 1235711 w 4940931"/>
                <a:gd name="connsiteY985" fmla="*/ 69850 h 138429"/>
                <a:gd name="connsiteX986" fmla="*/ 1228726 w 4940931"/>
                <a:gd name="connsiteY986" fmla="*/ 64770 h 138429"/>
                <a:gd name="connsiteX987" fmla="*/ 1224916 w 4940931"/>
                <a:gd name="connsiteY987" fmla="*/ 58420 h 138429"/>
                <a:gd name="connsiteX988" fmla="*/ 1223646 w 4940931"/>
                <a:gd name="connsiteY988" fmla="*/ 50165 h 138429"/>
                <a:gd name="connsiteX989" fmla="*/ 1225551 w 4940931"/>
                <a:gd name="connsiteY989" fmla="*/ 40640 h 138429"/>
                <a:gd name="connsiteX990" fmla="*/ 1231266 w 4940931"/>
                <a:gd name="connsiteY990" fmla="*/ 34290 h 138429"/>
                <a:gd name="connsiteX991" fmla="*/ 1239521 w 4940931"/>
                <a:gd name="connsiteY991" fmla="*/ 30480 h 138429"/>
                <a:gd name="connsiteX992" fmla="*/ 1250316 w 4940931"/>
                <a:gd name="connsiteY992" fmla="*/ 29210 h 138429"/>
                <a:gd name="connsiteX993" fmla="*/ 1180466 w 4940931"/>
                <a:gd name="connsiteY993" fmla="*/ 29210 h 138429"/>
                <a:gd name="connsiteX994" fmla="*/ 1195071 w 4940931"/>
                <a:gd name="connsiteY994" fmla="*/ 32385 h 138429"/>
                <a:gd name="connsiteX995" fmla="*/ 1205231 w 4940931"/>
                <a:gd name="connsiteY995" fmla="*/ 40640 h 138429"/>
                <a:gd name="connsiteX996" fmla="*/ 1211581 w 4940931"/>
                <a:gd name="connsiteY996" fmla="*/ 53340 h 138429"/>
                <a:gd name="connsiteX997" fmla="*/ 1213486 w 4940931"/>
                <a:gd name="connsiteY997" fmla="*/ 68580 h 138429"/>
                <a:gd name="connsiteX998" fmla="*/ 1212216 w 4940931"/>
                <a:gd name="connsiteY998" fmla="*/ 68580 h 138429"/>
                <a:gd name="connsiteX999" fmla="*/ 1212216 w 4940931"/>
                <a:gd name="connsiteY999" fmla="*/ 72390 h 138429"/>
                <a:gd name="connsiteX1000" fmla="*/ 1212216 w 4940931"/>
                <a:gd name="connsiteY1000" fmla="*/ 75565 h 138429"/>
                <a:gd name="connsiteX1001" fmla="*/ 1160781 w 4940931"/>
                <a:gd name="connsiteY1001" fmla="*/ 75565 h 138429"/>
                <a:gd name="connsiteX1002" fmla="*/ 1163321 w 4940931"/>
                <a:gd name="connsiteY1002" fmla="*/ 85090 h 138429"/>
                <a:gd name="connsiteX1003" fmla="*/ 1167766 w 4940931"/>
                <a:gd name="connsiteY1003" fmla="*/ 91440 h 138429"/>
                <a:gd name="connsiteX1004" fmla="*/ 1173481 w 4940931"/>
                <a:gd name="connsiteY1004" fmla="*/ 95250 h 138429"/>
                <a:gd name="connsiteX1005" fmla="*/ 1180466 w 4940931"/>
                <a:gd name="connsiteY1005" fmla="*/ 96520 h 138429"/>
                <a:gd name="connsiteX1006" fmla="*/ 1185546 w 4940931"/>
                <a:gd name="connsiteY1006" fmla="*/ 96520 h 138429"/>
                <a:gd name="connsiteX1007" fmla="*/ 1189991 w 4940931"/>
                <a:gd name="connsiteY1007" fmla="*/ 95250 h 138429"/>
                <a:gd name="connsiteX1008" fmla="*/ 1193801 w 4940931"/>
                <a:gd name="connsiteY1008" fmla="*/ 93345 h 138429"/>
                <a:gd name="connsiteX1009" fmla="*/ 1198246 w 4940931"/>
                <a:gd name="connsiteY1009" fmla="*/ 90805 h 138429"/>
                <a:gd name="connsiteX1010" fmla="*/ 1207136 w 4940931"/>
                <a:gd name="connsiteY1010" fmla="*/ 100330 h 138429"/>
                <a:gd name="connsiteX1011" fmla="*/ 1201421 w 4940931"/>
                <a:gd name="connsiteY1011" fmla="*/ 104775 h 138429"/>
                <a:gd name="connsiteX1012" fmla="*/ 1195706 w 4940931"/>
                <a:gd name="connsiteY1012" fmla="*/ 107950 h 138429"/>
                <a:gd name="connsiteX1013" fmla="*/ 1188721 w 4940931"/>
                <a:gd name="connsiteY1013" fmla="*/ 109855 h 138429"/>
                <a:gd name="connsiteX1014" fmla="*/ 1179831 w 4940931"/>
                <a:gd name="connsiteY1014" fmla="*/ 110490 h 138429"/>
                <a:gd name="connsiteX1015" fmla="*/ 1170306 w 4940931"/>
                <a:gd name="connsiteY1015" fmla="*/ 109220 h 138429"/>
                <a:gd name="connsiteX1016" fmla="*/ 1162686 w 4940931"/>
                <a:gd name="connsiteY1016" fmla="*/ 105410 h 138429"/>
                <a:gd name="connsiteX1017" fmla="*/ 1156336 w 4940931"/>
                <a:gd name="connsiteY1017" fmla="*/ 100330 h 138429"/>
                <a:gd name="connsiteX1018" fmla="*/ 1151256 w 4940931"/>
                <a:gd name="connsiteY1018" fmla="*/ 92710 h 138429"/>
                <a:gd name="connsiteX1019" fmla="*/ 1147446 w 4940931"/>
                <a:gd name="connsiteY1019" fmla="*/ 82550 h 138429"/>
                <a:gd name="connsiteX1020" fmla="*/ 1146176 w 4940931"/>
                <a:gd name="connsiteY1020" fmla="*/ 69850 h 138429"/>
                <a:gd name="connsiteX1021" fmla="*/ 1148716 w 4940931"/>
                <a:gd name="connsiteY1021" fmla="*/ 52070 h 138429"/>
                <a:gd name="connsiteX1022" fmla="*/ 1155701 w 4940931"/>
                <a:gd name="connsiteY1022" fmla="*/ 39370 h 138429"/>
                <a:gd name="connsiteX1023" fmla="*/ 1166496 w 4940931"/>
                <a:gd name="connsiteY1023" fmla="*/ 31750 h 138429"/>
                <a:gd name="connsiteX1024" fmla="*/ 1180466 w 4940931"/>
                <a:gd name="connsiteY1024" fmla="*/ 29210 h 138429"/>
                <a:gd name="connsiteX1025" fmla="*/ 901065 w 4940931"/>
                <a:gd name="connsiteY1025" fmla="*/ 29210 h 138429"/>
                <a:gd name="connsiteX1026" fmla="*/ 915670 w 4940931"/>
                <a:gd name="connsiteY1026" fmla="*/ 32385 h 138429"/>
                <a:gd name="connsiteX1027" fmla="*/ 925830 w 4940931"/>
                <a:gd name="connsiteY1027" fmla="*/ 40640 h 138429"/>
                <a:gd name="connsiteX1028" fmla="*/ 932180 w 4940931"/>
                <a:gd name="connsiteY1028" fmla="*/ 53340 h 138429"/>
                <a:gd name="connsiteX1029" fmla="*/ 934085 w 4940931"/>
                <a:gd name="connsiteY1029" fmla="*/ 68580 h 138429"/>
                <a:gd name="connsiteX1030" fmla="*/ 932815 w 4940931"/>
                <a:gd name="connsiteY1030" fmla="*/ 68580 h 138429"/>
                <a:gd name="connsiteX1031" fmla="*/ 932815 w 4940931"/>
                <a:gd name="connsiteY1031" fmla="*/ 72390 h 138429"/>
                <a:gd name="connsiteX1032" fmla="*/ 932815 w 4940931"/>
                <a:gd name="connsiteY1032" fmla="*/ 75565 h 138429"/>
                <a:gd name="connsiteX1033" fmla="*/ 881380 w 4940931"/>
                <a:gd name="connsiteY1033" fmla="*/ 75565 h 138429"/>
                <a:gd name="connsiteX1034" fmla="*/ 883920 w 4940931"/>
                <a:gd name="connsiteY1034" fmla="*/ 85090 h 138429"/>
                <a:gd name="connsiteX1035" fmla="*/ 888365 w 4940931"/>
                <a:gd name="connsiteY1035" fmla="*/ 91440 h 138429"/>
                <a:gd name="connsiteX1036" fmla="*/ 894080 w 4940931"/>
                <a:gd name="connsiteY1036" fmla="*/ 95250 h 138429"/>
                <a:gd name="connsiteX1037" fmla="*/ 901065 w 4940931"/>
                <a:gd name="connsiteY1037" fmla="*/ 96520 h 138429"/>
                <a:gd name="connsiteX1038" fmla="*/ 906145 w 4940931"/>
                <a:gd name="connsiteY1038" fmla="*/ 96520 h 138429"/>
                <a:gd name="connsiteX1039" fmla="*/ 910590 w 4940931"/>
                <a:gd name="connsiteY1039" fmla="*/ 95250 h 138429"/>
                <a:gd name="connsiteX1040" fmla="*/ 914400 w 4940931"/>
                <a:gd name="connsiteY1040" fmla="*/ 93345 h 138429"/>
                <a:gd name="connsiteX1041" fmla="*/ 918845 w 4940931"/>
                <a:gd name="connsiteY1041" fmla="*/ 90805 h 138429"/>
                <a:gd name="connsiteX1042" fmla="*/ 927735 w 4940931"/>
                <a:gd name="connsiteY1042" fmla="*/ 100330 h 138429"/>
                <a:gd name="connsiteX1043" fmla="*/ 922020 w 4940931"/>
                <a:gd name="connsiteY1043" fmla="*/ 104775 h 138429"/>
                <a:gd name="connsiteX1044" fmla="*/ 916305 w 4940931"/>
                <a:gd name="connsiteY1044" fmla="*/ 107950 h 138429"/>
                <a:gd name="connsiteX1045" fmla="*/ 909320 w 4940931"/>
                <a:gd name="connsiteY1045" fmla="*/ 109855 h 138429"/>
                <a:gd name="connsiteX1046" fmla="*/ 900430 w 4940931"/>
                <a:gd name="connsiteY1046" fmla="*/ 110490 h 138429"/>
                <a:gd name="connsiteX1047" fmla="*/ 890905 w 4940931"/>
                <a:gd name="connsiteY1047" fmla="*/ 109220 h 138429"/>
                <a:gd name="connsiteX1048" fmla="*/ 883285 w 4940931"/>
                <a:gd name="connsiteY1048" fmla="*/ 105410 h 138429"/>
                <a:gd name="connsiteX1049" fmla="*/ 876935 w 4940931"/>
                <a:gd name="connsiteY1049" fmla="*/ 100330 h 138429"/>
                <a:gd name="connsiteX1050" fmla="*/ 871855 w 4940931"/>
                <a:gd name="connsiteY1050" fmla="*/ 92710 h 138429"/>
                <a:gd name="connsiteX1051" fmla="*/ 868045 w 4940931"/>
                <a:gd name="connsiteY1051" fmla="*/ 82550 h 138429"/>
                <a:gd name="connsiteX1052" fmla="*/ 866775 w 4940931"/>
                <a:gd name="connsiteY1052" fmla="*/ 69850 h 138429"/>
                <a:gd name="connsiteX1053" fmla="*/ 869315 w 4940931"/>
                <a:gd name="connsiteY1053" fmla="*/ 52070 h 138429"/>
                <a:gd name="connsiteX1054" fmla="*/ 876300 w 4940931"/>
                <a:gd name="connsiteY1054" fmla="*/ 39370 h 138429"/>
                <a:gd name="connsiteX1055" fmla="*/ 887095 w 4940931"/>
                <a:gd name="connsiteY1055" fmla="*/ 31750 h 138429"/>
                <a:gd name="connsiteX1056" fmla="*/ 901065 w 4940931"/>
                <a:gd name="connsiteY1056" fmla="*/ 29210 h 138429"/>
                <a:gd name="connsiteX1057" fmla="*/ 668656 w 4940931"/>
                <a:gd name="connsiteY1057" fmla="*/ 29210 h 138429"/>
                <a:gd name="connsiteX1058" fmla="*/ 676275 w 4940931"/>
                <a:gd name="connsiteY1058" fmla="*/ 29845 h 138429"/>
                <a:gd name="connsiteX1059" fmla="*/ 681991 w 4940931"/>
                <a:gd name="connsiteY1059" fmla="*/ 32385 h 138429"/>
                <a:gd name="connsiteX1060" fmla="*/ 678181 w 4940931"/>
                <a:gd name="connsiteY1060" fmla="*/ 46990 h 138429"/>
                <a:gd name="connsiteX1061" fmla="*/ 676910 w 4940931"/>
                <a:gd name="connsiteY1061" fmla="*/ 46990 h 138429"/>
                <a:gd name="connsiteX1062" fmla="*/ 671830 w 4940931"/>
                <a:gd name="connsiteY1062" fmla="*/ 45085 h 138429"/>
                <a:gd name="connsiteX1063" fmla="*/ 665480 w 4940931"/>
                <a:gd name="connsiteY1063" fmla="*/ 44450 h 138429"/>
                <a:gd name="connsiteX1064" fmla="*/ 654050 w 4940931"/>
                <a:gd name="connsiteY1064" fmla="*/ 49530 h 138429"/>
                <a:gd name="connsiteX1065" fmla="*/ 650240 w 4940931"/>
                <a:gd name="connsiteY1065" fmla="*/ 64770 h 138429"/>
                <a:gd name="connsiteX1066" fmla="*/ 650240 w 4940931"/>
                <a:gd name="connsiteY1066" fmla="*/ 109220 h 138429"/>
                <a:gd name="connsiteX1067" fmla="*/ 635000 w 4940931"/>
                <a:gd name="connsiteY1067" fmla="*/ 109220 h 138429"/>
                <a:gd name="connsiteX1068" fmla="*/ 635000 w 4940931"/>
                <a:gd name="connsiteY1068" fmla="*/ 31115 h 138429"/>
                <a:gd name="connsiteX1069" fmla="*/ 650240 w 4940931"/>
                <a:gd name="connsiteY1069" fmla="*/ 31115 h 138429"/>
                <a:gd name="connsiteX1070" fmla="*/ 650240 w 4940931"/>
                <a:gd name="connsiteY1070" fmla="*/ 38735 h 138429"/>
                <a:gd name="connsiteX1071" fmla="*/ 653416 w 4940931"/>
                <a:gd name="connsiteY1071" fmla="*/ 34925 h 138429"/>
                <a:gd name="connsiteX1072" fmla="*/ 657861 w 4940931"/>
                <a:gd name="connsiteY1072" fmla="*/ 31750 h 138429"/>
                <a:gd name="connsiteX1073" fmla="*/ 662940 w 4940931"/>
                <a:gd name="connsiteY1073" fmla="*/ 29845 h 138429"/>
                <a:gd name="connsiteX1074" fmla="*/ 668656 w 4940931"/>
                <a:gd name="connsiteY1074" fmla="*/ 29210 h 138429"/>
                <a:gd name="connsiteX1075" fmla="*/ 586739 w 4940931"/>
                <a:gd name="connsiteY1075" fmla="*/ 29210 h 138429"/>
                <a:gd name="connsiteX1076" fmla="*/ 601344 w 4940931"/>
                <a:gd name="connsiteY1076" fmla="*/ 32385 h 138429"/>
                <a:gd name="connsiteX1077" fmla="*/ 611504 w 4940931"/>
                <a:gd name="connsiteY1077" fmla="*/ 40640 h 138429"/>
                <a:gd name="connsiteX1078" fmla="*/ 617854 w 4940931"/>
                <a:gd name="connsiteY1078" fmla="*/ 53340 h 138429"/>
                <a:gd name="connsiteX1079" fmla="*/ 619759 w 4940931"/>
                <a:gd name="connsiteY1079" fmla="*/ 68580 h 138429"/>
                <a:gd name="connsiteX1080" fmla="*/ 618489 w 4940931"/>
                <a:gd name="connsiteY1080" fmla="*/ 68580 h 138429"/>
                <a:gd name="connsiteX1081" fmla="*/ 618489 w 4940931"/>
                <a:gd name="connsiteY1081" fmla="*/ 72390 h 138429"/>
                <a:gd name="connsiteX1082" fmla="*/ 618489 w 4940931"/>
                <a:gd name="connsiteY1082" fmla="*/ 75565 h 138429"/>
                <a:gd name="connsiteX1083" fmla="*/ 567054 w 4940931"/>
                <a:gd name="connsiteY1083" fmla="*/ 75565 h 138429"/>
                <a:gd name="connsiteX1084" fmla="*/ 569594 w 4940931"/>
                <a:gd name="connsiteY1084" fmla="*/ 85090 h 138429"/>
                <a:gd name="connsiteX1085" fmla="*/ 574039 w 4940931"/>
                <a:gd name="connsiteY1085" fmla="*/ 91440 h 138429"/>
                <a:gd name="connsiteX1086" fmla="*/ 579754 w 4940931"/>
                <a:gd name="connsiteY1086" fmla="*/ 95250 h 138429"/>
                <a:gd name="connsiteX1087" fmla="*/ 586739 w 4940931"/>
                <a:gd name="connsiteY1087" fmla="*/ 96520 h 138429"/>
                <a:gd name="connsiteX1088" fmla="*/ 591819 w 4940931"/>
                <a:gd name="connsiteY1088" fmla="*/ 96520 h 138429"/>
                <a:gd name="connsiteX1089" fmla="*/ 596264 w 4940931"/>
                <a:gd name="connsiteY1089" fmla="*/ 95250 h 138429"/>
                <a:gd name="connsiteX1090" fmla="*/ 600074 w 4940931"/>
                <a:gd name="connsiteY1090" fmla="*/ 93345 h 138429"/>
                <a:gd name="connsiteX1091" fmla="*/ 604519 w 4940931"/>
                <a:gd name="connsiteY1091" fmla="*/ 90805 h 138429"/>
                <a:gd name="connsiteX1092" fmla="*/ 613409 w 4940931"/>
                <a:gd name="connsiteY1092" fmla="*/ 100330 h 138429"/>
                <a:gd name="connsiteX1093" fmla="*/ 607694 w 4940931"/>
                <a:gd name="connsiteY1093" fmla="*/ 104775 h 138429"/>
                <a:gd name="connsiteX1094" fmla="*/ 601979 w 4940931"/>
                <a:gd name="connsiteY1094" fmla="*/ 107950 h 138429"/>
                <a:gd name="connsiteX1095" fmla="*/ 594994 w 4940931"/>
                <a:gd name="connsiteY1095" fmla="*/ 109855 h 138429"/>
                <a:gd name="connsiteX1096" fmla="*/ 586104 w 4940931"/>
                <a:gd name="connsiteY1096" fmla="*/ 110490 h 138429"/>
                <a:gd name="connsiteX1097" fmla="*/ 576579 w 4940931"/>
                <a:gd name="connsiteY1097" fmla="*/ 109220 h 138429"/>
                <a:gd name="connsiteX1098" fmla="*/ 568959 w 4940931"/>
                <a:gd name="connsiteY1098" fmla="*/ 105410 h 138429"/>
                <a:gd name="connsiteX1099" fmla="*/ 562609 w 4940931"/>
                <a:gd name="connsiteY1099" fmla="*/ 100330 h 138429"/>
                <a:gd name="connsiteX1100" fmla="*/ 557529 w 4940931"/>
                <a:gd name="connsiteY1100" fmla="*/ 92710 h 138429"/>
                <a:gd name="connsiteX1101" fmla="*/ 553719 w 4940931"/>
                <a:gd name="connsiteY1101" fmla="*/ 82550 h 138429"/>
                <a:gd name="connsiteX1102" fmla="*/ 552449 w 4940931"/>
                <a:gd name="connsiteY1102" fmla="*/ 69850 h 138429"/>
                <a:gd name="connsiteX1103" fmla="*/ 554989 w 4940931"/>
                <a:gd name="connsiteY1103" fmla="*/ 52070 h 138429"/>
                <a:gd name="connsiteX1104" fmla="*/ 561974 w 4940931"/>
                <a:gd name="connsiteY1104" fmla="*/ 39370 h 138429"/>
                <a:gd name="connsiteX1105" fmla="*/ 572769 w 4940931"/>
                <a:gd name="connsiteY1105" fmla="*/ 31750 h 138429"/>
                <a:gd name="connsiteX1106" fmla="*/ 586739 w 4940931"/>
                <a:gd name="connsiteY1106" fmla="*/ 29210 h 138429"/>
                <a:gd name="connsiteX1107" fmla="*/ 400050 w 4940931"/>
                <a:gd name="connsiteY1107" fmla="*/ 29210 h 138429"/>
                <a:gd name="connsiteX1108" fmla="*/ 414655 w 4940931"/>
                <a:gd name="connsiteY1108" fmla="*/ 32385 h 138429"/>
                <a:gd name="connsiteX1109" fmla="*/ 424815 w 4940931"/>
                <a:gd name="connsiteY1109" fmla="*/ 40640 h 138429"/>
                <a:gd name="connsiteX1110" fmla="*/ 431165 w 4940931"/>
                <a:gd name="connsiteY1110" fmla="*/ 53340 h 138429"/>
                <a:gd name="connsiteX1111" fmla="*/ 433070 w 4940931"/>
                <a:gd name="connsiteY1111" fmla="*/ 68580 h 138429"/>
                <a:gd name="connsiteX1112" fmla="*/ 431800 w 4940931"/>
                <a:gd name="connsiteY1112" fmla="*/ 68580 h 138429"/>
                <a:gd name="connsiteX1113" fmla="*/ 431800 w 4940931"/>
                <a:gd name="connsiteY1113" fmla="*/ 72390 h 138429"/>
                <a:gd name="connsiteX1114" fmla="*/ 431800 w 4940931"/>
                <a:gd name="connsiteY1114" fmla="*/ 75565 h 138429"/>
                <a:gd name="connsiteX1115" fmla="*/ 380365 w 4940931"/>
                <a:gd name="connsiteY1115" fmla="*/ 75565 h 138429"/>
                <a:gd name="connsiteX1116" fmla="*/ 382905 w 4940931"/>
                <a:gd name="connsiteY1116" fmla="*/ 85090 h 138429"/>
                <a:gd name="connsiteX1117" fmla="*/ 387350 w 4940931"/>
                <a:gd name="connsiteY1117" fmla="*/ 91440 h 138429"/>
                <a:gd name="connsiteX1118" fmla="*/ 393065 w 4940931"/>
                <a:gd name="connsiteY1118" fmla="*/ 95250 h 138429"/>
                <a:gd name="connsiteX1119" fmla="*/ 400050 w 4940931"/>
                <a:gd name="connsiteY1119" fmla="*/ 96520 h 138429"/>
                <a:gd name="connsiteX1120" fmla="*/ 405130 w 4940931"/>
                <a:gd name="connsiteY1120" fmla="*/ 96520 h 138429"/>
                <a:gd name="connsiteX1121" fmla="*/ 409575 w 4940931"/>
                <a:gd name="connsiteY1121" fmla="*/ 95250 h 138429"/>
                <a:gd name="connsiteX1122" fmla="*/ 413385 w 4940931"/>
                <a:gd name="connsiteY1122" fmla="*/ 93345 h 138429"/>
                <a:gd name="connsiteX1123" fmla="*/ 417830 w 4940931"/>
                <a:gd name="connsiteY1123" fmla="*/ 90805 h 138429"/>
                <a:gd name="connsiteX1124" fmla="*/ 426720 w 4940931"/>
                <a:gd name="connsiteY1124" fmla="*/ 100330 h 138429"/>
                <a:gd name="connsiteX1125" fmla="*/ 421005 w 4940931"/>
                <a:gd name="connsiteY1125" fmla="*/ 104775 h 138429"/>
                <a:gd name="connsiteX1126" fmla="*/ 415290 w 4940931"/>
                <a:gd name="connsiteY1126" fmla="*/ 107950 h 138429"/>
                <a:gd name="connsiteX1127" fmla="*/ 408305 w 4940931"/>
                <a:gd name="connsiteY1127" fmla="*/ 109855 h 138429"/>
                <a:gd name="connsiteX1128" fmla="*/ 399415 w 4940931"/>
                <a:gd name="connsiteY1128" fmla="*/ 110490 h 138429"/>
                <a:gd name="connsiteX1129" fmla="*/ 389890 w 4940931"/>
                <a:gd name="connsiteY1129" fmla="*/ 109220 h 138429"/>
                <a:gd name="connsiteX1130" fmla="*/ 382270 w 4940931"/>
                <a:gd name="connsiteY1130" fmla="*/ 105410 h 138429"/>
                <a:gd name="connsiteX1131" fmla="*/ 375920 w 4940931"/>
                <a:gd name="connsiteY1131" fmla="*/ 100330 h 138429"/>
                <a:gd name="connsiteX1132" fmla="*/ 370840 w 4940931"/>
                <a:gd name="connsiteY1132" fmla="*/ 92710 h 138429"/>
                <a:gd name="connsiteX1133" fmla="*/ 367030 w 4940931"/>
                <a:gd name="connsiteY1133" fmla="*/ 82550 h 138429"/>
                <a:gd name="connsiteX1134" fmla="*/ 365760 w 4940931"/>
                <a:gd name="connsiteY1134" fmla="*/ 69850 h 138429"/>
                <a:gd name="connsiteX1135" fmla="*/ 368300 w 4940931"/>
                <a:gd name="connsiteY1135" fmla="*/ 52070 h 138429"/>
                <a:gd name="connsiteX1136" fmla="*/ 375285 w 4940931"/>
                <a:gd name="connsiteY1136" fmla="*/ 39370 h 138429"/>
                <a:gd name="connsiteX1137" fmla="*/ 386080 w 4940931"/>
                <a:gd name="connsiteY1137" fmla="*/ 31750 h 138429"/>
                <a:gd name="connsiteX1138" fmla="*/ 400050 w 4940931"/>
                <a:gd name="connsiteY1138" fmla="*/ 29210 h 138429"/>
                <a:gd name="connsiteX1139" fmla="*/ 201930 w 4940931"/>
                <a:gd name="connsiteY1139" fmla="*/ 29210 h 138429"/>
                <a:gd name="connsiteX1140" fmla="*/ 216535 w 4940931"/>
                <a:gd name="connsiteY1140" fmla="*/ 32385 h 138429"/>
                <a:gd name="connsiteX1141" fmla="*/ 226695 w 4940931"/>
                <a:gd name="connsiteY1141" fmla="*/ 40640 h 138429"/>
                <a:gd name="connsiteX1142" fmla="*/ 233045 w 4940931"/>
                <a:gd name="connsiteY1142" fmla="*/ 53340 h 138429"/>
                <a:gd name="connsiteX1143" fmla="*/ 234950 w 4940931"/>
                <a:gd name="connsiteY1143" fmla="*/ 68580 h 138429"/>
                <a:gd name="connsiteX1144" fmla="*/ 233680 w 4940931"/>
                <a:gd name="connsiteY1144" fmla="*/ 68580 h 138429"/>
                <a:gd name="connsiteX1145" fmla="*/ 233680 w 4940931"/>
                <a:gd name="connsiteY1145" fmla="*/ 72390 h 138429"/>
                <a:gd name="connsiteX1146" fmla="*/ 233680 w 4940931"/>
                <a:gd name="connsiteY1146" fmla="*/ 75565 h 138429"/>
                <a:gd name="connsiteX1147" fmla="*/ 182245 w 4940931"/>
                <a:gd name="connsiteY1147" fmla="*/ 75565 h 138429"/>
                <a:gd name="connsiteX1148" fmla="*/ 184785 w 4940931"/>
                <a:gd name="connsiteY1148" fmla="*/ 85090 h 138429"/>
                <a:gd name="connsiteX1149" fmla="*/ 189230 w 4940931"/>
                <a:gd name="connsiteY1149" fmla="*/ 91440 h 138429"/>
                <a:gd name="connsiteX1150" fmla="*/ 194945 w 4940931"/>
                <a:gd name="connsiteY1150" fmla="*/ 95250 h 138429"/>
                <a:gd name="connsiteX1151" fmla="*/ 201930 w 4940931"/>
                <a:gd name="connsiteY1151" fmla="*/ 96520 h 138429"/>
                <a:gd name="connsiteX1152" fmla="*/ 207010 w 4940931"/>
                <a:gd name="connsiteY1152" fmla="*/ 96520 h 138429"/>
                <a:gd name="connsiteX1153" fmla="*/ 211455 w 4940931"/>
                <a:gd name="connsiteY1153" fmla="*/ 95250 h 138429"/>
                <a:gd name="connsiteX1154" fmla="*/ 215265 w 4940931"/>
                <a:gd name="connsiteY1154" fmla="*/ 93345 h 138429"/>
                <a:gd name="connsiteX1155" fmla="*/ 219710 w 4940931"/>
                <a:gd name="connsiteY1155" fmla="*/ 90805 h 138429"/>
                <a:gd name="connsiteX1156" fmla="*/ 228600 w 4940931"/>
                <a:gd name="connsiteY1156" fmla="*/ 100330 h 138429"/>
                <a:gd name="connsiteX1157" fmla="*/ 222885 w 4940931"/>
                <a:gd name="connsiteY1157" fmla="*/ 104775 h 138429"/>
                <a:gd name="connsiteX1158" fmla="*/ 217170 w 4940931"/>
                <a:gd name="connsiteY1158" fmla="*/ 107950 h 138429"/>
                <a:gd name="connsiteX1159" fmla="*/ 210185 w 4940931"/>
                <a:gd name="connsiteY1159" fmla="*/ 109855 h 138429"/>
                <a:gd name="connsiteX1160" fmla="*/ 201295 w 4940931"/>
                <a:gd name="connsiteY1160" fmla="*/ 110490 h 138429"/>
                <a:gd name="connsiteX1161" fmla="*/ 191770 w 4940931"/>
                <a:gd name="connsiteY1161" fmla="*/ 109220 h 138429"/>
                <a:gd name="connsiteX1162" fmla="*/ 184150 w 4940931"/>
                <a:gd name="connsiteY1162" fmla="*/ 105410 h 138429"/>
                <a:gd name="connsiteX1163" fmla="*/ 177800 w 4940931"/>
                <a:gd name="connsiteY1163" fmla="*/ 100330 h 138429"/>
                <a:gd name="connsiteX1164" fmla="*/ 172720 w 4940931"/>
                <a:gd name="connsiteY1164" fmla="*/ 92710 h 138429"/>
                <a:gd name="connsiteX1165" fmla="*/ 168910 w 4940931"/>
                <a:gd name="connsiteY1165" fmla="*/ 82550 h 138429"/>
                <a:gd name="connsiteX1166" fmla="*/ 167640 w 4940931"/>
                <a:gd name="connsiteY1166" fmla="*/ 69850 h 138429"/>
                <a:gd name="connsiteX1167" fmla="*/ 170180 w 4940931"/>
                <a:gd name="connsiteY1167" fmla="*/ 52070 h 138429"/>
                <a:gd name="connsiteX1168" fmla="*/ 177165 w 4940931"/>
                <a:gd name="connsiteY1168" fmla="*/ 39370 h 138429"/>
                <a:gd name="connsiteX1169" fmla="*/ 187960 w 4940931"/>
                <a:gd name="connsiteY1169" fmla="*/ 31750 h 138429"/>
                <a:gd name="connsiteX1170" fmla="*/ 201930 w 4940931"/>
                <a:gd name="connsiteY1170" fmla="*/ 29210 h 138429"/>
                <a:gd name="connsiteX1171" fmla="*/ 4664706 w 4940931"/>
                <a:gd name="connsiteY1171" fmla="*/ 28574 h 138429"/>
                <a:gd name="connsiteX1172" fmla="*/ 4678676 w 4940931"/>
                <a:gd name="connsiteY1172" fmla="*/ 31749 h 138429"/>
                <a:gd name="connsiteX1173" fmla="*/ 4689471 w 4940931"/>
                <a:gd name="connsiteY1173" fmla="*/ 40004 h 138429"/>
                <a:gd name="connsiteX1174" fmla="*/ 4696456 w 4940931"/>
                <a:gd name="connsiteY1174" fmla="*/ 52704 h 138429"/>
                <a:gd name="connsiteX1175" fmla="*/ 4698996 w 4940931"/>
                <a:gd name="connsiteY1175" fmla="*/ 69214 h 138429"/>
                <a:gd name="connsiteX1176" fmla="*/ 4699631 w 4940931"/>
                <a:gd name="connsiteY1176" fmla="*/ 69214 h 138429"/>
                <a:gd name="connsiteX1177" fmla="*/ 4697091 w 4940931"/>
                <a:gd name="connsiteY1177" fmla="*/ 86359 h 138429"/>
                <a:gd name="connsiteX1178" fmla="*/ 4689471 w 4940931"/>
                <a:gd name="connsiteY1178" fmla="*/ 99059 h 138429"/>
                <a:gd name="connsiteX1179" fmla="*/ 4678041 w 4940931"/>
                <a:gd name="connsiteY1179" fmla="*/ 107314 h 138429"/>
                <a:gd name="connsiteX1180" fmla="*/ 4664071 w 4940931"/>
                <a:gd name="connsiteY1180" fmla="*/ 109854 h 138429"/>
                <a:gd name="connsiteX1181" fmla="*/ 4650101 w 4940931"/>
                <a:gd name="connsiteY1181" fmla="*/ 106679 h 138429"/>
                <a:gd name="connsiteX1182" fmla="*/ 4639306 w 4940931"/>
                <a:gd name="connsiteY1182" fmla="*/ 98424 h 138429"/>
                <a:gd name="connsiteX1183" fmla="*/ 4632321 w 4940931"/>
                <a:gd name="connsiteY1183" fmla="*/ 85724 h 138429"/>
                <a:gd name="connsiteX1184" fmla="*/ 4629781 w 4940931"/>
                <a:gd name="connsiteY1184" fmla="*/ 69214 h 138429"/>
                <a:gd name="connsiteX1185" fmla="*/ 4632321 w 4940931"/>
                <a:gd name="connsiteY1185" fmla="*/ 52069 h 138429"/>
                <a:gd name="connsiteX1186" fmla="*/ 4639941 w 4940931"/>
                <a:gd name="connsiteY1186" fmla="*/ 39369 h 138429"/>
                <a:gd name="connsiteX1187" fmla="*/ 4650736 w 4940931"/>
                <a:gd name="connsiteY1187" fmla="*/ 31114 h 138429"/>
                <a:gd name="connsiteX1188" fmla="*/ 4664706 w 4940931"/>
                <a:gd name="connsiteY1188" fmla="*/ 28574 h 138429"/>
                <a:gd name="connsiteX1189" fmla="*/ 4264655 w 4940931"/>
                <a:gd name="connsiteY1189" fmla="*/ 28574 h 138429"/>
                <a:gd name="connsiteX1190" fmla="*/ 4278625 w 4940931"/>
                <a:gd name="connsiteY1190" fmla="*/ 31749 h 138429"/>
                <a:gd name="connsiteX1191" fmla="*/ 4289420 w 4940931"/>
                <a:gd name="connsiteY1191" fmla="*/ 40004 h 138429"/>
                <a:gd name="connsiteX1192" fmla="*/ 4296405 w 4940931"/>
                <a:gd name="connsiteY1192" fmla="*/ 52704 h 138429"/>
                <a:gd name="connsiteX1193" fmla="*/ 4298945 w 4940931"/>
                <a:gd name="connsiteY1193" fmla="*/ 69214 h 138429"/>
                <a:gd name="connsiteX1194" fmla="*/ 4299580 w 4940931"/>
                <a:gd name="connsiteY1194" fmla="*/ 69214 h 138429"/>
                <a:gd name="connsiteX1195" fmla="*/ 4297040 w 4940931"/>
                <a:gd name="connsiteY1195" fmla="*/ 86359 h 138429"/>
                <a:gd name="connsiteX1196" fmla="*/ 4289420 w 4940931"/>
                <a:gd name="connsiteY1196" fmla="*/ 99059 h 138429"/>
                <a:gd name="connsiteX1197" fmla="*/ 4277990 w 4940931"/>
                <a:gd name="connsiteY1197" fmla="*/ 107314 h 138429"/>
                <a:gd name="connsiteX1198" fmla="*/ 4264020 w 4940931"/>
                <a:gd name="connsiteY1198" fmla="*/ 109854 h 138429"/>
                <a:gd name="connsiteX1199" fmla="*/ 4250050 w 4940931"/>
                <a:gd name="connsiteY1199" fmla="*/ 106679 h 138429"/>
                <a:gd name="connsiteX1200" fmla="*/ 4239255 w 4940931"/>
                <a:gd name="connsiteY1200" fmla="*/ 98424 h 138429"/>
                <a:gd name="connsiteX1201" fmla="*/ 4232270 w 4940931"/>
                <a:gd name="connsiteY1201" fmla="*/ 85724 h 138429"/>
                <a:gd name="connsiteX1202" fmla="*/ 4229730 w 4940931"/>
                <a:gd name="connsiteY1202" fmla="*/ 69214 h 138429"/>
                <a:gd name="connsiteX1203" fmla="*/ 4232270 w 4940931"/>
                <a:gd name="connsiteY1203" fmla="*/ 52069 h 138429"/>
                <a:gd name="connsiteX1204" fmla="*/ 4239890 w 4940931"/>
                <a:gd name="connsiteY1204" fmla="*/ 39369 h 138429"/>
                <a:gd name="connsiteX1205" fmla="*/ 4250685 w 4940931"/>
                <a:gd name="connsiteY1205" fmla="*/ 31114 h 138429"/>
                <a:gd name="connsiteX1206" fmla="*/ 4264655 w 4940931"/>
                <a:gd name="connsiteY1206" fmla="*/ 28574 h 138429"/>
                <a:gd name="connsiteX1207" fmla="*/ 1420495 w 4940931"/>
                <a:gd name="connsiteY1207" fmla="*/ 28574 h 138429"/>
                <a:gd name="connsiteX1208" fmla="*/ 1434465 w 4940931"/>
                <a:gd name="connsiteY1208" fmla="*/ 31749 h 138429"/>
                <a:gd name="connsiteX1209" fmla="*/ 1445260 w 4940931"/>
                <a:gd name="connsiteY1209" fmla="*/ 40004 h 138429"/>
                <a:gd name="connsiteX1210" fmla="*/ 1452245 w 4940931"/>
                <a:gd name="connsiteY1210" fmla="*/ 52704 h 138429"/>
                <a:gd name="connsiteX1211" fmla="*/ 1454785 w 4940931"/>
                <a:gd name="connsiteY1211" fmla="*/ 69214 h 138429"/>
                <a:gd name="connsiteX1212" fmla="*/ 1455420 w 4940931"/>
                <a:gd name="connsiteY1212" fmla="*/ 69214 h 138429"/>
                <a:gd name="connsiteX1213" fmla="*/ 1452880 w 4940931"/>
                <a:gd name="connsiteY1213" fmla="*/ 86359 h 138429"/>
                <a:gd name="connsiteX1214" fmla="*/ 1445260 w 4940931"/>
                <a:gd name="connsiteY1214" fmla="*/ 99059 h 138429"/>
                <a:gd name="connsiteX1215" fmla="*/ 1433830 w 4940931"/>
                <a:gd name="connsiteY1215" fmla="*/ 107314 h 138429"/>
                <a:gd name="connsiteX1216" fmla="*/ 1419860 w 4940931"/>
                <a:gd name="connsiteY1216" fmla="*/ 109854 h 138429"/>
                <a:gd name="connsiteX1217" fmla="*/ 1405890 w 4940931"/>
                <a:gd name="connsiteY1217" fmla="*/ 106679 h 138429"/>
                <a:gd name="connsiteX1218" fmla="*/ 1395095 w 4940931"/>
                <a:gd name="connsiteY1218" fmla="*/ 98424 h 138429"/>
                <a:gd name="connsiteX1219" fmla="*/ 1388110 w 4940931"/>
                <a:gd name="connsiteY1219" fmla="*/ 85724 h 138429"/>
                <a:gd name="connsiteX1220" fmla="*/ 1385570 w 4940931"/>
                <a:gd name="connsiteY1220" fmla="*/ 69214 h 138429"/>
                <a:gd name="connsiteX1221" fmla="*/ 1388110 w 4940931"/>
                <a:gd name="connsiteY1221" fmla="*/ 52069 h 138429"/>
                <a:gd name="connsiteX1222" fmla="*/ 1395730 w 4940931"/>
                <a:gd name="connsiteY1222" fmla="*/ 39369 h 138429"/>
                <a:gd name="connsiteX1223" fmla="*/ 1406525 w 4940931"/>
                <a:gd name="connsiteY1223" fmla="*/ 31114 h 138429"/>
                <a:gd name="connsiteX1224" fmla="*/ 1420495 w 4940931"/>
                <a:gd name="connsiteY1224" fmla="*/ 28574 h 138429"/>
                <a:gd name="connsiteX1225" fmla="*/ 3143245 w 4940931"/>
                <a:gd name="connsiteY1225" fmla="*/ 5079 h 138429"/>
                <a:gd name="connsiteX1226" fmla="*/ 3219445 w 4940931"/>
                <a:gd name="connsiteY1226" fmla="*/ 5079 h 138429"/>
                <a:gd name="connsiteX1227" fmla="*/ 3219445 w 4940931"/>
                <a:gd name="connsiteY1227" fmla="*/ 20319 h 138429"/>
                <a:gd name="connsiteX1228" fmla="*/ 3188965 w 4940931"/>
                <a:gd name="connsiteY1228" fmla="*/ 20319 h 138429"/>
                <a:gd name="connsiteX1229" fmla="*/ 3188965 w 4940931"/>
                <a:gd name="connsiteY1229" fmla="*/ 108584 h 138429"/>
                <a:gd name="connsiteX1230" fmla="*/ 3173090 w 4940931"/>
                <a:gd name="connsiteY1230" fmla="*/ 108584 h 138429"/>
                <a:gd name="connsiteX1231" fmla="*/ 3173090 w 4940931"/>
                <a:gd name="connsiteY1231" fmla="*/ 20319 h 138429"/>
                <a:gd name="connsiteX1232" fmla="*/ 3143245 w 4940931"/>
                <a:gd name="connsiteY1232" fmla="*/ 20319 h 138429"/>
                <a:gd name="connsiteX1233" fmla="*/ 1628774 w 4940931"/>
                <a:gd name="connsiteY1233" fmla="*/ 5079 h 138429"/>
                <a:gd name="connsiteX1234" fmla="*/ 1704970 w 4940931"/>
                <a:gd name="connsiteY1234" fmla="*/ 5079 h 138429"/>
                <a:gd name="connsiteX1235" fmla="*/ 1704970 w 4940931"/>
                <a:gd name="connsiteY1235" fmla="*/ 20319 h 138429"/>
                <a:gd name="connsiteX1236" fmla="*/ 1675129 w 4940931"/>
                <a:gd name="connsiteY1236" fmla="*/ 20319 h 138429"/>
                <a:gd name="connsiteX1237" fmla="*/ 1675129 w 4940931"/>
                <a:gd name="connsiteY1237" fmla="*/ 108584 h 138429"/>
                <a:gd name="connsiteX1238" fmla="*/ 1659255 w 4940931"/>
                <a:gd name="connsiteY1238" fmla="*/ 108584 h 138429"/>
                <a:gd name="connsiteX1239" fmla="*/ 1659255 w 4940931"/>
                <a:gd name="connsiteY1239" fmla="*/ 20319 h 138429"/>
                <a:gd name="connsiteX1240" fmla="*/ 1628774 w 4940931"/>
                <a:gd name="connsiteY1240" fmla="*/ 20319 h 138429"/>
                <a:gd name="connsiteX1241" fmla="*/ 0 w 4940931"/>
                <a:gd name="connsiteY1241" fmla="*/ 5079 h 138429"/>
                <a:gd name="connsiteX1242" fmla="*/ 76200 w 4940931"/>
                <a:gd name="connsiteY1242" fmla="*/ 5079 h 138429"/>
                <a:gd name="connsiteX1243" fmla="*/ 76200 w 4940931"/>
                <a:gd name="connsiteY1243" fmla="*/ 20319 h 138429"/>
                <a:gd name="connsiteX1244" fmla="*/ 45720 w 4940931"/>
                <a:gd name="connsiteY1244" fmla="*/ 20319 h 138429"/>
                <a:gd name="connsiteX1245" fmla="*/ 45720 w 4940931"/>
                <a:gd name="connsiteY1245" fmla="*/ 108584 h 138429"/>
                <a:gd name="connsiteX1246" fmla="*/ 29845 w 4940931"/>
                <a:gd name="connsiteY1246" fmla="*/ 108584 h 138429"/>
                <a:gd name="connsiteX1247" fmla="*/ 29845 w 4940931"/>
                <a:gd name="connsiteY1247" fmla="*/ 20319 h 138429"/>
                <a:gd name="connsiteX1248" fmla="*/ 0 w 4940931"/>
                <a:gd name="connsiteY1248" fmla="*/ 20319 h 138429"/>
                <a:gd name="connsiteX1249" fmla="*/ 1362075 w 4940931"/>
                <a:gd name="connsiteY1249" fmla="*/ 1269 h 138429"/>
                <a:gd name="connsiteX1250" fmla="*/ 1365885 w 4940931"/>
                <a:gd name="connsiteY1250" fmla="*/ 1904 h 138429"/>
                <a:gd name="connsiteX1251" fmla="*/ 1369060 w 4940931"/>
                <a:gd name="connsiteY1251" fmla="*/ 3809 h 138429"/>
                <a:gd name="connsiteX1252" fmla="*/ 1370965 w 4940931"/>
                <a:gd name="connsiteY1252" fmla="*/ 6984 h 138429"/>
                <a:gd name="connsiteX1253" fmla="*/ 1371600 w 4940931"/>
                <a:gd name="connsiteY1253" fmla="*/ 10794 h 138429"/>
                <a:gd name="connsiteX1254" fmla="*/ 1370965 w 4940931"/>
                <a:gd name="connsiteY1254" fmla="*/ 14604 h 138429"/>
                <a:gd name="connsiteX1255" fmla="*/ 1369060 w 4940931"/>
                <a:gd name="connsiteY1255" fmla="*/ 17779 h 138429"/>
                <a:gd name="connsiteX1256" fmla="*/ 1365885 w 4940931"/>
                <a:gd name="connsiteY1256" fmla="*/ 19684 h 138429"/>
                <a:gd name="connsiteX1257" fmla="*/ 1362075 w 4940931"/>
                <a:gd name="connsiteY1257" fmla="*/ 20319 h 138429"/>
                <a:gd name="connsiteX1258" fmla="*/ 1358265 w 4940931"/>
                <a:gd name="connsiteY1258" fmla="*/ 19684 h 138429"/>
                <a:gd name="connsiteX1259" fmla="*/ 1355090 w 4940931"/>
                <a:gd name="connsiteY1259" fmla="*/ 17779 h 138429"/>
                <a:gd name="connsiteX1260" fmla="*/ 1353185 w 4940931"/>
                <a:gd name="connsiteY1260" fmla="*/ 14604 h 138429"/>
                <a:gd name="connsiteX1261" fmla="*/ 1352550 w 4940931"/>
                <a:gd name="connsiteY1261" fmla="*/ 10794 h 138429"/>
                <a:gd name="connsiteX1262" fmla="*/ 1353185 w 4940931"/>
                <a:gd name="connsiteY1262" fmla="*/ 6984 h 138429"/>
                <a:gd name="connsiteX1263" fmla="*/ 1355090 w 4940931"/>
                <a:gd name="connsiteY1263" fmla="*/ 3809 h 138429"/>
                <a:gd name="connsiteX1264" fmla="*/ 1358265 w 4940931"/>
                <a:gd name="connsiteY1264" fmla="*/ 1904 h 138429"/>
                <a:gd name="connsiteX1265" fmla="*/ 1362075 w 4940931"/>
                <a:gd name="connsiteY1265" fmla="*/ 1269 h 138429"/>
                <a:gd name="connsiteX1266" fmla="*/ 4789801 w 4940931"/>
                <a:gd name="connsiteY1266" fmla="*/ 634 h 138429"/>
                <a:gd name="connsiteX1267" fmla="*/ 4789801 w 4940931"/>
                <a:gd name="connsiteY1267" fmla="*/ 65404 h 138429"/>
                <a:gd name="connsiteX1268" fmla="*/ 4814566 w 4940931"/>
                <a:gd name="connsiteY1268" fmla="*/ 31114 h 138429"/>
                <a:gd name="connsiteX1269" fmla="*/ 4831711 w 4940931"/>
                <a:gd name="connsiteY1269" fmla="*/ 31114 h 138429"/>
                <a:gd name="connsiteX1270" fmla="*/ 4812026 w 4940931"/>
                <a:gd name="connsiteY1270" fmla="*/ 57149 h 138429"/>
                <a:gd name="connsiteX1271" fmla="*/ 4835521 w 4940931"/>
                <a:gd name="connsiteY1271" fmla="*/ 108584 h 138429"/>
                <a:gd name="connsiteX1272" fmla="*/ 4819011 w 4940931"/>
                <a:gd name="connsiteY1272" fmla="*/ 108584 h 138429"/>
                <a:gd name="connsiteX1273" fmla="*/ 4801866 w 4940931"/>
                <a:gd name="connsiteY1273" fmla="*/ 69849 h 138429"/>
                <a:gd name="connsiteX1274" fmla="*/ 4789801 w 4940931"/>
                <a:gd name="connsiteY1274" fmla="*/ 85724 h 138429"/>
                <a:gd name="connsiteX1275" fmla="*/ 4789801 w 4940931"/>
                <a:gd name="connsiteY1275" fmla="*/ 108584 h 138429"/>
                <a:gd name="connsiteX1276" fmla="*/ 4774561 w 4940931"/>
                <a:gd name="connsiteY1276" fmla="*/ 108584 h 138429"/>
                <a:gd name="connsiteX1277" fmla="*/ 4774561 w 4940931"/>
                <a:gd name="connsiteY1277" fmla="*/ 8889 h 138429"/>
                <a:gd name="connsiteX1278" fmla="*/ 4472301 w 4940931"/>
                <a:gd name="connsiteY1278" fmla="*/ 634 h 138429"/>
                <a:gd name="connsiteX1279" fmla="*/ 4472301 w 4940931"/>
                <a:gd name="connsiteY1279" fmla="*/ 109219 h 138429"/>
                <a:gd name="connsiteX1280" fmla="*/ 4457061 w 4940931"/>
                <a:gd name="connsiteY1280" fmla="*/ 109219 h 138429"/>
                <a:gd name="connsiteX1281" fmla="*/ 4457696 w 4940931"/>
                <a:gd name="connsiteY1281" fmla="*/ 108584 h 138429"/>
                <a:gd name="connsiteX1282" fmla="*/ 4457696 w 4940931"/>
                <a:gd name="connsiteY1282" fmla="*/ 100964 h 138429"/>
                <a:gd name="connsiteX1283" fmla="*/ 4453251 w 4940931"/>
                <a:gd name="connsiteY1283" fmla="*/ 104774 h 138429"/>
                <a:gd name="connsiteX1284" fmla="*/ 4448171 w 4940931"/>
                <a:gd name="connsiteY1284" fmla="*/ 107949 h 138429"/>
                <a:gd name="connsiteX1285" fmla="*/ 4443091 w 4940931"/>
                <a:gd name="connsiteY1285" fmla="*/ 109854 h 138429"/>
                <a:gd name="connsiteX1286" fmla="*/ 4437376 w 4940931"/>
                <a:gd name="connsiteY1286" fmla="*/ 109854 h 138429"/>
                <a:gd name="connsiteX1287" fmla="*/ 4425946 w 4940931"/>
                <a:gd name="connsiteY1287" fmla="*/ 107314 h 138429"/>
                <a:gd name="connsiteX1288" fmla="*/ 4416421 w 4940931"/>
                <a:gd name="connsiteY1288" fmla="*/ 99694 h 138429"/>
                <a:gd name="connsiteX1289" fmla="*/ 4410071 w 4940931"/>
                <a:gd name="connsiteY1289" fmla="*/ 86994 h 138429"/>
                <a:gd name="connsiteX1290" fmla="*/ 4407531 w 4940931"/>
                <a:gd name="connsiteY1290" fmla="*/ 67944 h 138429"/>
                <a:gd name="connsiteX1291" fmla="*/ 4410071 w 4940931"/>
                <a:gd name="connsiteY1291" fmla="*/ 50799 h 138429"/>
                <a:gd name="connsiteX1292" fmla="*/ 4417056 w 4940931"/>
                <a:gd name="connsiteY1292" fmla="*/ 38734 h 138429"/>
                <a:gd name="connsiteX1293" fmla="*/ 4426581 w 4940931"/>
                <a:gd name="connsiteY1293" fmla="*/ 31749 h 138429"/>
                <a:gd name="connsiteX1294" fmla="*/ 4438011 w 4940931"/>
                <a:gd name="connsiteY1294" fmla="*/ 29209 h 138429"/>
                <a:gd name="connsiteX1295" fmla="*/ 4443726 w 4940931"/>
                <a:gd name="connsiteY1295" fmla="*/ 29844 h 138429"/>
                <a:gd name="connsiteX1296" fmla="*/ 4448806 w 4940931"/>
                <a:gd name="connsiteY1296" fmla="*/ 31749 h 138429"/>
                <a:gd name="connsiteX1297" fmla="*/ 4453251 w 4940931"/>
                <a:gd name="connsiteY1297" fmla="*/ 34924 h 138429"/>
                <a:gd name="connsiteX1298" fmla="*/ 4457061 w 4940931"/>
                <a:gd name="connsiteY1298" fmla="*/ 38099 h 138429"/>
                <a:gd name="connsiteX1299" fmla="*/ 4457061 w 4940931"/>
                <a:gd name="connsiteY1299" fmla="*/ 8254 h 138429"/>
                <a:gd name="connsiteX1300" fmla="*/ 4390385 w 4940931"/>
                <a:gd name="connsiteY1300" fmla="*/ 634 h 138429"/>
                <a:gd name="connsiteX1301" fmla="*/ 4390385 w 4940931"/>
                <a:gd name="connsiteY1301" fmla="*/ 108584 h 138429"/>
                <a:gd name="connsiteX1302" fmla="*/ 4375145 w 4940931"/>
                <a:gd name="connsiteY1302" fmla="*/ 108584 h 138429"/>
                <a:gd name="connsiteX1303" fmla="*/ 4375145 w 4940931"/>
                <a:gd name="connsiteY1303" fmla="*/ 8889 h 138429"/>
                <a:gd name="connsiteX1304" fmla="*/ 3946521 w 4940931"/>
                <a:gd name="connsiteY1304" fmla="*/ 634 h 138429"/>
                <a:gd name="connsiteX1305" fmla="*/ 3946521 w 4940931"/>
                <a:gd name="connsiteY1305" fmla="*/ 38099 h 138429"/>
                <a:gd name="connsiteX1306" fmla="*/ 3950331 w 4940931"/>
                <a:gd name="connsiteY1306" fmla="*/ 34289 h 138429"/>
                <a:gd name="connsiteX1307" fmla="*/ 3954776 w 4940931"/>
                <a:gd name="connsiteY1307" fmla="*/ 31114 h 138429"/>
                <a:gd name="connsiteX1308" fmla="*/ 3960491 w 4940931"/>
                <a:gd name="connsiteY1308" fmla="*/ 29209 h 138429"/>
                <a:gd name="connsiteX1309" fmla="*/ 3966206 w 4940931"/>
                <a:gd name="connsiteY1309" fmla="*/ 29209 h 138429"/>
                <a:gd name="connsiteX1310" fmla="*/ 3978271 w 4940931"/>
                <a:gd name="connsiteY1310" fmla="*/ 31749 h 138429"/>
                <a:gd name="connsiteX1311" fmla="*/ 3987161 w 4940931"/>
                <a:gd name="connsiteY1311" fmla="*/ 38099 h 138429"/>
                <a:gd name="connsiteX1312" fmla="*/ 3992241 w 4940931"/>
                <a:gd name="connsiteY1312" fmla="*/ 49529 h 138429"/>
                <a:gd name="connsiteX1313" fmla="*/ 3994146 w 4940931"/>
                <a:gd name="connsiteY1313" fmla="*/ 64134 h 138429"/>
                <a:gd name="connsiteX1314" fmla="*/ 3994146 w 4940931"/>
                <a:gd name="connsiteY1314" fmla="*/ 108584 h 138429"/>
                <a:gd name="connsiteX1315" fmla="*/ 3978906 w 4940931"/>
                <a:gd name="connsiteY1315" fmla="*/ 108584 h 138429"/>
                <a:gd name="connsiteX1316" fmla="*/ 3978271 w 4940931"/>
                <a:gd name="connsiteY1316" fmla="*/ 108584 h 138429"/>
                <a:gd name="connsiteX1317" fmla="*/ 3978271 w 4940931"/>
                <a:gd name="connsiteY1317" fmla="*/ 64769 h 138429"/>
                <a:gd name="connsiteX1318" fmla="*/ 3974461 w 4940931"/>
                <a:gd name="connsiteY1318" fmla="*/ 48894 h 138429"/>
                <a:gd name="connsiteX1319" fmla="*/ 3962396 w 4940931"/>
                <a:gd name="connsiteY1319" fmla="*/ 43814 h 138429"/>
                <a:gd name="connsiteX1320" fmla="*/ 3956046 w 4940931"/>
                <a:gd name="connsiteY1320" fmla="*/ 45084 h 138429"/>
                <a:gd name="connsiteX1321" fmla="*/ 3950966 w 4940931"/>
                <a:gd name="connsiteY1321" fmla="*/ 48894 h 138429"/>
                <a:gd name="connsiteX1322" fmla="*/ 3947791 w 4940931"/>
                <a:gd name="connsiteY1322" fmla="*/ 55244 h 138429"/>
                <a:gd name="connsiteX1323" fmla="*/ 3946521 w 4940931"/>
                <a:gd name="connsiteY1323" fmla="*/ 63499 h 138429"/>
                <a:gd name="connsiteX1324" fmla="*/ 3946521 w 4940931"/>
                <a:gd name="connsiteY1324" fmla="*/ 109219 h 138429"/>
                <a:gd name="connsiteX1325" fmla="*/ 3931281 w 4940931"/>
                <a:gd name="connsiteY1325" fmla="*/ 109219 h 138429"/>
                <a:gd name="connsiteX1326" fmla="*/ 3931281 w 4940931"/>
                <a:gd name="connsiteY1326" fmla="*/ 8889 h 138429"/>
                <a:gd name="connsiteX1327" fmla="*/ 3248021 w 4940931"/>
                <a:gd name="connsiteY1327" fmla="*/ 634 h 138429"/>
                <a:gd name="connsiteX1328" fmla="*/ 3248021 w 4940931"/>
                <a:gd name="connsiteY1328" fmla="*/ 38099 h 138429"/>
                <a:gd name="connsiteX1329" fmla="*/ 3251831 w 4940931"/>
                <a:gd name="connsiteY1329" fmla="*/ 34289 h 138429"/>
                <a:gd name="connsiteX1330" fmla="*/ 3256276 w 4940931"/>
                <a:gd name="connsiteY1330" fmla="*/ 31114 h 138429"/>
                <a:gd name="connsiteX1331" fmla="*/ 3261991 w 4940931"/>
                <a:gd name="connsiteY1331" fmla="*/ 29209 h 138429"/>
                <a:gd name="connsiteX1332" fmla="*/ 3267706 w 4940931"/>
                <a:gd name="connsiteY1332" fmla="*/ 29209 h 138429"/>
                <a:gd name="connsiteX1333" fmla="*/ 3279771 w 4940931"/>
                <a:gd name="connsiteY1333" fmla="*/ 31749 h 138429"/>
                <a:gd name="connsiteX1334" fmla="*/ 3288661 w 4940931"/>
                <a:gd name="connsiteY1334" fmla="*/ 38099 h 138429"/>
                <a:gd name="connsiteX1335" fmla="*/ 3293741 w 4940931"/>
                <a:gd name="connsiteY1335" fmla="*/ 49529 h 138429"/>
                <a:gd name="connsiteX1336" fmla="*/ 3295646 w 4940931"/>
                <a:gd name="connsiteY1336" fmla="*/ 64134 h 138429"/>
                <a:gd name="connsiteX1337" fmla="*/ 3295646 w 4940931"/>
                <a:gd name="connsiteY1337" fmla="*/ 108584 h 138429"/>
                <a:gd name="connsiteX1338" fmla="*/ 3280406 w 4940931"/>
                <a:gd name="connsiteY1338" fmla="*/ 108584 h 138429"/>
                <a:gd name="connsiteX1339" fmla="*/ 3279771 w 4940931"/>
                <a:gd name="connsiteY1339" fmla="*/ 108584 h 138429"/>
                <a:gd name="connsiteX1340" fmla="*/ 3279771 w 4940931"/>
                <a:gd name="connsiteY1340" fmla="*/ 64769 h 138429"/>
                <a:gd name="connsiteX1341" fmla="*/ 3275961 w 4940931"/>
                <a:gd name="connsiteY1341" fmla="*/ 48894 h 138429"/>
                <a:gd name="connsiteX1342" fmla="*/ 3263896 w 4940931"/>
                <a:gd name="connsiteY1342" fmla="*/ 43814 h 138429"/>
                <a:gd name="connsiteX1343" fmla="*/ 3257546 w 4940931"/>
                <a:gd name="connsiteY1343" fmla="*/ 45084 h 138429"/>
                <a:gd name="connsiteX1344" fmla="*/ 3252466 w 4940931"/>
                <a:gd name="connsiteY1344" fmla="*/ 48894 h 138429"/>
                <a:gd name="connsiteX1345" fmla="*/ 3249291 w 4940931"/>
                <a:gd name="connsiteY1345" fmla="*/ 55244 h 138429"/>
                <a:gd name="connsiteX1346" fmla="*/ 3248021 w 4940931"/>
                <a:gd name="connsiteY1346" fmla="*/ 63499 h 138429"/>
                <a:gd name="connsiteX1347" fmla="*/ 3248021 w 4940931"/>
                <a:gd name="connsiteY1347" fmla="*/ 109219 h 138429"/>
                <a:gd name="connsiteX1348" fmla="*/ 3232781 w 4940931"/>
                <a:gd name="connsiteY1348" fmla="*/ 109219 h 138429"/>
                <a:gd name="connsiteX1349" fmla="*/ 3232781 w 4940931"/>
                <a:gd name="connsiteY1349" fmla="*/ 8889 h 138429"/>
                <a:gd name="connsiteX1350" fmla="*/ 2432681 w 4940931"/>
                <a:gd name="connsiteY1350" fmla="*/ 634 h 138429"/>
                <a:gd name="connsiteX1351" fmla="*/ 2432681 w 4940931"/>
                <a:gd name="connsiteY1351" fmla="*/ 38099 h 138429"/>
                <a:gd name="connsiteX1352" fmla="*/ 2436491 w 4940931"/>
                <a:gd name="connsiteY1352" fmla="*/ 34289 h 138429"/>
                <a:gd name="connsiteX1353" fmla="*/ 2440936 w 4940931"/>
                <a:gd name="connsiteY1353" fmla="*/ 31114 h 138429"/>
                <a:gd name="connsiteX1354" fmla="*/ 2446651 w 4940931"/>
                <a:gd name="connsiteY1354" fmla="*/ 29209 h 138429"/>
                <a:gd name="connsiteX1355" fmla="*/ 2452366 w 4940931"/>
                <a:gd name="connsiteY1355" fmla="*/ 29209 h 138429"/>
                <a:gd name="connsiteX1356" fmla="*/ 2464431 w 4940931"/>
                <a:gd name="connsiteY1356" fmla="*/ 31749 h 138429"/>
                <a:gd name="connsiteX1357" fmla="*/ 2473321 w 4940931"/>
                <a:gd name="connsiteY1357" fmla="*/ 38099 h 138429"/>
                <a:gd name="connsiteX1358" fmla="*/ 2478401 w 4940931"/>
                <a:gd name="connsiteY1358" fmla="*/ 49529 h 138429"/>
                <a:gd name="connsiteX1359" fmla="*/ 2480306 w 4940931"/>
                <a:gd name="connsiteY1359" fmla="*/ 64134 h 138429"/>
                <a:gd name="connsiteX1360" fmla="*/ 2480306 w 4940931"/>
                <a:gd name="connsiteY1360" fmla="*/ 108584 h 138429"/>
                <a:gd name="connsiteX1361" fmla="*/ 2465066 w 4940931"/>
                <a:gd name="connsiteY1361" fmla="*/ 108584 h 138429"/>
                <a:gd name="connsiteX1362" fmla="*/ 2464431 w 4940931"/>
                <a:gd name="connsiteY1362" fmla="*/ 108584 h 138429"/>
                <a:gd name="connsiteX1363" fmla="*/ 2464431 w 4940931"/>
                <a:gd name="connsiteY1363" fmla="*/ 64769 h 138429"/>
                <a:gd name="connsiteX1364" fmla="*/ 2460621 w 4940931"/>
                <a:gd name="connsiteY1364" fmla="*/ 48894 h 138429"/>
                <a:gd name="connsiteX1365" fmla="*/ 2448556 w 4940931"/>
                <a:gd name="connsiteY1365" fmla="*/ 43814 h 138429"/>
                <a:gd name="connsiteX1366" fmla="*/ 2442206 w 4940931"/>
                <a:gd name="connsiteY1366" fmla="*/ 45084 h 138429"/>
                <a:gd name="connsiteX1367" fmla="*/ 2437126 w 4940931"/>
                <a:gd name="connsiteY1367" fmla="*/ 48894 h 138429"/>
                <a:gd name="connsiteX1368" fmla="*/ 2433951 w 4940931"/>
                <a:gd name="connsiteY1368" fmla="*/ 55244 h 138429"/>
                <a:gd name="connsiteX1369" fmla="*/ 2432681 w 4940931"/>
                <a:gd name="connsiteY1369" fmla="*/ 63499 h 138429"/>
                <a:gd name="connsiteX1370" fmla="*/ 2432681 w 4940931"/>
                <a:gd name="connsiteY1370" fmla="*/ 109219 h 138429"/>
                <a:gd name="connsiteX1371" fmla="*/ 2417441 w 4940931"/>
                <a:gd name="connsiteY1371" fmla="*/ 109219 h 138429"/>
                <a:gd name="connsiteX1372" fmla="*/ 2417441 w 4940931"/>
                <a:gd name="connsiteY1372" fmla="*/ 8889 h 138429"/>
                <a:gd name="connsiteX1373" fmla="*/ 1734181 w 4940931"/>
                <a:gd name="connsiteY1373" fmla="*/ 634 h 138429"/>
                <a:gd name="connsiteX1374" fmla="*/ 1734181 w 4940931"/>
                <a:gd name="connsiteY1374" fmla="*/ 38099 h 138429"/>
                <a:gd name="connsiteX1375" fmla="*/ 1737991 w 4940931"/>
                <a:gd name="connsiteY1375" fmla="*/ 34289 h 138429"/>
                <a:gd name="connsiteX1376" fmla="*/ 1742436 w 4940931"/>
                <a:gd name="connsiteY1376" fmla="*/ 31114 h 138429"/>
                <a:gd name="connsiteX1377" fmla="*/ 1748151 w 4940931"/>
                <a:gd name="connsiteY1377" fmla="*/ 29209 h 138429"/>
                <a:gd name="connsiteX1378" fmla="*/ 1753866 w 4940931"/>
                <a:gd name="connsiteY1378" fmla="*/ 29209 h 138429"/>
                <a:gd name="connsiteX1379" fmla="*/ 1765931 w 4940931"/>
                <a:gd name="connsiteY1379" fmla="*/ 31749 h 138429"/>
                <a:gd name="connsiteX1380" fmla="*/ 1774821 w 4940931"/>
                <a:gd name="connsiteY1380" fmla="*/ 38099 h 138429"/>
                <a:gd name="connsiteX1381" fmla="*/ 1779901 w 4940931"/>
                <a:gd name="connsiteY1381" fmla="*/ 49529 h 138429"/>
                <a:gd name="connsiteX1382" fmla="*/ 1781806 w 4940931"/>
                <a:gd name="connsiteY1382" fmla="*/ 64134 h 138429"/>
                <a:gd name="connsiteX1383" fmla="*/ 1781806 w 4940931"/>
                <a:gd name="connsiteY1383" fmla="*/ 108584 h 138429"/>
                <a:gd name="connsiteX1384" fmla="*/ 1766566 w 4940931"/>
                <a:gd name="connsiteY1384" fmla="*/ 108584 h 138429"/>
                <a:gd name="connsiteX1385" fmla="*/ 1765931 w 4940931"/>
                <a:gd name="connsiteY1385" fmla="*/ 108584 h 138429"/>
                <a:gd name="connsiteX1386" fmla="*/ 1765931 w 4940931"/>
                <a:gd name="connsiteY1386" fmla="*/ 64769 h 138429"/>
                <a:gd name="connsiteX1387" fmla="*/ 1762121 w 4940931"/>
                <a:gd name="connsiteY1387" fmla="*/ 48894 h 138429"/>
                <a:gd name="connsiteX1388" fmla="*/ 1750056 w 4940931"/>
                <a:gd name="connsiteY1388" fmla="*/ 43814 h 138429"/>
                <a:gd name="connsiteX1389" fmla="*/ 1743706 w 4940931"/>
                <a:gd name="connsiteY1389" fmla="*/ 45084 h 138429"/>
                <a:gd name="connsiteX1390" fmla="*/ 1738626 w 4940931"/>
                <a:gd name="connsiteY1390" fmla="*/ 48894 h 138429"/>
                <a:gd name="connsiteX1391" fmla="*/ 1735451 w 4940931"/>
                <a:gd name="connsiteY1391" fmla="*/ 55244 h 138429"/>
                <a:gd name="connsiteX1392" fmla="*/ 1734181 w 4940931"/>
                <a:gd name="connsiteY1392" fmla="*/ 63499 h 138429"/>
                <a:gd name="connsiteX1393" fmla="*/ 1734181 w 4940931"/>
                <a:gd name="connsiteY1393" fmla="*/ 109219 h 138429"/>
                <a:gd name="connsiteX1394" fmla="*/ 1718941 w 4940931"/>
                <a:gd name="connsiteY1394" fmla="*/ 109219 h 138429"/>
                <a:gd name="connsiteX1395" fmla="*/ 1718941 w 4940931"/>
                <a:gd name="connsiteY1395" fmla="*/ 8889 h 138429"/>
                <a:gd name="connsiteX1396" fmla="*/ 803275 w 4940931"/>
                <a:gd name="connsiteY1396" fmla="*/ 634 h 138429"/>
                <a:gd name="connsiteX1397" fmla="*/ 803275 w 4940931"/>
                <a:gd name="connsiteY1397" fmla="*/ 38099 h 138429"/>
                <a:gd name="connsiteX1398" fmla="*/ 807085 w 4940931"/>
                <a:gd name="connsiteY1398" fmla="*/ 34289 h 138429"/>
                <a:gd name="connsiteX1399" fmla="*/ 811530 w 4940931"/>
                <a:gd name="connsiteY1399" fmla="*/ 31114 h 138429"/>
                <a:gd name="connsiteX1400" fmla="*/ 817245 w 4940931"/>
                <a:gd name="connsiteY1400" fmla="*/ 29209 h 138429"/>
                <a:gd name="connsiteX1401" fmla="*/ 822960 w 4940931"/>
                <a:gd name="connsiteY1401" fmla="*/ 29209 h 138429"/>
                <a:gd name="connsiteX1402" fmla="*/ 835025 w 4940931"/>
                <a:gd name="connsiteY1402" fmla="*/ 31749 h 138429"/>
                <a:gd name="connsiteX1403" fmla="*/ 843915 w 4940931"/>
                <a:gd name="connsiteY1403" fmla="*/ 38099 h 138429"/>
                <a:gd name="connsiteX1404" fmla="*/ 848995 w 4940931"/>
                <a:gd name="connsiteY1404" fmla="*/ 49529 h 138429"/>
                <a:gd name="connsiteX1405" fmla="*/ 850900 w 4940931"/>
                <a:gd name="connsiteY1405" fmla="*/ 64134 h 138429"/>
                <a:gd name="connsiteX1406" fmla="*/ 850900 w 4940931"/>
                <a:gd name="connsiteY1406" fmla="*/ 108584 h 138429"/>
                <a:gd name="connsiteX1407" fmla="*/ 835660 w 4940931"/>
                <a:gd name="connsiteY1407" fmla="*/ 108584 h 138429"/>
                <a:gd name="connsiteX1408" fmla="*/ 835025 w 4940931"/>
                <a:gd name="connsiteY1408" fmla="*/ 108584 h 138429"/>
                <a:gd name="connsiteX1409" fmla="*/ 835025 w 4940931"/>
                <a:gd name="connsiteY1409" fmla="*/ 64769 h 138429"/>
                <a:gd name="connsiteX1410" fmla="*/ 831215 w 4940931"/>
                <a:gd name="connsiteY1410" fmla="*/ 48894 h 138429"/>
                <a:gd name="connsiteX1411" fmla="*/ 819150 w 4940931"/>
                <a:gd name="connsiteY1411" fmla="*/ 43814 h 138429"/>
                <a:gd name="connsiteX1412" fmla="*/ 812800 w 4940931"/>
                <a:gd name="connsiteY1412" fmla="*/ 45084 h 138429"/>
                <a:gd name="connsiteX1413" fmla="*/ 807720 w 4940931"/>
                <a:gd name="connsiteY1413" fmla="*/ 48894 h 138429"/>
                <a:gd name="connsiteX1414" fmla="*/ 804545 w 4940931"/>
                <a:gd name="connsiteY1414" fmla="*/ 55244 h 138429"/>
                <a:gd name="connsiteX1415" fmla="*/ 803275 w 4940931"/>
                <a:gd name="connsiteY1415" fmla="*/ 63499 h 138429"/>
                <a:gd name="connsiteX1416" fmla="*/ 803275 w 4940931"/>
                <a:gd name="connsiteY1416" fmla="*/ 109219 h 138429"/>
                <a:gd name="connsiteX1417" fmla="*/ 788035 w 4940931"/>
                <a:gd name="connsiteY1417" fmla="*/ 109219 h 138429"/>
                <a:gd name="connsiteX1418" fmla="*/ 788035 w 4940931"/>
                <a:gd name="connsiteY1418" fmla="*/ 8889 h 138429"/>
                <a:gd name="connsiteX1419" fmla="*/ 104774 w 4940931"/>
                <a:gd name="connsiteY1419" fmla="*/ 634 h 138429"/>
                <a:gd name="connsiteX1420" fmla="*/ 104774 w 4940931"/>
                <a:gd name="connsiteY1420" fmla="*/ 38099 h 138429"/>
                <a:gd name="connsiteX1421" fmla="*/ 108584 w 4940931"/>
                <a:gd name="connsiteY1421" fmla="*/ 34289 h 138429"/>
                <a:gd name="connsiteX1422" fmla="*/ 113029 w 4940931"/>
                <a:gd name="connsiteY1422" fmla="*/ 31114 h 138429"/>
                <a:gd name="connsiteX1423" fmla="*/ 118744 w 4940931"/>
                <a:gd name="connsiteY1423" fmla="*/ 29209 h 138429"/>
                <a:gd name="connsiteX1424" fmla="*/ 124459 w 4940931"/>
                <a:gd name="connsiteY1424" fmla="*/ 29209 h 138429"/>
                <a:gd name="connsiteX1425" fmla="*/ 136524 w 4940931"/>
                <a:gd name="connsiteY1425" fmla="*/ 31749 h 138429"/>
                <a:gd name="connsiteX1426" fmla="*/ 145414 w 4940931"/>
                <a:gd name="connsiteY1426" fmla="*/ 38099 h 138429"/>
                <a:gd name="connsiteX1427" fmla="*/ 150494 w 4940931"/>
                <a:gd name="connsiteY1427" fmla="*/ 49529 h 138429"/>
                <a:gd name="connsiteX1428" fmla="*/ 152399 w 4940931"/>
                <a:gd name="connsiteY1428" fmla="*/ 64134 h 138429"/>
                <a:gd name="connsiteX1429" fmla="*/ 152399 w 4940931"/>
                <a:gd name="connsiteY1429" fmla="*/ 108584 h 138429"/>
                <a:gd name="connsiteX1430" fmla="*/ 137159 w 4940931"/>
                <a:gd name="connsiteY1430" fmla="*/ 108584 h 138429"/>
                <a:gd name="connsiteX1431" fmla="*/ 136524 w 4940931"/>
                <a:gd name="connsiteY1431" fmla="*/ 108584 h 138429"/>
                <a:gd name="connsiteX1432" fmla="*/ 136524 w 4940931"/>
                <a:gd name="connsiteY1432" fmla="*/ 64769 h 138429"/>
                <a:gd name="connsiteX1433" fmla="*/ 132714 w 4940931"/>
                <a:gd name="connsiteY1433" fmla="*/ 48894 h 138429"/>
                <a:gd name="connsiteX1434" fmla="*/ 120649 w 4940931"/>
                <a:gd name="connsiteY1434" fmla="*/ 43814 h 138429"/>
                <a:gd name="connsiteX1435" fmla="*/ 114299 w 4940931"/>
                <a:gd name="connsiteY1435" fmla="*/ 45084 h 138429"/>
                <a:gd name="connsiteX1436" fmla="*/ 109219 w 4940931"/>
                <a:gd name="connsiteY1436" fmla="*/ 48894 h 138429"/>
                <a:gd name="connsiteX1437" fmla="*/ 106044 w 4940931"/>
                <a:gd name="connsiteY1437" fmla="*/ 55244 h 138429"/>
                <a:gd name="connsiteX1438" fmla="*/ 104774 w 4940931"/>
                <a:gd name="connsiteY1438" fmla="*/ 63499 h 138429"/>
                <a:gd name="connsiteX1439" fmla="*/ 104774 w 4940931"/>
                <a:gd name="connsiteY1439" fmla="*/ 109219 h 138429"/>
                <a:gd name="connsiteX1440" fmla="*/ 89534 w 4940931"/>
                <a:gd name="connsiteY1440" fmla="*/ 109219 h 138429"/>
                <a:gd name="connsiteX1441" fmla="*/ 89534 w 4940931"/>
                <a:gd name="connsiteY1441" fmla="*/ 8889 h 138429"/>
                <a:gd name="connsiteX1442" fmla="*/ 3894450 w 4940931"/>
                <a:gd name="connsiteY1442" fmla="*/ 0 h 138429"/>
                <a:gd name="connsiteX1443" fmla="*/ 3894450 w 4940931"/>
                <a:gd name="connsiteY1443" fmla="*/ 30480 h 138429"/>
                <a:gd name="connsiteX1444" fmla="*/ 3913500 w 4940931"/>
                <a:gd name="connsiteY1444" fmla="*/ 30480 h 138429"/>
                <a:gd name="connsiteX1445" fmla="*/ 3913500 w 4940931"/>
                <a:gd name="connsiteY1445" fmla="*/ 44450 h 138429"/>
                <a:gd name="connsiteX1446" fmla="*/ 3894450 w 4940931"/>
                <a:gd name="connsiteY1446" fmla="*/ 44450 h 138429"/>
                <a:gd name="connsiteX1447" fmla="*/ 3894450 w 4940931"/>
                <a:gd name="connsiteY1447" fmla="*/ 86995 h 138429"/>
                <a:gd name="connsiteX1448" fmla="*/ 3894450 w 4940931"/>
                <a:gd name="connsiteY1448" fmla="*/ 91440 h 138429"/>
                <a:gd name="connsiteX1449" fmla="*/ 3895720 w 4940931"/>
                <a:gd name="connsiteY1449" fmla="*/ 94615 h 138429"/>
                <a:gd name="connsiteX1450" fmla="*/ 3898260 w 4940931"/>
                <a:gd name="connsiteY1450" fmla="*/ 95885 h 138429"/>
                <a:gd name="connsiteX1451" fmla="*/ 3902070 w 4940931"/>
                <a:gd name="connsiteY1451" fmla="*/ 95885 h 138429"/>
                <a:gd name="connsiteX1452" fmla="*/ 3908420 w 4940931"/>
                <a:gd name="connsiteY1452" fmla="*/ 95250 h 138429"/>
                <a:gd name="connsiteX1453" fmla="*/ 3913500 w 4940931"/>
                <a:gd name="connsiteY1453" fmla="*/ 93345 h 138429"/>
                <a:gd name="connsiteX1454" fmla="*/ 3911595 w 4940931"/>
                <a:gd name="connsiteY1454" fmla="*/ 106680 h 138429"/>
                <a:gd name="connsiteX1455" fmla="*/ 3905245 w 4940931"/>
                <a:gd name="connsiteY1455" fmla="*/ 109220 h 138429"/>
                <a:gd name="connsiteX1456" fmla="*/ 3896990 w 4940931"/>
                <a:gd name="connsiteY1456" fmla="*/ 110490 h 138429"/>
                <a:gd name="connsiteX1457" fmla="*/ 3890005 w 4940931"/>
                <a:gd name="connsiteY1457" fmla="*/ 109220 h 138429"/>
                <a:gd name="connsiteX1458" fmla="*/ 3884290 w 4940931"/>
                <a:gd name="connsiteY1458" fmla="*/ 105410 h 138429"/>
                <a:gd name="connsiteX1459" fmla="*/ 3880480 w 4940931"/>
                <a:gd name="connsiteY1459" fmla="*/ 99060 h 138429"/>
                <a:gd name="connsiteX1460" fmla="*/ 3879210 w 4940931"/>
                <a:gd name="connsiteY1460" fmla="*/ 89535 h 138429"/>
                <a:gd name="connsiteX1461" fmla="*/ 3879210 w 4940931"/>
                <a:gd name="connsiteY1461" fmla="*/ 44450 h 138429"/>
                <a:gd name="connsiteX1462" fmla="*/ 3868415 w 4940931"/>
                <a:gd name="connsiteY1462" fmla="*/ 44450 h 138429"/>
                <a:gd name="connsiteX1463" fmla="*/ 3868415 w 4940931"/>
                <a:gd name="connsiteY1463" fmla="*/ 30480 h 138429"/>
                <a:gd name="connsiteX1464" fmla="*/ 3879210 w 4940931"/>
                <a:gd name="connsiteY1464" fmla="*/ 30480 h 138429"/>
                <a:gd name="connsiteX1465" fmla="*/ 3879210 w 4940931"/>
                <a:gd name="connsiteY1465" fmla="*/ 8255 h 138429"/>
                <a:gd name="connsiteX1466" fmla="*/ 3664581 w 4940931"/>
                <a:gd name="connsiteY1466" fmla="*/ 0 h 138429"/>
                <a:gd name="connsiteX1467" fmla="*/ 3664581 w 4940931"/>
                <a:gd name="connsiteY1467" fmla="*/ 30480 h 138429"/>
                <a:gd name="connsiteX1468" fmla="*/ 3683631 w 4940931"/>
                <a:gd name="connsiteY1468" fmla="*/ 30480 h 138429"/>
                <a:gd name="connsiteX1469" fmla="*/ 3683631 w 4940931"/>
                <a:gd name="connsiteY1469" fmla="*/ 44450 h 138429"/>
                <a:gd name="connsiteX1470" fmla="*/ 3664581 w 4940931"/>
                <a:gd name="connsiteY1470" fmla="*/ 44450 h 138429"/>
                <a:gd name="connsiteX1471" fmla="*/ 3664581 w 4940931"/>
                <a:gd name="connsiteY1471" fmla="*/ 86995 h 138429"/>
                <a:gd name="connsiteX1472" fmla="*/ 3664581 w 4940931"/>
                <a:gd name="connsiteY1472" fmla="*/ 91440 h 138429"/>
                <a:gd name="connsiteX1473" fmla="*/ 3665851 w 4940931"/>
                <a:gd name="connsiteY1473" fmla="*/ 94615 h 138429"/>
                <a:gd name="connsiteX1474" fmla="*/ 3668391 w 4940931"/>
                <a:gd name="connsiteY1474" fmla="*/ 95885 h 138429"/>
                <a:gd name="connsiteX1475" fmla="*/ 3672201 w 4940931"/>
                <a:gd name="connsiteY1475" fmla="*/ 95885 h 138429"/>
                <a:gd name="connsiteX1476" fmla="*/ 3678551 w 4940931"/>
                <a:gd name="connsiteY1476" fmla="*/ 95250 h 138429"/>
                <a:gd name="connsiteX1477" fmla="*/ 3683631 w 4940931"/>
                <a:gd name="connsiteY1477" fmla="*/ 93345 h 138429"/>
                <a:gd name="connsiteX1478" fmla="*/ 3681726 w 4940931"/>
                <a:gd name="connsiteY1478" fmla="*/ 106680 h 138429"/>
                <a:gd name="connsiteX1479" fmla="*/ 3675376 w 4940931"/>
                <a:gd name="connsiteY1479" fmla="*/ 109220 h 138429"/>
                <a:gd name="connsiteX1480" fmla="*/ 3667121 w 4940931"/>
                <a:gd name="connsiteY1480" fmla="*/ 110490 h 138429"/>
                <a:gd name="connsiteX1481" fmla="*/ 3660136 w 4940931"/>
                <a:gd name="connsiteY1481" fmla="*/ 109220 h 138429"/>
                <a:gd name="connsiteX1482" fmla="*/ 3654421 w 4940931"/>
                <a:gd name="connsiteY1482" fmla="*/ 105410 h 138429"/>
                <a:gd name="connsiteX1483" fmla="*/ 3650611 w 4940931"/>
                <a:gd name="connsiteY1483" fmla="*/ 99060 h 138429"/>
                <a:gd name="connsiteX1484" fmla="*/ 3649341 w 4940931"/>
                <a:gd name="connsiteY1484" fmla="*/ 89535 h 138429"/>
                <a:gd name="connsiteX1485" fmla="*/ 3649341 w 4940931"/>
                <a:gd name="connsiteY1485" fmla="*/ 44450 h 138429"/>
                <a:gd name="connsiteX1486" fmla="*/ 3638546 w 4940931"/>
                <a:gd name="connsiteY1486" fmla="*/ 44450 h 138429"/>
                <a:gd name="connsiteX1487" fmla="*/ 3638546 w 4940931"/>
                <a:gd name="connsiteY1487" fmla="*/ 30480 h 138429"/>
                <a:gd name="connsiteX1488" fmla="*/ 3649341 w 4940931"/>
                <a:gd name="connsiteY1488" fmla="*/ 30480 h 138429"/>
                <a:gd name="connsiteX1489" fmla="*/ 3649341 w 4940931"/>
                <a:gd name="connsiteY1489" fmla="*/ 8255 h 138429"/>
                <a:gd name="connsiteX1490" fmla="*/ 3610605 w 4940931"/>
                <a:gd name="connsiteY1490" fmla="*/ 0 h 138429"/>
                <a:gd name="connsiteX1491" fmla="*/ 3610605 w 4940931"/>
                <a:gd name="connsiteY1491" fmla="*/ 30480 h 138429"/>
                <a:gd name="connsiteX1492" fmla="*/ 3629655 w 4940931"/>
                <a:gd name="connsiteY1492" fmla="*/ 30480 h 138429"/>
                <a:gd name="connsiteX1493" fmla="*/ 3629655 w 4940931"/>
                <a:gd name="connsiteY1493" fmla="*/ 44450 h 138429"/>
                <a:gd name="connsiteX1494" fmla="*/ 3610605 w 4940931"/>
                <a:gd name="connsiteY1494" fmla="*/ 44450 h 138429"/>
                <a:gd name="connsiteX1495" fmla="*/ 3610605 w 4940931"/>
                <a:gd name="connsiteY1495" fmla="*/ 86995 h 138429"/>
                <a:gd name="connsiteX1496" fmla="*/ 3610605 w 4940931"/>
                <a:gd name="connsiteY1496" fmla="*/ 91440 h 138429"/>
                <a:gd name="connsiteX1497" fmla="*/ 3611875 w 4940931"/>
                <a:gd name="connsiteY1497" fmla="*/ 94615 h 138429"/>
                <a:gd name="connsiteX1498" fmla="*/ 3614415 w 4940931"/>
                <a:gd name="connsiteY1498" fmla="*/ 95885 h 138429"/>
                <a:gd name="connsiteX1499" fmla="*/ 3618225 w 4940931"/>
                <a:gd name="connsiteY1499" fmla="*/ 95885 h 138429"/>
                <a:gd name="connsiteX1500" fmla="*/ 3624575 w 4940931"/>
                <a:gd name="connsiteY1500" fmla="*/ 95250 h 138429"/>
                <a:gd name="connsiteX1501" fmla="*/ 3629655 w 4940931"/>
                <a:gd name="connsiteY1501" fmla="*/ 93345 h 138429"/>
                <a:gd name="connsiteX1502" fmla="*/ 3627750 w 4940931"/>
                <a:gd name="connsiteY1502" fmla="*/ 106680 h 138429"/>
                <a:gd name="connsiteX1503" fmla="*/ 3621400 w 4940931"/>
                <a:gd name="connsiteY1503" fmla="*/ 109220 h 138429"/>
                <a:gd name="connsiteX1504" fmla="*/ 3613145 w 4940931"/>
                <a:gd name="connsiteY1504" fmla="*/ 110490 h 138429"/>
                <a:gd name="connsiteX1505" fmla="*/ 3606160 w 4940931"/>
                <a:gd name="connsiteY1505" fmla="*/ 109220 h 138429"/>
                <a:gd name="connsiteX1506" fmla="*/ 3600445 w 4940931"/>
                <a:gd name="connsiteY1506" fmla="*/ 105410 h 138429"/>
                <a:gd name="connsiteX1507" fmla="*/ 3596635 w 4940931"/>
                <a:gd name="connsiteY1507" fmla="*/ 99060 h 138429"/>
                <a:gd name="connsiteX1508" fmla="*/ 3595365 w 4940931"/>
                <a:gd name="connsiteY1508" fmla="*/ 89535 h 138429"/>
                <a:gd name="connsiteX1509" fmla="*/ 3595365 w 4940931"/>
                <a:gd name="connsiteY1509" fmla="*/ 44450 h 138429"/>
                <a:gd name="connsiteX1510" fmla="*/ 3584570 w 4940931"/>
                <a:gd name="connsiteY1510" fmla="*/ 44450 h 138429"/>
                <a:gd name="connsiteX1511" fmla="*/ 3584570 w 4940931"/>
                <a:gd name="connsiteY1511" fmla="*/ 30480 h 138429"/>
                <a:gd name="connsiteX1512" fmla="*/ 3595365 w 4940931"/>
                <a:gd name="connsiteY1512" fmla="*/ 30480 h 138429"/>
                <a:gd name="connsiteX1513" fmla="*/ 3595365 w 4940931"/>
                <a:gd name="connsiteY1513" fmla="*/ 8255 h 138429"/>
                <a:gd name="connsiteX1514" fmla="*/ 3445505 w 4940931"/>
                <a:gd name="connsiteY1514" fmla="*/ 0 h 138429"/>
                <a:gd name="connsiteX1515" fmla="*/ 3445505 w 4940931"/>
                <a:gd name="connsiteY1515" fmla="*/ 37465 h 138429"/>
                <a:gd name="connsiteX1516" fmla="*/ 3449950 w 4940931"/>
                <a:gd name="connsiteY1516" fmla="*/ 33655 h 138429"/>
                <a:gd name="connsiteX1517" fmla="*/ 3453760 w 4940931"/>
                <a:gd name="connsiteY1517" fmla="*/ 31115 h 138429"/>
                <a:gd name="connsiteX1518" fmla="*/ 3458840 w 4940931"/>
                <a:gd name="connsiteY1518" fmla="*/ 29210 h 138429"/>
                <a:gd name="connsiteX1519" fmla="*/ 3465825 w 4940931"/>
                <a:gd name="connsiteY1519" fmla="*/ 28575 h 138429"/>
                <a:gd name="connsiteX1520" fmla="*/ 3477890 w 4940931"/>
                <a:gd name="connsiteY1520" fmla="*/ 31115 h 138429"/>
                <a:gd name="connsiteX1521" fmla="*/ 3487415 w 4940931"/>
                <a:gd name="connsiteY1521" fmla="*/ 38735 h 138429"/>
                <a:gd name="connsiteX1522" fmla="*/ 3493765 w 4940931"/>
                <a:gd name="connsiteY1522" fmla="*/ 51435 h 138429"/>
                <a:gd name="connsiteX1523" fmla="*/ 3496305 w 4940931"/>
                <a:gd name="connsiteY1523" fmla="*/ 70485 h 138429"/>
                <a:gd name="connsiteX1524" fmla="*/ 3495670 w 4940931"/>
                <a:gd name="connsiteY1524" fmla="*/ 71120 h 138429"/>
                <a:gd name="connsiteX1525" fmla="*/ 3493130 w 4940931"/>
                <a:gd name="connsiteY1525" fmla="*/ 88265 h 138429"/>
                <a:gd name="connsiteX1526" fmla="*/ 3486145 w 4940931"/>
                <a:gd name="connsiteY1526" fmla="*/ 100330 h 138429"/>
                <a:gd name="connsiteX1527" fmla="*/ 3476620 w 4940931"/>
                <a:gd name="connsiteY1527" fmla="*/ 107315 h 138429"/>
                <a:gd name="connsiteX1528" fmla="*/ 3465190 w 4940931"/>
                <a:gd name="connsiteY1528" fmla="*/ 109855 h 138429"/>
                <a:gd name="connsiteX1529" fmla="*/ 3454395 w 4940931"/>
                <a:gd name="connsiteY1529" fmla="*/ 107315 h 138429"/>
                <a:gd name="connsiteX1530" fmla="*/ 3445505 w 4940931"/>
                <a:gd name="connsiteY1530" fmla="*/ 100965 h 138429"/>
                <a:gd name="connsiteX1531" fmla="*/ 3445505 w 4940931"/>
                <a:gd name="connsiteY1531" fmla="*/ 107950 h 138429"/>
                <a:gd name="connsiteX1532" fmla="*/ 3430265 w 4940931"/>
                <a:gd name="connsiteY1532" fmla="*/ 107950 h 138429"/>
                <a:gd name="connsiteX1533" fmla="*/ 3430265 w 4940931"/>
                <a:gd name="connsiteY1533" fmla="*/ 7620 h 138429"/>
                <a:gd name="connsiteX1534" fmla="*/ 2380611 w 4940931"/>
                <a:gd name="connsiteY1534" fmla="*/ 0 h 138429"/>
                <a:gd name="connsiteX1535" fmla="*/ 2380611 w 4940931"/>
                <a:gd name="connsiteY1535" fmla="*/ 30480 h 138429"/>
                <a:gd name="connsiteX1536" fmla="*/ 2399661 w 4940931"/>
                <a:gd name="connsiteY1536" fmla="*/ 30480 h 138429"/>
                <a:gd name="connsiteX1537" fmla="*/ 2399661 w 4940931"/>
                <a:gd name="connsiteY1537" fmla="*/ 44450 h 138429"/>
                <a:gd name="connsiteX1538" fmla="*/ 2380611 w 4940931"/>
                <a:gd name="connsiteY1538" fmla="*/ 44450 h 138429"/>
                <a:gd name="connsiteX1539" fmla="*/ 2380611 w 4940931"/>
                <a:gd name="connsiteY1539" fmla="*/ 86995 h 138429"/>
                <a:gd name="connsiteX1540" fmla="*/ 2380611 w 4940931"/>
                <a:gd name="connsiteY1540" fmla="*/ 91440 h 138429"/>
                <a:gd name="connsiteX1541" fmla="*/ 2381881 w 4940931"/>
                <a:gd name="connsiteY1541" fmla="*/ 94615 h 138429"/>
                <a:gd name="connsiteX1542" fmla="*/ 2384421 w 4940931"/>
                <a:gd name="connsiteY1542" fmla="*/ 95885 h 138429"/>
                <a:gd name="connsiteX1543" fmla="*/ 2388231 w 4940931"/>
                <a:gd name="connsiteY1543" fmla="*/ 95885 h 138429"/>
                <a:gd name="connsiteX1544" fmla="*/ 2394581 w 4940931"/>
                <a:gd name="connsiteY1544" fmla="*/ 95250 h 138429"/>
                <a:gd name="connsiteX1545" fmla="*/ 2399661 w 4940931"/>
                <a:gd name="connsiteY1545" fmla="*/ 93345 h 138429"/>
                <a:gd name="connsiteX1546" fmla="*/ 2397756 w 4940931"/>
                <a:gd name="connsiteY1546" fmla="*/ 106680 h 138429"/>
                <a:gd name="connsiteX1547" fmla="*/ 2391406 w 4940931"/>
                <a:gd name="connsiteY1547" fmla="*/ 109220 h 138429"/>
                <a:gd name="connsiteX1548" fmla="*/ 2383151 w 4940931"/>
                <a:gd name="connsiteY1548" fmla="*/ 110490 h 138429"/>
                <a:gd name="connsiteX1549" fmla="*/ 2376166 w 4940931"/>
                <a:gd name="connsiteY1549" fmla="*/ 109220 h 138429"/>
                <a:gd name="connsiteX1550" fmla="*/ 2370451 w 4940931"/>
                <a:gd name="connsiteY1550" fmla="*/ 105410 h 138429"/>
                <a:gd name="connsiteX1551" fmla="*/ 2366641 w 4940931"/>
                <a:gd name="connsiteY1551" fmla="*/ 99060 h 138429"/>
                <a:gd name="connsiteX1552" fmla="*/ 2365371 w 4940931"/>
                <a:gd name="connsiteY1552" fmla="*/ 89535 h 138429"/>
                <a:gd name="connsiteX1553" fmla="*/ 2365371 w 4940931"/>
                <a:gd name="connsiteY1553" fmla="*/ 44450 h 138429"/>
                <a:gd name="connsiteX1554" fmla="*/ 2354576 w 4940931"/>
                <a:gd name="connsiteY1554" fmla="*/ 44450 h 138429"/>
                <a:gd name="connsiteX1555" fmla="*/ 2354576 w 4940931"/>
                <a:gd name="connsiteY1555" fmla="*/ 30480 h 138429"/>
                <a:gd name="connsiteX1556" fmla="*/ 2365371 w 4940931"/>
                <a:gd name="connsiteY1556" fmla="*/ 30480 h 138429"/>
                <a:gd name="connsiteX1557" fmla="*/ 2365371 w 4940931"/>
                <a:gd name="connsiteY1557" fmla="*/ 8255 h 138429"/>
                <a:gd name="connsiteX1558" fmla="*/ 2150741 w 4940931"/>
                <a:gd name="connsiteY1558" fmla="*/ 0 h 138429"/>
                <a:gd name="connsiteX1559" fmla="*/ 2150741 w 4940931"/>
                <a:gd name="connsiteY1559" fmla="*/ 30480 h 138429"/>
                <a:gd name="connsiteX1560" fmla="*/ 2169791 w 4940931"/>
                <a:gd name="connsiteY1560" fmla="*/ 30480 h 138429"/>
                <a:gd name="connsiteX1561" fmla="*/ 2169791 w 4940931"/>
                <a:gd name="connsiteY1561" fmla="*/ 44450 h 138429"/>
                <a:gd name="connsiteX1562" fmla="*/ 2150741 w 4940931"/>
                <a:gd name="connsiteY1562" fmla="*/ 44450 h 138429"/>
                <a:gd name="connsiteX1563" fmla="*/ 2150741 w 4940931"/>
                <a:gd name="connsiteY1563" fmla="*/ 86995 h 138429"/>
                <a:gd name="connsiteX1564" fmla="*/ 2150741 w 4940931"/>
                <a:gd name="connsiteY1564" fmla="*/ 91440 h 138429"/>
                <a:gd name="connsiteX1565" fmla="*/ 2152011 w 4940931"/>
                <a:gd name="connsiteY1565" fmla="*/ 94615 h 138429"/>
                <a:gd name="connsiteX1566" fmla="*/ 2154551 w 4940931"/>
                <a:gd name="connsiteY1566" fmla="*/ 95885 h 138429"/>
                <a:gd name="connsiteX1567" fmla="*/ 2158361 w 4940931"/>
                <a:gd name="connsiteY1567" fmla="*/ 95885 h 138429"/>
                <a:gd name="connsiteX1568" fmla="*/ 2164711 w 4940931"/>
                <a:gd name="connsiteY1568" fmla="*/ 95250 h 138429"/>
                <a:gd name="connsiteX1569" fmla="*/ 2169791 w 4940931"/>
                <a:gd name="connsiteY1569" fmla="*/ 93345 h 138429"/>
                <a:gd name="connsiteX1570" fmla="*/ 2167886 w 4940931"/>
                <a:gd name="connsiteY1570" fmla="*/ 106680 h 138429"/>
                <a:gd name="connsiteX1571" fmla="*/ 2161536 w 4940931"/>
                <a:gd name="connsiteY1571" fmla="*/ 109220 h 138429"/>
                <a:gd name="connsiteX1572" fmla="*/ 2153281 w 4940931"/>
                <a:gd name="connsiteY1572" fmla="*/ 110490 h 138429"/>
                <a:gd name="connsiteX1573" fmla="*/ 2146296 w 4940931"/>
                <a:gd name="connsiteY1573" fmla="*/ 109220 h 138429"/>
                <a:gd name="connsiteX1574" fmla="*/ 2140581 w 4940931"/>
                <a:gd name="connsiteY1574" fmla="*/ 105410 h 138429"/>
                <a:gd name="connsiteX1575" fmla="*/ 2136771 w 4940931"/>
                <a:gd name="connsiteY1575" fmla="*/ 99060 h 138429"/>
                <a:gd name="connsiteX1576" fmla="*/ 2135501 w 4940931"/>
                <a:gd name="connsiteY1576" fmla="*/ 89535 h 138429"/>
                <a:gd name="connsiteX1577" fmla="*/ 2135501 w 4940931"/>
                <a:gd name="connsiteY1577" fmla="*/ 44450 h 138429"/>
                <a:gd name="connsiteX1578" fmla="*/ 2124706 w 4940931"/>
                <a:gd name="connsiteY1578" fmla="*/ 44450 h 138429"/>
                <a:gd name="connsiteX1579" fmla="*/ 2124706 w 4940931"/>
                <a:gd name="connsiteY1579" fmla="*/ 30480 h 138429"/>
                <a:gd name="connsiteX1580" fmla="*/ 2135501 w 4940931"/>
                <a:gd name="connsiteY1580" fmla="*/ 30480 h 138429"/>
                <a:gd name="connsiteX1581" fmla="*/ 2135501 w 4940931"/>
                <a:gd name="connsiteY1581" fmla="*/ 8255 h 138429"/>
                <a:gd name="connsiteX1582" fmla="*/ 2096131 w 4940931"/>
                <a:gd name="connsiteY1582" fmla="*/ 0 h 138429"/>
                <a:gd name="connsiteX1583" fmla="*/ 2096131 w 4940931"/>
                <a:gd name="connsiteY1583" fmla="*/ 30480 h 138429"/>
                <a:gd name="connsiteX1584" fmla="*/ 2115181 w 4940931"/>
                <a:gd name="connsiteY1584" fmla="*/ 30480 h 138429"/>
                <a:gd name="connsiteX1585" fmla="*/ 2115181 w 4940931"/>
                <a:gd name="connsiteY1585" fmla="*/ 44450 h 138429"/>
                <a:gd name="connsiteX1586" fmla="*/ 2096131 w 4940931"/>
                <a:gd name="connsiteY1586" fmla="*/ 44450 h 138429"/>
                <a:gd name="connsiteX1587" fmla="*/ 2096131 w 4940931"/>
                <a:gd name="connsiteY1587" fmla="*/ 86995 h 138429"/>
                <a:gd name="connsiteX1588" fmla="*/ 2096131 w 4940931"/>
                <a:gd name="connsiteY1588" fmla="*/ 91440 h 138429"/>
                <a:gd name="connsiteX1589" fmla="*/ 2097401 w 4940931"/>
                <a:gd name="connsiteY1589" fmla="*/ 94615 h 138429"/>
                <a:gd name="connsiteX1590" fmla="*/ 2099941 w 4940931"/>
                <a:gd name="connsiteY1590" fmla="*/ 95885 h 138429"/>
                <a:gd name="connsiteX1591" fmla="*/ 2103751 w 4940931"/>
                <a:gd name="connsiteY1591" fmla="*/ 95885 h 138429"/>
                <a:gd name="connsiteX1592" fmla="*/ 2110101 w 4940931"/>
                <a:gd name="connsiteY1592" fmla="*/ 95250 h 138429"/>
                <a:gd name="connsiteX1593" fmla="*/ 2115181 w 4940931"/>
                <a:gd name="connsiteY1593" fmla="*/ 93345 h 138429"/>
                <a:gd name="connsiteX1594" fmla="*/ 2113276 w 4940931"/>
                <a:gd name="connsiteY1594" fmla="*/ 106680 h 138429"/>
                <a:gd name="connsiteX1595" fmla="*/ 2106926 w 4940931"/>
                <a:gd name="connsiteY1595" fmla="*/ 109220 h 138429"/>
                <a:gd name="connsiteX1596" fmla="*/ 2098671 w 4940931"/>
                <a:gd name="connsiteY1596" fmla="*/ 110490 h 138429"/>
                <a:gd name="connsiteX1597" fmla="*/ 2091686 w 4940931"/>
                <a:gd name="connsiteY1597" fmla="*/ 109220 h 138429"/>
                <a:gd name="connsiteX1598" fmla="*/ 2085971 w 4940931"/>
                <a:gd name="connsiteY1598" fmla="*/ 105410 h 138429"/>
                <a:gd name="connsiteX1599" fmla="*/ 2082161 w 4940931"/>
                <a:gd name="connsiteY1599" fmla="*/ 99060 h 138429"/>
                <a:gd name="connsiteX1600" fmla="*/ 2080891 w 4940931"/>
                <a:gd name="connsiteY1600" fmla="*/ 89535 h 138429"/>
                <a:gd name="connsiteX1601" fmla="*/ 2080891 w 4940931"/>
                <a:gd name="connsiteY1601" fmla="*/ 44450 h 138429"/>
                <a:gd name="connsiteX1602" fmla="*/ 2070096 w 4940931"/>
                <a:gd name="connsiteY1602" fmla="*/ 44450 h 138429"/>
                <a:gd name="connsiteX1603" fmla="*/ 2070096 w 4940931"/>
                <a:gd name="connsiteY1603" fmla="*/ 30480 h 138429"/>
                <a:gd name="connsiteX1604" fmla="*/ 2080891 w 4940931"/>
                <a:gd name="connsiteY1604" fmla="*/ 30480 h 138429"/>
                <a:gd name="connsiteX1605" fmla="*/ 2080891 w 4940931"/>
                <a:gd name="connsiteY1605" fmla="*/ 8255 h 138429"/>
                <a:gd name="connsiteX1606" fmla="*/ 1931665 w 4940931"/>
                <a:gd name="connsiteY1606" fmla="*/ 0 h 138429"/>
                <a:gd name="connsiteX1607" fmla="*/ 1931665 w 4940931"/>
                <a:gd name="connsiteY1607" fmla="*/ 37465 h 138429"/>
                <a:gd name="connsiteX1608" fmla="*/ 1936110 w 4940931"/>
                <a:gd name="connsiteY1608" fmla="*/ 33655 h 138429"/>
                <a:gd name="connsiteX1609" fmla="*/ 1939920 w 4940931"/>
                <a:gd name="connsiteY1609" fmla="*/ 31115 h 138429"/>
                <a:gd name="connsiteX1610" fmla="*/ 1945000 w 4940931"/>
                <a:gd name="connsiteY1610" fmla="*/ 29210 h 138429"/>
                <a:gd name="connsiteX1611" fmla="*/ 1951985 w 4940931"/>
                <a:gd name="connsiteY1611" fmla="*/ 28575 h 138429"/>
                <a:gd name="connsiteX1612" fmla="*/ 1964050 w 4940931"/>
                <a:gd name="connsiteY1612" fmla="*/ 31115 h 138429"/>
                <a:gd name="connsiteX1613" fmla="*/ 1973575 w 4940931"/>
                <a:gd name="connsiteY1613" fmla="*/ 38735 h 138429"/>
                <a:gd name="connsiteX1614" fmla="*/ 1979925 w 4940931"/>
                <a:gd name="connsiteY1614" fmla="*/ 51435 h 138429"/>
                <a:gd name="connsiteX1615" fmla="*/ 1982465 w 4940931"/>
                <a:gd name="connsiteY1615" fmla="*/ 70485 h 138429"/>
                <a:gd name="connsiteX1616" fmla="*/ 1981830 w 4940931"/>
                <a:gd name="connsiteY1616" fmla="*/ 71120 h 138429"/>
                <a:gd name="connsiteX1617" fmla="*/ 1979290 w 4940931"/>
                <a:gd name="connsiteY1617" fmla="*/ 88265 h 138429"/>
                <a:gd name="connsiteX1618" fmla="*/ 1972305 w 4940931"/>
                <a:gd name="connsiteY1618" fmla="*/ 100330 h 138429"/>
                <a:gd name="connsiteX1619" fmla="*/ 1962780 w 4940931"/>
                <a:gd name="connsiteY1619" fmla="*/ 107315 h 138429"/>
                <a:gd name="connsiteX1620" fmla="*/ 1951350 w 4940931"/>
                <a:gd name="connsiteY1620" fmla="*/ 109855 h 138429"/>
                <a:gd name="connsiteX1621" fmla="*/ 1940555 w 4940931"/>
                <a:gd name="connsiteY1621" fmla="*/ 107315 h 138429"/>
                <a:gd name="connsiteX1622" fmla="*/ 1931665 w 4940931"/>
                <a:gd name="connsiteY1622" fmla="*/ 100965 h 138429"/>
                <a:gd name="connsiteX1623" fmla="*/ 1931665 w 4940931"/>
                <a:gd name="connsiteY1623" fmla="*/ 107950 h 138429"/>
                <a:gd name="connsiteX1624" fmla="*/ 1916425 w 4940931"/>
                <a:gd name="connsiteY1624" fmla="*/ 107950 h 138429"/>
                <a:gd name="connsiteX1625" fmla="*/ 1916425 w 4940931"/>
                <a:gd name="connsiteY1625" fmla="*/ 7620 h 138429"/>
                <a:gd name="connsiteX1626" fmla="*/ 1316991 w 4940931"/>
                <a:gd name="connsiteY1626" fmla="*/ 0 h 138429"/>
                <a:gd name="connsiteX1627" fmla="*/ 1316991 w 4940931"/>
                <a:gd name="connsiteY1627" fmla="*/ 30480 h 138429"/>
                <a:gd name="connsiteX1628" fmla="*/ 1336041 w 4940931"/>
                <a:gd name="connsiteY1628" fmla="*/ 30480 h 138429"/>
                <a:gd name="connsiteX1629" fmla="*/ 1336041 w 4940931"/>
                <a:gd name="connsiteY1629" fmla="*/ 44450 h 138429"/>
                <a:gd name="connsiteX1630" fmla="*/ 1316991 w 4940931"/>
                <a:gd name="connsiteY1630" fmla="*/ 44450 h 138429"/>
                <a:gd name="connsiteX1631" fmla="*/ 1316991 w 4940931"/>
                <a:gd name="connsiteY1631" fmla="*/ 86995 h 138429"/>
                <a:gd name="connsiteX1632" fmla="*/ 1316991 w 4940931"/>
                <a:gd name="connsiteY1632" fmla="*/ 91440 h 138429"/>
                <a:gd name="connsiteX1633" fmla="*/ 1318261 w 4940931"/>
                <a:gd name="connsiteY1633" fmla="*/ 94615 h 138429"/>
                <a:gd name="connsiteX1634" fmla="*/ 1320801 w 4940931"/>
                <a:gd name="connsiteY1634" fmla="*/ 95885 h 138429"/>
                <a:gd name="connsiteX1635" fmla="*/ 1324611 w 4940931"/>
                <a:gd name="connsiteY1635" fmla="*/ 95885 h 138429"/>
                <a:gd name="connsiteX1636" fmla="*/ 1330961 w 4940931"/>
                <a:gd name="connsiteY1636" fmla="*/ 95250 h 138429"/>
                <a:gd name="connsiteX1637" fmla="*/ 1336041 w 4940931"/>
                <a:gd name="connsiteY1637" fmla="*/ 93345 h 138429"/>
                <a:gd name="connsiteX1638" fmla="*/ 1334136 w 4940931"/>
                <a:gd name="connsiteY1638" fmla="*/ 106680 h 138429"/>
                <a:gd name="connsiteX1639" fmla="*/ 1327786 w 4940931"/>
                <a:gd name="connsiteY1639" fmla="*/ 109220 h 138429"/>
                <a:gd name="connsiteX1640" fmla="*/ 1319531 w 4940931"/>
                <a:gd name="connsiteY1640" fmla="*/ 110490 h 138429"/>
                <a:gd name="connsiteX1641" fmla="*/ 1312546 w 4940931"/>
                <a:gd name="connsiteY1641" fmla="*/ 109220 h 138429"/>
                <a:gd name="connsiteX1642" fmla="*/ 1306831 w 4940931"/>
                <a:gd name="connsiteY1642" fmla="*/ 105410 h 138429"/>
                <a:gd name="connsiteX1643" fmla="*/ 1303021 w 4940931"/>
                <a:gd name="connsiteY1643" fmla="*/ 99060 h 138429"/>
                <a:gd name="connsiteX1644" fmla="*/ 1301751 w 4940931"/>
                <a:gd name="connsiteY1644" fmla="*/ 89535 h 138429"/>
                <a:gd name="connsiteX1645" fmla="*/ 1301751 w 4940931"/>
                <a:gd name="connsiteY1645" fmla="*/ 44450 h 138429"/>
                <a:gd name="connsiteX1646" fmla="*/ 1290956 w 4940931"/>
                <a:gd name="connsiteY1646" fmla="*/ 44450 h 138429"/>
                <a:gd name="connsiteX1647" fmla="*/ 1290956 w 4940931"/>
                <a:gd name="connsiteY1647" fmla="*/ 30480 h 138429"/>
                <a:gd name="connsiteX1648" fmla="*/ 1301751 w 4940931"/>
                <a:gd name="connsiteY1648" fmla="*/ 30480 h 138429"/>
                <a:gd name="connsiteX1649" fmla="*/ 1301751 w 4940931"/>
                <a:gd name="connsiteY1649" fmla="*/ 8255 h 138429"/>
                <a:gd name="connsiteX1650" fmla="*/ 751206 w 4940931"/>
                <a:gd name="connsiteY1650" fmla="*/ 0 h 138429"/>
                <a:gd name="connsiteX1651" fmla="*/ 751206 w 4940931"/>
                <a:gd name="connsiteY1651" fmla="*/ 30480 h 138429"/>
                <a:gd name="connsiteX1652" fmla="*/ 770256 w 4940931"/>
                <a:gd name="connsiteY1652" fmla="*/ 30480 h 138429"/>
                <a:gd name="connsiteX1653" fmla="*/ 770256 w 4940931"/>
                <a:gd name="connsiteY1653" fmla="*/ 44450 h 138429"/>
                <a:gd name="connsiteX1654" fmla="*/ 751206 w 4940931"/>
                <a:gd name="connsiteY1654" fmla="*/ 44450 h 138429"/>
                <a:gd name="connsiteX1655" fmla="*/ 751206 w 4940931"/>
                <a:gd name="connsiteY1655" fmla="*/ 86995 h 138429"/>
                <a:gd name="connsiteX1656" fmla="*/ 751206 w 4940931"/>
                <a:gd name="connsiteY1656" fmla="*/ 91440 h 138429"/>
                <a:gd name="connsiteX1657" fmla="*/ 752476 w 4940931"/>
                <a:gd name="connsiteY1657" fmla="*/ 94615 h 138429"/>
                <a:gd name="connsiteX1658" fmla="*/ 755016 w 4940931"/>
                <a:gd name="connsiteY1658" fmla="*/ 95885 h 138429"/>
                <a:gd name="connsiteX1659" fmla="*/ 758826 w 4940931"/>
                <a:gd name="connsiteY1659" fmla="*/ 95885 h 138429"/>
                <a:gd name="connsiteX1660" fmla="*/ 765176 w 4940931"/>
                <a:gd name="connsiteY1660" fmla="*/ 95250 h 138429"/>
                <a:gd name="connsiteX1661" fmla="*/ 770256 w 4940931"/>
                <a:gd name="connsiteY1661" fmla="*/ 93345 h 138429"/>
                <a:gd name="connsiteX1662" fmla="*/ 768351 w 4940931"/>
                <a:gd name="connsiteY1662" fmla="*/ 106680 h 138429"/>
                <a:gd name="connsiteX1663" fmla="*/ 762001 w 4940931"/>
                <a:gd name="connsiteY1663" fmla="*/ 109220 h 138429"/>
                <a:gd name="connsiteX1664" fmla="*/ 753746 w 4940931"/>
                <a:gd name="connsiteY1664" fmla="*/ 110490 h 138429"/>
                <a:gd name="connsiteX1665" fmla="*/ 746761 w 4940931"/>
                <a:gd name="connsiteY1665" fmla="*/ 109220 h 138429"/>
                <a:gd name="connsiteX1666" fmla="*/ 741045 w 4940931"/>
                <a:gd name="connsiteY1666" fmla="*/ 105410 h 138429"/>
                <a:gd name="connsiteX1667" fmla="*/ 737236 w 4940931"/>
                <a:gd name="connsiteY1667" fmla="*/ 99060 h 138429"/>
                <a:gd name="connsiteX1668" fmla="*/ 735966 w 4940931"/>
                <a:gd name="connsiteY1668" fmla="*/ 89535 h 138429"/>
                <a:gd name="connsiteX1669" fmla="*/ 735966 w 4940931"/>
                <a:gd name="connsiteY1669" fmla="*/ 44450 h 138429"/>
                <a:gd name="connsiteX1670" fmla="*/ 725171 w 4940931"/>
                <a:gd name="connsiteY1670" fmla="*/ 44450 h 138429"/>
                <a:gd name="connsiteX1671" fmla="*/ 725171 w 4940931"/>
                <a:gd name="connsiteY1671" fmla="*/ 30480 h 138429"/>
                <a:gd name="connsiteX1672" fmla="*/ 735966 w 4940931"/>
                <a:gd name="connsiteY1672" fmla="*/ 30480 h 138429"/>
                <a:gd name="connsiteX1673" fmla="*/ 735966 w 4940931"/>
                <a:gd name="connsiteY1673" fmla="*/ 8255 h 138429"/>
                <a:gd name="connsiteX1674" fmla="*/ 521335 w 4940931"/>
                <a:gd name="connsiteY1674" fmla="*/ 0 h 138429"/>
                <a:gd name="connsiteX1675" fmla="*/ 521335 w 4940931"/>
                <a:gd name="connsiteY1675" fmla="*/ 30480 h 138429"/>
                <a:gd name="connsiteX1676" fmla="*/ 540385 w 4940931"/>
                <a:gd name="connsiteY1676" fmla="*/ 30480 h 138429"/>
                <a:gd name="connsiteX1677" fmla="*/ 540385 w 4940931"/>
                <a:gd name="connsiteY1677" fmla="*/ 44450 h 138429"/>
                <a:gd name="connsiteX1678" fmla="*/ 521335 w 4940931"/>
                <a:gd name="connsiteY1678" fmla="*/ 44450 h 138429"/>
                <a:gd name="connsiteX1679" fmla="*/ 521335 w 4940931"/>
                <a:gd name="connsiteY1679" fmla="*/ 86995 h 138429"/>
                <a:gd name="connsiteX1680" fmla="*/ 521335 w 4940931"/>
                <a:gd name="connsiteY1680" fmla="*/ 91440 h 138429"/>
                <a:gd name="connsiteX1681" fmla="*/ 522605 w 4940931"/>
                <a:gd name="connsiteY1681" fmla="*/ 94615 h 138429"/>
                <a:gd name="connsiteX1682" fmla="*/ 525145 w 4940931"/>
                <a:gd name="connsiteY1682" fmla="*/ 95885 h 138429"/>
                <a:gd name="connsiteX1683" fmla="*/ 528955 w 4940931"/>
                <a:gd name="connsiteY1683" fmla="*/ 95885 h 138429"/>
                <a:gd name="connsiteX1684" fmla="*/ 535305 w 4940931"/>
                <a:gd name="connsiteY1684" fmla="*/ 95250 h 138429"/>
                <a:gd name="connsiteX1685" fmla="*/ 540385 w 4940931"/>
                <a:gd name="connsiteY1685" fmla="*/ 93345 h 138429"/>
                <a:gd name="connsiteX1686" fmla="*/ 538480 w 4940931"/>
                <a:gd name="connsiteY1686" fmla="*/ 106680 h 138429"/>
                <a:gd name="connsiteX1687" fmla="*/ 532130 w 4940931"/>
                <a:gd name="connsiteY1687" fmla="*/ 109220 h 138429"/>
                <a:gd name="connsiteX1688" fmla="*/ 523875 w 4940931"/>
                <a:gd name="connsiteY1688" fmla="*/ 110490 h 138429"/>
                <a:gd name="connsiteX1689" fmla="*/ 516890 w 4940931"/>
                <a:gd name="connsiteY1689" fmla="*/ 109220 h 138429"/>
                <a:gd name="connsiteX1690" fmla="*/ 511175 w 4940931"/>
                <a:gd name="connsiteY1690" fmla="*/ 105410 h 138429"/>
                <a:gd name="connsiteX1691" fmla="*/ 507365 w 4940931"/>
                <a:gd name="connsiteY1691" fmla="*/ 99060 h 138429"/>
                <a:gd name="connsiteX1692" fmla="*/ 506095 w 4940931"/>
                <a:gd name="connsiteY1692" fmla="*/ 89535 h 138429"/>
                <a:gd name="connsiteX1693" fmla="*/ 506095 w 4940931"/>
                <a:gd name="connsiteY1693" fmla="*/ 44450 h 138429"/>
                <a:gd name="connsiteX1694" fmla="*/ 495300 w 4940931"/>
                <a:gd name="connsiteY1694" fmla="*/ 44450 h 138429"/>
                <a:gd name="connsiteX1695" fmla="*/ 495300 w 4940931"/>
                <a:gd name="connsiteY1695" fmla="*/ 30480 h 138429"/>
                <a:gd name="connsiteX1696" fmla="*/ 506095 w 4940931"/>
                <a:gd name="connsiteY1696" fmla="*/ 30480 h 138429"/>
                <a:gd name="connsiteX1697" fmla="*/ 506095 w 4940931"/>
                <a:gd name="connsiteY1697" fmla="*/ 8255 h 138429"/>
                <a:gd name="connsiteX1698" fmla="*/ 466724 w 4940931"/>
                <a:gd name="connsiteY1698" fmla="*/ 0 h 138429"/>
                <a:gd name="connsiteX1699" fmla="*/ 466724 w 4940931"/>
                <a:gd name="connsiteY1699" fmla="*/ 30480 h 138429"/>
                <a:gd name="connsiteX1700" fmla="*/ 485774 w 4940931"/>
                <a:gd name="connsiteY1700" fmla="*/ 30480 h 138429"/>
                <a:gd name="connsiteX1701" fmla="*/ 485774 w 4940931"/>
                <a:gd name="connsiteY1701" fmla="*/ 44450 h 138429"/>
                <a:gd name="connsiteX1702" fmla="*/ 466724 w 4940931"/>
                <a:gd name="connsiteY1702" fmla="*/ 44450 h 138429"/>
                <a:gd name="connsiteX1703" fmla="*/ 466724 w 4940931"/>
                <a:gd name="connsiteY1703" fmla="*/ 86995 h 138429"/>
                <a:gd name="connsiteX1704" fmla="*/ 466724 w 4940931"/>
                <a:gd name="connsiteY1704" fmla="*/ 91440 h 138429"/>
                <a:gd name="connsiteX1705" fmla="*/ 467994 w 4940931"/>
                <a:gd name="connsiteY1705" fmla="*/ 94615 h 138429"/>
                <a:gd name="connsiteX1706" fmla="*/ 470534 w 4940931"/>
                <a:gd name="connsiteY1706" fmla="*/ 95885 h 138429"/>
                <a:gd name="connsiteX1707" fmla="*/ 474344 w 4940931"/>
                <a:gd name="connsiteY1707" fmla="*/ 95885 h 138429"/>
                <a:gd name="connsiteX1708" fmla="*/ 480694 w 4940931"/>
                <a:gd name="connsiteY1708" fmla="*/ 95250 h 138429"/>
                <a:gd name="connsiteX1709" fmla="*/ 485774 w 4940931"/>
                <a:gd name="connsiteY1709" fmla="*/ 93345 h 138429"/>
                <a:gd name="connsiteX1710" fmla="*/ 483869 w 4940931"/>
                <a:gd name="connsiteY1710" fmla="*/ 106680 h 138429"/>
                <a:gd name="connsiteX1711" fmla="*/ 477519 w 4940931"/>
                <a:gd name="connsiteY1711" fmla="*/ 109220 h 138429"/>
                <a:gd name="connsiteX1712" fmla="*/ 469264 w 4940931"/>
                <a:gd name="connsiteY1712" fmla="*/ 110490 h 138429"/>
                <a:gd name="connsiteX1713" fmla="*/ 462279 w 4940931"/>
                <a:gd name="connsiteY1713" fmla="*/ 109220 h 138429"/>
                <a:gd name="connsiteX1714" fmla="*/ 456564 w 4940931"/>
                <a:gd name="connsiteY1714" fmla="*/ 105410 h 138429"/>
                <a:gd name="connsiteX1715" fmla="*/ 452754 w 4940931"/>
                <a:gd name="connsiteY1715" fmla="*/ 99060 h 138429"/>
                <a:gd name="connsiteX1716" fmla="*/ 451484 w 4940931"/>
                <a:gd name="connsiteY1716" fmla="*/ 89535 h 138429"/>
                <a:gd name="connsiteX1717" fmla="*/ 451484 w 4940931"/>
                <a:gd name="connsiteY1717" fmla="*/ 44450 h 138429"/>
                <a:gd name="connsiteX1718" fmla="*/ 440689 w 4940931"/>
                <a:gd name="connsiteY1718" fmla="*/ 44450 h 138429"/>
                <a:gd name="connsiteX1719" fmla="*/ 440689 w 4940931"/>
                <a:gd name="connsiteY1719" fmla="*/ 30480 h 138429"/>
                <a:gd name="connsiteX1720" fmla="*/ 451484 w 4940931"/>
                <a:gd name="connsiteY1720" fmla="*/ 30480 h 138429"/>
                <a:gd name="connsiteX1721" fmla="*/ 451484 w 4940931"/>
                <a:gd name="connsiteY1721" fmla="*/ 8255 h 138429"/>
                <a:gd name="connsiteX1722" fmla="*/ 302259 w 4940931"/>
                <a:gd name="connsiteY1722" fmla="*/ 0 h 138429"/>
                <a:gd name="connsiteX1723" fmla="*/ 302259 w 4940931"/>
                <a:gd name="connsiteY1723" fmla="*/ 37465 h 138429"/>
                <a:gd name="connsiteX1724" fmla="*/ 306704 w 4940931"/>
                <a:gd name="connsiteY1724" fmla="*/ 33655 h 138429"/>
                <a:gd name="connsiteX1725" fmla="*/ 310514 w 4940931"/>
                <a:gd name="connsiteY1725" fmla="*/ 31115 h 138429"/>
                <a:gd name="connsiteX1726" fmla="*/ 315594 w 4940931"/>
                <a:gd name="connsiteY1726" fmla="*/ 29210 h 138429"/>
                <a:gd name="connsiteX1727" fmla="*/ 322579 w 4940931"/>
                <a:gd name="connsiteY1727" fmla="*/ 28575 h 138429"/>
                <a:gd name="connsiteX1728" fmla="*/ 334644 w 4940931"/>
                <a:gd name="connsiteY1728" fmla="*/ 31115 h 138429"/>
                <a:gd name="connsiteX1729" fmla="*/ 344169 w 4940931"/>
                <a:gd name="connsiteY1729" fmla="*/ 38735 h 138429"/>
                <a:gd name="connsiteX1730" fmla="*/ 350519 w 4940931"/>
                <a:gd name="connsiteY1730" fmla="*/ 51435 h 138429"/>
                <a:gd name="connsiteX1731" fmla="*/ 353059 w 4940931"/>
                <a:gd name="connsiteY1731" fmla="*/ 70485 h 138429"/>
                <a:gd name="connsiteX1732" fmla="*/ 352424 w 4940931"/>
                <a:gd name="connsiteY1732" fmla="*/ 71120 h 138429"/>
                <a:gd name="connsiteX1733" fmla="*/ 349884 w 4940931"/>
                <a:gd name="connsiteY1733" fmla="*/ 88265 h 138429"/>
                <a:gd name="connsiteX1734" fmla="*/ 342899 w 4940931"/>
                <a:gd name="connsiteY1734" fmla="*/ 100330 h 138429"/>
                <a:gd name="connsiteX1735" fmla="*/ 333374 w 4940931"/>
                <a:gd name="connsiteY1735" fmla="*/ 107315 h 138429"/>
                <a:gd name="connsiteX1736" fmla="*/ 321944 w 4940931"/>
                <a:gd name="connsiteY1736" fmla="*/ 109855 h 138429"/>
                <a:gd name="connsiteX1737" fmla="*/ 311149 w 4940931"/>
                <a:gd name="connsiteY1737" fmla="*/ 107315 h 138429"/>
                <a:gd name="connsiteX1738" fmla="*/ 302259 w 4940931"/>
                <a:gd name="connsiteY1738" fmla="*/ 100965 h 138429"/>
                <a:gd name="connsiteX1739" fmla="*/ 302259 w 4940931"/>
                <a:gd name="connsiteY1739" fmla="*/ 107950 h 138429"/>
                <a:gd name="connsiteX1740" fmla="*/ 287019 w 4940931"/>
                <a:gd name="connsiteY1740" fmla="*/ 107950 h 138429"/>
                <a:gd name="connsiteX1741" fmla="*/ 287019 w 4940931"/>
                <a:gd name="connsiteY1741" fmla="*/ 7620 h 138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  <a:cxn ang="0">
                  <a:pos x="connsiteX1535" y="connsiteY1535"/>
                </a:cxn>
                <a:cxn ang="0">
                  <a:pos x="connsiteX1536" y="connsiteY1536"/>
                </a:cxn>
                <a:cxn ang="0">
                  <a:pos x="connsiteX1537" y="connsiteY1537"/>
                </a:cxn>
                <a:cxn ang="0">
                  <a:pos x="connsiteX1538" y="connsiteY1538"/>
                </a:cxn>
                <a:cxn ang="0">
                  <a:pos x="connsiteX1539" y="connsiteY1539"/>
                </a:cxn>
                <a:cxn ang="0">
                  <a:pos x="connsiteX1540" y="connsiteY1540"/>
                </a:cxn>
                <a:cxn ang="0">
                  <a:pos x="connsiteX1541" y="connsiteY1541"/>
                </a:cxn>
                <a:cxn ang="0">
                  <a:pos x="connsiteX1542" y="connsiteY1542"/>
                </a:cxn>
                <a:cxn ang="0">
                  <a:pos x="connsiteX1543" y="connsiteY1543"/>
                </a:cxn>
                <a:cxn ang="0">
                  <a:pos x="connsiteX1544" y="connsiteY1544"/>
                </a:cxn>
                <a:cxn ang="0">
                  <a:pos x="connsiteX1545" y="connsiteY1545"/>
                </a:cxn>
                <a:cxn ang="0">
                  <a:pos x="connsiteX1546" y="connsiteY1546"/>
                </a:cxn>
                <a:cxn ang="0">
                  <a:pos x="connsiteX1547" y="connsiteY1547"/>
                </a:cxn>
                <a:cxn ang="0">
                  <a:pos x="connsiteX1548" y="connsiteY1548"/>
                </a:cxn>
                <a:cxn ang="0">
                  <a:pos x="connsiteX1549" y="connsiteY1549"/>
                </a:cxn>
                <a:cxn ang="0">
                  <a:pos x="connsiteX1550" y="connsiteY1550"/>
                </a:cxn>
                <a:cxn ang="0">
                  <a:pos x="connsiteX1551" y="connsiteY1551"/>
                </a:cxn>
                <a:cxn ang="0">
                  <a:pos x="connsiteX1552" y="connsiteY1552"/>
                </a:cxn>
                <a:cxn ang="0">
                  <a:pos x="connsiteX1553" y="connsiteY1553"/>
                </a:cxn>
                <a:cxn ang="0">
                  <a:pos x="connsiteX1554" y="connsiteY1554"/>
                </a:cxn>
                <a:cxn ang="0">
                  <a:pos x="connsiteX1555" y="connsiteY1555"/>
                </a:cxn>
                <a:cxn ang="0">
                  <a:pos x="connsiteX1556" y="connsiteY1556"/>
                </a:cxn>
                <a:cxn ang="0">
                  <a:pos x="connsiteX1557" y="connsiteY1557"/>
                </a:cxn>
                <a:cxn ang="0">
                  <a:pos x="connsiteX1558" y="connsiteY1558"/>
                </a:cxn>
                <a:cxn ang="0">
                  <a:pos x="connsiteX1559" y="connsiteY1559"/>
                </a:cxn>
                <a:cxn ang="0">
                  <a:pos x="connsiteX1560" y="connsiteY1560"/>
                </a:cxn>
                <a:cxn ang="0">
                  <a:pos x="connsiteX1561" y="connsiteY1561"/>
                </a:cxn>
                <a:cxn ang="0">
                  <a:pos x="connsiteX1562" y="connsiteY1562"/>
                </a:cxn>
                <a:cxn ang="0">
                  <a:pos x="connsiteX1563" y="connsiteY1563"/>
                </a:cxn>
                <a:cxn ang="0">
                  <a:pos x="connsiteX1564" y="connsiteY1564"/>
                </a:cxn>
                <a:cxn ang="0">
                  <a:pos x="connsiteX1565" y="connsiteY1565"/>
                </a:cxn>
                <a:cxn ang="0">
                  <a:pos x="connsiteX1566" y="connsiteY1566"/>
                </a:cxn>
                <a:cxn ang="0">
                  <a:pos x="connsiteX1567" y="connsiteY1567"/>
                </a:cxn>
                <a:cxn ang="0">
                  <a:pos x="connsiteX1568" y="connsiteY1568"/>
                </a:cxn>
                <a:cxn ang="0">
                  <a:pos x="connsiteX1569" y="connsiteY1569"/>
                </a:cxn>
                <a:cxn ang="0">
                  <a:pos x="connsiteX1570" y="connsiteY1570"/>
                </a:cxn>
                <a:cxn ang="0">
                  <a:pos x="connsiteX1571" y="connsiteY1571"/>
                </a:cxn>
                <a:cxn ang="0">
                  <a:pos x="connsiteX1572" y="connsiteY1572"/>
                </a:cxn>
                <a:cxn ang="0">
                  <a:pos x="connsiteX1573" y="connsiteY1573"/>
                </a:cxn>
                <a:cxn ang="0">
                  <a:pos x="connsiteX1574" y="connsiteY1574"/>
                </a:cxn>
                <a:cxn ang="0">
                  <a:pos x="connsiteX1575" y="connsiteY1575"/>
                </a:cxn>
                <a:cxn ang="0">
                  <a:pos x="connsiteX1576" y="connsiteY1576"/>
                </a:cxn>
                <a:cxn ang="0">
                  <a:pos x="connsiteX1577" y="connsiteY1577"/>
                </a:cxn>
                <a:cxn ang="0">
                  <a:pos x="connsiteX1578" y="connsiteY1578"/>
                </a:cxn>
                <a:cxn ang="0">
                  <a:pos x="connsiteX1579" y="connsiteY1579"/>
                </a:cxn>
                <a:cxn ang="0">
                  <a:pos x="connsiteX1580" y="connsiteY1580"/>
                </a:cxn>
                <a:cxn ang="0">
                  <a:pos x="connsiteX1581" y="connsiteY1581"/>
                </a:cxn>
                <a:cxn ang="0">
                  <a:pos x="connsiteX1582" y="connsiteY1582"/>
                </a:cxn>
                <a:cxn ang="0">
                  <a:pos x="connsiteX1583" y="connsiteY1583"/>
                </a:cxn>
                <a:cxn ang="0">
                  <a:pos x="connsiteX1584" y="connsiteY1584"/>
                </a:cxn>
                <a:cxn ang="0">
                  <a:pos x="connsiteX1585" y="connsiteY1585"/>
                </a:cxn>
                <a:cxn ang="0">
                  <a:pos x="connsiteX1586" y="connsiteY1586"/>
                </a:cxn>
                <a:cxn ang="0">
                  <a:pos x="connsiteX1587" y="connsiteY1587"/>
                </a:cxn>
                <a:cxn ang="0">
                  <a:pos x="connsiteX1588" y="connsiteY1588"/>
                </a:cxn>
                <a:cxn ang="0">
                  <a:pos x="connsiteX1589" y="connsiteY1589"/>
                </a:cxn>
                <a:cxn ang="0">
                  <a:pos x="connsiteX1590" y="connsiteY1590"/>
                </a:cxn>
                <a:cxn ang="0">
                  <a:pos x="connsiteX1591" y="connsiteY1591"/>
                </a:cxn>
                <a:cxn ang="0">
                  <a:pos x="connsiteX1592" y="connsiteY1592"/>
                </a:cxn>
                <a:cxn ang="0">
                  <a:pos x="connsiteX1593" y="connsiteY1593"/>
                </a:cxn>
                <a:cxn ang="0">
                  <a:pos x="connsiteX1594" y="connsiteY1594"/>
                </a:cxn>
                <a:cxn ang="0">
                  <a:pos x="connsiteX1595" y="connsiteY1595"/>
                </a:cxn>
                <a:cxn ang="0">
                  <a:pos x="connsiteX1596" y="connsiteY1596"/>
                </a:cxn>
                <a:cxn ang="0">
                  <a:pos x="connsiteX1597" y="connsiteY1597"/>
                </a:cxn>
                <a:cxn ang="0">
                  <a:pos x="connsiteX1598" y="connsiteY1598"/>
                </a:cxn>
                <a:cxn ang="0">
                  <a:pos x="connsiteX1599" y="connsiteY1599"/>
                </a:cxn>
                <a:cxn ang="0">
                  <a:pos x="connsiteX1600" y="connsiteY1600"/>
                </a:cxn>
                <a:cxn ang="0">
                  <a:pos x="connsiteX1601" y="connsiteY1601"/>
                </a:cxn>
                <a:cxn ang="0">
                  <a:pos x="connsiteX1602" y="connsiteY1602"/>
                </a:cxn>
                <a:cxn ang="0">
                  <a:pos x="connsiteX1603" y="connsiteY1603"/>
                </a:cxn>
                <a:cxn ang="0">
                  <a:pos x="connsiteX1604" y="connsiteY1604"/>
                </a:cxn>
                <a:cxn ang="0">
                  <a:pos x="connsiteX1605" y="connsiteY1605"/>
                </a:cxn>
                <a:cxn ang="0">
                  <a:pos x="connsiteX1606" y="connsiteY1606"/>
                </a:cxn>
                <a:cxn ang="0">
                  <a:pos x="connsiteX1607" y="connsiteY1607"/>
                </a:cxn>
                <a:cxn ang="0">
                  <a:pos x="connsiteX1608" y="connsiteY1608"/>
                </a:cxn>
                <a:cxn ang="0">
                  <a:pos x="connsiteX1609" y="connsiteY1609"/>
                </a:cxn>
                <a:cxn ang="0">
                  <a:pos x="connsiteX1610" y="connsiteY1610"/>
                </a:cxn>
                <a:cxn ang="0">
                  <a:pos x="connsiteX1611" y="connsiteY1611"/>
                </a:cxn>
                <a:cxn ang="0">
                  <a:pos x="connsiteX1612" y="connsiteY1612"/>
                </a:cxn>
                <a:cxn ang="0">
                  <a:pos x="connsiteX1613" y="connsiteY1613"/>
                </a:cxn>
                <a:cxn ang="0">
                  <a:pos x="connsiteX1614" y="connsiteY1614"/>
                </a:cxn>
                <a:cxn ang="0">
                  <a:pos x="connsiteX1615" y="connsiteY1615"/>
                </a:cxn>
                <a:cxn ang="0">
                  <a:pos x="connsiteX1616" y="connsiteY1616"/>
                </a:cxn>
                <a:cxn ang="0">
                  <a:pos x="connsiteX1617" y="connsiteY1617"/>
                </a:cxn>
                <a:cxn ang="0">
                  <a:pos x="connsiteX1618" y="connsiteY1618"/>
                </a:cxn>
                <a:cxn ang="0">
                  <a:pos x="connsiteX1619" y="connsiteY1619"/>
                </a:cxn>
                <a:cxn ang="0">
                  <a:pos x="connsiteX1620" y="connsiteY1620"/>
                </a:cxn>
                <a:cxn ang="0">
                  <a:pos x="connsiteX1621" y="connsiteY1621"/>
                </a:cxn>
                <a:cxn ang="0">
                  <a:pos x="connsiteX1622" y="connsiteY1622"/>
                </a:cxn>
                <a:cxn ang="0">
                  <a:pos x="connsiteX1623" y="connsiteY1623"/>
                </a:cxn>
                <a:cxn ang="0">
                  <a:pos x="connsiteX1624" y="connsiteY1624"/>
                </a:cxn>
                <a:cxn ang="0">
                  <a:pos x="connsiteX1625" y="connsiteY1625"/>
                </a:cxn>
                <a:cxn ang="0">
                  <a:pos x="connsiteX1626" y="connsiteY1626"/>
                </a:cxn>
                <a:cxn ang="0">
                  <a:pos x="connsiteX1627" y="connsiteY1627"/>
                </a:cxn>
                <a:cxn ang="0">
                  <a:pos x="connsiteX1628" y="connsiteY1628"/>
                </a:cxn>
                <a:cxn ang="0">
                  <a:pos x="connsiteX1629" y="connsiteY1629"/>
                </a:cxn>
                <a:cxn ang="0">
                  <a:pos x="connsiteX1630" y="connsiteY1630"/>
                </a:cxn>
                <a:cxn ang="0">
                  <a:pos x="connsiteX1631" y="connsiteY1631"/>
                </a:cxn>
                <a:cxn ang="0">
                  <a:pos x="connsiteX1632" y="connsiteY1632"/>
                </a:cxn>
                <a:cxn ang="0">
                  <a:pos x="connsiteX1633" y="connsiteY1633"/>
                </a:cxn>
                <a:cxn ang="0">
                  <a:pos x="connsiteX1634" y="connsiteY1634"/>
                </a:cxn>
                <a:cxn ang="0">
                  <a:pos x="connsiteX1635" y="connsiteY1635"/>
                </a:cxn>
                <a:cxn ang="0">
                  <a:pos x="connsiteX1636" y="connsiteY1636"/>
                </a:cxn>
                <a:cxn ang="0">
                  <a:pos x="connsiteX1637" y="connsiteY1637"/>
                </a:cxn>
                <a:cxn ang="0">
                  <a:pos x="connsiteX1638" y="connsiteY1638"/>
                </a:cxn>
                <a:cxn ang="0">
                  <a:pos x="connsiteX1639" y="connsiteY1639"/>
                </a:cxn>
                <a:cxn ang="0">
                  <a:pos x="connsiteX1640" y="connsiteY1640"/>
                </a:cxn>
                <a:cxn ang="0">
                  <a:pos x="connsiteX1641" y="connsiteY1641"/>
                </a:cxn>
                <a:cxn ang="0">
                  <a:pos x="connsiteX1642" y="connsiteY1642"/>
                </a:cxn>
                <a:cxn ang="0">
                  <a:pos x="connsiteX1643" y="connsiteY1643"/>
                </a:cxn>
                <a:cxn ang="0">
                  <a:pos x="connsiteX1644" y="connsiteY1644"/>
                </a:cxn>
                <a:cxn ang="0">
                  <a:pos x="connsiteX1645" y="connsiteY1645"/>
                </a:cxn>
                <a:cxn ang="0">
                  <a:pos x="connsiteX1646" y="connsiteY1646"/>
                </a:cxn>
                <a:cxn ang="0">
                  <a:pos x="connsiteX1647" y="connsiteY1647"/>
                </a:cxn>
                <a:cxn ang="0">
                  <a:pos x="connsiteX1648" y="connsiteY1648"/>
                </a:cxn>
                <a:cxn ang="0">
                  <a:pos x="connsiteX1649" y="connsiteY1649"/>
                </a:cxn>
                <a:cxn ang="0">
                  <a:pos x="connsiteX1650" y="connsiteY1650"/>
                </a:cxn>
                <a:cxn ang="0">
                  <a:pos x="connsiteX1651" y="connsiteY1651"/>
                </a:cxn>
                <a:cxn ang="0">
                  <a:pos x="connsiteX1652" y="connsiteY1652"/>
                </a:cxn>
                <a:cxn ang="0">
                  <a:pos x="connsiteX1653" y="connsiteY1653"/>
                </a:cxn>
                <a:cxn ang="0">
                  <a:pos x="connsiteX1654" y="connsiteY1654"/>
                </a:cxn>
                <a:cxn ang="0">
                  <a:pos x="connsiteX1655" y="connsiteY1655"/>
                </a:cxn>
                <a:cxn ang="0">
                  <a:pos x="connsiteX1656" y="connsiteY1656"/>
                </a:cxn>
                <a:cxn ang="0">
                  <a:pos x="connsiteX1657" y="connsiteY1657"/>
                </a:cxn>
                <a:cxn ang="0">
                  <a:pos x="connsiteX1658" y="connsiteY1658"/>
                </a:cxn>
                <a:cxn ang="0">
                  <a:pos x="connsiteX1659" y="connsiteY1659"/>
                </a:cxn>
                <a:cxn ang="0">
                  <a:pos x="connsiteX1660" y="connsiteY1660"/>
                </a:cxn>
                <a:cxn ang="0">
                  <a:pos x="connsiteX1661" y="connsiteY1661"/>
                </a:cxn>
                <a:cxn ang="0">
                  <a:pos x="connsiteX1662" y="connsiteY1662"/>
                </a:cxn>
                <a:cxn ang="0">
                  <a:pos x="connsiteX1663" y="connsiteY1663"/>
                </a:cxn>
                <a:cxn ang="0">
                  <a:pos x="connsiteX1664" y="connsiteY1664"/>
                </a:cxn>
                <a:cxn ang="0">
                  <a:pos x="connsiteX1665" y="connsiteY1665"/>
                </a:cxn>
                <a:cxn ang="0">
                  <a:pos x="connsiteX1666" y="connsiteY1666"/>
                </a:cxn>
                <a:cxn ang="0">
                  <a:pos x="connsiteX1667" y="connsiteY1667"/>
                </a:cxn>
                <a:cxn ang="0">
                  <a:pos x="connsiteX1668" y="connsiteY1668"/>
                </a:cxn>
                <a:cxn ang="0">
                  <a:pos x="connsiteX1669" y="connsiteY1669"/>
                </a:cxn>
                <a:cxn ang="0">
                  <a:pos x="connsiteX1670" y="connsiteY1670"/>
                </a:cxn>
                <a:cxn ang="0">
                  <a:pos x="connsiteX1671" y="connsiteY1671"/>
                </a:cxn>
                <a:cxn ang="0">
                  <a:pos x="connsiteX1672" y="connsiteY1672"/>
                </a:cxn>
                <a:cxn ang="0">
                  <a:pos x="connsiteX1673" y="connsiteY1673"/>
                </a:cxn>
                <a:cxn ang="0">
                  <a:pos x="connsiteX1674" y="connsiteY1674"/>
                </a:cxn>
                <a:cxn ang="0">
                  <a:pos x="connsiteX1675" y="connsiteY1675"/>
                </a:cxn>
                <a:cxn ang="0">
                  <a:pos x="connsiteX1676" y="connsiteY1676"/>
                </a:cxn>
                <a:cxn ang="0">
                  <a:pos x="connsiteX1677" y="connsiteY1677"/>
                </a:cxn>
                <a:cxn ang="0">
                  <a:pos x="connsiteX1678" y="connsiteY1678"/>
                </a:cxn>
                <a:cxn ang="0">
                  <a:pos x="connsiteX1679" y="connsiteY1679"/>
                </a:cxn>
                <a:cxn ang="0">
                  <a:pos x="connsiteX1680" y="connsiteY1680"/>
                </a:cxn>
                <a:cxn ang="0">
                  <a:pos x="connsiteX1681" y="connsiteY1681"/>
                </a:cxn>
                <a:cxn ang="0">
                  <a:pos x="connsiteX1682" y="connsiteY1682"/>
                </a:cxn>
                <a:cxn ang="0">
                  <a:pos x="connsiteX1683" y="connsiteY1683"/>
                </a:cxn>
                <a:cxn ang="0">
                  <a:pos x="connsiteX1684" y="connsiteY1684"/>
                </a:cxn>
                <a:cxn ang="0">
                  <a:pos x="connsiteX1685" y="connsiteY1685"/>
                </a:cxn>
                <a:cxn ang="0">
                  <a:pos x="connsiteX1686" y="connsiteY1686"/>
                </a:cxn>
                <a:cxn ang="0">
                  <a:pos x="connsiteX1687" y="connsiteY1687"/>
                </a:cxn>
                <a:cxn ang="0">
                  <a:pos x="connsiteX1688" y="connsiteY1688"/>
                </a:cxn>
                <a:cxn ang="0">
                  <a:pos x="connsiteX1689" y="connsiteY1689"/>
                </a:cxn>
                <a:cxn ang="0">
                  <a:pos x="connsiteX1690" y="connsiteY1690"/>
                </a:cxn>
                <a:cxn ang="0">
                  <a:pos x="connsiteX1691" y="connsiteY1691"/>
                </a:cxn>
                <a:cxn ang="0">
                  <a:pos x="connsiteX1692" y="connsiteY1692"/>
                </a:cxn>
                <a:cxn ang="0">
                  <a:pos x="connsiteX1693" y="connsiteY1693"/>
                </a:cxn>
                <a:cxn ang="0">
                  <a:pos x="connsiteX1694" y="connsiteY1694"/>
                </a:cxn>
                <a:cxn ang="0">
                  <a:pos x="connsiteX1695" y="connsiteY1695"/>
                </a:cxn>
                <a:cxn ang="0">
                  <a:pos x="connsiteX1696" y="connsiteY1696"/>
                </a:cxn>
                <a:cxn ang="0">
                  <a:pos x="connsiteX1697" y="connsiteY1697"/>
                </a:cxn>
                <a:cxn ang="0">
                  <a:pos x="connsiteX1698" y="connsiteY1698"/>
                </a:cxn>
                <a:cxn ang="0">
                  <a:pos x="connsiteX1699" y="connsiteY1699"/>
                </a:cxn>
                <a:cxn ang="0">
                  <a:pos x="connsiteX1700" y="connsiteY1700"/>
                </a:cxn>
                <a:cxn ang="0">
                  <a:pos x="connsiteX1701" y="connsiteY1701"/>
                </a:cxn>
                <a:cxn ang="0">
                  <a:pos x="connsiteX1702" y="connsiteY1702"/>
                </a:cxn>
                <a:cxn ang="0">
                  <a:pos x="connsiteX1703" y="connsiteY1703"/>
                </a:cxn>
                <a:cxn ang="0">
                  <a:pos x="connsiteX1704" y="connsiteY1704"/>
                </a:cxn>
                <a:cxn ang="0">
                  <a:pos x="connsiteX1705" y="connsiteY1705"/>
                </a:cxn>
                <a:cxn ang="0">
                  <a:pos x="connsiteX1706" y="connsiteY1706"/>
                </a:cxn>
                <a:cxn ang="0">
                  <a:pos x="connsiteX1707" y="connsiteY1707"/>
                </a:cxn>
                <a:cxn ang="0">
                  <a:pos x="connsiteX1708" y="connsiteY1708"/>
                </a:cxn>
                <a:cxn ang="0">
                  <a:pos x="connsiteX1709" y="connsiteY1709"/>
                </a:cxn>
                <a:cxn ang="0">
                  <a:pos x="connsiteX1710" y="connsiteY1710"/>
                </a:cxn>
                <a:cxn ang="0">
                  <a:pos x="connsiteX1711" y="connsiteY1711"/>
                </a:cxn>
                <a:cxn ang="0">
                  <a:pos x="connsiteX1712" y="connsiteY1712"/>
                </a:cxn>
                <a:cxn ang="0">
                  <a:pos x="connsiteX1713" y="connsiteY1713"/>
                </a:cxn>
                <a:cxn ang="0">
                  <a:pos x="connsiteX1714" y="connsiteY1714"/>
                </a:cxn>
                <a:cxn ang="0">
                  <a:pos x="connsiteX1715" y="connsiteY1715"/>
                </a:cxn>
                <a:cxn ang="0">
                  <a:pos x="connsiteX1716" y="connsiteY1716"/>
                </a:cxn>
                <a:cxn ang="0">
                  <a:pos x="connsiteX1717" y="connsiteY1717"/>
                </a:cxn>
                <a:cxn ang="0">
                  <a:pos x="connsiteX1718" y="connsiteY1718"/>
                </a:cxn>
                <a:cxn ang="0">
                  <a:pos x="connsiteX1719" y="connsiteY1719"/>
                </a:cxn>
                <a:cxn ang="0">
                  <a:pos x="connsiteX1720" y="connsiteY1720"/>
                </a:cxn>
                <a:cxn ang="0">
                  <a:pos x="connsiteX1721" y="connsiteY1721"/>
                </a:cxn>
                <a:cxn ang="0">
                  <a:pos x="connsiteX1722" y="connsiteY1722"/>
                </a:cxn>
                <a:cxn ang="0">
                  <a:pos x="connsiteX1723" y="connsiteY1723"/>
                </a:cxn>
                <a:cxn ang="0">
                  <a:pos x="connsiteX1724" y="connsiteY1724"/>
                </a:cxn>
                <a:cxn ang="0">
                  <a:pos x="connsiteX1725" y="connsiteY1725"/>
                </a:cxn>
                <a:cxn ang="0">
                  <a:pos x="connsiteX1726" y="connsiteY1726"/>
                </a:cxn>
                <a:cxn ang="0">
                  <a:pos x="connsiteX1727" y="connsiteY1727"/>
                </a:cxn>
                <a:cxn ang="0">
                  <a:pos x="connsiteX1728" y="connsiteY1728"/>
                </a:cxn>
                <a:cxn ang="0">
                  <a:pos x="connsiteX1729" y="connsiteY1729"/>
                </a:cxn>
                <a:cxn ang="0">
                  <a:pos x="connsiteX1730" y="connsiteY1730"/>
                </a:cxn>
                <a:cxn ang="0">
                  <a:pos x="connsiteX1731" y="connsiteY1731"/>
                </a:cxn>
                <a:cxn ang="0">
                  <a:pos x="connsiteX1732" y="connsiteY1732"/>
                </a:cxn>
                <a:cxn ang="0">
                  <a:pos x="connsiteX1733" y="connsiteY1733"/>
                </a:cxn>
                <a:cxn ang="0">
                  <a:pos x="connsiteX1734" y="connsiteY1734"/>
                </a:cxn>
                <a:cxn ang="0">
                  <a:pos x="connsiteX1735" y="connsiteY1735"/>
                </a:cxn>
                <a:cxn ang="0">
                  <a:pos x="connsiteX1736" y="connsiteY1736"/>
                </a:cxn>
                <a:cxn ang="0">
                  <a:pos x="connsiteX1737" y="connsiteY1737"/>
                </a:cxn>
                <a:cxn ang="0">
                  <a:pos x="connsiteX1738" y="connsiteY1738"/>
                </a:cxn>
                <a:cxn ang="0">
                  <a:pos x="connsiteX1739" y="connsiteY1739"/>
                </a:cxn>
                <a:cxn ang="0">
                  <a:pos x="connsiteX1740" y="connsiteY1740"/>
                </a:cxn>
                <a:cxn ang="0">
                  <a:pos x="connsiteX1741" y="connsiteY1741"/>
                </a:cxn>
              </a:cxnLst>
              <a:rect l="l" t="t" r="r" b="b"/>
              <a:pathLst>
                <a:path w="4940931" h="138429">
                  <a:moveTo>
                    <a:pt x="1032512" y="137477"/>
                  </a:moveTo>
                  <a:lnTo>
                    <a:pt x="1032512" y="137794"/>
                  </a:lnTo>
                  <a:lnTo>
                    <a:pt x="1030607" y="138429"/>
                  </a:lnTo>
                  <a:close/>
                  <a:moveTo>
                    <a:pt x="4929501" y="87629"/>
                  </a:moveTo>
                  <a:cubicBezTo>
                    <a:pt x="4930771" y="87629"/>
                    <a:pt x="4932676" y="87629"/>
                    <a:pt x="4933946" y="88264"/>
                  </a:cubicBezTo>
                  <a:cubicBezTo>
                    <a:pt x="4935216" y="88264"/>
                    <a:pt x="4936486" y="89534"/>
                    <a:pt x="4937756" y="90804"/>
                  </a:cubicBezTo>
                  <a:cubicBezTo>
                    <a:pt x="4939026" y="92074"/>
                    <a:pt x="4939661" y="93344"/>
                    <a:pt x="4940296" y="94614"/>
                  </a:cubicBezTo>
                  <a:cubicBezTo>
                    <a:pt x="4940296" y="95884"/>
                    <a:pt x="4940931" y="97789"/>
                    <a:pt x="4940931" y="99059"/>
                  </a:cubicBezTo>
                  <a:cubicBezTo>
                    <a:pt x="4940931" y="99059"/>
                    <a:pt x="4940931" y="102234"/>
                    <a:pt x="4940296" y="103504"/>
                  </a:cubicBezTo>
                  <a:cubicBezTo>
                    <a:pt x="4940296" y="104774"/>
                    <a:pt x="4939026" y="106044"/>
                    <a:pt x="4937756" y="107314"/>
                  </a:cubicBezTo>
                  <a:cubicBezTo>
                    <a:pt x="4936486" y="108584"/>
                    <a:pt x="4935216" y="109219"/>
                    <a:pt x="4933946" y="109854"/>
                  </a:cubicBezTo>
                  <a:cubicBezTo>
                    <a:pt x="4932676" y="109854"/>
                    <a:pt x="4930771" y="110489"/>
                    <a:pt x="4929501" y="110489"/>
                  </a:cubicBezTo>
                  <a:cubicBezTo>
                    <a:pt x="4928231" y="110489"/>
                    <a:pt x="4926326" y="110489"/>
                    <a:pt x="4925056" y="109854"/>
                  </a:cubicBezTo>
                  <a:cubicBezTo>
                    <a:pt x="4923786" y="109854"/>
                    <a:pt x="4922516" y="108584"/>
                    <a:pt x="4921246" y="107314"/>
                  </a:cubicBezTo>
                  <a:cubicBezTo>
                    <a:pt x="4919976" y="106044"/>
                    <a:pt x="4919341" y="104774"/>
                    <a:pt x="4918706" y="103504"/>
                  </a:cubicBezTo>
                  <a:cubicBezTo>
                    <a:pt x="4918706" y="102234"/>
                    <a:pt x="4918071" y="100329"/>
                    <a:pt x="4918071" y="99059"/>
                  </a:cubicBezTo>
                  <a:cubicBezTo>
                    <a:pt x="4918071" y="97789"/>
                    <a:pt x="4918071" y="95884"/>
                    <a:pt x="4918706" y="94614"/>
                  </a:cubicBezTo>
                  <a:cubicBezTo>
                    <a:pt x="4918706" y="93344"/>
                    <a:pt x="4919976" y="92074"/>
                    <a:pt x="4921246" y="90804"/>
                  </a:cubicBezTo>
                  <a:cubicBezTo>
                    <a:pt x="4922516" y="89534"/>
                    <a:pt x="4923786" y="88899"/>
                    <a:pt x="4925056" y="88264"/>
                  </a:cubicBezTo>
                  <a:cubicBezTo>
                    <a:pt x="4926326" y="88264"/>
                    <a:pt x="4928231" y="87629"/>
                    <a:pt x="4929501" y="87629"/>
                  </a:cubicBezTo>
                  <a:close/>
                  <a:moveTo>
                    <a:pt x="3079110" y="87629"/>
                  </a:moveTo>
                  <a:cubicBezTo>
                    <a:pt x="3080380" y="87629"/>
                    <a:pt x="3082285" y="87629"/>
                    <a:pt x="3083555" y="88264"/>
                  </a:cubicBezTo>
                  <a:cubicBezTo>
                    <a:pt x="3084825" y="88264"/>
                    <a:pt x="3086095" y="89534"/>
                    <a:pt x="3087365" y="90804"/>
                  </a:cubicBezTo>
                  <a:cubicBezTo>
                    <a:pt x="3088635" y="92074"/>
                    <a:pt x="3089270" y="93344"/>
                    <a:pt x="3089905" y="94614"/>
                  </a:cubicBezTo>
                  <a:cubicBezTo>
                    <a:pt x="3089905" y="95884"/>
                    <a:pt x="3090540" y="97789"/>
                    <a:pt x="3090540" y="99059"/>
                  </a:cubicBezTo>
                  <a:cubicBezTo>
                    <a:pt x="3090540" y="99059"/>
                    <a:pt x="3090540" y="102234"/>
                    <a:pt x="3089905" y="103504"/>
                  </a:cubicBezTo>
                  <a:cubicBezTo>
                    <a:pt x="3089905" y="104774"/>
                    <a:pt x="3088635" y="106044"/>
                    <a:pt x="3087365" y="107314"/>
                  </a:cubicBezTo>
                  <a:cubicBezTo>
                    <a:pt x="3086095" y="108584"/>
                    <a:pt x="3084825" y="109219"/>
                    <a:pt x="3083555" y="109854"/>
                  </a:cubicBezTo>
                  <a:cubicBezTo>
                    <a:pt x="3082285" y="109854"/>
                    <a:pt x="3080380" y="110489"/>
                    <a:pt x="3079110" y="110489"/>
                  </a:cubicBezTo>
                  <a:cubicBezTo>
                    <a:pt x="3077840" y="110489"/>
                    <a:pt x="3075935" y="110489"/>
                    <a:pt x="3074665" y="109854"/>
                  </a:cubicBezTo>
                  <a:cubicBezTo>
                    <a:pt x="3073395" y="109854"/>
                    <a:pt x="3072125" y="108584"/>
                    <a:pt x="3070855" y="107314"/>
                  </a:cubicBezTo>
                  <a:cubicBezTo>
                    <a:pt x="3069585" y="106044"/>
                    <a:pt x="3068950" y="104774"/>
                    <a:pt x="3068315" y="103504"/>
                  </a:cubicBezTo>
                  <a:cubicBezTo>
                    <a:pt x="3068315" y="102234"/>
                    <a:pt x="3067680" y="100329"/>
                    <a:pt x="3067680" y="99059"/>
                  </a:cubicBezTo>
                  <a:cubicBezTo>
                    <a:pt x="3067680" y="97789"/>
                    <a:pt x="3067680" y="95884"/>
                    <a:pt x="3068315" y="94614"/>
                  </a:cubicBezTo>
                  <a:cubicBezTo>
                    <a:pt x="3068315" y="93344"/>
                    <a:pt x="3069585" y="92074"/>
                    <a:pt x="3070855" y="90804"/>
                  </a:cubicBezTo>
                  <a:cubicBezTo>
                    <a:pt x="3072125" y="89534"/>
                    <a:pt x="3073395" y="88899"/>
                    <a:pt x="3074665" y="88264"/>
                  </a:cubicBezTo>
                  <a:cubicBezTo>
                    <a:pt x="3075935" y="88264"/>
                    <a:pt x="3077840" y="87629"/>
                    <a:pt x="3079110" y="87629"/>
                  </a:cubicBezTo>
                  <a:close/>
                  <a:moveTo>
                    <a:pt x="1565275" y="87629"/>
                  </a:moveTo>
                  <a:cubicBezTo>
                    <a:pt x="1566545" y="87629"/>
                    <a:pt x="1568450" y="87629"/>
                    <a:pt x="1569720" y="88264"/>
                  </a:cubicBezTo>
                  <a:cubicBezTo>
                    <a:pt x="1570990" y="88264"/>
                    <a:pt x="1572260" y="89534"/>
                    <a:pt x="1573529" y="90804"/>
                  </a:cubicBezTo>
                  <a:cubicBezTo>
                    <a:pt x="1574800" y="92074"/>
                    <a:pt x="1575435" y="93344"/>
                    <a:pt x="1576069" y="94614"/>
                  </a:cubicBezTo>
                  <a:cubicBezTo>
                    <a:pt x="1576069" y="95884"/>
                    <a:pt x="1576705" y="97789"/>
                    <a:pt x="1576705" y="99059"/>
                  </a:cubicBezTo>
                  <a:cubicBezTo>
                    <a:pt x="1576705" y="99059"/>
                    <a:pt x="1576705" y="102234"/>
                    <a:pt x="1576069" y="103504"/>
                  </a:cubicBezTo>
                  <a:cubicBezTo>
                    <a:pt x="1576069" y="104774"/>
                    <a:pt x="1574800" y="106044"/>
                    <a:pt x="1573529" y="107314"/>
                  </a:cubicBezTo>
                  <a:cubicBezTo>
                    <a:pt x="1572260" y="108584"/>
                    <a:pt x="1570990" y="109219"/>
                    <a:pt x="1569720" y="109854"/>
                  </a:cubicBezTo>
                  <a:cubicBezTo>
                    <a:pt x="1568450" y="109854"/>
                    <a:pt x="1566545" y="110489"/>
                    <a:pt x="1565275" y="110489"/>
                  </a:cubicBezTo>
                  <a:cubicBezTo>
                    <a:pt x="1564005" y="110489"/>
                    <a:pt x="1562099" y="110489"/>
                    <a:pt x="1560830" y="109854"/>
                  </a:cubicBezTo>
                  <a:cubicBezTo>
                    <a:pt x="1559559" y="109854"/>
                    <a:pt x="1558289" y="108584"/>
                    <a:pt x="1557020" y="107314"/>
                  </a:cubicBezTo>
                  <a:cubicBezTo>
                    <a:pt x="1555750" y="106044"/>
                    <a:pt x="1555114" y="104774"/>
                    <a:pt x="1554479" y="103504"/>
                  </a:cubicBezTo>
                  <a:cubicBezTo>
                    <a:pt x="1554479" y="102234"/>
                    <a:pt x="1553844" y="100329"/>
                    <a:pt x="1553844" y="99059"/>
                  </a:cubicBezTo>
                  <a:cubicBezTo>
                    <a:pt x="1553844" y="97789"/>
                    <a:pt x="1553844" y="95884"/>
                    <a:pt x="1554479" y="94614"/>
                  </a:cubicBezTo>
                  <a:cubicBezTo>
                    <a:pt x="1554479" y="93344"/>
                    <a:pt x="1555750" y="92074"/>
                    <a:pt x="1557020" y="90804"/>
                  </a:cubicBezTo>
                  <a:cubicBezTo>
                    <a:pt x="1558289" y="89534"/>
                    <a:pt x="1559559" y="88899"/>
                    <a:pt x="1560830" y="88264"/>
                  </a:cubicBezTo>
                  <a:cubicBezTo>
                    <a:pt x="1562099" y="88264"/>
                    <a:pt x="1564005" y="87629"/>
                    <a:pt x="1565275" y="87629"/>
                  </a:cubicBezTo>
                  <a:close/>
                  <a:moveTo>
                    <a:pt x="2642230" y="73024"/>
                  </a:moveTo>
                  <a:cubicBezTo>
                    <a:pt x="2637150" y="73024"/>
                    <a:pt x="2633340" y="74294"/>
                    <a:pt x="2630800" y="76199"/>
                  </a:cubicBezTo>
                  <a:cubicBezTo>
                    <a:pt x="2627625" y="78104"/>
                    <a:pt x="2626355" y="81279"/>
                    <a:pt x="2626355" y="84454"/>
                  </a:cubicBezTo>
                  <a:cubicBezTo>
                    <a:pt x="2626355" y="86994"/>
                    <a:pt x="2626355" y="88899"/>
                    <a:pt x="2627625" y="90169"/>
                  </a:cubicBezTo>
                  <a:cubicBezTo>
                    <a:pt x="2628260" y="92074"/>
                    <a:pt x="2629530" y="93344"/>
                    <a:pt x="2630800" y="93979"/>
                  </a:cubicBezTo>
                  <a:cubicBezTo>
                    <a:pt x="2632070" y="95249"/>
                    <a:pt x="2633340" y="95884"/>
                    <a:pt x="2635245" y="96519"/>
                  </a:cubicBezTo>
                  <a:cubicBezTo>
                    <a:pt x="2637150" y="96519"/>
                    <a:pt x="2639055" y="97154"/>
                    <a:pt x="2641595" y="97154"/>
                  </a:cubicBezTo>
                  <a:cubicBezTo>
                    <a:pt x="2643500" y="97154"/>
                    <a:pt x="2645405" y="97154"/>
                    <a:pt x="2647310" y="96519"/>
                  </a:cubicBezTo>
                  <a:cubicBezTo>
                    <a:pt x="2649215" y="96519"/>
                    <a:pt x="2651120" y="95249"/>
                    <a:pt x="2652390" y="93979"/>
                  </a:cubicBezTo>
                  <a:cubicBezTo>
                    <a:pt x="2654295" y="93344"/>
                    <a:pt x="2655565" y="92074"/>
                    <a:pt x="2656835" y="90804"/>
                  </a:cubicBezTo>
                  <a:cubicBezTo>
                    <a:pt x="2658105" y="89534"/>
                    <a:pt x="2659375" y="88264"/>
                    <a:pt x="2660010" y="86994"/>
                  </a:cubicBezTo>
                  <a:lnTo>
                    <a:pt x="2660010" y="75564"/>
                  </a:lnTo>
                  <a:cubicBezTo>
                    <a:pt x="2660010" y="75564"/>
                    <a:pt x="2657470" y="74294"/>
                    <a:pt x="2656200" y="74294"/>
                  </a:cubicBezTo>
                  <a:cubicBezTo>
                    <a:pt x="2654930" y="74294"/>
                    <a:pt x="2653660" y="73659"/>
                    <a:pt x="2652390" y="73659"/>
                  </a:cubicBezTo>
                  <a:cubicBezTo>
                    <a:pt x="2651120" y="73659"/>
                    <a:pt x="2649850" y="73659"/>
                    <a:pt x="2647945" y="73024"/>
                  </a:cubicBezTo>
                  <a:cubicBezTo>
                    <a:pt x="2646040" y="73024"/>
                    <a:pt x="2644135" y="73024"/>
                    <a:pt x="2642230" y="73024"/>
                  </a:cubicBezTo>
                  <a:close/>
                  <a:moveTo>
                    <a:pt x="4664706" y="43814"/>
                  </a:moveTo>
                  <a:cubicBezTo>
                    <a:pt x="4661531" y="43814"/>
                    <a:pt x="4658991" y="43814"/>
                    <a:pt x="4657086" y="45719"/>
                  </a:cubicBezTo>
                  <a:cubicBezTo>
                    <a:pt x="4654546" y="46989"/>
                    <a:pt x="4652641" y="48894"/>
                    <a:pt x="4651371" y="50799"/>
                  </a:cubicBezTo>
                  <a:cubicBezTo>
                    <a:pt x="4649466" y="53339"/>
                    <a:pt x="4648831" y="55879"/>
                    <a:pt x="4647561" y="59054"/>
                  </a:cubicBezTo>
                  <a:cubicBezTo>
                    <a:pt x="4646926" y="62229"/>
                    <a:pt x="4646291" y="65404"/>
                    <a:pt x="4646291" y="69849"/>
                  </a:cubicBezTo>
                  <a:cubicBezTo>
                    <a:pt x="4646291" y="74294"/>
                    <a:pt x="4646291" y="78104"/>
                    <a:pt x="4647561" y="81279"/>
                  </a:cubicBezTo>
                  <a:cubicBezTo>
                    <a:pt x="4648196" y="84454"/>
                    <a:pt x="4650101" y="87629"/>
                    <a:pt x="4651371" y="89534"/>
                  </a:cubicBezTo>
                  <a:cubicBezTo>
                    <a:pt x="4653276" y="92074"/>
                    <a:pt x="4655181" y="93344"/>
                    <a:pt x="4657721" y="94614"/>
                  </a:cubicBezTo>
                  <a:cubicBezTo>
                    <a:pt x="4660261" y="95884"/>
                    <a:pt x="4662801" y="96519"/>
                    <a:pt x="4665341" y="96519"/>
                  </a:cubicBezTo>
                  <a:cubicBezTo>
                    <a:pt x="4667881" y="96519"/>
                    <a:pt x="4671056" y="95884"/>
                    <a:pt x="4672961" y="94614"/>
                  </a:cubicBezTo>
                  <a:cubicBezTo>
                    <a:pt x="4675501" y="93344"/>
                    <a:pt x="4677406" y="91439"/>
                    <a:pt x="4678676" y="88899"/>
                  </a:cubicBezTo>
                  <a:cubicBezTo>
                    <a:pt x="4680581" y="86359"/>
                    <a:pt x="4681851" y="83819"/>
                    <a:pt x="4682486" y="80644"/>
                  </a:cubicBezTo>
                  <a:cubicBezTo>
                    <a:pt x="4683121" y="77469"/>
                    <a:pt x="4683756" y="74294"/>
                    <a:pt x="4683756" y="70484"/>
                  </a:cubicBezTo>
                  <a:lnTo>
                    <a:pt x="4684391" y="69849"/>
                  </a:lnTo>
                  <a:cubicBezTo>
                    <a:pt x="4684391" y="66039"/>
                    <a:pt x="4684391" y="62229"/>
                    <a:pt x="4683121" y="59054"/>
                  </a:cubicBezTo>
                  <a:cubicBezTo>
                    <a:pt x="4682486" y="55879"/>
                    <a:pt x="4680581" y="53339"/>
                    <a:pt x="4679311" y="50799"/>
                  </a:cubicBezTo>
                  <a:cubicBezTo>
                    <a:pt x="4677406" y="48259"/>
                    <a:pt x="4675501" y="46989"/>
                    <a:pt x="4672961" y="45719"/>
                  </a:cubicBezTo>
                  <a:cubicBezTo>
                    <a:pt x="4670421" y="44449"/>
                    <a:pt x="4667881" y="43814"/>
                    <a:pt x="4664706" y="43814"/>
                  </a:cubicBezTo>
                  <a:close/>
                  <a:moveTo>
                    <a:pt x="4264020" y="43814"/>
                  </a:moveTo>
                  <a:cubicBezTo>
                    <a:pt x="4260845" y="43814"/>
                    <a:pt x="4258305" y="43814"/>
                    <a:pt x="4256400" y="45719"/>
                  </a:cubicBezTo>
                  <a:cubicBezTo>
                    <a:pt x="4253860" y="46989"/>
                    <a:pt x="4251955" y="48894"/>
                    <a:pt x="4250685" y="50799"/>
                  </a:cubicBezTo>
                  <a:cubicBezTo>
                    <a:pt x="4248780" y="53339"/>
                    <a:pt x="4247510" y="55879"/>
                    <a:pt x="4246875" y="59054"/>
                  </a:cubicBezTo>
                  <a:cubicBezTo>
                    <a:pt x="4246240" y="62229"/>
                    <a:pt x="4245605" y="65404"/>
                    <a:pt x="4245605" y="69849"/>
                  </a:cubicBezTo>
                  <a:cubicBezTo>
                    <a:pt x="4245605" y="74294"/>
                    <a:pt x="4245605" y="78104"/>
                    <a:pt x="4246875" y="81279"/>
                  </a:cubicBezTo>
                  <a:cubicBezTo>
                    <a:pt x="4247510" y="84454"/>
                    <a:pt x="4249415" y="87629"/>
                    <a:pt x="4250685" y="89534"/>
                  </a:cubicBezTo>
                  <a:cubicBezTo>
                    <a:pt x="4252590" y="92074"/>
                    <a:pt x="4254495" y="93344"/>
                    <a:pt x="4257035" y="94614"/>
                  </a:cubicBezTo>
                  <a:cubicBezTo>
                    <a:pt x="4259575" y="95884"/>
                    <a:pt x="4262115" y="96519"/>
                    <a:pt x="4264655" y="96519"/>
                  </a:cubicBezTo>
                  <a:cubicBezTo>
                    <a:pt x="4267195" y="96519"/>
                    <a:pt x="4270370" y="95884"/>
                    <a:pt x="4272275" y="94614"/>
                  </a:cubicBezTo>
                  <a:cubicBezTo>
                    <a:pt x="4274815" y="93344"/>
                    <a:pt x="4276720" y="91439"/>
                    <a:pt x="4277990" y="88899"/>
                  </a:cubicBezTo>
                  <a:cubicBezTo>
                    <a:pt x="4279895" y="86359"/>
                    <a:pt x="4281165" y="83819"/>
                    <a:pt x="4281800" y="80644"/>
                  </a:cubicBezTo>
                  <a:cubicBezTo>
                    <a:pt x="4282435" y="77469"/>
                    <a:pt x="4283070" y="74294"/>
                    <a:pt x="4283070" y="70484"/>
                  </a:cubicBezTo>
                  <a:lnTo>
                    <a:pt x="4283705" y="69849"/>
                  </a:lnTo>
                  <a:cubicBezTo>
                    <a:pt x="4283705" y="66039"/>
                    <a:pt x="4283705" y="62229"/>
                    <a:pt x="4282435" y="59054"/>
                  </a:cubicBezTo>
                  <a:cubicBezTo>
                    <a:pt x="4281800" y="55879"/>
                    <a:pt x="4279895" y="53339"/>
                    <a:pt x="4278625" y="50799"/>
                  </a:cubicBezTo>
                  <a:cubicBezTo>
                    <a:pt x="4276720" y="48259"/>
                    <a:pt x="4274815" y="46989"/>
                    <a:pt x="4272275" y="45719"/>
                  </a:cubicBezTo>
                  <a:cubicBezTo>
                    <a:pt x="4269735" y="44449"/>
                    <a:pt x="4267195" y="43814"/>
                    <a:pt x="4264020" y="43814"/>
                  </a:cubicBezTo>
                  <a:close/>
                  <a:moveTo>
                    <a:pt x="1420495" y="43814"/>
                  </a:moveTo>
                  <a:cubicBezTo>
                    <a:pt x="1417320" y="43814"/>
                    <a:pt x="1414780" y="43814"/>
                    <a:pt x="1412875" y="45719"/>
                  </a:cubicBezTo>
                  <a:cubicBezTo>
                    <a:pt x="1410335" y="46989"/>
                    <a:pt x="1408430" y="48894"/>
                    <a:pt x="1407160" y="50799"/>
                  </a:cubicBezTo>
                  <a:cubicBezTo>
                    <a:pt x="1405255" y="53339"/>
                    <a:pt x="1403985" y="55879"/>
                    <a:pt x="1403350" y="59054"/>
                  </a:cubicBezTo>
                  <a:cubicBezTo>
                    <a:pt x="1402715" y="62229"/>
                    <a:pt x="1402080" y="65404"/>
                    <a:pt x="1402080" y="69849"/>
                  </a:cubicBezTo>
                  <a:cubicBezTo>
                    <a:pt x="1402080" y="74294"/>
                    <a:pt x="1402080" y="78104"/>
                    <a:pt x="1403350" y="81279"/>
                  </a:cubicBezTo>
                  <a:cubicBezTo>
                    <a:pt x="1403985" y="84454"/>
                    <a:pt x="1405890" y="87629"/>
                    <a:pt x="1407160" y="89534"/>
                  </a:cubicBezTo>
                  <a:cubicBezTo>
                    <a:pt x="1409065" y="92074"/>
                    <a:pt x="1410970" y="93344"/>
                    <a:pt x="1413510" y="94614"/>
                  </a:cubicBezTo>
                  <a:cubicBezTo>
                    <a:pt x="1416050" y="95884"/>
                    <a:pt x="1418590" y="96519"/>
                    <a:pt x="1421130" y="96519"/>
                  </a:cubicBezTo>
                  <a:cubicBezTo>
                    <a:pt x="1423670" y="96519"/>
                    <a:pt x="1426845" y="95884"/>
                    <a:pt x="1428750" y="94614"/>
                  </a:cubicBezTo>
                  <a:cubicBezTo>
                    <a:pt x="1431290" y="93344"/>
                    <a:pt x="1433195" y="91439"/>
                    <a:pt x="1434465" y="88899"/>
                  </a:cubicBezTo>
                  <a:cubicBezTo>
                    <a:pt x="1436370" y="86359"/>
                    <a:pt x="1437640" y="83819"/>
                    <a:pt x="1438275" y="80644"/>
                  </a:cubicBezTo>
                  <a:cubicBezTo>
                    <a:pt x="1438910" y="77469"/>
                    <a:pt x="1439545" y="74294"/>
                    <a:pt x="1439545" y="70484"/>
                  </a:cubicBezTo>
                  <a:lnTo>
                    <a:pt x="1440180" y="69849"/>
                  </a:lnTo>
                  <a:cubicBezTo>
                    <a:pt x="1440180" y="66039"/>
                    <a:pt x="1440180" y="62229"/>
                    <a:pt x="1438910" y="59054"/>
                  </a:cubicBezTo>
                  <a:cubicBezTo>
                    <a:pt x="1438275" y="55879"/>
                    <a:pt x="1436370" y="53339"/>
                    <a:pt x="1435100" y="50799"/>
                  </a:cubicBezTo>
                  <a:cubicBezTo>
                    <a:pt x="1433195" y="48259"/>
                    <a:pt x="1431290" y="46989"/>
                    <a:pt x="1428750" y="45719"/>
                  </a:cubicBezTo>
                  <a:cubicBezTo>
                    <a:pt x="1426210" y="44449"/>
                    <a:pt x="1423670" y="43814"/>
                    <a:pt x="1420495" y="43814"/>
                  </a:cubicBezTo>
                  <a:close/>
                  <a:moveTo>
                    <a:pt x="4041770" y="43180"/>
                  </a:moveTo>
                  <a:cubicBezTo>
                    <a:pt x="4039230" y="43180"/>
                    <a:pt x="4036690" y="43180"/>
                    <a:pt x="4034785" y="44450"/>
                  </a:cubicBezTo>
                  <a:cubicBezTo>
                    <a:pt x="4032880" y="45085"/>
                    <a:pt x="4030975" y="46355"/>
                    <a:pt x="4029705" y="48260"/>
                  </a:cubicBezTo>
                  <a:cubicBezTo>
                    <a:pt x="4028435" y="50165"/>
                    <a:pt x="4027165" y="52070"/>
                    <a:pt x="4025895" y="54610"/>
                  </a:cubicBezTo>
                  <a:cubicBezTo>
                    <a:pt x="4025260" y="57150"/>
                    <a:pt x="4023990" y="59690"/>
                    <a:pt x="4023990" y="62865"/>
                  </a:cubicBezTo>
                  <a:lnTo>
                    <a:pt x="4060185" y="62865"/>
                  </a:lnTo>
                  <a:cubicBezTo>
                    <a:pt x="4060185" y="62865"/>
                    <a:pt x="4059550" y="57785"/>
                    <a:pt x="4058915" y="55245"/>
                  </a:cubicBezTo>
                  <a:cubicBezTo>
                    <a:pt x="4058280" y="52705"/>
                    <a:pt x="4057010" y="50800"/>
                    <a:pt x="4055740" y="48895"/>
                  </a:cubicBezTo>
                  <a:cubicBezTo>
                    <a:pt x="4054470" y="46990"/>
                    <a:pt x="4052565" y="45720"/>
                    <a:pt x="4050025" y="44450"/>
                  </a:cubicBezTo>
                  <a:cubicBezTo>
                    <a:pt x="4047485" y="43180"/>
                    <a:pt x="4044945" y="43180"/>
                    <a:pt x="4041770" y="43180"/>
                  </a:cubicBezTo>
                  <a:close/>
                  <a:moveTo>
                    <a:pt x="3728081" y="43180"/>
                  </a:moveTo>
                  <a:cubicBezTo>
                    <a:pt x="3725541" y="43180"/>
                    <a:pt x="3723001" y="43180"/>
                    <a:pt x="3721096" y="44450"/>
                  </a:cubicBezTo>
                  <a:cubicBezTo>
                    <a:pt x="3719191" y="45085"/>
                    <a:pt x="3717286" y="46355"/>
                    <a:pt x="3716016" y="48260"/>
                  </a:cubicBezTo>
                  <a:cubicBezTo>
                    <a:pt x="3714746" y="50165"/>
                    <a:pt x="3713476" y="52070"/>
                    <a:pt x="3712206" y="54610"/>
                  </a:cubicBezTo>
                  <a:cubicBezTo>
                    <a:pt x="3711571" y="57150"/>
                    <a:pt x="3710301" y="59690"/>
                    <a:pt x="3710301" y="62865"/>
                  </a:cubicBezTo>
                  <a:lnTo>
                    <a:pt x="3746496" y="62865"/>
                  </a:lnTo>
                  <a:cubicBezTo>
                    <a:pt x="3746496" y="62865"/>
                    <a:pt x="3745861" y="57785"/>
                    <a:pt x="3745226" y="55245"/>
                  </a:cubicBezTo>
                  <a:cubicBezTo>
                    <a:pt x="3744591" y="52705"/>
                    <a:pt x="3743321" y="50800"/>
                    <a:pt x="3742051" y="48895"/>
                  </a:cubicBezTo>
                  <a:cubicBezTo>
                    <a:pt x="3740781" y="46990"/>
                    <a:pt x="3738876" y="45720"/>
                    <a:pt x="3736336" y="44450"/>
                  </a:cubicBezTo>
                  <a:cubicBezTo>
                    <a:pt x="3733796" y="43180"/>
                    <a:pt x="3731256" y="43180"/>
                    <a:pt x="3728081" y="43180"/>
                  </a:cubicBezTo>
                  <a:close/>
                  <a:moveTo>
                    <a:pt x="3541391" y="43180"/>
                  </a:moveTo>
                  <a:cubicBezTo>
                    <a:pt x="3538851" y="43180"/>
                    <a:pt x="3536311" y="43180"/>
                    <a:pt x="3534406" y="44450"/>
                  </a:cubicBezTo>
                  <a:cubicBezTo>
                    <a:pt x="3532501" y="45085"/>
                    <a:pt x="3530596" y="46355"/>
                    <a:pt x="3529326" y="48260"/>
                  </a:cubicBezTo>
                  <a:cubicBezTo>
                    <a:pt x="3528056" y="50165"/>
                    <a:pt x="3526786" y="52070"/>
                    <a:pt x="3525516" y="54610"/>
                  </a:cubicBezTo>
                  <a:cubicBezTo>
                    <a:pt x="3524881" y="57150"/>
                    <a:pt x="3524246" y="59690"/>
                    <a:pt x="3523611" y="62865"/>
                  </a:cubicBezTo>
                  <a:lnTo>
                    <a:pt x="3559806" y="62865"/>
                  </a:lnTo>
                  <a:cubicBezTo>
                    <a:pt x="3559806" y="62865"/>
                    <a:pt x="3559171" y="57785"/>
                    <a:pt x="3558536" y="55245"/>
                  </a:cubicBezTo>
                  <a:cubicBezTo>
                    <a:pt x="3557901" y="52705"/>
                    <a:pt x="3556631" y="50800"/>
                    <a:pt x="3555361" y="48895"/>
                  </a:cubicBezTo>
                  <a:cubicBezTo>
                    <a:pt x="3554091" y="46990"/>
                    <a:pt x="3552186" y="45720"/>
                    <a:pt x="3549646" y="44450"/>
                  </a:cubicBezTo>
                  <a:cubicBezTo>
                    <a:pt x="3547106" y="43180"/>
                    <a:pt x="3544566" y="43180"/>
                    <a:pt x="3541391" y="43180"/>
                  </a:cubicBezTo>
                  <a:close/>
                  <a:moveTo>
                    <a:pt x="3463285" y="43180"/>
                  </a:moveTo>
                  <a:cubicBezTo>
                    <a:pt x="3461380" y="43180"/>
                    <a:pt x="3459475" y="43180"/>
                    <a:pt x="3458205" y="43815"/>
                  </a:cubicBezTo>
                  <a:cubicBezTo>
                    <a:pt x="3456300" y="43815"/>
                    <a:pt x="3455030" y="45085"/>
                    <a:pt x="3453125" y="45720"/>
                  </a:cubicBezTo>
                  <a:cubicBezTo>
                    <a:pt x="3451855" y="46355"/>
                    <a:pt x="3449950" y="47625"/>
                    <a:pt x="3448680" y="48895"/>
                  </a:cubicBezTo>
                  <a:cubicBezTo>
                    <a:pt x="3447410" y="50165"/>
                    <a:pt x="3446140" y="51435"/>
                    <a:pt x="3445505" y="52705"/>
                  </a:cubicBezTo>
                  <a:lnTo>
                    <a:pt x="3445505" y="85725"/>
                  </a:lnTo>
                  <a:cubicBezTo>
                    <a:pt x="3445505" y="85725"/>
                    <a:pt x="3447410" y="88265"/>
                    <a:pt x="3448680" y="89535"/>
                  </a:cubicBezTo>
                  <a:cubicBezTo>
                    <a:pt x="3449950" y="90805"/>
                    <a:pt x="3451220" y="92075"/>
                    <a:pt x="3453125" y="92710"/>
                  </a:cubicBezTo>
                  <a:cubicBezTo>
                    <a:pt x="3455030" y="93980"/>
                    <a:pt x="3456300" y="94615"/>
                    <a:pt x="3458205" y="95250"/>
                  </a:cubicBezTo>
                  <a:cubicBezTo>
                    <a:pt x="3460110" y="95250"/>
                    <a:pt x="3462015" y="95885"/>
                    <a:pt x="3463920" y="95885"/>
                  </a:cubicBezTo>
                  <a:cubicBezTo>
                    <a:pt x="3469635" y="95885"/>
                    <a:pt x="3473445" y="93980"/>
                    <a:pt x="3476620" y="89535"/>
                  </a:cubicBezTo>
                  <a:cubicBezTo>
                    <a:pt x="3479795" y="85090"/>
                    <a:pt x="3481065" y="79375"/>
                    <a:pt x="3481065" y="71120"/>
                  </a:cubicBezTo>
                  <a:lnTo>
                    <a:pt x="3480430" y="71755"/>
                  </a:lnTo>
                  <a:cubicBezTo>
                    <a:pt x="3480430" y="62230"/>
                    <a:pt x="3479160" y="54610"/>
                    <a:pt x="3475985" y="50165"/>
                  </a:cubicBezTo>
                  <a:cubicBezTo>
                    <a:pt x="3472810" y="45720"/>
                    <a:pt x="3468365" y="43180"/>
                    <a:pt x="3463285" y="43180"/>
                  </a:cubicBezTo>
                  <a:close/>
                  <a:moveTo>
                    <a:pt x="3343271" y="43180"/>
                  </a:moveTo>
                  <a:cubicBezTo>
                    <a:pt x="3340731" y="43180"/>
                    <a:pt x="3338191" y="43180"/>
                    <a:pt x="3336286" y="44450"/>
                  </a:cubicBezTo>
                  <a:cubicBezTo>
                    <a:pt x="3334381" y="45085"/>
                    <a:pt x="3332476" y="46355"/>
                    <a:pt x="3331206" y="48260"/>
                  </a:cubicBezTo>
                  <a:cubicBezTo>
                    <a:pt x="3329936" y="50165"/>
                    <a:pt x="3328666" y="52070"/>
                    <a:pt x="3327396" y="54610"/>
                  </a:cubicBezTo>
                  <a:cubicBezTo>
                    <a:pt x="3326761" y="57150"/>
                    <a:pt x="3326126" y="59690"/>
                    <a:pt x="3325491" y="62865"/>
                  </a:cubicBezTo>
                  <a:lnTo>
                    <a:pt x="3361686" y="62865"/>
                  </a:lnTo>
                  <a:cubicBezTo>
                    <a:pt x="3361686" y="62865"/>
                    <a:pt x="3361051" y="57785"/>
                    <a:pt x="3360416" y="55245"/>
                  </a:cubicBezTo>
                  <a:cubicBezTo>
                    <a:pt x="3359781" y="52705"/>
                    <a:pt x="3358511" y="50800"/>
                    <a:pt x="3357241" y="48895"/>
                  </a:cubicBezTo>
                  <a:cubicBezTo>
                    <a:pt x="3355971" y="46990"/>
                    <a:pt x="3354066" y="45720"/>
                    <a:pt x="3351526" y="44450"/>
                  </a:cubicBezTo>
                  <a:cubicBezTo>
                    <a:pt x="3348986" y="43180"/>
                    <a:pt x="3346446" y="43180"/>
                    <a:pt x="3343271" y="43180"/>
                  </a:cubicBezTo>
                  <a:close/>
                  <a:moveTo>
                    <a:pt x="2976876" y="43180"/>
                  </a:moveTo>
                  <a:cubicBezTo>
                    <a:pt x="2974336" y="43180"/>
                    <a:pt x="2971796" y="43180"/>
                    <a:pt x="2969891" y="44450"/>
                  </a:cubicBezTo>
                  <a:cubicBezTo>
                    <a:pt x="2967986" y="45085"/>
                    <a:pt x="2966081" y="46355"/>
                    <a:pt x="2964811" y="48260"/>
                  </a:cubicBezTo>
                  <a:cubicBezTo>
                    <a:pt x="2963541" y="50165"/>
                    <a:pt x="2962271" y="52070"/>
                    <a:pt x="2961001" y="54610"/>
                  </a:cubicBezTo>
                  <a:cubicBezTo>
                    <a:pt x="2960366" y="57150"/>
                    <a:pt x="2959731" y="59690"/>
                    <a:pt x="2959096" y="62865"/>
                  </a:cubicBezTo>
                  <a:lnTo>
                    <a:pt x="2995291" y="62865"/>
                  </a:lnTo>
                  <a:cubicBezTo>
                    <a:pt x="2995291" y="62865"/>
                    <a:pt x="2994656" y="57785"/>
                    <a:pt x="2994021" y="55245"/>
                  </a:cubicBezTo>
                  <a:cubicBezTo>
                    <a:pt x="2993386" y="52705"/>
                    <a:pt x="2992116" y="50800"/>
                    <a:pt x="2990846" y="48895"/>
                  </a:cubicBezTo>
                  <a:cubicBezTo>
                    <a:pt x="2989576" y="46990"/>
                    <a:pt x="2987671" y="45720"/>
                    <a:pt x="2985131" y="44450"/>
                  </a:cubicBezTo>
                  <a:cubicBezTo>
                    <a:pt x="2982591" y="43180"/>
                    <a:pt x="2980051" y="43180"/>
                    <a:pt x="2976876" y="43180"/>
                  </a:cubicBezTo>
                  <a:close/>
                  <a:moveTo>
                    <a:pt x="2527930" y="43180"/>
                  </a:moveTo>
                  <a:cubicBezTo>
                    <a:pt x="2525390" y="43180"/>
                    <a:pt x="2522850" y="43180"/>
                    <a:pt x="2520945" y="44450"/>
                  </a:cubicBezTo>
                  <a:cubicBezTo>
                    <a:pt x="2519040" y="45085"/>
                    <a:pt x="2517135" y="46355"/>
                    <a:pt x="2515865" y="48260"/>
                  </a:cubicBezTo>
                  <a:cubicBezTo>
                    <a:pt x="2514595" y="50165"/>
                    <a:pt x="2513325" y="52070"/>
                    <a:pt x="2512055" y="54610"/>
                  </a:cubicBezTo>
                  <a:cubicBezTo>
                    <a:pt x="2511420" y="57150"/>
                    <a:pt x="2510150" y="59690"/>
                    <a:pt x="2510150" y="62865"/>
                  </a:cubicBezTo>
                  <a:lnTo>
                    <a:pt x="2546345" y="62865"/>
                  </a:lnTo>
                  <a:cubicBezTo>
                    <a:pt x="2546345" y="62865"/>
                    <a:pt x="2545710" y="57785"/>
                    <a:pt x="2545075" y="55245"/>
                  </a:cubicBezTo>
                  <a:cubicBezTo>
                    <a:pt x="2544440" y="52705"/>
                    <a:pt x="2543170" y="50800"/>
                    <a:pt x="2541900" y="48895"/>
                  </a:cubicBezTo>
                  <a:cubicBezTo>
                    <a:pt x="2540630" y="46990"/>
                    <a:pt x="2538725" y="45720"/>
                    <a:pt x="2536185" y="44450"/>
                  </a:cubicBezTo>
                  <a:cubicBezTo>
                    <a:pt x="2533645" y="43180"/>
                    <a:pt x="2531105" y="43180"/>
                    <a:pt x="2527930" y="43180"/>
                  </a:cubicBezTo>
                  <a:close/>
                  <a:moveTo>
                    <a:pt x="2214240" y="43180"/>
                  </a:moveTo>
                  <a:cubicBezTo>
                    <a:pt x="2211700" y="43180"/>
                    <a:pt x="2209160" y="43180"/>
                    <a:pt x="2207255" y="44450"/>
                  </a:cubicBezTo>
                  <a:cubicBezTo>
                    <a:pt x="2205350" y="45085"/>
                    <a:pt x="2203445" y="46355"/>
                    <a:pt x="2202175" y="48260"/>
                  </a:cubicBezTo>
                  <a:cubicBezTo>
                    <a:pt x="2200905" y="50165"/>
                    <a:pt x="2199635" y="52070"/>
                    <a:pt x="2198365" y="54610"/>
                  </a:cubicBezTo>
                  <a:cubicBezTo>
                    <a:pt x="2197730" y="57150"/>
                    <a:pt x="2196460" y="59690"/>
                    <a:pt x="2196460" y="62865"/>
                  </a:cubicBezTo>
                  <a:lnTo>
                    <a:pt x="2232655" y="62865"/>
                  </a:lnTo>
                  <a:cubicBezTo>
                    <a:pt x="2232655" y="62865"/>
                    <a:pt x="2232020" y="57785"/>
                    <a:pt x="2231385" y="55245"/>
                  </a:cubicBezTo>
                  <a:cubicBezTo>
                    <a:pt x="2230750" y="52705"/>
                    <a:pt x="2229480" y="50800"/>
                    <a:pt x="2228210" y="48895"/>
                  </a:cubicBezTo>
                  <a:cubicBezTo>
                    <a:pt x="2226940" y="46990"/>
                    <a:pt x="2225035" y="45720"/>
                    <a:pt x="2222495" y="44450"/>
                  </a:cubicBezTo>
                  <a:cubicBezTo>
                    <a:pt x="2219955" y="43180"/>
                    <a:pt x="2217415" y="43180"/>
                    <a:pt x="2214240" y="43180"/>
                  </a:cubicBezTo>
                  <a:close/>
                  <a:moveTo>
                    <a:pt x="2027551" y="43180"/>
                  </a:moveTo>
                  <a:cubicBezTo>
                    <a:pt x="2025011" y="43180"/>
                    <a:pt x="2022471" y="43180"/>
                    <a:pt x="2020566" y="44450"/>
                  </a:cubicBezTo>
                  <a:cubicBezTo>
                    <a:pt x="2018661" y="45085"/>
                    <a:pt x="2016756" y="46355"/>
                    <a:pt x="2015486" y="48260"/>
                  </a:cubicBezTo>
                  <a:cubicBezTo>
                    <a:pt x="2014216" y="50165"/>
                    <a:pt x="2012946" y="52070"/>
                    <a:pt x="2011676" y="54610"/>
                  </a:cubicBezTo>
                  <a:cubicBezTo>
                    <a:pt x="2011041" y="57150"/>
                    <a:pt x="2010406" y="59690"/>
                    <a:pt x="2009771" y="62865"/>
                  </a:cubicBezTo>
                  <a:lnTo>
                    <a:pt x="2045966" y="62865"/>
                  </a:lnTo>
                  <a:cubicBezTo>
                    <a:pt x="2045966" y="62865"/>
                    <a:pt x="2045331" y="57785"/>
                    <a:pt x="2044696" y="55245"/>
                  </a:cubicBezTo>
                  <a:cubicBezTo>
                    <a:pt x="2044061" y="52705"/>
                    <a:pt x="2042791" y="50800"/>
                    <a:pt x="2041521" y="48895"/>
                  </a:cubicBezTo>
                  <a:cubicBezTo>
                    <a:pt x="2040251" y="46990"/>
                    <a:pt x="2038346" y="45720"/>
                    <a:pt x="2035806" y="44450"/>
                  </a:cubicBezTo>
                  <a:cubicBezTo>
                    <a:pt x="2033266" y="43180"/>
                    <a:pt x="2030726" y="43180"/>
                    <a:pt x="2027551" y="43180"/>
                  </a:cubicBezTo>
                  <a:close/>
                  <a:moveTo>
                    <a:pt x="1949445" y="43180"/>
                  </a:moveTo>
                  <a:cubicBezTo>
                    <a:pt x="1947540" y="43180"/>
                    <a:pt x="1945635" y="43180"/>
                    <a:pt x="1944365" y="43815"/>
                  </a:cubicBezTo>
                  <a:cubicBezTo>
                    <a:pt x="1942460" y="43815"/>
                    <a:pt x="1941190" y="45085"/>
                    <a:pt x="1939285" y="45720"/>
                  </a:cubicBezTo>
                  <a:cubicBezTo>
                    <a:pt x="1938015" y="46355"/>
                    <a:pt x="1936110" y="47625"/>
                    <a:pt x="1934840" y="48895"/>
                  </a:cubicBezTo>
                  <a:cubicBezTo>
                    <a:pt x="1933570" y="50165"/>
                    <a:pt x="1932300" y="51435"/>
                    <a:pt x="1931665" y="52705"/>
                  </a:cubicBezTo>
                  <a:lnTo>
                    <a:pt x="1931665" y="85725"/>
                  </a:lnTo>
                  <a:cubicBezTo>
                    <a:pt x="1931665" y="85725"/>
                    <a:pt x="1933570" y="88265"/>
                    <a:pt x="1934840" y="89535"/>
                  </a:cubicBezTo>
                  <a:cubicBezTo>
                    <a:pt x="1936110" y="90805"/>
                    <a:pt x="1937380" y="92075"/>
                    <a:pt x="1939285" y="92710"/>
                  </a:cubicBezTo>
                  <a:cubicBezTo>
                    <a:pt x="1941190" y="93980"/>
                    <a:pt x="1942460" y="94615"/>
                    <a:pt x="1944365" y="95250"/>
                  </a:cubicBezTo>
                  <a:cubicBezTo>
                    <a:pt x="1946270" y="95250"/>
                    <a:pt x="1948175" y="95885"/>
                    <a:pt x="1950080" y="95885"/>
                  </a:cubicBezTo>
                  <a:cubicBezTo>
                    <a:pt x="1955795" y="95885"/>
                    <a:pt x="1959605" y="93980"/>
                    <a:pt x="1962780" y="89535"/>
                  </a:cubicBezTo>
                  <a:cubicBezTo>
                    <a:pt x="1965955" y="85090"/>
                    <a:pt x="1967225" y="79375"/>
                    <a:pt x="1967225" y="71120"/>
                  </a:cubicBezTo>
                  <a:lnTo>
                    <a:pt x="1966590" y="71755"/>
                  </a:lnTo>
                  <a:cubicBezTo>
                    <a:pt x="1966590" y="62230"/>
                    <a:pt x="1965320" y="54610"/>
                    <a:pt x="1962145" y="50165"/>
                  </a:cubicBezTo>
                  <a:cubicBezTo>
                    <a:pt x="1958970" y="45720"/>
                    <a:pt x="1954525" y="43180"/>
                    <a:pt x="1949445" y="43180"/>
                  </a:cubicBezTo>
                  <a:close/>
                  <a:moveTo>
                    <a:pt x="1829431" y="43180"/>
                  </a:moveTo>
                  <a:cubicBezTo>
                    <a:pt x="1826891" y="43180"/>
                    <a:pt x="1824351" y="43180"/>
                    <a:pt x="1822446" y="44450"/>
                  </a:cubicBezTo>
                  <a:cubicBezTo>
                    <a:pt x="1820541" y="45085"/>
                    <a:pt x="1818636" y="46355"/>
                    <a:pt x="1817366" y="48260"/>
                  </a:cubicBezTo>
                  <a:cubicBezTo>
                    <a:pt x="1816096" y="50165"/>
                    <a:pt x="1814826" y="52070"/>
                    <a:pt x="1813556" y="54610"/>
                  </a:cubicBezTo>
                  <a:cubicBezTo>
                    <a:pt x="1812921" y="57150"/>
                    <a:pt x="1811651" y="59690"/>
                    <a:pt x="1811651" y="62865"/>
                  </a:cubicBezTo>
                  <a:lnTo>
                    <a:pt x="1847846" y="62865"/>
                  </a:lnTo>
                  <a:cubicBezTo>
                    <a:pt x="1847846" y="62865"/>
                    <a:pt x="1847211" y="57785"/>
                    <a:pt x="1846576" y="55245"/>
                  </a:cubicBezTo>
                  <a:cubicBezTo>
                    <a:pt x="1845941" y="52705"/>
                    <a:pt x="1844671" y="50800"/>
                    <a:pt x="1843401" y="48895"/>
                  </a:cubicBezTo>
                  <a:cubicBezTo>
                    <a:pt x="1842131" y="46990"/>
                    <a:pt x="1840226" y="45720"/>
                    <a:pt x="1837686" y="44450"/>
                  </a:cubicBezTo>
                  <a:cubicBezTo>
                    <a:pt x="1835146" y="43180"/>
                    <a:pt x="1832606" y="43180"/>
                    <a:pt x="1829431" y="43180"/>
                  </a:cubicBezTo>
                  <a:close/>
                  <a:moveTo>
                    <a:pt x="1178561" y="43180"/>
                  </a:moveTo>
                  <a:cubicBezTo>
                    <a:pt x="1176021" y="43180"/>
                    <a:pt x="1173481" y="43180"/>
                    <a:pt x="1171576" y="44450"/>
                  </a:cubicBezTo>
                  <a:cubicBezTo>
                    <a:pt x="1169671" y="45085"/>
                    <a:pt x="1167766" y="46355"/>
                    <a:pt x="1166496" y="48260"/>
                  </a:cubicBezTo>
                  <a:cubicBezTo>
                    <a:pt x="1165226" y="50165"/>
                    <a:pt x="1163956" y="52070"/>
                    <a:pt x="1162686" y="54610"/>
                  </a:cubicBezTo>
                  <a:cubicBezTo>
                    <a:pt x="1162051" y="57150"/>
                    <a:pt x="1160781" y="59690"/>
                    <a:pt x="1160781" y="62865"/>
                  </a:cubicBezTo>
                  <a:lnTo>
                    <a:pt x="1196976" y="62865"/>
                  </a:lnTo>
                  <a:cubicBezTo>
                    <a:pt x="1196976" y="62865"/>
                    <a:pt x="1196341" y="57785"/>
                    <a:pt x="1195706" y="55245"/>
                  </a:cubicBezTo>
                  <a:cubicBezTo>
                    <a:pt x="1195071" y="52705"/>
                    <a:pt x="1193801" y="50800"/>
                    <a:pt x="1192531" y="48895"/>
                  </a:cubicBezTo>
                  <a:cubicBezTo>
                    <a:pt x="1191261" y="46990"/>
                    <a:pt x="1189356" y="45720"/>
                    <a:pt x="1186816" y="44450"/>
                  </a:cubicBezTo>
                  <a:cubicBezTo>
                    <a:pt x="1184276" y="43180"/>
                    <a:pt x="1181736" y="43180"/>
                    <a:pt x="1178561" y="43180"/>
                  </a:cubicBezTo>
                  <a:close/>
                  <a:moveTo>
                    <a:pt x="898525" y="43180"/>
                  </a:moveTo>
                  <a:cubicBezTo>
                    <a:pt x="895985" y="43180"/>
                    <a:pt x="893445" y="43180"/>
                    <a:pt x="891540" y="44450"/>
                  </a:cubicBezTo>
                  <a:cubicBezTo>
                    <a:pt x="889635" y="45085"/>
                    <a:pt x="887730" y="46355"/>
                    <a:pt x="886460" y="48260"/>
                  </a:cubicBezTo>
                  <a:cubicBezTo>
                    <a:pt x="885190" y="50165"/>
                    <a:pt x="883920" y="52070"/>
                    <a:pt x="882650" y="54610"/>
                  </a:cubicBezTo>
                  <a:cubicBezTo>
                    <a:pt x="882015" y="57150"/>
                    <a:pt x="881380" y="59690"/>
                    <a:pt x="880745" y="62865"/>
                  </a:cubicBezTo>
                  <a:lnTo>
                    <a:pt x="916940" y="62865"/>
                  </a:lnTo>
                  <a:cubicBezTo>
                    <a:pt x="916940" y="62865"/>
                    <a:pt x="916305" y="57785"/>
                    <a:pt x="915670" y="55245"/>
                  </a:cubicBezTo>
                  <a:cubicBezTo>
                    <a:pt x="915035" y="52705"/>
                    <a:pt x="913765" y="50800"/>
                    <a:pt x="912495" y="48895"/>
                  </a:cubicBezTo>
                  <a:cubicBezTo>
                    <a:pt x="911225" y="46990"/>
                    <a:pt x="909320" y="45720"/>
                    <a:pt x="906780" y="44450"/>
                  </a:cubicBezTo>
                  <a:cubicBezTo>
                    <a:pt x="904240" y="43180"/>
                    <a:pt x="901700" y="43180"/>
                    <a:pt x="898525" y="43180"/>
                  </a:cubicBezTo>
                  <a:close/>
                  <a:moveTo>
                    <a:pt x="584834" y="43180"/>
                  </a:moveTo>
                  <a:cubicBezTo>
                    <a:pt x="582294" y="43180"/>
                    <a:pt x="579754" y="43180"/>
                    <a:pt x="577849" y="44450"/>
                  </a:cubicBezTo>
                  <a:cubicBezTo>
                    <a:pt x="575944" y="45085"/>
                    <a:pt x="574039" y="46355"/>
                    <a:pt x="572769" y="48260"/>
                  </a:cubicBezTo>
                  <a:cubicBezTo>
                    <a:pt x="571499" y="50165"/>
                    <a:pt x="570229" y="52070"/>
                    <a:pt x="568959" y="54610"/>
                  </a:cubicBezTo>
                  <a:cubicBezTo>
                    <a:pt x="568324" y="57150"/>
                    <a:pt x="567689" y="59690"/>
                    <a:pt x="567054" y="62865"/>
                  </a:cubicBezTo>
                  <a:lnTo>
                    <a:pt x="603249" y="62865"/>
                  </a:lnTo>
                  <a:cubicBezTo>
                    <a:pt x="603249" y="62865"/>
                    <a:pt x="602614" y="57785"/>
                    <a:pt x="601979" y="55245"/>
                  </a:cubicBezTo>
                  <a:cubicBezTo>
                    <a:pt x="601344" y="52705"/>
                    <a:pt x="600074" y="50800"/>
                    <a:pt x="598804" y="48895"/>
                  </a:cubicBezTo>
                  <a:cubicBezTo>
                    <a:pt x="597534" y="46990"/>
                    <a:pt x="595629" y="45720"/>
                    <a:pt x="593089" y="44450"/>
                  </a:cubicBezTo>
                  <a:cubicBezTo>
                    <a:pt x="590549" y="43180"/>
                    <a:pt x="588009" y="43180"/>
                    <a:pt x="584834" y="43180"/>
                  </a:cubicBezTo>
                  <a:close/>
                  <a:moveTo>
                    <a:pt x="398145" y="43180"/>
                  </a:moveTo>
                  <a:cubicBezTo>
                    <a:pt x="395605" y="43180"/>
                    <a:pt x="393065" y="43180"/>
                    <a:pt x="391160" y="44450"/>
                  </a:cubicBezTo>
                  <a:cubicBezTo>
                    <a:pt x="389255" y="45085"/>
                    <a:pt x="387350" y="46355"/>
                    <a:pt x="386080" y="48260"/>
                  </a:cubicBezTo>
                  <a:cubicBezTo>
                    <a:pt x="384810" y="50165"/>
                    <a:pt x="383540" y="52070"/>
                    <a:pt x="382270" y="54610"/>
                  </a:cubicBezTo>
                  <a:cubicBezTo>
                    <a:pt x="381635" y="57150"/>
                    <a:pt x="380365" y="59690"/>
                    <a:pt x="380365" y="62865"/>
                  </a:cubicBezTo>
                  <a:lnTo>
                    <a:pt x="416560" y="62865"/>
                  </a:lnTo>
                  <a:cubicBezTo>
                    <a:pt x="416560" y="62865"/>
                    <a:pt x="415925" y="57785"/>
                    <a:pt x="415290" y="55245"/>
                  </a:cubicBezTo>
                  <a:cubicBezTo>
                    <a:pt x="414655" y="52705"/>
                    <a:pt x="413385" y="50800"/>
                    <a:pt x="412115" y="48895"/>
                  </a:cubicBezTo>
                  <a:cubicBezTo>
                    <a:pt x="410845" y="46990"/>
                    <a:pt x="408940" y="45720"/>
                    <a:pt x="406400" y="44450"/>
                  </a:cubicBezTo>
                  <a:cubicBezTo>
                    <a:pt x="403860" y="43180"/>
                    <a:pt x="401320" y="43180"/>
                    <a:pt x="398145" y="43180"/>
                  </a:cubicBezTo>
                  <a:close/>
                  <a:moveTo>
                    <a:pt x="320039" y="43180"/>
                  </a:moveTo>
                  <a:cubicBezTo>
                    <a:pt x="318134" y="43180"/>
                    <a:pt x="316229" y="43180"/>
                    <a:pt x="314959" y="43815"/>
                  </a:cubicBezTo>
                  <a:cubicBezTo>
                    <a:pt x="313054" y="43815"/>
                    <a:pt x="311784" y="45085"/>
                    <a:pt x="309879" y="45720"/>
                  </a:cubicBezTo>
                  <a:cubicBezTo>
                    <a:pt x="308609" y="46355"/>
                    <a:pt x="306704" y="47625"/>
                    <a:pt x="305434" y="48895"/>
                  </a:cubicBezTo>
                  <a:cubicBezTo>
                    <a:pt x="304164" y="50165"/>
                    <a:pt x="302894" y="51435"/>
                    <a:pt x="302259" y="52705"/>
                  </a:cubicBezTo>
                  <a:lnTo>
                    <a:pt x="302259" y="85725"/>
                  </a:lnTo>
                  <a:cubicBezTo>
                    <a:pt x="302259" y="85725"/>
                    <a:pt x="304164" y="88265"/>
                    <a:pt x="305434" y="89535"/>
                  </a:cubicBezTo>
                  <a:cubicBezTo>
                    <a:pt x="306704" y="90805"/>
                    <a:pt x="307974" y="92075"/>
                    <a:pt x="309879" y="92710"/>
                  </a:cubicBezTo>
                  <a:cubicBezTo>
                    <a:pt x="311784" y="93980"/>
                    <a:pt x="313054" y="94615"/>
                    <a:pt x="314959" y="95250"/>
                  </a:cubicBezTo>
                  <a:cubicBezTo>
                    <a:pt x="316864" y="95250"/>
                    <a:pt x="318769" y="95885"/>
                    <a:pt x="320674" y="95885"/>
                  </a:cubicBezTo>
                  <a:cubicBezTo>
                    <a:pt x="326389" y="95885"/>
                    <a:pt x="330199" y="93980"/>
                    <a:pt x="333374" y="89535"/>
                  </a:cubicBezTo>
                  <a:cubicBezTo>
                    <a:pt x="336549" y="85090"/>
                    <a:pt x="337819" y="79375"/>
                    <a:pt x="337819" y="71120"/>
                  </a:cubicBezTo>
                  <a:lnTo>
                    <a:pt x="337184" y="71755"/>
                  </a:lnTo>
                  <a:cubicBezTo>
                    <a:pt x="337184" y="62230"/>
                    <a:pt x="335914" y="54610"/>
                    <a:pt x="332739" y="50165"/>
                  </a:cubicBezTo>
                  <a:cubicBezTo>
                    <a:pt x="329564" y="45720"/>
                    <a:pt x="325119" y="43180"/>
                    <a:pt x="320039" y="43180"/>
                  </a:cubicBezTo>
                  <a:close/>
                  <a:moveTo>
                    <a:pt x="200025" y="43180"/>
                  </a:moveTo>
                  <a:cubicBezTo>
                    <a:pt x="197485" y="43180"/>
                    <a:pt x="194945" y="43180"/>
                    <a:pt x="193040" y="44450"/>
                  </a:cubicBezTo>
                  <a:cubicBezTo>
                    <a:pt x="191135" y="45085"/>
                    <a:pt x="189230" y="46355"/>
                    <a:pt x="187960" y="48260"/>
                  </a:cubicBezTo>
                  <a:cubicBezTo>
                    <a:pt x="186690" y="50165"/>
                    <a:pt x="185420" y="52070"/>
                    <a:pt x="184150" y="54610"/>
                  </a:cubicBezTo>
                  <a:cubicBezTo>
                    <a:pt x="183515" y="57150"/>
                    <a:pt x="182880" y="59690"/>
                    <a:pt x="182245" y="62865"/>
                  </a:cubicBezTo>
                  <a:lnTo>
                    <a:pt x="218440" y="62865"/>
                  </a:lnTo>
                  <a:cubicBezTo>
                    <a:pt x="218440" y="62865"/>
                    <a:pt x="217805" y="57785"/>
                    <a:pt x="217170" y="55245"/>
                  </a:cubicBezTo>
                  <a:cubicBezTo>
                    <a:pt x="216535" y="52705"/>
                    <a:pt x="215265" y="50800"/>
                    <a:pt x="213995" y="48895"/>
                  </a:cubicBezTo>
                  <a:cubicBezTo>
                    <a:pt x="212725" y="46990"/>
                    <a:pt x="210820" y="45720"/>
                    <a:pt x="208280" y="44450"/>
                  </a:cubicBezTo>
                  <a:cubicBezTo>
                    <a:pt x="205740" y="43180"/>
                    <a:pt x="203200" y="43180"/>
                    <a:pt x="200025" y="43180"/>
                  </a:cubicBezTo>
                  <a:close/>
                  <a:moveTo>
                    <a:pt x="4439281" y="43179"/>
                  </a:moveTo>
                  <a:cubicBezTo>
                    <a:pt x="4433566" y="43179"/>
                    <a:pt x="4429756" y="45084"/>
                    <a:pt x="4426581" y="49529"/>
                  </a:cubicBezTo>
                  <a:cubicBezTo>
                    <a:pt x="4423406" y="53974"/>
                    <a:pt x="4422136" y="59689"/>
                    <a:pt x="4422136" y="67944"/>
                  </a:cubicBezTo>
                  <a:cubicBezTo>
                    <a:pt x="4422136" y="73024"/>
                    <a:pt x="4422136" y="76834"/>
                    <a:pt x="4423406" y="80644"/>
                  </a:cubicBezTo>
                  <a:cubicBezTo>
                    <a:pt x="4424041" y="84454"/>
                    <a:pt x="4425311" y="86994"/>
                    <a:pt x="4426581" y="89534"/>
                  </a:cubicBezTo>
                  <a:cubicBezTo>
                    <a:pt x="4427851" y="92074"/>
                    <a:pt x="4429756" y="93344"/>
                    <a:pt x="4432296" y="94614"/>
                  </a:cubicBezTo>
                  <a:cubicBezTo>
                    <a:pt x="4434201" y="95884"/>
                    <a:pt x="4436741" y="96519"/>
                    <a:pt x="4439916" y="96519"/>
                  </a:cubicBezTo>
                  <a:cubicBezTo>
                    <a:pt x="4441821" y="96519"/>
                    <a:pt x="4443726" y="96519"/>
                    <a:pt x="4444996" y="95884"/>
                  </a:cubicBezTo>
                  <a:cubicBezTo>
                    <a:pt x="4446901" y="95884"/>
                    <a:pt x="4448171" y="94614"/>
                    <a:pt x="4450076" y="93344"/>
                  </a:cubicBezTo>
                  <a:cubicBezTo>
                    <a:pt x="4451346" y="92709"/>
                    <a:pt x="4453251" y="91439"/>
                    <a:pt x="4454521" y="90169"/>
                  </a:cubicBezTo>
                  <a:cubicBezTo>
                    <a:pt x="4455791" y="88899"/>
                    <a:pt x="4457061" y="87629"/>
                    <a:pt x="4457696" y="86359"/>
                  </a:cubicBezTo>
                  <a:lnTo>
                    <a:pt x="4457696" y="53339"/>
                  </a:lnTo>
                  <a:cubicBezTo>
                    <a:pt x="4457696" y="53339"/>
                    <a:pt x="4455791" y="50799"/>
                    <a:pt x="4454521" y="49529"/>
                  </a:cubicBezTo>
                  <a:cubicBezTo>
                    <a:pt x="4453251" y="48259"/>
                    <a:pt x="4451981" y="46989"/>
                    <a:pt x="4450076" y="46354"/>
                  </a:cubicBezTo>
                  <a:cubicBezTo>
                    <a:pt x="4448806" y="45084"/>
                    <a:pt x="4446901" y="44449"/>
                    <a:pt x="4444996" y="43814"/>
                  </a:cubicBezTo>
                  <a:cubicBezTo>
                    <a:pt x="4443091" y="43814"/>
                    <a:pt x="4441186" y="43179"/>
                    <a:pt x="4439281" y="43179"/>
                  </a:cubicBezTo>
                  <a:close/>
                  <a:moveTo>
                    <a:pt x="1014731" y="43179"/>
                  </a:moveTo>
                  <a:cubicBezTo>
                    <a:pt x="1009016" y="43179"/>
                    <a:pt x="1005206" y="45084"/>
                    <a:pt x="1002032" y="49529"/>
                  </a:cubicBezTo>
                  <a:cubicBezTo>
                    <a:pt x="998856" y="53974"/>
                    <a:pt x="997587" y="59689"/>
                    <a:pt x="997587" y="67944"/>
                  </a:cubicBezTo>
                  <a:cubicBezTo>
                    <a:pt x="997587" y="77469"/>
                    <a:pt x="998856" y="84454"/>
                    <a:pt x="1002032" y="88899"/>
                  </a:cubicBezTo>
                  <a:cubicBezTo>
                    <a:pt x="1005206" y="93979"/>
                    <a:pt x="1009016" y="95884"/>
                    <a:pt x="1015367" y="95884"/>
                  </a:cubicBezTo>
                  <a:cubicBezTo>
                    <a:pt x="1018541" y="95884"/>
                    <a:pt x="1022352" y="95249"/>
                    <a:pt x="1024891" y="93344"/>
                  </a:cubicBezTo>
                  <a:cubicBezTo>
                    <a:pt x="1028067" y="91439"/>
                    <a:pt x="1030607" y="88899"/>
                    <a:pt x="1033147" y="86359"/>
                  </a:cubicBezTo>
                  <a:lnTo>
                    <a:pt x="1033147" y="53339"/>
                  </a:lnTo>
                  <a:cubicBezTo>
                    <a:pt x="1033147" y="53339"/>
                    <a:pt x="1031242" y="50799"/>
                    <a:pt x="1029971" y="49529"/>
                  </a:cubicBezTo>
                  <a:cubicBezTo>
                    <a:pt x="1028702" y="48259"/>
                    <a:pt x="1027431" y="46989"/>
                    <a:pt x="1025526" y="46354"/>
                  </a:cubicBezTo>
                  <a:cubicBezTo>
                    <a:pt x="1023621" y="45084"/>
                    <a:pt x="1022352" y="44449"/>
                    <a:pt x="1020446" y="43814"/>
                  </a:cubicBezTo>
                  <a:cubicBezTo>
                    <a:pt x="1018541" y="43179"/>
                    <a:pt x="1016636" y="43179"/>
                    <a:pt x="1014731" y="43179"/>
                  </a:cubicBezTo>
                  <a:close/>
                  <a:moveTo>
                    <a:pt x="4524370" y="31114"/>
                  </a:moveTo>
                  <a:lnTo>
                    <a:pt x="4538975" y="31114"/>
                  </a:lnTo>
                  <a:lnTo>
                    <a:pt x="4552310" y="84454"/>
                  </a:lnTo>
                  <a:lnTo>
                    <a:pt x="4566915" y="31114"/>
                  </a:lnTo>
                  <a:lnTo>
                    <a:pt x="4579615" y="31114"/>
                  </a:lnTo>
                  <a:lnTo>
                    <a:pt x="4594220" y="84454"/>
                  </a:lnTo>
                  <a:lnTo>
                    <a:pt x="4606920" y="31114"/>
                  </a:lnTo>
                  <a:lnTo>
                    <a:pt x="4622160" y="31114"/>
                  </a:lnTo>
                  <a:lnTo>
                    <a:pt x="4600570" y="108584"/>
                  </a:lnTo>
                  <a:lnTo>
                    <a:pt x="4587235" y="108584"/>
                  </a:lnTo>
                  <a:lnTo>
                    <a:pt x="4572630" y="54609"/>
                  </a:lnTo>
                  <a:lnTo>
                    <a:pt x="4558660" y="108584"/>
                  </a:lnTo>
                  <a:lnTo>
                    <a:pt x="4545325" y="108584"/>
                  </a:lnTo>
                  <a:close/>
                  <a:moveTo>
                    <a:pt x="4123686" y="31114"/>
                  </a:moveTo>
                  <a:lnTo>
                    <a:pt x="4138926" y="31114"/>
                  </a:lnTo>
                  <a:lnTo>
                    <a:pt x="4152261" y="84454"/>
                  </a:lnTo>
                  <a:lnTo>
                    <a:pt x="4166866" y="31114"/>
                  </a:lnTo>
                  <a:lnTo>
                    <a:pt x="4178931" y="31114"/>
                  </a:lnTo>
                  <a:lnTo>
                    <a:pt x="4193536" y="84454"/>
                  </a:lnTo>
                  <a:lnTo>
                    <a:pt x="4206871" y="31114"/>
                  </a:lnTo>
                  <a:lnTo>
                    <a:pt x="4222111" y="31114"/>
                  </a:lnTo>
                  <a:lnTo>
                    <a:pt x="4200521" y="108584"/>
                  </a:lnTo>
                  <a:lnTo>
                    <a:pt x="4187186" y="108584"/>
                  </a:lnTo>
                  <a:lnTo>
                    <a:pt x="4172581" y="54609"/>
                  </a:lnTo>
                  <a:lnTo>
                    <a:pt x="4157976" y="108584"/>
                  </a:lnTo>
                  <a:lnTo>
                    <a:pt x="4145276" y="108584"/>
                  </a:lnTo>
                  <a:close/>
                  <a:moveTo>
                    <a:pt x="2837811" y="31114"/>
                  </a:moveTo>
                  <a:lnTo>
                    <a:pt x="2852416" y="31114"/>
                  </a:lnTo>
                  <a:lnTo>
                    <a:pt x="2865751" y="84454"/>
                  </a:lnTo>
                  <a:lnTo>
                    <a:pt x="2880356" y="31114"/>
                  </a:lnTo>
                  <a:lnTo>
                    <a:pt x="2893056" y="31114"/>
                  </a:lnTo>
                  <a:lnTo>
                    <a:pt x="2907661" y="84454"/>
                  </a:lnTo>
                  <a:lnTo>
                    <a:pt x="2920361" y="31114"/>
                  </a:lnTo>
                  <a:lnTo>
                    <a:pt x="2935601" y="31114"/>
                  </a:lnTo>
                  <a:lnTo>
                    <a:pt x="2914011" y="108584"/>
                  </a:lnTo>
                  <a:lnTo>
                    <a:pt x="2900676" y="108584"/>
                  </a:lnTo>
                  <a:lnTo>
                    <a:pt x="2886706" y="54609"/>
                  </a:lnTo>
                  <a:lnTo>
                    <a:pt x="2872101" y="108584"/>
                  </a:lnTo>
                  <a:lnTo>
                    <a:pt x="2858766" y="108584"/>
                  </a:lnTo>
                  <a:close/>
                  <a:moveTo>
                    <a:pt x="1354455" y="31114"/>
                  </a:moveTo>
                  <a:lnTo>
                    <a:pt x="1369695" y="31114"/>
                  </a:lnTo>
                  <a:lnTo>
                    <a:pt x="1369695" y="109219"/>
                  </a:lnTo>
                  <a:lnTo>
                    <a:pt x="1354455" y="109219"/>
                  </a:lnTo>
                  <a:close/>
                  <a:moveTo>
                    <a:pt x="2646040" y="29844"/>
                  </a:moveTo>
                  <a:cubicBezTo>
                    <a:pt x="2650485" y="29844"/>
                    <a:pt x="2654295" y="29844"/>
                    <a:pt x="2658105" y="31749"/>
                  </a:cubicBezTo>
                  <a:cubicBezTo>
                    <a:pt x="2661915" y="33019"/>
                    <a:pt x="2665090" y="34289"/>
                    <a:pt x="2667630" y="36829"/>
                  </a:cubicBezTo>
                  <a:cubicBezTo>
                    <a:pt x="2670170" y="38734"/>
                    <a:pt x="2672075" y="41909"/>
                    <a:pt x="2673345" y="45084"/>
                  </a:cubicBezTo>
                  <a:cubicBezTo>
                    <a:pt x="2674615" y="48259"/>
                    <a:pt x="2675250" y="52069"/>
                    <a:pt x="2675250" y="56514"/>
                  </a:cubicBezTo>
                  <a:lnTo>
                    <a:pt x="2675250" y="109854"/>
                  </a:lnTo>
                  <a:lnTo>
                    <a:pt x="2660010" y="109854"/>
                  </a:lnTo>
                  <a:lnTo>
                    <a:pt x="2660010" y="108584"/>
                  </a:lnTo>
                  <a:lnTo>
                    <a:pt x="2660010" y="100964"/>
                  </a:lnTo>
                  <a:cubicBezTo>
                    <a:pt x="2660010" y="100964"/>
                    <a:pt x="2656200" y="104139"/>
                    <a:pt x="2654930" y="104774"/>
                  </a:cubicBezTo>
                  <a:cubicBezTo>
                    <a:pt x="2653660" y="105409"/>
                    <a:pt x="2652390" y="106679"/>
                    <a:pt x="2651120" y="107314"/>
                  </a:cubicBezTo>
                  <a:cubicBezTo>
                    <a:pt x="2649850" y="107949"/>
                    <a:pt x="2647945" y="108584"/>
                    <a:pt x="2646040" y="109219"/>
                  </a:cubicBezTo>
                  <a:cubicBezTo>
                    <a:pt x="2644135" y="109219"/>
                    <a:pt x="2641595" y="109854"/>
                    <a:pt x="2639055" y="109854"/>
                  </a:cubicBezTo>
                  <a:cubicBezTo>
                    <a:pt x="2635880" y="109854"/>
                    <a:pt x="2632705" y="109854"/>
                    <a:pt x="2629530" y="108584"/>
                  </a:cubicBezTo>
                  <a:cubicBezTo>
                    <a:pt x="2626355" y="107949"/>
                    <a:pt x="2623180" y="106044"/>
                    <a:pt x="2620640" y="104139"/>
                  </a:cubicBezTo>
                  <a:cubicBezTo>
                    <a:pt x="2618100" y="102234"/>
                    <a:pt x="2616195" y="99059"/>
                    <a:pt x="2614290" y="95884"/>
                  </a:cubicBezTo>
                  <a:cubicBezTo>
                    <a:pt x="2612385" y="92709"/>
                    <a:pt x="2611750" y="88264"/>
                    <a:pt x="2611750" y="83819"/>
                  </a:cubicBezTo>
                  <a:cubicBezTo>
                    <a:pt x="2611750" y="79374"/>
                    <a:pt x="2612385" y="75564"/>
                    <a:pt x="2614290" y="72389"/>
                  </a:cubicBezTo>
                  <a:cubicBezTo>
                    <a:pt x="2615560" y="69214"/>
                    <a:pt x="2618100" y="66674"/>
                    <a:pt x="2620640" y="64769"/>
                  </a:cubicBezTo>
                  <a:cubicBezTo>
                    <a:pt x="2623180" y="62864"/>
                    <a:pt x="2626990" y="60959"/>
                    <a:pt x="2630800" y="60324"/>
                  </a:cubicBezTo>
                  <a:cubicBezTo>
                    <a:pt x="2634610" y="59054"/>
                    <a:pt x="2638420" y="59054"/>
                    <a:pt x="2642865" y="59054"/>
                  </a:cubicBezTo>
                  <a:cubicBezTo>
                    <a:pt x="2646675" y="59054"/>
                    <a:pt x="2650485" y="59054"/>
                    <a:pt x="2653025" y="59689"/>
                  </a:cubicBezTo>
                  <a:cubicBezTo>
                    <a:pt x="2655565" y="59689"/>
                    <a:pt x="2658105" y="60959"/>
                    <a:pt x="2660010" y="61594"/>
                  </a:cubicBezTo>
                  <a:lnTo>
                    <a:pt x="2660010" y="55879"/>
                  </a:lnTo>
                  <a:cubicBezTo>
                    <a:pt x="2660010" y="51434"/>
                    <a:pt x="2658740" y="48259"/>
                    <a:pt x="2656200" y="46354"/>
                  </a:cubicBezTo>
                  <a:cubicBezTo>
                    <a:pt x="2653660" y="43814"/>
                    <a:pt x="2649850" y="43179"/>
                    <a:pt x="2645405" y="43179"/>
                  </a:cubicBezTo>
                  <a:cubicBezTo>
                    <a:pt x="2641595" y="43179"/>
                    <a:pt x="2637785" y="43179"/>
                    <a:pt x="2634610" y="44449"/>
                  </a:cubicBezTo>
                  <a:cubicBezTo>
                    <a:pt x="2631435" y="45084"/>
                    <a:pt x="2628260" y="46354"/>
                    <a:pt x="2625085" y="48259"/>
                  </a:cubicBezTo>
                  <a:lnTo>
                    <a:pt x="2619370" y="36829"/>
                  </a:lnTo>
                  <a:cubicBezTo>
                    <a:pt x="2623180" y="34289"/>
                    <a:pt x="2626990" y="33019"/>
                    <a:pt x="2631435" y="31749"/>
                  </a:cubicBezTo>
                  <a:cubicBezTo>
                    <a:pt x="2635880" y="30479"/>
                    <a:pt x="2640325" y="29844"/>
                    <a:pt x="2646040" y="29844"/>
                  </a:cubicBezTo>
                  <a:close/>
                  <a:moveTo>
                    <a:pt x="1114426" y="29844"/>
                  </a:moveTo>
                  <a:lnTo>
                    <a:pt x="1129666" y="29844"/>
                  </a:lnTo>
                  <a:lnTo>
                    <a:pt x="1129666" y="107949"/>
                  </a:lnTo>
                  <a:lnTo>
                    <a:pt x="1114426" y="107949"/>
                  </a:lnTo>
                  <a:lnTo>
                    <a:pt x="1114426" y="100964"/>
                  </a:lnTo>
                  <a:cubicBezTo>
                    <a:pt x="1114426" y="100964"/>
                    <a:pt x="1109981" y="106044"/>
                    <a:pt x="1106171" y="107314"/>
                  </a:cubicBezTo>
                  <a:cubicBezTo>
                    <a:pt x="1102996" y="109219"/>
                    <a:pt x="1098551" y="109854"/>
                    <a:pt x="1094741" y="109854"/>
                  </a:cubicBezTo>
                  <a:cubicBezTo>
                    <a:pt x="1085851" y="109854"/>
                    <a:pt x="1078866" y="106679"/>
                    <a:pt x="1073786" y="100964"/>
                  </a:cubicBezTo>
                  <a:cubicBezTo>
                    <a:pt x="1069341" y="95249"/>
                    <a:pt x="1066800" y="86359"/>
                    <a:pt x="1066800" y="74929"/>
                  </a:cubicBezTo>
                  <a:lnTo>
                    <a:pt x="1066800" y="30479"/>
                  </a:lnTo>
                  <a:lnTo>
                    <a:pt x="1082040" y="30479"/>
                  </a:lnTo>
                  <a:lnTo>
                    <a:pt x="1082040" y="74294"/>
                  </a:lnTo>
                  <a:cubicBezTo>
                    <a:pt x="1082040" y="81279"/>
                    <a:pt x="1083311" y="86994"/>
                    <a:pt x="1085851" y="90169"/>
                  </a:cubicBezTo>
                  <a:cubicBezTo>
                    <a:pt x="1088390" y="93979"/>
                    <a:pt x="1092201" y="95249"/>
                    <a:pt x="1097916" y="95249"/>
                  </a:cubicBezTo>
                  <a:cubicBezTo>
                    <a:pt x="1102996" y="95249"/>
                    <a:pt x="1106806" y="93344"/>
                    <a:pt x="1109981" y="90169"/>
                  </a:cubicBezTo>
                  <a:cubicBezTo>
                    <a:pt x="1112521" y="86994"/>
                    <a:pt x="1114426" y="81914"/>
                    <a:pt x="1114426" y="75564"/>
                  </a:cubicBezTo>
                  <a:close/>
                  <a:moveTo>
                    <a:pt x="1011556" y="29844"/>
                  </a:moveTo>
                  <a:cubicBezTo>
                    <a:pt x="1013461" y="29844"/>
                    <a:pt x="1015367" y="29844"/>
                    <a:pt x="1017272" y="30479"/>
                  </a:cubicBezTo>
                  <a:cubicBezTo>
                    <a:pt x="1019176" y="30479"/>
                    <a:pt x="1021081" y="31749"/>
                    <a:pt x="1022352" y="32384"/>
                  </a:cubicBezTo>
                  <a:cubicBezTo>
                    <a:pt x="1024257" y="33019"/>
                    <a:pt x="1025526" y="34289"/>
                    <a:pt x="1026797" y="35559"/>
                  </a:cubicBezTo>
                  <a:cubicBezTo>
                    <a:pt x="1028067" y="36829"/>
                    <a:pt x="1029336" y="37464"/>
                    <a:pt x="1030607" y="38734"/>
                  </a:cubicBezTo>
                  <a:lnTo>
                    <a:pt x="1030607" y="31749"/>
                  </a:lnTo>
                  <a:lnTo>
                    <a:pt x="1045847" y="31749"/>
                  </a:lnTo>
                  <a:lnTo>
                    <a:pt x="1045847" y="130809"/>
                  </a:lnTo>
                  <a:lnTo>
                    <a:pt x="1032512" y="137477"/>
                  </a:lnTo>
                  <a:lnTo>
                    <a:pt x="1032512" y="101599"/>
                  </a:lnTo>
                  <a:cubicBezTo>
                    <a:pt x="1032512" y="101599"/>
                    <a:pt x="1026797" y="106679"/>
                    <a:pt x="1022986" y="107949"/>
                  </a:cubicBezTo>
                  <a:cubicBezTo>
                    <a:pt x="1019812" y="109854"/>
                    <a:pt x="1016001" y="110489"/>
                    <a:pt x="1011556" y="110489"/>
                  </a:cubicBezTo>
                  <a:cubicBezTo>
                    <a:pt x="1007111" y="110489"/>
                    <a:pt x="1003301" y="109854"/>
                    <a:pt x="999491" y="107949"/>
                  </a:cubicBezTo>
                  <a:cubicBezTo>
                    <a:pt x="995681" y="106679"/>
                    <a:pt x="992506" y="104139"/>
                    <a:pt x="989966" y="100329"/>
                  </a:cubicBezTo>
                  <a:cubicBezTo>
                    <a:pt x="987426" y="97154"/>
                    <a:pt x="984886" y="92709"/>
                    <a:pt x="983616" y="87629"/>
                  </a:cubicBezTo>
                  <a:cubicBezTo>
                    <a:pt x="982346" y="82549"/>
                    <a:pt x="981076" y="76199"/>
                    <a:pt x="981076" y="68579"/>
                  </a:cubicBezTo>
                  <a:cubicBezTo>
                    <a:pt x="981076" y="61594"/>
                    <a:pt x="981711" y="55879"/>
                    <a:pt x="983616" y="51434"/>
                  </a:cubicBezTo>
                  <a:cubicBezTo>
                    <a:pt x="985521" y="46354"/>
                    <a:pt x="987426" y="42544"/>
                    <a:pt x="990601" y="39369"/>
                  </a:cubicBezTo>
                  <a:cubicBezTo>
                    <a:pt x="993142" y="36194"/>
                    <a:pt x="996951" y="33654"/>
                    <a:pt x="1000126" y="32384"/>
                  </a:cubicBezTo>
                  <a:cubicBezTo>
                    <a:pt x="1003937" y="31114"/>
                    <a:pt x="1007746" y="29844"/>
                    <a:pt x="1011556" y="29844"/>
                  </a:cubicBezTo>
                  <a:close/>
                  <a:moveTo>
                    <a:pt x="4871716" y="29210"/>
                  </a:moveTo>
                  <a:cubicBezTo>
                    <a:pt x="4876796" y="29210"/>
                    <a:pt x="4881241" y="29845"/>
                    <a:pt x="4885686" y="31750"/>
                  </a:cubicBezTo>
                  <a:cubicBezTo>
                    <a:pt x="4890131" y="33655"/>
                    <a:pt x="4894576" y="35560"/>
                    <a:pt x="4897751" y="38100"/>
                  </a:cubicBezTo>
                  <a:lnTo>
                    <a:pt x="4899021" y="38100"/>
                  </a:lnTo>
                  <a:lnTo>
                    <a:pt x="4892036" y="50165"/>
                  </a:lnTo>
                  <a:cubicBezTo>
                    <a:pt x="4888861" y="47625"/>
                    <a:pt x="4885686" y="46355"/>
                    <a:pt x="4882511" y="45085"/>
                  </a:cubicBezTo>
                  <a:cubicBezTo>
                    <a:pt x="4879336" y="43815"/>
                    <a:pt x="4875526" y="43180"/>
                    <a:pt x="4872351" y="43180"/>
                  </a:cubicBezTo>
                  <a:cubicBezTo>
                    <a:pt x="4869176" y="43180"/>
                    <a:pt x="4866001" y="43815"/>
                    <a:pt x="4864096" y="45085"/>
                  </a:cubicBezTo>
                  <a:cubicBezTo>
                    <a:pt x="4862191" y="46355"/>
                    <a:pt x="4861556" y="48260"/>
                    <a:pt x="4861556" y="50165"/>
                  </a:cubicBezTo>
                  <a:cubicBezTo>
                    <a:pt x="4861556" y="51435"/>
                    <a:pt x="4861556" y="52070"/>
                    <a:pt x="4861556" y="52705"/>
                  </a:cubicBezTo>
                  <a:cubicBezTo>
                    <a:pt x="4861556" y="53340"/>
                    <a:pt x="4862826" y="54610"/>
                    <a:pt x="4863461" y="55245"/>
                  </a:cubicBezTo>
                  <a:cubicBezTo>
                    <a:pt x="4864731" y="55880"/>
                    <a:pt x="4866001" y="57150"/>
                    <a:pt x="4867906" y="57785"/>
                  </a:cubicBezTo>
                  <a:cubicBezTo>
                    <a:pt x="4869811" y="59055"/>
                    <a:pt x="4872351" y="59690"/>
                    <a:pt x="4874891" y="60960"/>
                  </a:cubicBezTo>
                  <a:cubicBezTo>
                    <a:pt x="4879336" y="62865"/>
                    <a:pt x="4883146" y="64135"/>
                    <a:pt x="4886321" y="66040"/>
                  </a:cubicBezTo>
                  <a:cubicBezTo>
                    <a:pt x="4889496" y="67310"/>
                    <a:pt x="4892036" y="69215"/>
                    <a:pt x="4894576" y="71120"/>
                  </a:cubicBezTo>
                  <a:cubicBezTo>
                    <a:pt x="4896481" y="73025"/>
                    <a:pt x="4898386" y="75565"/>
                    <a:pt x="4899656" y="78105"/>
                  </a:cubicBezTo>
                  <a:cubicBezTo>
                    <a:pt x="4900926" y="80645"/>
                    <a:pt x="4901561" y="83820"/>
                    <a:pt x="4901561" y="87630"/>
                  </a:cubicBezTo>
                  <a:cubicBezTo>
                    <a:pt x="4901561" y="92075"/>
                    <a:pt x="4900926" y="95250"/>
                    <a:pt x="4899021" y="98425"/>
                  </a:cubicBezTo>
                  <a:cubicBezTo>
                    <a:pt x="4897116" y="101600"/>
                    <a:pt x="4895211" y="103505"/>
                    <a:pt x="4892671" y="105410"/>
                  </a:cubicBezTo>
                  <a:cubicBezTo>
                    <a:pt x="4890131" y="107315"/>
                    <a:pt x="4886956" y="108585"/>
                    <a:pt x="4883146" y="109220"/>
                  </a:cubicBezTo>
                  <a:cubicBezTo>
                    <a:pt x="4879336" y="109855"/>
                    <a:pt x="4876161" y="110490"/>
                    <a:pt x="4872351" y="110490"/>
                  </a:cubicBezTo>
                  <a:cubicBezTo>
                    <a:pt x="4867271" y="110490"/>
                    <a:pt x="4862191" y="109855"/>
                    <a:pt x="4857111" y="107950"/>
                  </a:cubicBezTo>
                  <a:cubicBezTo>
                    <a:pt x="4851396" y="106045"/>
                    <a:pt x="4846951" y="103505"/>
                    <a:pt x="4842506" y="100965"/>
                  </a:cubicBezTo>
                  <a:lnTo>
                    <a:pt x="4849491" y="89535"/>
                  </a:lnTo>
                  <a:cubicBezTo>
                    <a:pt x="4853301" y="92075"/>
                    <a:pt x="4857111" y="93980"/>
                    <a:pt x="4860921" y="95250"/>
                  </a:cubicBezTo>
                  <a:cubicBezTo>
                    <a:pt x="4864731" y="96520"/>
                    <a:pt x="4868541" y="97155"/>
                    <a:pt x="4872351" y="97155"/>
                  </a:cubicBezTo>
                  <a:cubicBezTo>
                    <a:pt x="4877431" y="97155"/>
                    <a:pt x="4880606" y="96520"/>
                    <a:pt x="4883146" y="94615"/>
                  </a:cubicBezTo>
                  <a:cubicBezTo>
                    <a:pt x="4885686" y="93345"/>
                    <a:pt x="4886321" y="90805"/>
                    <a:pt x="4886321" y="88265"/>
                  </a:cubicBezTo>
                  <a:cubicBezTo>
                    <a:pt x="4886321" y="86995"/>
                    <a:pt x="4886321" y="85725"/>
                    <a:pt x="4885051" y="84455"/>
                  </a:cubicBezTo>
                  <a:cubicBezTo>
                    <a:pt x="4884416" y="83185"/>
                    <a:pt x="4883146" y="82550"/>
                    <a:pt x="4881241" y="81280"/>
                  </a:cubicBezTo>
                  <a:cubicBezTo>
                    <a:pt x="4879971" y="80010"/>
                    <a:pt x="4878066" y="79375"/>
                    <a:pt x="4875526" y="78105"/>
                  </a:cubicBezTo>
                  <a:cubicBezTo>
                    <a:pt x="4872986" y="77470"/>
                    <a:pt x="4871081" y="76200"/>
                    <a:pt x="4867906" y="74930"/>
                  </a:cubicBezTo>
                  <a:cubicBezTo>
                    <a:pt x="4863461" y="73025"/>
                    <a:pt x="4860286" y="71755"/>
                    <a:pt x="4857111" y="69850"/>
                  </a:cubicBezTo>
                  <a:cubicBezTo>
                    <a:pt x="4853936" y="67945"/>
                    <a:pt x="4852031" y="66675"/>
                    <a:pt x="4850126" y="64770"/>
                  </a:cubicBezTo>
                  <a:cubicBezTo>
                    <a:pt x="4848221" y="62865"/>
                    <a:pt x="4846951" y="60960"/>
                    <a:pt x="4846316" y="58420"/>
                  </a:cubicBezTo>
                  <a:cubicBezTo>
                    <a:pt x="4845681" y="55880"/>
                    <a:pt x="4845046" y="53340"/>
                    <a:pt x="4845046" y="50165"/>
                  </a:cubicBezTo>
                  <a:cubicBezTo>
                    <a:pt x="4845046" y="46990"/>
                    <a:pt x="4845681" y="43815"/>
                    <a:pt x="4846951" y="40640"/>
                  </a:cubicBezTo>
                  <a:cubicBezTo>
                    <a:pt x="4848221" y="38100"/>
                    <a:pt x="4850126" y="35560"/>
                    <a:pt x="4852666" y="34290"/>
                  </a:cubicBezTo>
                  <a:cubicBezTo>
                    <a:pt x="4855206" y="32385"/>
                    <a:pt x="4857746" y="31115"/>
                    <a:pt x="4860921" y="30480"/>
                  </a:cubicBezTo>
                  <a:cubicBezTo>
                    <a:pt x="4864096" y="29845"/>
                    <a:pt x="4867906" y="29210"/>
                    <a:pt x="4871716" y="29210"/>
                  </a:cubicBezTo>
                  <a:close/>
                  <a:moveTo>
                    <a:pt x="4749796" y="29210"/>
                  </a:moveTo>
                  <a:cubicBezTo>
                    <a:pt x="4752971" y="29210"/>
                    <a:pt x="4755511" y="29210"/>
                    <a:pt x="4757416" y="29845"/>
                  </a:cubicBezTo>
                  <a:cubicBezTo>
                    <a:pt x="4759321" y="30480"/>
                    <a:pt x="4761226" y="31115"/>
                    <a:pt x="4763131" y="32385"/>
                  </a:cubicBezTo>
                  <a:lnTo>
                    <a:pt x="4759321" y="46990"/>
                  </a:lnTo>
                  <a:lnTo>
                    <a:pt x="4758051" y="46990"/>
                  </a:lnTo>
                  <a:cubicBezTo>
                    <a:pt x="4758051" y="46990"/>
                    <a:pt x="4754876" y="45085"/>
                    <a:pt x="4752971" y="45085"/>
                  </a:cubicBezTo>
                  <a:cubicBezTo>
                    <a:pt x="4751066" y="45085"/>
                    <a:pt x="4749161" y="44450"/>
                    <a:pt x="4746621" y="44450"/>
                  </a:cubicBezTo>
                  <a:cubicBezTo>
                    <a:pt x="4741541" y="44450"/>
                    <a:pt x="4737731" y="46355"/>
                    <a:pt x="4735191" y="49530"/>
                  </a:cubicBezTo>
                  <a:cubicBezTo>
                    <a:pt x="4732651" y="52705"/>
                    <a:pt x="4731381" y="57785"/>
                    <a:pt x="4731381" y="64770"/>
                  </a:cubicBezTo>
                  <a:lnTo>
                    <a:pt x="4731381" y="109220"/>
                  </a:lnTo>
                  <a:lnTo>
                    <a:pt x="4716141" y="109220"/>
                  </a:lnTo>
                  <a:lnTo>
                    <a:pt x="4716141" y="31115"/>
                  </a:lnTo>
                  <a:lnTo>
                    <a:pt x="4731381" y="31115"/>
                  </a:lnTo>
                  <a:lnTo>
                    <a:pt x="4731381" y="38735"/>
                  </a:lnTo>
                  <a:cubicBezTo>
                    <a:pt x="4731381" y="38735"/>
                    <a:pt x="4733286" y="36195"/>
                    <a:pt x="4734556" y="34925"/>
                  </a:cubicBezTo>
                  <a:cubicBezTo>
                    <a:pt x="4735826" y="33655"/>
                    <a:pt x="4737096" y="33020"/>
                    <a:pt x="4739001" y="31750"/>
                  </a:cubicBezTo>
                  <a:cubicBezTo>
                    <a:pt x="4740271" y="31115"/>
                    <a:pt x="4742176" y="30480"/>
                    <a:pt x="4744081" y="29845"/>
                  </a:cubicBezTo>
                  <a:cubicBezTo>
                    <a:pt x="4745986" y="29845"/>
                    <a:pt x="4747891" y="29210"/>
                    <a:pt x="4749796" y="29210"/>
                  </a:cubicBezTo>
                  <a:close/>
                  <a:moveTo>
                    <a:pt x="4349110" y="29210"/>
                  </a:moveTo>
                  <a:cubicBezTo>
                    <a:pt x="4352285" y="29210"/>
                    <a:pt x="4354825" y="29210"/>
                    <a:pt x="4356730" y="29845"/>
                  </a:cubicBezTo>
                  <a:cubicBezTo>
                    <a:pt x="4358635" y="29845"/>
                    <a:pt x="4360540" y="31115"/>
                    <a:pt x="4362445" y="32385"/>
                  </a:cubicBezTo>
                  <a:lnTo>
                    <a:pt x="4358635" y="46990"/>
                  </a:lnTo>
                  <a:lnTo>
                    <a:pt x="4357365" y="46990"/>
                  </a:lnTo>
                  <a:cubicBezTo>
                    <a:pt x="4357365" y="46990"/>
                    <a:pt x="4354190" y="45085"/>
                    <a:pt x="4352285" y="45085"/>
                  </a:cubicBezTo>
                  <a:cubicBezTo>
                    <a:pt x="4350380" y="45085"/>
                    <a:pt x="4348475" y="44450"/>
                    <a:pt x="4345935" y="44450"/>
                  </a:cubicBezTo>
                  <a:cubicBezTo>
                    <a:pt x="4340855" y="44450"/>
                    <a:pt x="4337045" y="46355"/>
                    <a:pt x="4334505" y="49530"/>
                  </a:cubicBezTo>
                  <a:cubicBezTo>
                    <a:pt x="4331965" y="52705"/>
                    <a:pt x="4330695" y="57785"/>
                    <a:pt x="4330695" y="64770"/>
                  </a:cubicBezTo>
                  <a:lnTo>
                    <a:pt x="4330695" y="109220"/>
                  </a:lnTo>
                  <a:lnTo>
                    <a:pt x="4315455" y="109220"/>
                  </a:lnTo>
                  <a:lnTo>
                    <a:pt x="4315455" y="31115"/>
                  </a:lnTo>
                  <a:lnTo>
                    <a:pt x="4330695" y="31115"/>
                  </a:lnTo>
                  <a:lnTo>
                    <a:pt x="4330695" y="38735"/>
                  </a:lnTo>
                  <a:cubicBezTo>
                    <a:pt x="4330695" y="38735"/>
                    <a:pt x="4332600" y="36195"/>
                    <a:pt x="4333870" y="34925"/>
                  </a:cubicBezTo>
                  <a:cubicBezTo>
                    <a:pt x="4335140" y="33655"/>
                    <a:pt x="4336410" y="33020"/>
                    <a:pt x="4338315" y="31750"/>
                  </a:cubicBezTo>
                  <a:cubicBezTo>
                    <a:pt x="4339585" y="31115"/>
                    <a:pt x="4341490" y="30480"/>
                    <a:pt x="4343395" y="29845"/>
                  </a:cubicBezTo>
                  <a:cubicBezTo>
                    <a:pt x="4345300" y="29845"/>
                    <a:pt x="4347205" y="29210"/>
                    <a:pt x="4349110" y="29210"/>
                  </a:cubicBezTo>
                  <a:close/>
                  <a:moveTo>
                    <a:pt x="4044310" y="29210"/>
                  </a:moveTo>
                  <a:cubicBezTo>
                    <a:pt x="4050025" y="29210"/>
                    <a:pt x="4054470" y="30480"/>
                    <a:pt x="4058915" y="32385"/>
                  </a:cubicBezTo>
                  <a:cubicBezTo>
                    <a:pt x="4062725" y="34290"/>
                    <a:pt x="4066535" y="37465"/>
                    <a:pt x="4069075" y="40640"/>
                  </a:cubicBezTo>
                  <a:cubicBezTo>
                    <a:pt x="4071615" y="44450"/>
                    <a:pt x="4073520" y="48260"/>
                    <a:pt x="4075425" y="53340"/>
                  </a:cubicBezTo>
                  <a:cubicBezTo>
                    <a:pt x="4076695" y="57785"/>
                    <a:pt x="4077330" y="62865"/>
                    <a:pt x="4077330" y="68580"/>
                  </a:cubicBezTo>
                  <a:lnTo>
                    <a:pt x="4076060" y="68580"/>
                  </a:lnTo>
                  <a:cubicBezTo>
                    <a:pt x="4076060" y="68580"/>
                    <a:pt x="4076060" y="71120"/>
                    <a:pt x="4076060" y="72390"/>
                  </a:cubicBezTo>
                  <a:cubicBezTo>
                    <a:pt x="4076060" y="73660"/>
                    <a:pt x="4076060" y="74295"/>
                    <a:pt x="4076060" y="75565"/>
                  </a:cubicBezTo>
                  <a:lnTo>
                    <a:pt x="4024625" y="75565"/>
                  </a:lnTo>
                  <a:cubicBezTo>
                    <a:pt x="4024625" y="79375"/>
                    <a:pt x="4025895" y="82550"/>
                    <a:pt x="4027165" y="85090"/>
                  </a:cubicBezTo>
                  <a:cubicBezTo>
                    <a:pt x="4028435" y="87630"/>
                    <a:pt x="4029705" y="90170"/>
                    <a:pt x="4031610" y="91440"/>
                  </a:cubicBezTo>
                  <a:cubicBezTo>
                    <a:pt x="4033515" y="93345"/>
                    <a:pt x="4035420" y="94615"/>
                    <a:pt x="4037325" y="95250"/>
                  </a:cubicBezTo>
                  <a:cubicBezTo>
                    <a:pt x="4039230" y="95885"/>
                    <a:pt x="4041770" y="96520"/>
                    <a:pt x="4044310" y="96520"/>
                  </a:cubicBezTo>
                  <a:cubicBezTo>
                    <a:pt x="4046215" y="96520"/>
                    <a:pt x="4047485" y="96520"/>
                    <a:pt x="4049390" y="96520"/>
                  </a:cubicBezTo>
                  <a:cubicBezTo>
                    <a:pt x="4050660" y="96520"/>
                    <a:pt x="4052565" y="95885"/>
                    <a:pt x="4053835" y="95250"/>
                  </a:cubicBezTo>
                  <a:cubicBezTo>
                    <a:pt x="4055105" y="95250"/>
                    <a:pt x="4056375" y="93980"/>
                    <a:pt x="4057645" y="93345"/>
                  </a:cubicBezTo>
                  <a:cubicBezTo>
                    <a:pt x="4058915" y="93345"/>
                    <a:pt x="4060185" y="92075"/>
                    <a:pt x="4062090" y="90805"/>
                  </a:cubicBezTo>
                  <a:lnTo>
                    <a:pt x="4070980" y="100330"/>
                  </a:lnTo>
                  <a:cubicBezTo>
                    <a:pt x="4070980" y="100330"/>
                    <a:pt x="4067170" y="103505"/>
                    <a:pt x="4065265" y="104775"/>
                  </a:cubicBezTo>
                  <a:cubicBezTo>
                    <a:pt x="4063360" y="106045"/>
                    <a:pt x="4061455" y="106680"/>
                    <a:pt x="4059550" y="107950"/>
                  </a:cubicBezTo>
                  <a:cubicBezTo>
                    <a:pt x="4057645" y="108585"/>
                    <a:pt x="4055105" y="109855"/>
                    <a:pt x="4052565" y="109855"/>
                  </a:cubicBezTo>
                  <a:cubicBezTo>
                    <a:pt x="4050025" y="109855"/>
                    <a:pt x="4046850" y="110490"/>
                    <a:pt x="4043675" y="110490"/>
                  </a:cubicBezTo>
                  <a:cubicBezTo>
                    <a:pt x="4040500" y="110490"/>
                    <a:pt x="4037325" y="110490"/>
                    <a:pt x="4034150" y="109220"/>
                  </a:cubicBezTo>
                  <a:cubicBezTo>
                    <a:pt x="4030975" y="108585"/>
                    <a:pt x="4028435" y="107315"/>
                    <a:pt x="4026530" y="105410"/>
                  </a:cubicBezTo>
                  <a:cubicBezTo>
                    <a:pt x="4023990" y="104140"/>
                    <a:pt x="4022085" y="102235"/>
                    <a:pt x="4020180" y="100330"/>
                  </a:cubicBezTo>
                  <a:cubicBezTo>
                    <a:pt x="4018275" y="98425"/>
                    <a:pt x="4016370" y="95885"/>
                    <a:pt x="4015100" y="92710"/>
                  </a:cubicBezTo>
                  <a:cubicBezTo>
                    <a:pt x="4013195" y="89535"/>
                    <a:pt x="4011925" y="86360"/>
                    <a:pt x="4011290" y="82550"/>
                  </a:cubicBezTo>
                  <a:cubicBezTo>
                    <a:pt x="4010655" y="78740"/>
                    <a:pt x="4010020" y="74295"/>
                    <a:pt x="4010020" y="69850"/>
                  </a:cubicBezTo>
                  <a:cubicBezTo>
                    <a:pt x="4010020" y="63500"/>
                    <a:pt x="4010655" y="57150"/>
                    <a:pt x="4012560" y="52070"/>
                  </a:cubicBezTo>
                  <a:cubicBezTo>
                    <a:pt x="4014465" y="46990"/>
                    <a:pt x="4016370" y="42545"/>
                    <a:pt x="4019545" y="39370"/>
                  </a:cubicBezTo>
                  <a:cubicBezTo>
                    <a:pt x="4022720" y="36195"/>
                    <a:pt x="4025895" y="33020"/>
                    <a:pt x="4030340" y="31750"/>
                  </a:cubicBezTo>
                  <a:cubicBezTo>
                    <a:pt x="4034785" y="29845"/>
                    <a:pt x="4039230" y="29210"/>
                    <a:pt x="4044310" y="29210"/>
                  </a:cubicBezTo>
                  <a:close/>
                  <a:moveTo>
                    <a:pt x="3811900" y="29210"/>
                  </a:moveTo>
                  <a:cubicBezTo>
                    <a:pt x="3815075" y="29210"/>
                    <a:pt x="3817615" y="29210"/>
                    <a:pt x="3819520" y="29845"/>
                  </a:cubicBezTo>
                  <a:cubicBezTo>
                    <a:pt x="3821425" y="29845"/>
                    <a:pt x="3823330" y="31115"/>
                    <a:pt x="3825235" y="32385"/>
                  </a:cubicBezTo>
                  <a:lnTo>
                    <a:pt x="3821425" y="46990"/>
                  </a:lnTo>
                  <a:lnTo>
                    <a:pt x="3820155" y="46990"/>
                  </a:lnTo>
                  <a:cubicBezTo>
                    <a:pt x="3820155" y="46990"/>
                    <a:pt x="3816980" y="45085"/>
                    <a:pt x="3815075" y="45085"/>
                  </a:cubicBezTo>
                  <a:cubicBezTo>
                    <a:pt x="3813170" y="45085"/>
                    <a:pt x="3811265" y="44450"/>
                    <a:pt x="3808725" y="44450"/>
                  </a:cubicBezTo>
                  <a:cubicBezTo>
                    <a:pt x="3803645" y="44450"/>
                    <a:pt x="3799835" y="46355"/>
                    <a:pt x="3797295" y="49530"/>
                  </a:cubicBezTo>
                  <a:cubicBezTo>
                    <a:pt x="3794755" y="52705"/>
                    <a:pt x="3793485" y="57785"/>
                    <a:pt x="3793485" y="64770"/>
                  </a:cubicBezTo>
                  <a:lnTo>
                    <a:pt x="3793485" y="109220"/>
                  </a:lnTo>
                  <a:lnTo>
                    <a:pt x="3778245" y="109220"/>
                  </a:lnTo>
                  <a:lnTo>
                    <a:pt x="3778245" y="31115"/>
                  </a:lnTo>
                  <a:lnTo>
                    <a:pt x="3793485" y="31115"/>
                  </a:lnTo>
                  <a:lnTo>
                    <a:pt x="3793485" y="38735"/>
                  </a:lnTo>
                  <a:cubicBezTo>
                    <a:pt x="3793485" y="38735"/>
                    <a:pt x="3795390" y="36195"/>
                    <a:pt x="3796660" y="34925"/>
                  </a:cubicBezTo>
                  <a:cubicBezTo>
                    <a:pt x="3797930" y="33655"/>
                    <a:pt x="3799200" y="33020"/>
                    <a:pt x="3801105" y="31750"/>
                  </a:cubicBezTo>
                  <a:cubicBezTo>
                    <a:pt x="3802375" y="31115"/>
                    <a:pt x="3804280" y="30480"/>
                    <a:pt x="3806185" y="29845"/>
                  </a:cubicBezTo>
                  <a:cubicBezTo>
                    <a:pt x="3808090" y="29845"/>
                    <a:pt x="3809995" y="29210"/>
                    <a:pt x="3811900" y="29210"/>
                  </a:cubicBezTo>
                  <a:close/>
                  <a:moveTo>
                    <a:pt x="3729986" y="29210"/>
                  </a:moveTo>
                  <a:cubicBezTo>
                    <a:pt x="3735701" y="29210"/>
                    <a:pt x="3740146" y="30480"/>
                    <a:pt x="3744591" y="32385"/>
                  </a:cubicBezTo>
                  <a:cubicBezTo>
                    <a:pt x="3748401" y="34290"/>
                    <a:pt x="3752211" y="37465"/>
                    <a:pt x="3754751" y="40640"/>
                  </a:cubicBezTo>
                  <a:cubicBezTo>
                    <a:pt x="3757291" y="44450"/>
                    <a:pt x="3759196" y="48260"/>
                    <a:pt x="3761101" y="53340"/>
                  </a:cubicBezTo>
                  <a:cubicBezTo>
                    <a:pt x="3762371" y="57785"/>
                    <a:pt x="3763006" y="62865"/>
                    <a:pt x="3763006" y="68580"/>
                  </a:cubicBezTo>
                  <a:lnTo>
                    <a:pt x="3761736" y="68580"/>
                  </a:lnTo>
                  <a:cubicBezTo>
                    <a:pt x="3761736" y="68580"/>
                    <a:pt x="3761736" y="71120"/>
                    <a:pt x="3761736" y="72390"/>
                  </a:cubicBezTo>
                  <a:cubicBezTo>
                    <a:pt x="3761736" y="73660"/>
                    <a:pt x="3761736" y="74295"/>
                    <a:pt x="3761736" y="75565"/>
                  </a:cubicBezTo>
                  <a:lnTo>
                    <a:pt x="3710301" y="75565"/>
                  </a:lnTo>
                  <a:cubicBezTo>
                    <a:pt x="3710301" y="79375"/>
                    <a:pt x="3711571" y="82550"/>
                    <a:pt x="3712841" y="85090"/>
                  </a:cubicBezTo>
                  <a:cubicBezTo>
                    <a:pt x="3714111" y="87630"/>
                    <a:pt x="3715381" y="90170"/>
                    <a:pt x="3717286" y="91440"/>
                  </a:cubicBezTo>
                  <a:cubicBezTo>
                    <a:pt x="3719191" y="93345"/>
                    <a:pt x="3721096" y="94615"/>
                    <a:pt x="3723001" y="95250"/>
                  </a:cubicBezTo>
                  <a:cubicBezTo>
                    <a:pt x="3724906" y="95885"/>
                    <a:pt x="3727446" y="96520"/>
                    <a:pt x="3729986" y="96520"/>
                  </a:cubicBezTo>
                  <a:cubicBezTo>
                    <a:pt x="3731891" y="96520"/>
                    <a:pt x="3733161" y="96520"/>
                    <a:pt x="3735066" y="96520"/>
                  </a:cubicBezTo>
                  <a:cubicBezTo>
                    <a:pt x="3736336" y="96520"/>
                    <a:pt x="3738241" y="95885"/>
                    <a:pt x="3739511" y="95250"/>
                  </a:cubicBezTo>
                  <a:cubicBezTo>
                    <a:pt x="3740781" y="95250"/>
                    <a:pt x="3742051" y="93980"/>
                    <a:pt x="3743321" y="93345"/>
                  </a:cubicBezTo>
                  <a:cubicBezTo>
                    <a:pt x="3744591" y="93345"/>
                    <a:pt x="3745861" y="92075"/>
                    <a:pt x="3747766" y="90805"/>
                  </a:cubicBezTo>
                  <a:lnTo>
                    <a:pt x="3756656" y="100330"/>
                  </a:lnTo>
                  <a:cubicBezTo>
                    <a:pt x="3756656" y="100330"/>
                    <a:pt x="3752846" y="103505"/>
                    <a:pt x="3750941" y="104775"/>
                  </a:cubicBezTo>
                  <a:cubicBezTo>
                    <a:pt x="3749036" y="106045"/>
                    <a:pt x="3747131" y="106680"/>
                    <a:pt x="3745226" y="107950"/>
                  </a:cubicBezTo>
                  <a:cubicBezTo>
                    <a:pt x="3743321" y="108585"/>
                    <a:pt x="3740781" y="109855"/>
                    <a:pt x="3738241" y="109855"/>
                  </a:cubicBezTo>
                  <a:cubicBezTo>
                    <a:pt x="3735701" y="109855"/>
                    <a:pt x="3732526" y="110490"/>
                    <a:pt x="3729351" y="110490"/>
                  </a:cubicBezTo>
                  <a:cubicBezTo>
                    <a:pt x="3726176" y="110490"/>
                    <a:pt x="3723001" y="110490"/>
                    <a:pt x="3719826" y="109220"/>
                  </a:cubicBezTo>
                  <a:cubicBezTo>
                    <a:pt x="3716651" y="108585"/>
                    <a:pt x="3714111" y="107315"/>
                    <a:pt x="3712206" y="105410"/>
                  </a:cubicBezTo>
                  <a:cubicBezTo>
                    <a:pt x="3709666" y="104140"/>
                    <a:pt x="3707761" y="102235"/>
                    <a:pt x="3705856" y="100330"/>
                  </a:cubicBezTo>
                  <a:cubicBezTo>
                    <a:pt x="3703951" y="98425"/>
                    <a:pt x="3702046" y="95885"/>
                    <a:pt x="3700776" y="92710"/>
                  </a:cubicBezTo>
                  <a:cubicBezTo>
                    <a:pt x="3698871" y="89535"/>
                    <a:pt x="3697601" y="86360"/>
                    <a:pt x="3696966" y="82550"/>
                  </a:cubicBezTo>
                  <a:cubicBezTo>
                    <a:pt x="3696331" y="78740"/>
                    <a:pt x="3695696" y="74295"/>
                    <a:pt x="3695696" y="69850"/>
                  </a:cubicBezTo>
                  <a:cubicBezTo>
                    <a:pt x="3695696" y="63500"/>
                    <a:pt x="3696331" y="57150"/>
                    <a:pt x="3698236" y="52070"/>
                  </a:cubicBezTo>
                  <a:cubicBezTo>
                    <a:pt x="3700141" y="46990"/>
                    <a:pt x="3702046" y="42545"/>
                    <a:pt x="3705221" y="39370"/>
                  </a:cubicBezTo>
                  <a:cubicBezTo>
                    <a:pt x="3708396" y="36195"/>
                    <a:pt x="3711571" y="33020"/>
                    <a:pt x="3716016" y="31750"/>
                  </a:cubicBezTo>
                  <a:cubicBezTo>
                    <a:pt x="3720461" y="29845"/>
                    <a:pt x="3724906" y="29210"/>
                    <a:pt x="3729986" y="29210"/>
                  </a:cubicBezTo>
                  <a:close/>
                  <a:moveTo>
                    <a:pt x="3543296" y="29210"/>
                  </a:moveTo>
                  <a:cubicBezTo>
                    <a:pt x="3549011" y="29210"/>
                    <a:pt x="3553456" y="30480"/>
                    <a:pt x="3557901" y="32385"/>
                  </a:cubicBezTo>
                  <a:cubicBezTo>
                    <a:pt x="3561711" y="34290"/>
                    <a:pt x="3565521" y="37465"/>
                    <a:pt x="3568061" y="40640"/>
                  </a:cubicBezTo>
                  <a:cubicBezTo>
                    <a:pt x="3570601" y="44450"/>
                    <a:pt x="3572506" y="48260"/>
                    <a:pt x="3574411" y="53340"/>
                  </a:cubicBezTo>
                  <a:cubicBezTo>
                    <a:pt x="3575681" y="57785"/>
                    <a:pt x="3576316" y="62865"/>
                    <a:pt x="3576316" y="68580"/>
                  </a:cubicBezTo>
                  <a:lnTo>
                    <a:pt x="3575046" y="68580"/>
                  </a:lnTo>
                  <a:cubicBezTo>
                    <a:pt x="3575046" y="68580"/>
                    <a:pt x="3575046" y="71120"/>
                    <a:pt x="3575046" y="72390"/>
                  </a:cubicBezTo>
                  <a:cubicBezTo>
                    <a:pt x="3575046" y="73660"/>
                    <a:pt x="3575046" y="74295"/>
                    <a:pt x="3575046" y="75565"/>
                  </a:cubicBezTo>
                  <a:lnTo>
                    <a:pt x="3523611" y="75565"/>
                  </a:lnTo>
                  <a:cubicBezTo>
                    <a:pt x="3523611" y="79375"/>
                    <a:pt x="3524881" y="82550"/>
                    <a:pt x="3526151" y="85090"/>
                  </a:cubicBezTo>
                  <a:cubicBezTo>
                    <a:pt x="3527421" y="87630"/>
                    <a:pt x="3528691" y="90170"/>
                    <a:pt x="3530596" y="91440"/>
                  </a:cubicBezTo>
                  <a:cubicBezTo>
                    <a:pt x="3532501" y="93345"/>
                    <a:pt x="3534406" y="94615"/>
                    <a:pt x="3536311" y="95250"/>
                  </a:cubicBezTo>
                  <a:cubicBezTo>
                    <a:pt x="3538216" y="95885"/>
                    <a:pt x="3540756" y="96520"/>
                    <a:pt x="3543296" y="96520"/>
                  </a:cubicBezTo>
                  <a:cubicBezTo>
                    <a:pt x="3545201" y="96520"/>
                    <a:pt x="3546471" y="96520"/>
                    <a:pt x="3548376" y="96520"/>
                  </a:cubicBezTo>
                  <a:cubicBezTo>
                    <a:pt x="3549646" y="96520"/>
                    <a:pt x="3551551" y="95885"/>
                    <a:pt x="3552821" y="95250"/>
                  </a:cubicBezTo>
                  <a:cubicBezTo>
                    <a:pt x="3554091" y="95250"/>
                    <a:pt x="3555361" y="93980"/>
                    <a:pt x="3556631" y="93345"/>
                  </a:cubicBezTo>
                  <a:cubicBezTo>
                    <a:pt x="3557901" y="93345"/>
                    <a:pt x="3559171" y="92075"/>
                    <a:pt x="3561076" y="90805"/>
                  </a:cubicBezTo>
                  <a:lnTo>
                    <a:pt x="3569966" y="100330"/>
                  </a:lnTo>
                  <a:cubicBezTo>
                    <a:pt x="3569966" y="100330"/>
                    <a:pt x="3566156" y="103505"/>
                    <a:pt x="3564251" y="104775"/>
                  </a:cubicBezTo>
                  <a:cubicBezTo>
                    <a:pt x="3562346" y="106045"/>
                    <a:pt x="3560441" y="106680"/>
                    <a:pt x="3558536" y="107950"/>
                  </a:cubicBezTo>
                  <a:cubicBezTo>
                    <a:pt x="3556631" y="108585"/>
                    <a:pt x="3554091" y="109855"/>
                    <a:pt x="3551551" y="109855"/>
                  </a:cubicBezTo>
                  <a:cubicBezTo>
                    <a:pt x="3549011" y="109855"/>
                    <a:pt x="3545836" y="110490"/>
                    <a:pt x="3542661" y="110490"/>
                  </a:cubicBezTo>
                  <a:cubicBezTo>
                    <a:pt x="3539486" y="110490"/>
                    <a:pt x="3536311" y="110490"/>
                    <a:pt x="3533136" y="109220"/>
                  </a:cubicBezTo>
                  <a:cubicBezTo>
                    <a:pt x="3529961" y="108585"/>
                    <a:pt x="3527421" y="107315"/>
                    <a:pt x="3525516" y="105410"/>
                  </a:cubicBezTo>
                  <a:cubicBezTo>
                    <a:pt x="3522976" y="104140"/>
                    <a:pt x="3521071" y="102235"/>
                    <a:pt x="3519166" y="100330"/>
                  </a:cubicBezTo>
                  <a:cubicBezTo>
                    <a:pt x="3517261" y="98425"/>
                    <a:pt x="3515356" y="95885"/>
                    <a:pt x="3514086" y="92710"/>
                  </a:cubicBezTo>
                  <a:cubicBezTo>
                    <a:pt x="3512181" y="89535"/>
                    <a:pt x="3510911" y="86360"/>
                    <a:pt x="3510276" y="82550"/>
                  </a:cubicBezTo>
                  <a:cubicBezTo>
                    <a:pt x="3509641" y="78740"/>
                    <a:pt x="3509006" y="74295"/>
                    <a:pt x="3509006" y="69850"/>
                  </a:cubicBezTo>
                  <a:cubicBezTo>
                    <a:pt x="3509006" y="63500"/>
                    <a:pt x="3509641" y="57150"/>
                    <a:pt x="3511546" y="52070"/>
                  </a:cubicBezTo>
                  <a:cubicBezTo>
                    <a:pt x="3513451" y="46990"/>
                    <a:pt x="3515356" y="42545"/>
                    <a:pt x="3518531" y="39370"/>
                  </a:cubicBezTo>
                  <a:cubicBezTo>
                    <a:pt x="3521706" y="36195"/>
                    <a:pt x="3524881" y="33020"/>
                    <a:pt x="3529326" y="31750"/>
                  </a:cubicBezTo>
                  <a:cubicBezTo>
                    <a:pt x="3533771" y="29845"/>
                    <a:pt x="3538216" y="29210"/>
                    <a:pt x="3543296" y="29210"/>
                  </a:cubicBezTo>
                  <a:close/>
                  <a:moveTo>
                    <a:pt x="3345176" y="29210"/>
                  </a:moveTo>
                  <a:cubicBezTo>
                    <a:pt x="3350891" y="29210"/>
                    <a:pt x="3355336" y="30480"/>
                    <a:pt x="3359781" y="32385"/>
                  </a:cubicBezTo>
                  <a:cubicBezTo>
                    <a:pt x="3363591" y="34290"/>
                    <a:pt x="3367401" y="37465"/>
                    <a:pt x="3369941" y="40640"/>
                  </a:cubicBezTo>
                  <a:cubicBezTo>
                    <a:pt x="3372481" y="44450"/>
                    <a:pt x="3374386" y="48260"/>
                    <a:pt x="3376291" y="53340"/>
                  </a:cubicBezTo>
                  <a:cubicBezTo>
                    <a:pt x="3377561" y="57785"/>
                    <a:pt x="3378196" y="62865"/>
                    <a:pt x="3378196" y="68580"/>
                  </a:cubicBezTo>
                  <a:lnTo>
                    <a:pt x="3376926" y="68580"/>
                  </a:lnTo>
                  <a:cubicBezTo>
                    <a:pt x="3376926" y="68580"/>
                    <a:pt x="3376926" y="71120"/>
                    <a:pt x="3376926" y="72390"/>
                  </a:cubicBezTo>
                  <a:cubicBezTo>
                    <a:pt x="3376926" y="73660"/>
                    <a:pt x="3376926" y="74295"/>
                    <a:pt x="3376926" y="75565"/>
                  </a:cubicBezTo>
                  <a:lnTo>
                    <a:pt x="3325491" y="75565"/>
                  </a:lnTo>
                  <a:cubicBezTo>
                    <a:pt x="3325491" y="79375"/>
                    <a:pt x="3326761" y="82550"/>
                    <a:pt x="3328031" y="85090"/>
                  </a:cubicBezTo>
                  <a:cubicBezTo>
                    <a:pt x="3329301" y="87630"/>
                    <a:pt x="3330571" y="90170"/>
                    <a:pt x="3332476" y="91440"/>
                  </a:cubicBezTo>
                  <a:cubicBezTo>
                    <a:pt x="3334381" y="93345"/>
                    <a:pt x="3336286" y="94615"/>
                    <a:pt x="3338191" y="95250"/>
                  </a:cubicBezTo>
                  <a:cubicBezTo>
                    <a:pt x="3340096" y="95885"/>
                    <a:pt x="3342636" y="96520"/>
                    <a:pt x="3345176" y="96520"/>
                  </a:cubicBezTo>
                  <a:cubicBezTo>
                    <a:pt x="3347081" y="96520"/>
                    <a:pt x="3348351" y="96520"/>
                    <a:pt x="3350256" y="96520"/>
                  </a:cubicBezTo>
                  <a:cubicBezTo>
                    <a:pt x="3351526" y="96520"/>
                    <a:pt x="3353431" y="95885"/>
                    <a:pt x="3354701" y="95250"/>
                  </a:cubicBezTo>
                  <a:cubicBezTo>
                    <a:pt x="3355971" y="95250"/>
                    <a:pt x="3357241" y="93980"/>
                    <a:pt x="3358511" y="93345"/>
                  </a:cubicBezTo>
                  <a:cubicBezTo>
                    <a:pt x="3359781" y="93345"/>
                    <a:pt x="3361051" y="92075"/>
                    <a:pt x="3362956" y="90805"/>
                  </a:cubicBezTo>
                  <a:lnTo>
                    <a:pt x="3371846" y="100330"/>
                  </a:lnTo>
                  <a:cubicBezTo>
                    <a:pt x="3371846" y="100330"/>
                    <a:pt x="3368036" y="103505"/>
                    <a:pt x="3366131" y="104775"/>
                  </a:cubicBezTo>
                  <a:cubicBezTo>
                    <a:pt x="3364226" y="106045"/>
                    <a:pt x="3362321" y="106680"/>
                    <a:pt x="3360416" y="107950"/>
                  </a:cubicBezTo>
                  <a:cubicBezTo>
                    <a:pt x="3358511" y="108585"/>
                    <a:pt x="3355971" y="109855"/>
                    <a:pt x="3353431" y="109855"/>
                  </a:cubicBezTo>
                  <a:cubicBezTo>
                    <a:pt x="3350891" y="109855"/>
                    <a:pt x="3347716" y="110490"/>
                    <a:pt x="3344541" y="110490"/>
                  </a:cubicBezTo>
                  <a:cubicBezTo>
                    <a:pt x="3341366" y="110490"/>
                    <a:pt x="3338191" y="110490"/>
                    <a:pt x="3335016" y="109220"/>
                  </a:cubicBezTo>
                  <a:cubicBezTo>
                    <a:pt x="3331841" y="108585"/>
                    <a:pt x="3329301" y="107315"/>
                    <a:pt x="3327396" y="105410"/>
                  </a:cubicBezTo>
                  <a:cubicBezTo>
                    <a:pt x="3324856" y="104140"/>
                    <a:pt x="3322951" y="102235"/>
                    <a:pt x="3321046" y="100330"/>
                  </a:cubicBezTo>
                  <a:cubicBezTo>
                    <a:pt x="3319141" y="98425"/>
                    <a:pt x="3317236" y="95885"/>
                    <a:pt x="3315966" y="92710"/>
                  </a:cubicBezTo>
                  <a:cubicBezTo>
                    <a:pt x="3314061" y="89535"/>
                    <a:pt x="3312791" y="86360"/>
                    <a:pt x="3312156" y="82550"/>
                  </a:cubicBezTo>
                  <a:cubicBezTo>
                    <a:pt x="3311521" y="78740"/>
                    <a:pt x="3310886" y="74295"/>
                    <a:pt x="3310886" y="69850"/>
                  </a:cubicBezTo>
                  <a:cubicBezTo>
                    <a:pt x="3310886" y="63500"/>
                    <a:pt x="3311521" y="57150"/>
                    <a:pt x="3313426" y="52070"/>
                  </a:cubicBezTo>
                  <a:cubicBezTo>
                    <a:pt x="3315331" y="46990"/>
                    <a:pt x="3317236" y="42545"/>
                    <a:pt x="3320411" y="39370"/>
                  </a:cubicBezTo>
                  <a:cubicBezTo>
                    <a:pt x="3323586" y="36195"/>
                    <a:pt x="3326761" y="33020"/>
                    <a:pt x="3331206" y="31750"/>
                  </a:cubicBezTo>
                  <a:cubicBezTo>
                    <a:pt x="3335651" y="29845"/>
                    <a:pt x="3340096" y="29210"/>
                    <a:pt x="3345176" y="29210"/>
                  </a:cubicBezTo>
                  <a:close/>
                  <a:moveTo>
                    <a:pt x="3060696" y="29210"/>
                  </a:moveTo>
                  <a:cubicBezTo>
                    <a:pt x="3063871" y="29210"/>
                    <a:pt x="3066411" y="29210"/>
                    <a:pt x="3068316" y="29845"/>
                  </a:cubicBezTo>
                  <a:cubicBezTo>
                    <a:pt x="3070221" y="29845"/>
                    <a:pt x="3072126" y="31115"/>
                    <a:pt x="3074031" y="32385"/>
                  </a:cubicBezTo>
                  <a:lnTo>
                    <a:pt x="3070221" y="46990"/>
                  </a:lnTo>
                  <a:lnTo>
                    <a:pt x="3068951" y="46990"/>
                  </a:lnTo>
                  <a:cubicBezTo>
                    <a:pt x="3068951" y="46990"/>
                    <a:pt x="3065776" y="45085"/>
                    <a:pt x="3063871" y="45085"/>
                  </a:cubicBezTo>
                  <a:cubicBezTo>
                    <a:pt x="3061966" y="45085"/>
                    <a:pt x="3060061" y="44450"/>
                    <a:pt x="3057521" y="44450"/>
                  </a:cubicBezTo>
                  <a:cubicBezTo>
                    <a:pt x="3052441" y="44450"/>
                    <a:pt x="3048631" y="46355"/>
                    <a:pt x="3046091" y="49530"/>
                  </a:cubicBezTo>
                  <a:cubicBezTo>
                    <a:pt x="3043551" y="52705"/>
                    <a:pt x="3042281" y="57785"/>
                    <a:pt x="3042281" y="64770"/>
                  </a:cubicBezTo>
                  <a:lnTo>
                    <a:pt x="3042281" y="109220"/>
                  </a:lnTo>
                  <a:lnTo>
                    <a:pt x="3027041" y="109220"/>
                  </a:lnTo>
                  <a:lnTo>
                    <a:pt x="3027041" y="31115"/>
                  </a:lnTo>
                  <a:lnTo>
                    <a:pt x="3042281" y="31115"/>
                  </a:lnTo>
                  <a:lnTo>
                    <a:pt x="3042281" y="38735"/>
                  </a:lnTo>
                  <a:cubicBezTo>
                    <a:pt x="3042281" y="38735"/>
                    <a:pt x="3044186" y="36195"/>
                    <a:pt x="3045456" y="34925"/>
                  </a:cubicBezTo>
                  <a:cubicBezTo>
                    <a:pt x="3046726" y="33655"/>
                    <a:pt x="3047996" y="33020"/>
                    <a:pt x="3049901" y="31750"/>
                  </a:cubicBezTo>
                  <a:cubicBezTo>
                    <a:pt x="3051171" y="31115"/>
                    <a:pt x="3053076" y="30480"/>
                    <a:pt x="3054981" y="29845"/>
                  </a:cubicBezTo>
                  <a:cubicBezTo>
                    <a:pt x="3056886" y="29845"/>
                    <a:pt x="3058791" y="29210"/>
                    <a:pt x="3060696" y="29210"/>
                  </a:cubicBezTo>
                  <a:close/>
                  <a:moveTo>
                    <a:pt x="2978781" y="29210"/>
                  </a:moveTo>
                  <a:cubicBezTo>
                    <a:pt x="2984496" y="29210"/>
                    <a:pt x="2988941" y="30480"/>
                    <a:pt x="2993386" y="32385"/>
                  </a:cubicBezTo>
                  <a:cubicBezTo>
                    <a:pt x="2997196" y="34290"/>
                    <a:pt x="3001006" y="37465"/>
                    <a:pt x="3003546" y="40640"/>
                  </a:cubicBezTo>
                  <a:cubicBezTo>
                    <a:pt x="3006086" y="44450"/>
                    <a:pt x="3007991" y="48260"/>
                    <a:pt x="3009896" y="53340"/>
                  </a:cubicBezTo>
                  <a:cubicBezTo>
                    <a:pt x="3011166" y="57785"/>
                    <a:pt x="3011801" y="62865"/>
                    <a:pt x="3011801" y="68580"/>
                  </a:cubicBezTo>
                  <a:lnTo>
                    <a:pt x="3010531" y="68580"/>
                  </a:lnTo>
                  <a:cubicBezTo>
                    <a:pt x="3010531" y="68580"/>
                    <a:pt x="3010531" y="71120"/>
                    <a:pt x="3010531" y="72390"/>
                  </a:cubicBezTo>
                  <a:cubicBezTo>
                    <a:pt x="3010531" y="73660"/>
                    <a:pt x="3010531" y="74295"/>
                    <a:pt x="3010531" y="75565"/>
                  </a:cubicBezTo>
                  <a:lnTo>
                    <a:pt x="2959096" y="75565"/>
                  </a:lnTo>
                  <a:cubicBezTo>
                    <a:pt x="2959096" y="79375"/>
                    <a:pt x="2960366" y="82550"/>
                    <a:pt x="2961636" y="85090"/>
                  </a:cubicBezTo>
                  <a:cubicBezTo>
                    <a:pt x="2962906" y="87630"/>
                    <a:pt x="2964176" y="90170"/>
                    <a:pt x="2966081" y="91440"/>
                  </a:cubicBezTo>
                  <a:cubicBezTo>
                    <a:pt x="2967986" y="93345"/>
                    <a:pt x="2969891" y="94615"/>
                    <a:pt x="2971796" y="95250"/>
                  </a:cubicBezTo>
                  <a:cubicBezTo>
                    <a:pt x="2974336" y="95885"/>
                    <a:pt x="2976241" y="96520"/>
                    <a:pt x="2978781" y="96520"/>
                  </a:cubicBezTo>
                  <a:cubicBezTo>
                    <a:pt x="2980686" y="96520"/>
                    <a:pt x="2981956" y="96520"/>
                    <a:pt x="2983861" y="96520"/>
                  </a:cubicBezTo>
                  <a:cubicBezTo>
                    <a:pt x="2985131" y="96520"/>
                    <a:pt x="2987036" y="95885"/>
                    <a:pt x="2988306" y="95250"/>
                  </a:cubicBezTo>
                  <a:cubicBezTo>
                    <a:pt x="2989576" y="95250"/>
                    <a:pt x="2990846" y="93980"/>
                    <a:pt x="2992116" y="93345"/>
                  </a:cubicBezTo>
                  <a:cubicBezTo>
                    <a:pt x="2993386" y="93345"/>
                    <a:pt x="2994656" y="92075"/>
                    <a:pt x="2996561" y="90805"/>
                  </a:cubicBezTo>
                  <a:lnTo>
                    <a:pt x="3005451" y="100330"/>
                  </a:lnTo>
                  <a:cubicBezTo>
                    <a:pt x="3005451" y="100330"/>
                    <a:pt x="3001641" y="103505"/>
                    <a:pt x="2999736" y="104775"/>
                  </a:cubicBezTo>
                  <a:cubicBezTo>
                    <a:pt x="2997831" y="106045"/>
                    <a:pt x="2995926" y="106680"/>
                    <a:pt x="2994021" y="107950"/>
                  </a:cubicBezTo>
                  <a:cubicBezTo>
                    <a:pt x="2992116" y="108585"/>
                    <a:pt x="2989576" y="109855"/>
                    <a:pt x="2987036" y="109855"/>
                  </a:cubicBezTo>
                  <a:cubicBezTo>
                    <a:pt x="2984496" y="109855"/>
                    <a:pt x="2981321" y="110490"/>
                    <a:pt x="2978146" y="110490"/>
                  </a:cubicBezTo>
                  <a:cubicBezTo>
                    <a:pt x="2974971" y="110490"/>
                    <a:pt x="2971796" y="110490"/>
                    <a:pt x="2968621" y="109220"/>
                  </a:cubicBezTo>
                  <a:cubicBezTo>
                    <a:pt x="2965446" y="108585"/>
                    <a:pt x="2962906" y="107315"/>
                    <a:pt x="2961001" y="105410"/>
                  </a:cubicBezTo>
                  <a:cubicBezTo>
                    <a:pt x="2958461" y="104140"/>
                    <a:pt x="2956556" y="102235"/>
                    <a:pt x="2954651" y="100330"/>
                  </a:cubicBezTo>
                  <a:cubicBezTo>
                    <a:pt x="2952746" y="98425"/>
                    <a:pt x="2950841" y="95885"/>
                    <a:pt x="2949571" y="92710"/>
                  </a:cubicBezTo>
                  <a:cubicBezTo>
                    <a:pt x="2947666" y="89535"/>
                    <a:pt x="2946396" y="86360"/>
                    <a:pt x="2945761" y="82550"/>
                  </a:cubicBezTo>
                  <a:cubicBezTo>
                    <a:pt x="2945126" y="78740"/>
                    <a:pt x="2944491" y="74295"/>
                    <a:pt x="2944491" y="69850"/>
                  </a:cubicBezTo>
                  <a:cubicBezTo>
                    <a:pt x="2944491" y="63500"/>
                    <a:pt x="2945126" y="57150"/>
                    <a:pt x="2947031" y="52070"/>
                  </a:cubicBezTo>
                  <a:cubicBezTo>
                    <a:pt x="2948936" y="46990"/>
                    <a:pt x="2950841" y="42545"/>
                    <a:pt x="2954016" y="39370"/>
                  </a:cubicBezTo>
                  <a:cubicBezTo>
                    <a:pt x="2957191" y="36195"/>
                    <a:pt x="2960366" y="33020"/>
                    <a:pt x="2964811" y="31750"/>
                  </a:cubicBezTo>
                  <a:cubicBezTo>
                    <a:pt x="2969256" y="29845"/>
                    <a:pt x="2973701" y="29210"/>
                    <a:pt x="2978781" y="29210"/>
                  </a:cubicBezTo>
                  <a:close/>
                  <a:moveTo>
                    <a:pt x="2798440" y="29210"/>
                  </a:moveTo>
                  <a:cubicBezTo>
                    <a:pt x="2803520" y="29210"/>
                    <a:pt x="2807965" y="29845"/>
                    <a:pt x="2813045" y="31750"/>
                  </a:cubicBezTo>
                  <a:cubicBezTo>
                    <a:pt x="2817490" y="33655"/>
                    <a:pt x="2821935" y="35560"/>
                    <a:pt x="2825110" y="38100"/>
                  </a:cubicBezTo>
                  <a:lnTo>
                    <a:pt x="2827015" y="38100"/>
                  </a:lnTo>
                  <a:lnTo>
                    <a:pt x="2820030" y="50165"/>
                  </a:lnTo>
                  <a:cubicBezTo>
                    <a:pt x="2816855" y="47625"/>
                    <a:pt x="2813680" y="46355"/>
                    <a:pt x="2810505" y="45085"/>
                  </a:cubicBezTo>
                  <a:cubicBezTo>
                    <a:pt x="2807330" y="43815"/>
                    <a:pt x="2803520" y="43180"/>
                    <a:pt x="2799710" y="43180"/>
                  </a:cubicBezTo>
                  <a:cubicBezTo>
                    <a:pt x="2795900" y="43180"/>
                    <a:pt x="2793360" y="43815"/>
                    <a:pt x="2791455" y="45085"/>
                  </a:cubicBezTo>
                  <a:cubicBezTo>
                    <a:pt x="2789550" y="46355"/>
                    <a:pt x="2788915" y="48260"/>
                    <a:pt x="2788915" y="50165"/>
                  </a:cubicBezTo>
                  <a:cubicBezTo>
                    <a:pt x="2788915" y="51435"/>
                    <a:pt x="2788915" y="52070"/>
                    <a:pt x="2788915" y="52705"/>
                  </a:cubicBezTo>
                  <a:cubicBezTo>
                    <a:pt x="2788915" y="53340"/>
                    <a:pt x="2790185" y="54610"/>
                    <a:pt x="2790820" y="55245"/>
                  </a:cubicBezTo>
                  <a:cubicBezTo>
                    <a:pt x="2792090" y="55880"/>
                    <a:pt x="2793360" y="57150"/>
                    <a:pt x="2795265" y="57785"/>
                  </a:cubicBezTo>
                  <a:cubicBezTo>
                    <a:pt x="2797170" y="59055"/>
                    <a:pt x="2799710" y="59690"/>
                    <a:pt x="2802250" y="60960"/>
                  </a:cubicBezTo>
                  <a:cubicBezTo>
                    <a:pt x="2806695" y="62865"/>
                    <a:pt x="2810505" y="64135"/>
                    <a:pt x="2813680" y="66040"/>
                  </a:cubicBezTo>
                  <a:cubicBezTo>
                    <a:pt x="2816855" y="67310"/>
                    <a:pt x="2819395" y="69215"/>
                    <a:pt x="2821935" y="71120"/>
                  </a:cubicBezTo>
                  <a:cubicBezTo>
                    <a:pt x="2823840" y="73025"/>
                    <a:pt x="2825745" y="75565"/>
                    <a:pt x="2827015" y="78105"/>
                  </a:cubicBezTo>
                  <a:cubicBezTo>
                    <a:pt x="2828285" y="80645"/>
                    <a:pt x="2828920" y="83820"/>
                    <a:pt x="2828920" y="87630"/>
                  </a:cubicBezTo>
                  <a:cubicBezTo>
                    <a:pt x="2828920" y="92075"/>
                    <a:pt x="2828285" y="95250"/>
                    <a:pt x="2826380" y="98425"/>
                  </a:cubicBezTo>
                  <a:cubicBezTo>
                    <a:pt x="2824475" y="101600"/>
                    <a:pt x="2822570" y="103505"/>
                    <a:pt x="2820030" y="105410"/>
                  </a:cubicBezTo>
                  <a:cubicBezTo>
                    <a:pt x="2817490" y="107315"/>
                    <a:pt x="2814315" y="108585"/>
                    <a:pt x="2810505" y="109220"/>
                  </a:cubicBezTo>
                  <a:cubicBezTo>
                    <a:pt x="2806695" y="109855"/>
                    <a:pt x="2803520" y="110490"/>
                    <a:pt x="2799710" y="110490"/>
                  </a:cubicBezTo>
                  <a:cubicBezTo>
                    <a:pt x="2794630" y="110490"/>
                    <a:pt x="2789550" y="109855"/>
                    <a:pt x="2783835" y="107950"/>
                  </a:cubicBezTo>
                  <a:cubicBezTo>
                    <a:pt x="2778120" y="106045"/>
                    <a:pt x="2773675" y="103505"/>
                    <a:pt x="2769230" y="100965"/>
                  </a:cubicBezTo>
                  <a:lnTo>
                    <a:pt x="2776215" y="89535"/>
                  </a:lnTo>
                  <a:cubicBezTo>
                    <a:pt x="2780025" y="92075"/>
                    <a:pt x="2783835" y="93980"/>
                    <a:pt x="2787645" y="95250"/>
                  </a:cubicBezTo>
                  <a:cubicBezTo>
                    <a:pt x="2791455" y="96520"/>
                    <a:pt x="2795265" y="97155"/>
                    <a:pt x="2799075" y="97155"/>
                  </a:cubicBezTo>
                  <a:cubicBezTo>
                    <a:pt x="2804155" y="97155"/>
                    <a:pt x="2807330" y="96520"/>
                    <a:pt x="2809870" y="94615"/>
                  </a:cubicBezTo>
                  <a:cubicBezTo>
                    <a:pt x="2812410" y="93345"/>
                    <a:pt x="2813045" y="90805"/>
                    <a:pt x="2813045" y="88265"/>
                  </a:cubicBezTo>
                  <a:cubicBezTo>
                    <a:pt x="2813045" y="86995"/>
                    <a:pt x="2813045" y="85725"/>
                    <a:pt x="2811775" y="84455"/>
                  </a:cubicBezTo>
                  <a:cubicBezTo>
                    <a:pt x="2811140" y="83185"/>
                    <a:pt x="2809870" y="82550"/>
                    <a:pt x="2807965" y="81280"/>
                  </a:cubicBezTo>
                  <a:cubicBezTo>
                    <a:pt x="2806695" y="80010"/>
                    <a:pt x="2804790" y="79375"/>
                    <a:pt x="2802250" y="78105"/>
                  </a:cubicBezTo>
                  <a:cubicBezTo>
                    <a:pt x="2800345" y="77470"/>
                    <a:pt x="2797805" y="76200"/>
                    <a:pt x="2794630" y="74930"/>
                  </a:cubicBezTo>
                  <a:cubicBezTo>
                    <a:pt x="2790185" y="73025"/>
                    <a:pt x="2787010" y="71755"/>
                    <a:pt x="2783835" y="69850"/>
                  </a:cubicBezTo>
                  <a:cubicBezTo>
                    <a:pt x="2780660" y="67945"/>
                    <a:pt x="2778755" y="66675"/>
                    <a:pt x="2776850" y="64770"/>
                  </a:cubicBezTo>
                  <a:cubicBezTo>
                    <a:pt x="2774945" y="62865"/>
                    <a:pt x="2773675" y="60960"/>
                    <a:pt x="2773040" y="58420"/>
                  </a:cubicBezTo>
                  <a:cubicBezTo>
                    <a:pt x="2772405" y="55880"/>
                    <a:pt x="2771770" y="53340"/>
                    <a:pt x="2771770" y="50165"/>
                  </a:cubicBezTo>
                  <a:cubicBezTo>
                    <a:pt x="2771770" y="46990"/>
                    <a:pt x="2772405" y="43815"/>
                    <a:pt x="2773675" y="40640"/>
                  </a:cubicBezTo>
                  <a:cubicBezTo>
                    <a:pt x="2774945" y="38100"/>
                    <a:pt x="2776850" y="35560"/>
                    <a:pt x="2779390" y="34290"/>
                  </a:cubicBezTo>
                  <a:cubicBezTo>
                    <a:pt x="2781930" y="32385"/>
                    <a:pt x="2784470" y="31115"/>
                    <a:pt x="2787645" y="30480"/>
                  </a:cubicBezTo>
                  <a:cubicBezTo>
                    <a:pt x="2790820" y="29845"/>
                    <a:pt x="2794630" y="29210"/>
                    <a:pt x="2798440" y="29210"/>
                  </a:cubicBezTo>
                  <a:close/>
                  <a:moveTo>
                    <a:pt x="2723510" y="29210"/>
                  </a:moveTo>
                  <a:cubicBezTo>
                    <a:pt x="2725415" y="29210"/>
                    <a:pt x="2727320" y="29210"/>
                    <a:pt x="2729225" y="29210"/>
                  </a:cubicBezTo>
                  <a:cubicBezTo>
                    <a:pt x="2733670" y="29210"/>
                    <a:pt x="2738115" y="29845"/>
                    <a:pt x="2741290" y="31750"/>
                  </a:cubicBezTo>
                  <a:cubicBezTo>
                    <a:pt x="2744465" y="33020"/>
                    <a:pt x="2747640" y="35560"/>
                    <a:pt x="2750180" y="38100"/>
                  </a:cubicBezTo>
                  <a:cubicBezTo>
                    <a:pt x="2752720" y="41275"/>
                    <a:pt x="2753990" y="44450"/>
                    <a:pt x="2755260" y="48895"/>
                  </a:cubicBezTo>
                  <a:cubicBezTo>
                    <a:pt x="2756530" y="53340"/>
                    <a:pt x="2757165" y="58420"/>
                    <a:pt x="2757165" y="64135"/>
                  </a:cubicBezTo>
                  <a:lnTo>
                    <a:pt x="2757165" y="108585"/>
                  </a:lnTo>
                  <a:lnTo>
                    <a:pt x="2741925" y="108585"/>
                  </a:lnTo>
                  <a:lnTo>
                    <a:pt x="2741290" y="108585"/>
                  </a:lnTo>
                  <a:lnTo>
                    <a:pt x="2741290" y="64770"/>
                  </a:lnTo>
                  <a:cubicBezTo>
                    <a:pt x="2741290" y="57785"/>
                    <a:pt x="2740020" y="52070"/>
                    <a:pt x="2737480" y="48895"/>
                  </a:cubicBezTo>
                  <a:cubicBezTo>
                    <a:pt x="2734940" y="45085"/>
                    <a:pt x="2731130" y="43180"/>
                    <a:pt x="2725415" y="43180"/>
                  </a:cubicBezTo>
                  <a:cubicBezTo>
                    <a:pt x="2722875" y="43180"/>
                    <a:pt x="2720970" y="43180"/>
                    <a:pt x="2718430" y="44450"/>
                  </a:cubicBezTo>
                  <a:cubicBezTo>
                    <a:pt x="2716525" y="45085"/>
                    <a:pt x="2714620" y="46990"/>
                    <a:pt x="2713350" y="48260"/>
                  </a:cubicBezTo>
                  <a:cubicBezTo>
                    <a:pt x="2712080" y="50165"/>
                    <a:pt x="2710810" y="52070"/>
                    <a:pt x="2710175" y="54610"/>
                  </a:cubicBezTo>
                  <a:cubicBezTo>
                    <a:pt x="2710175" y="57150"/>
                    <a:pt x="2709540" y="59690"/>
                    <a:pt x="2709540" y="62865"/>
                  </a:cubicBezTo>
                  <a:lnTo>
                    <a:pt x="2709540" y="108585"/>
                  </a:lnTo>
                  <a:lnTo>
                    <a:pt x="2694300" y="108585"/>
                  </a:lnTo>
                  <a:lnTo>
                    <a:pt x="2694300" y="30480"/>
                  </a:lnTo>
                  <a:lnTo>
                    <a:pt x="2709540" y="30480"/>
                  </a:lnTo>
                  <a:lnTo>
                    <a:pt x="2709540" y="38100"/>
                  </a:lnTo>
                  <a:cubicBezTo>
                    <a:pt x="2709540" y="38100"/>
                    <a:pt x="2711445" y="35560"/>
                    <a:pt x="2713350" y="34290"/>
                  </a:cubicBezTo>
                  <a:cubicBezTo>
                    <a:pt x="2714620" y="33020"/>
                    <a:pt x="2716525" y="32385"/>
                    <a:pt x="2717795" y="31115"/>
                  </a:cubicBezTo>
                  <a:cubicBezTo>
                    <a:pt x="2719700" y="30480"/>
                    <a:pt x="2721605" y="29845"/>
                    <a:pt x="2723510" y="29210"/>
                  </a:cubicBezTo>
                  <a:close/>
                  <a:moveTo>
                    <a:pt x="2530470" y="29210"/>
                  </a:moveTo>
                  <a:cubicBezTo>
                    <a:pt x="2536185" y="29210"/>
                    <a:pt x="2540630" y="30480"/>
                    <a:pt x="2545075" y="32385"/>
                  </a:cubicBezTo>
                  <a:cubicBezTo>
                    <a:pt x="2548885" y="34290"/>
                    <a:pt x="2552695" y="37465"/>
                    <a:pt x="2555235" y="40640"/>
                  </a:cubicBezTo>
                  <a:cubicBezTo>
                    <a:pt x="2557775" y="44450"/>
                    <a:pt x="2559680" y="48260"/>
                    <a:pt x="2561585" y="53340"/>
                  </a:cubicBezTo>
                  <a:cubicBezTo>
                    <a:pt x="2562855" y="57785"/>
                    <a:pt x="2563490" y="62865"/>
                    <a:pt x="2563490" y="68580"/>
                  </a:cubicBezTo>
                  <a:lnTo>
                    <a:pt x="2562220" y="68580"/>
                  </a:lnTo>
                  <a:cubicBezTo>
                    <a:pt x="2562220" y="68580"/>
                    <a:pt x="2562220" y="71120"/>
                    <a:pt x="2562220" y="72390"/>
                  </a:cubicBezTo>
                  <a:cubicBezTo>
                    <a:pt x="2562220" y="73660"/>
                    <a:pt x="2562220" y="74295"/>
                    <a:pt x="2562220" y="75565"/>
                  </a:cubicBezTo>
                  <a:lnTo>
                    <a:pt x="2510785" y="75565"/>
                  </a:lnTo>
                  <a:cubicBezTo>
                    <a:pt x="2510785" y="79375"/>
                    <a:pt x="2512055" y="82550"/>
                    <a:pt x="2513325" y="85090"/>
                  </a:cubicBezTo>
                  <a:cubicBezTo>
                    <a:pt x="2514595" y="87630"/>
                    <a:pt x="2515865" y="90170"/>
                    <a:pt x="2517770" y="91440"/>
                  </a:cubicBezTo>
                  <a:cubicBezTo>
                    <a:pt x="2519675" y="93345"/>
                    <a:pt x="2521580" y="94615"/>
                    <a:pt x="2523485" y="95250"/>
                  </a:cubicBezTo>
                  <a:cubicBezTo>
                    <a:pt x="2525390" y="95885"/>
                    <a:pt x="2527930" y="96520"/>
                    <a:pt x="2530470" y="96520"/>
                  </a:cubicBezTo>
                  <a:cubicBezTo>
                    <a:pt x="2532375" y="96520"/>
                    <a:pt x="2533645" y="96520"/>
                    <a:pt x="2535550" y="96520"/>
                  </a:cubicBezTo>
                  <a:cubicBezTo>
                    <a:pt x="2536820" y="96520"/>
                    <a:pt x="2538725" y="95885"/>
                    <a:pt x="2539995" y="95250"/>
                  </a:cubicBezTo>
                  <a:cubicBezTo>
                    <a:pt x="2541265" y="95250"/>
                    <a:pt x="2542535" y="93980"/>
                    <a:pt x="2543805" y="93345"/>
                  </a:cubicBezTo>
                  <a:cubicBezTo>
                    <a:pt x="2545075" y="93345"/>
                    <a:pt x="2546345" y="92075"/>
                    <a:pt x="2548250" y="90805"/>
                  </a:cubicBezTo>
                  <a:lnTo>
                    <a:pt x="2557140" y="100330"/>
                  </a:lnTo>
                  <a:cubicBezTo>
                    <a:pt x="2557140" y="100330"/>
                    <a:pt x="2553330" y="103505"/>
                    <a:pt x="2551425" y="104775"/>
                  </a:cubicBezTo>
                  <a:cubicBezTo>
                    <a:pt x="2549520" y="106045"/>
                    <a:pt x="2547615" y="106680"/>
                    <a:pt x="2545710" y="107950"/>
                  </a:cubicBezTo>
                  <a:cubicBezTo>
                    <a:pt x="2543805" y="108585"/>
                    <a:pt x="2541265" y="109855"/>
                    <a:pt x="2538725" y="109855"/>
                  </a:cubicBezTo>
                  <a:cubicBezTo>
                    <a:pt x="2536185" y="109855"/>
                    <a:pt x="2533010" y="110490"/>
                    <a:pt x="2529835" y="110490"/>
                  </a:cubicBezTo>
                  <a:cubicBezTo>
                    <a:pt x="2526660" y="110490"/>
                    <a:pt x="2523485" y="110490"/>
                    <a:pt x="2520310" y="109220"/>
                  </a:cubicBezTo>
                  <a:cubicBezTo>
                    <a:pt x="2517135" y="108585"/>
                    <a:pt x="2514595" y="107315"/>
                    <a:pt x="2512690" y="105410"/>
                  </a:cubicBezTo>
                  <a:cubicBezTo>
                    <a:pt x="2510785" y="103505"/>
                    <a:pt x="2508245" y="102235"/>
                    <a:pt x="2506340" y="100330"/>
                  </a:cubicBezTo>
                  <a:cubicBezTo>
                    <a:pt x="2504435" y="98425"/>
                    <a:pt x="2502530" y="95885"/>
                    <a:pt x="2501260" y="92710"/>
                  </a:cubicBezTo>
                  <a:cubicBezTo>
                    <a:pt x="2499355" y="89535"/>
                    <a:pt x="2498085" y="86360"/>
                    <a:pt x="2497450" y="82550"/>
                  </a:cubicBezTo>
                  <a:cubicBezTo>
                    <a:pt x="2496815" y="78740"/>
                    <a:pt x="2496180" y="74295"/>
                    <a:pt x="2496180" y="69850"/>
                  </a:cubicBezTo>
                  <a:cubicBezTo>
                    <a:pt x="2496180" y="63500"/>
                    <a:pt x="2496815" y="57150"/>
                    <a:pt x="2498720" y="52070"/>
                  </a:cubicBezTo>
                  <a:cubicBezTo>
                    <a:pt x="2500625" y="46990"/>
                    <a:pt x="2502530" y="42545"/>
                    <a:pt x="2505705" y="39370"/>
                  </a:cubicBezTo>
                  <a:cubicBezTo>
                    <a:pt x="2508880" y="36195"/>
                    <a:pt x="2512055" y="33020"/>
                    <a:pt x="2516500" y="31750"/>
                  </a:cubicBezTo>
                  <a:cubicBezTo>
                    <a:pt x="2520945" y="29845"/>
                    <a:pt x="2525390" y="29210"/>
                    <a:pt x="2530470" y="29210"/>
                  </a:cubicBezTo>
                  <a:close/>
                  <a:moveTo>
                    <a:pt x="2298061" y="29210"/>
                  </a:moveTo>
                  <a:cubicBezTo>
                    <a:pt x="2301236" y="29210"/>
                    <a:pt x="2303776" y="29210"/>
                    <a:pt x="2305681" y="29845"/>
                  </a:cubicBezTo>
                  <a:cubicBezTo>
                    <a:pt x="2307586" y="29845"/>
                    <a:pt x="2309491" y="31115"/>
                    <a:pt x="2311396" y="32385"/>
                  </a:cubicBezTo>
                  <a:lnTo>
                    <a:pt x="2307586" y="46990"/>
                  </a:lnTo>
                  <a:lnTo>
                    <a:pt x="2306316" y="46990"/>
                  </a:lnTo>
                  <a:cubicBezTo>
                    <a:pt x="2306316" y="46990"/>
                    <a:pt x="2303141" y="45085"/>
                    <a:pt x="2301236" y="45085"/>
                  </a:cubicBezTo>
                  <a:cubicBezTo>
                    <a:pt x="2299331" y="45085"/>
                    <a:pt x="2297426" y="44450"/>
                    <a:pt x="2294886" y="44450"/>
                  </a:cubicBezTo>
                  <a:cubicBezTo>
                    <a:pt x="2289806" y="44450"/>
                    <a:pt x="2285996" y="46355"/>
                    <a:pt x="2283456" y="49530"/>
                  </a:cubicBezTo>
                  <a:cubicBezTo>
                    <a:pt x="2280916" y="52705"/>
                    <a:pt x="2279646" y="57785"/>
                    <a:pt x="2279646" y="64770"/>
                  </a:cubicBezTo>
                  <a:lnTo>
                    <a:pt x="2279646" y="109220"/>
                  </a:lnTo>
                  <a:lnTo>
                    <a:pt x="2264406" y="109220"/>
                  </a:lnTo>
                  <a:lnTo>
                    <a:pt x="2264406" y="31115"/>
                  </a:lnTo>
                  <a:lnTo>
                    <a:pt x="2279646" y="31115"/>
                  </a:lnTo>
                  <a:lnTo>
                    <a:pt x="2279646" y="38735"/>
                  </a:lnTo>
                  <a:cubicBezTo>
                    <a:pt x="2279646" y="38735"/>
                    <a:pt x="2281551" y="36195"/>
                    <a:pt x="2282821" y="34925"/>
                  </a:cubicBezTo>
                  <a:cubicBezTo>
                    <a:pt x="2284091" y="33655"/>
                    <a:pt x="2285361" y="33020"/>
                    <a:pt x="2287266" y="31750"/>
                  </a:cubicBezTo>
                  <a:cubicBezTo>
                    <a:pt x="2288536" y="31115"/>
                    <a:pt x="2290441" y="30480"/>
                    <a:pt x="2292346" y="29845"/>
                  </a:cubicBezTo>
                  <a:cubicBezTo>
                    <a:pt x="2294251" y="29845"/>
                    <a:pt x="2296156" y="29210"/>
                    <a:pt x="2298061" y="29210"/>
                  </a:cubicBezTo>
                  <a:close/>
                  <a:moveTo>
                    <a:pt x="2216145" y="29210"/>
                  </a:moveTo>
                  <a:cubicBezTo>
                    <a:pt x="2221860" y="29210"/>
                    <a:pt x="2226305" y="30480"/>
                    <a:pt x="2230750" y="32385"/>
                  </a:cubicBezTo>
                  <a:cubicBezTo>
                    <a:pt x="2234560" y="34290"/>
                    <a:pt x="2238370" y="37465"/>
                    <a:pt x="2240910" y="40640"/>
                  </a:cubicBezTo>
                  <a:cubicBezTo>
                    <a:pt x="2243450" y="44450"/>
                    <a:pt x="2245355" y="48260"/>
                    <a:pt x="2247260" y="53340"/>
                  </a:cubicBezTo>
                  <a:cubicBezTo>
                    <a:pt x="2248530" y="57785"/>
                    <a:pt x="2249165" y="62865"/>
                    <a:pt x="2249165" y="68580"/>
                  </a:cubicBezTo>
                  <a:lnTo>
                    <a:pt x="2247895" y="68580"/>
                  </a:lnTo>
                  <a:cubicBezTo>
                    <a:pt x="2247895" y="68580"/>
                    <a:pt x="2247895" y="71120"/>
                    <a:pt x="2247895" y="72390"/>
                  </a:cubicBezTo>
                  <a:cubicBezTo>
                    <a:pt x="2247895" y="73660"/>
                    <a:pt x="2247895" y="74295"/>
                    <a:pt x="2247895" y="75565"/>
                  </a:cubicBezTo>
                  <a:lnTo>
                    <a:pt x="2196460" y="75565"/>
                  </a:lnTo>
                  <a:cubicBezTo>
                    <a:pt x="2196460" y="79375"/>
                    <a:pt x="2197730" y="82550"/>
                    <a:pt x="2199000" y="85090"/>
                  </a:cubicBezTo>
                  <a:cubicBezTo>
                    <a:pt x="2200270" y="87630"/>
                    <a:pt x="2201540" y="90170"/>
                    <a:pt x="2203445" y="91440"/>
                  </a:cubicBezTo>
                  <a:cubicBezTo>
                    <a:pt x="2205350" y="93345"/>
                    <a:pt x="2207255" y="94615"/>
                    <a:pt x="2209160" y="95250"/>
                  </a:cubicBezTo>
                  <a:cubicBezTo>
                    <a:pt x="2211065" y="95885"/>
                    <a:pt x="2213605" y="96520"/>
                    <a:pt x="2216145" y="96520"/>
                  </a:cubicBezTo>
                  <a:cubicBezTo>
                    <a:pt x="2218050" y="96520"/>
                    <a:pt x="2219320" y="96520"/>
                    <a:pt x="2221225" y="96520"/>
                  </a:cubicBezTo>
                  <a:cubicBezTo>
                    <a:pt x="2222495" y="96520"/>
                    <a:pt x="2224400" y="95885"/>
                    <a:pt x="2225670" y="95250"/>
                  </a:cubicBezTo>
                  <a:cubicBezTo>
                    <a:pt x="2226940" y="95250"/>
                    <a:pt x="2228210" y="93980"/>
                    <a:pt x="2229480" y="93345"/>
                  </a:cubicBezTo>
                  <a:cubicBezTo>
                    <a:pt x="2230750" y="93345"/>
                    <a:pt x="2232020" y="92075"/>
                    <a:pt x="2233925" y="90805"/>
                  </a:cubicBezTo>
                  <a:lnTo>
                    <a:pt x="2242815" y="100330"/>
                  </a:lnTo>
                  <a:cubicBezTo>
                    <a:pt x="2242815" y="100330"/>
                    <a:pt x="2239005" y="103505"/>
                    <a:pt x="2237100" y="104775"/>
                  </a:cubicBezTo>
                  <a:cubicBezTo>
                    <a:pt x="2235195" y="106045"/>
                    <a:pt x="2233290" y="106680"/>
                    <a:pt x="2231385" y="107950"/>
                  </a:cubicBezTo>
                  <a:cubicBezTo>
                    <a:pt x="2229480" y="108585"/>
                    <a:pt x="2226940" y="109855"/>
                    <a:pt x="2224400" y="109855"/>
                  </a:cubicBezTo>
                  <a:cubicBezTo>
                    <a:pt x="2221860" y="109855"/>
                    <a:pt x="2218685" y="110490"/>
                    <a:pt x="2215510" y="110490"/>
                  </a:cubicBezTo>
                  <a:cubicBezTo>
                    <a:pt x="2212335" y="110490"/>
                    <a:pt x="2209160" y="110490"/>
                    <a:pt x="2205985" y="109220"/>
                  </a:cubicBezTo>
                  <a:cubicBezTo>
                    <a:pt x="2202810" y="108585"/>
                    <a:pt x="2200270" y="107315"/>
                    <a:pt x="2198365" y="105410"/>
                  </a:cubicBezTo>
                  <a:cubicBezTo>
                    <a:pt x="2195825" y="104140"/>
                    <a:pt x="2193920" y="102235"/>
                    <a:pt x="2192015" y="100330"/>
                  </a:cubicBezTo>
                  <a:cubicBezTo>
                    <a:pt x="2190110" y="98425"/>
                    <a:pt x="2188205" y="95885"/>
                    <a:pt x="2186935" y="92710"/>
                  </a:cubicBezTo>
                  <a:cubicBezTo>
                    <a:pt x="2185030" y="89535"/>
                    <a:pt x="2183760" y="86360"/>
                    <a:pt x="2183125" y="82550"/>
                  </a:cubicBezTo>
                  <a:cubicBezTo>
                    <a:pt x="2182490" y="78740"/>
                    <a:pt x="2181855" y="74295"/>
                    <a:pt x="2181855" y="69850"/>
                  </a:cubicBezTo>
                  <a:cubicBezTo>
                    <a:pt x="2181855" y="63500"/>
                    <a:pt x="2182490" y="57150"/>
                    <a:pt x="2184395" y="52070"/>
                  </a:cubicBezTo>
                  <a:cubicBezTo>
                    <a:pt x="2186300" y="46990"/>
                    <a:pt x="2188205" y="42545"/>
                    <a:pt x="2191380" y="39370"/>
                  </a:cubicBezTo>
                  <a:cubicBezTo>
                    <a:pt x="2194555" y="36195"/>
                    <a:pt x="2197730" y="33020"/>
                    <a:pt x="2202175" y="31750"/>
                  </a:cubicBezTo>
                  <a:cubicBezTo>
                    <a:pt x="2206620" y="29845"/>
                    <a:pt x="2211065" y="29210"/>
                    <a:pt x="2216145" y="29210"/>
                  </a:cubicBezTo>
                  <a:close/>
                  <a:moveTo>
                    <a:pt x="2029456" y="29210"/>
                  </a:moveTo>
                  <a:cubicBezTo>
                    <a:pt x="2035171" y="29210"/>
                    <a:pt x="2039616" y="30480"/>
                    <a:pt x="2044061" y="32385"/>
                  </a:cubicBezTo>
                  <a:cubicBezTo>
                    <a:pt x="2047871" y="34290"/>
                    <a:pt x="2051681" y="37465"/>
                    <a:pt x="2054221" y="40640"/>
                  </a:cubicBezTo>
                  <a:cubicBezTo>
                    <a:pt x="2056761" y="44450"/>
                    <a:pt x="2058666" y="48260"/>
                    <a:pt x="2060571" y="53340"/>
                  </a:cubicBezTo>
                  <a:cubicBezTo>
                    <a:pt x="2061841" y="57785"/>
                    <a:pt x="2062476" y="62865"/>
                    <a:pt x="2062476" y="68580"/>
                  </a:cubicBezTo>
                  <a:lnTo>
                    <a:pt x="2061206" y="68580"/>
                  </a:lnTo>
                  <a:cubicBezTo>
                    <a:pt x="2061206" y="68580"/>
                    <a:pt x="2061206" y="71120"/>
                    <a:pt x="2061206" y="72390"/>
                  </a:cubicBezTo>
                  <a:cubicBezTo>
                    <a:pt x="2061206" y="73660"/>
                    <a:pt x="2061206" y="74295"/>
                    <a:pt x="2061206" y="75565"/>
                  </a:cubicBezTo>
                  <a:lnTo>
                    <a:pt x="2009771" y="75565"/>
                  </a:lnTo>
                  <a:cubicBezTo>
                    <a:pt x="2009771" y="79375"/>
                    <a:pt x="2011041" y="82550"/>
                    <a:pt x="2012311" y="85090"/>
                  </a:cubicBezTo>
                  <a:cubicBezTo>
                    <a:pt x="2013581" y="87630"/>
                    <a:pt x="2014851" y="90170"/>
                    <a:pt x="2016756" y="91440"/>
                  </a:cubicBezTo>
                  <a:cubicBezTo>
                    <a:pt x="2018661" y="93345"/>
                    <a:pt x="2020566" y="94615"/>
                    <a:pt x="2022471" y="95250"/>
                  </a:cubicBezTo>
                  <a:cubicBezTo>
                    <a:pt x="2024376" y="95885"/>
                    <a:pt x="2026916" y="96520"/>
                    <a:pt x="2029456" y="96520"/>
                  </a:cubicBezTo>
                  <a:cubicBezTo>
                    <a:pt x="2031361" y="96520"/>
                    <a:pt x="2032631" y="96520"/>
                    <a:pt x="2034536" y="96520"/>
                  </a:cubicBezTo>
                  <a:cubicBezTo>
                    <a:pt x="2035806" y="96520"/>
                    <a:pt x="2037711" y="95885"/>
                    <a:pt x="2038981" y="95250"/>
                  </a:cubicBezTo>
                  <a:cubicBezTo>
                    <a:pt x="2040251" y="95250"/>
                    <a:pt x="2041521" y="93980"/>
                    <a:pt x="2042791" y="93345"/>
                  </a:cubicBezTo>
                  <a:cubicBezTo>
                    <a:pt x="2044061" y="93345"/>
                    <a:pt x="2045331" y="92075"/>
                    <a:pt x="2047236" y="90805"/>
                  </a:cubicBezTo>
                  <a:lnTo>
                    <a:pt x="2056126" y="100330"/>
                  </a:lnTo>
                  <a:cubicBezTo>
                    <a:pt x="2056126" y="100330"/>
                    <a:pt x="2052316" y="103505"/>
                    <a:pt x="2050411" y="104775"/>
                  </a:cubicBezTo>
                  <a:cubicBezTo>
                    <a:pt x="2048506" y="106045"/>
                    <a:pt x="2046601" y="106680"/>
                    <a:pt x="2044696" y="107950"/>
                  </a:cubicBezTo>
                  <a:cubicBezTo>
                    <a:pt x="2042791" y="108585"/>
                    <a:pt x="2040251" y="109855"/>
                    <a:pt x="2037711" y="109855"/>
                  </a:cubicBezTo>
                  <a:cubicBezTo>
                    <a:pt x="2035171" y="109855"/>
                    <a:pt x="2031996" y="110490"/>
                    <a:pt x="2028821" y="110490"/>
                  </a:cubicBezTo>
                  <a:cubicBezTo>
                    <a:pt x="2025646" y="110490"/>
                    <a:pt x="2022471" y="110490"/>
                    <a:pt x="2019296" y="109220"/>
                  </a:cubicBezTo>
                  <a:cubicBezTo>
                    <a:pt x="2016121" y="108585"/>
                    <a:pt x="2013581" y="107315"/>
                    <a:pt x="2011676" y="105410"/>
                  </a:cubicBezTo>
                  <a:cubicBezTo>
                    <a:pt x="2009136" y="104140"/>
                    <a:pt x="2007231" y="102235"/>
                    <a:pt x="2005326" y="100330"/>
                  </a:cubicBezTo>
                  <a:cubicBezTo>
                    <a:pt x="2003421" y="98425"/>
                    <a:pt x="2001516" y="95885"/>
                    <a:pt x="2000246" y="92710"/>
                  </a:cubicBezTo>
                  <a:cubicBezTo>
                    <a:pt x="1998341" y="89535"/>
                    <a:pt x="1997071" y="86360"/>
                    <a:pt x="1996436" y="82550"/>
                  </a:cubicBezTo>
                  <a:cubicBezTo>
                    <a:pt x="1995801" y="78740"/>
                    <a:pt x="1995166" y="74295"/>
                    <a:pt x="1995166" y="69850"/>
                  </a:cubicBezTo>
                  <a:cubicBezTo>
                    <a:pt x="1995166" y="63500"/>
                    <a:pt x="1995801" y="57150"/>
                    <a:pt x="1997706" y="52070"/>
                  </a:cubicBezTo>
                  <a:cubicBezTo>
                    <a:pt x="1999611" y="46990"/>
                    <a:pt x="2001516" y="42545"/>
                    <a:pt x="2004691" y="39370"/>
                  </a:cubicBezTo>
                  <a:cubicBezTo>
                    <a:pt x="2007866" y="36195"/>
                    <a:pt x="2011041" y="33020"/>
                    <a:pt x="2015486" y="31750"/>
                  </a:cubicBezTo>
                  <a:cubicBezTo>
                    <a:pt x="2019931" y="29845"/>
                    <a:pt x="2024376" y="29210"/>
                    <a:pt x="2029456" y="29210"/>
                  </a:cubicBezTo>
                  <a:close/>
                  <a:moveTo>
                    <a:pt x="1831336" y="29210"/>
                  </a:moveTo>
                  <a:cubicBezTo>
                    <a:pt x="1837051" y="29210"/>
                    <a:pt x="1841496" y="30480"/>
                    <a:pt x="1845941" y="32385"/>
                  </a:cubicBezTo>
                  <a:cubicBezTo>
                    <a:pt x="1849751" y="34290"/>
                    <a:pt x="1853561" y="37465"/>
                    <a:pt x="1856101" y="40640"/>
                  </a:cubicBezTo>
                  <a:cubicBezTo>
                    <a:pt x="1858641" y="44450"/>
                    <a:pt x="1860546" y="48260"/>
                    <a:pt x="1862451" y="53340"/>
                  </a:cubicBezTo>
                  <a:cubicBezTo>
                    <a:pt x="1863721" y="57785"/>
                    <a:pt x="1864356" y="62865"/>
                    <a:pt x="1864356" y="68580"/>
                  </a:cubicBezTo>
                  <a:lnTo>
                    <a:pt x="1863086" y="68580"/>
                  </a:lnTo>
                  <a:cubicBezTo>
                    <a:pt x="1863086" y="68580"/>
                    <a:pt x="1863086" y="71120"/>
                    <a:pt x="1863086" y="72390"/>
                  </a:cubicBezTo>
                  <a:cubicBezTo>
                    <a:pt x="1863086" y="73660"/>
                    <a:pt x="1863086" y="74295"/>
                    <a:pt x="1863086" y="75565"/>
                  </a:cubicBezTo>
                  <a:lnTo>
                    <a:pt x="1811651" y="75565"/>
                  </a:lnTo>
                  <a:cubicBezTo>
                    <a:pt x="1811651" y="79375"/>
                    <a:pt x="1812921" y="82550"/>
                    <a:pt x="1814191" y="85090"/>
                  </a:cubicBezTo>
                  <a:cubicBezTo>
                    <a:pt x="1815461" y="87630"/>
                    <a:pt x="1816731" y="90170"/>
                    <a:pt x="1818636" y="91440"/>
                  </a:cubicBezTo>
                  <a:cubicBezTo>
                    <a:pt x="1820541" y="93345"/>
                    <a:pt x="1822446" y="94615"/>
                    <a:pt x="1824351" y="95250"/>
                  </a:cubicBezTo>
                  <a:cubicBezTo>
                    <a:pt x="1826256" y="95885"/>
                    <a:pt x="1828796" y="96520"/>
                    <a:pt x="1831336" y="96520"/>
                  </a:cubicBezTo>
                  <a:cubicBezTo>
                    <a:pt x="1833241" y="96520"/>
                    <a:pt x="1834511" y="96520"/>
                    <a:pt x="1836416" y="96520"/>
                  </a:cubicBezTo>
                  <a:cubicBezTo>
                    <a:pt x="1837686" y="96520"/>
                    <a:pt x="1839591" y="95885"/>
                    <a:pt x="1840861" y="95250"/>
                  </a:cubicBezTo>
                  <a:cubicBezTo>
                    <a:pt x="1842131" y="95250"/>
                    <a:pt x="1843401" y="93980"/>
                    <a:pt x="1844671" y="93345"/>
                  </a:cubicBezTo>
                  <a:cubicBezTo>
                    <a:pt x="1845941" y="93345"/>
                    <a:pt x="1847211" y="92075"/>
                    <a:pt x="1849116" y="90805"/>
                  </a:cubicBezTo>
                  <a:lnTo>
                    <a:pt x="1858006" y="100330"/>
                  </a:lnTo>
                  <a:cubicBezTo>
                    <a:pt x="1858006" y="100330"/>
                    <a:pt x="1854196" y="103505"/>
                    <a:pt x="1852291" y="104775"/>
                  </a:cubicBezTo>
                  <a:cubicBezTo>
                    <a:pt x="1850386" y="106045"/>
                    <a:pt x="1848481" y="106680"/>
                    <a:pt x="1846576" y="107950"/>
                  </a:cubicBezTo>
                  <a:cubicBezTo>
                    <a:pt x="1844671" y="108585"/>
                    <a:pt x="1842131" y="109855"/>
                    <a:pt x="1839591" y="109855"/>
                  </a:cubicBezTo>
                  <a:cubicBezTo>
                    <a:pt x="1837051" y="109855"/>
                    <a:pt x="1833876" y="110490"/>
                    <a:pt x="1830701" y="110490"/>
                  </a:cubicBezTo>
                  <a:cubicBezTo>
                    <a:pt x="1827526" y="110490"/>
                    <a:pt x="1824351" y="110490"/>
                    <a:pt x="1821176" y="109220"/>
                  </a:cubicBezTo>
                  <a:cubicBezTo>
                    <a:pt x="1818001" y="108585"/>
                    <a:pt x="1815461" y="107315"/>
                    <a:pt x="1813556" y="105410"/>
                  </a:cubicBezTo>
                  <a:cubicBezTo>
                    <a:pt x="1811016" y="104140"/>
                    <a:pt x="1809111" y="102235"/>
                    <a:pt x="1807206" y="100330"/>
                  </a:cubicBezTo>
                  <a:cubicBezTo>
                    <a:pt x="1805301" y="98425"/>
                    <a:pt x="1803396" y="95885"/>
                    <a:pt x="1802126" y="92710"/>
                  </a:cubicBezTo>
                  <a:cubicBezTo>
                    <a:pt x="1800221" y="89535"/>
                    <a:pt x="1798951" y="86360"/>
                    <a:pt x="1798316" y="82550"/>
                  </a:cubicBezTo>
                  <a:cubicBezTo>
                    <a:pt x="1797681" y="78740"/>
                    <a:pt x="1797046" y="74295"/>
                    <a:pt x="1797046" y="69850"/>
                  </a:cubicBezTo>
                  <a:cubicBezTo>
                    <a:pt x="1797046" y="63500"/>
                    <a:pt x="1797681" y="57150"/>
                    <a:pt x="1799586" y="52070"/>
                  </a:cubicBezTo>
                  <a:cubicBezTo>
                    <a:pt x="1801491" y="46990"/>
                    <a:pt x="1803396" y="42545"/>
                    <a:pt x="1806571" y="39370"/>
                  </a:cubicBezTo>
                  <a:cubicBezTo>
                    <a:pt x="1809746" y="36195"/>
                    <a:pt x="1812921" y="33020"/>
                    <a:pt x="1817366" y="31750"/>
                  </a:cubicBezTo>
                  <a:cubicBezTo>
                    <a:pt x="1821811" y="29845"/>
                    <a:pt x="1826256" y="29210"/>
                    <a:pt x="1831336" y="29210"/>
                  </a:cubicBezTo>
                  <a:close/>
                  <a:moveTo>
                    <a:pt x="1501140" y="29210"/>
                  </a:moveTo>
                  <a:cubicBezTo>
                    <a:pt x="1503046" y="29210"/>
                    <a:pt x="1504951" y="29210"/>
                    <a:pt x="1506856" y="29210"/>
                  </a:cubicBezTo>
                  <a:cubicBezTo>
                    <a:pt x="1511301" y="29210"/>
                    <a:pt x="1515746" y="29845"/>
                    <a:pt x="1518920" y="31750"/>
                  </a:cubicBezTo>
                  <a:cubicBezTo>
                    <a:pt x="1522096" y="33020"/>
                    <a:pt x="1525271" y="35560"/>
                    <a:pt x="1527811" y="38100"/>
                  </a:cubicBezTo>
                  <a:cubicBezTo>
                    <a:pt x="1530351" y="41275"/>
                    <a:pt x="1531621" y="44450"/>
                    <a:pt x="1532891" y="48895"/>
                  </a:cubicBezTo>
                  <a:cubicBezTo>
                    <a:pt x="1534161" y="53340"/>
                    <a:pt x="1534796" y="58420"/>
                    <a:pt x="1534796" y="64135"/>
                  </a:cubicBezTo>
                  <a:lnTo>
                    <a:pt x="1534796" y="108585"/>
                  </a:lnTo>
                  <a:lnTo>
                    <a:pt x="1519556" y="108585"/>
                  </a:lnTo>
                  <a:lnTo>
                    <a:pt x="1518920" y="108585"/>
                  </a:lnTo>
                  <a:lnTo>
                    <a:pt x="1518920" y="64770"/>
                  </a:lnTo>
                  <a:cubicBezTo>
                    <a:pt x="1518920" y="57785"/>
                    <a:pt x="1517651" y="52070"/>
                    <a:pt x="1515111" y="48895"/>
                  </a:cubicBezTo>
                  <a:cubicBezTo>
                    <a:pt x="1512571" y="45085"/>
                    <a:pt x="1508761" y="43180"/>
                    <a:pt x="1503046" y="43180"/>
                  </a:cubicBezTo>
                  <a:cubicBezTo>
                    <a:pt x="1500506" y="43180"/>
                    <a:pt x="1498601" y="43180"/>
                    <a:pt x="1496061" y="44450"/>
                  </a:cubicBezTo>
                  <a:cubicBezTo>
                    <a:pt x="1494156" y="45085"/>
                    <a:pt x="1492250" y="46990"/>
                    <a:pt x="1490981" y="48260"/>
                  </a:cubicBezTo>
                  <a:cubicBezTo>
                    <a:pt x="1489711" y="50165"/>
                    <a:pt x="1488441" y="52070"/>
                    <a:pt x="1487806" y="54610"/>
                  </a:cubicBezTo>
                  <a:cubicBezTo>
                    <a:pt x="1487806" y="57150"/>
                    <a:pt x="1487170" y="59690"/>
                    <a:pt x="1487170" y="62865"/>
                  </a:cubicBezTo>
                  <a:lnTo>
                    <a:pt x="1487170" y="108585"/>
                  </a:lnTo>
                  <a:lnTo>
                    <a:pt x="1471931" y="108585"/>
                  </a:lnTo>
                  <a:lnTo>
                    <a:pt x="1471931" y="30480"/>
                  </a:lnTo>
                  <a:lnTo>
                    <a:pt x="1487170" y="30480"/>
                  </a:lnTo>
                  <a:lnTo>
                    <a:pt x="1487170" y="38100"/>
                  </a:lnTo>
                  <a:cubicBezTo>
                    <a:pt x="1487170" y="38100"/>
                    <a:pt x="1489076" y="35560"/>
                    <a:pt x="1490981" y="34290"/>
                  </a:cubicBezTo>
                  <a:cubicBezTo>
                    <a:pt x="1492250" y="33020"/>
                    <a:pt x="1494156" y="32385"/>
                    <a:pt x="1495426" y="31115"/>
                  </a:cubicBezTo>
                  <a:cubicBezTo>
                    <a:pt x="1497331" y="30480"/>
                    <a:pt x="1499236" y="29845"/>
                    <a:pt x="1501140" y="29210"/>
                  </a:cubicBezTo>
                  <a:close/>
                  <a:moveTo>
                    <a:pt x="1250316" y="29210"/>
                  </a:moveTo>
                  <a:cubicBezTo>
                    <a:pt x="1255396" y="29210"/>
                    <a:pt x="1259841" y="29845"/>
                    <a:pt x="1264286" y="31750"/>
                  </a:cubicBezTo>
                  <a:cubicBezTo>
                    <a:pt x="1268731" y="33655"/>
                    <a:pt x="1273176" y="35560"/>
                    <a:pt x="1276350" y="38100"/>
                  </a:cubicBezTo>
                  <a:lnTo>
                    <a:pt x="1278256" y="38100"/>
                  </a:lnTo>
                  <a:lnTo>
                    <a:pt x="1271271" y="50165"/>
                  </a:lnTo>
                  <a:cubicBezTo>
                    <a:pt x="1268095" y="47625"/>
                    <a:pt x="1264921" y="46355"/>
                    <a:pt x="1261746" y="45085"/>
                  </a:cubicBezTo>
                  <a:cubicBezTo>
                    <a:pt x="1258570" y="43815"/>
                    <a:pt x="1254761" y="43180"/>
                    <a:pt x="1250951" y="43180"/>
                  </a:cubicBezTo>
                  <a:cubicBezTo>
                    <a:pt x="1247141" y="43180"/>
                    <a:pt x="1244601" y="43815"/>
                    <a:pt x="1242696" y="45085"/>
                  </a:cubicBezTo>
                  <a:cubicBezTo>
                    <a:pt x="1240791" y="46355"/>
                    <a:pt x="1240156" y="48260"/>
                    <a:pt x="1240156" y="50165"/>
                  </a:cubicBezTo>
                  <a:cubicBezTo>
                    <a:pt x="1240156" y="51435"/>
                    <a:pt x="1240156" y="52070"/>
                    <a:pt x="1240156" y="52705"/>
                  </a:cubicBezTo>
                  <a:cubicBezTo>
                    <a:pt x="1240156" y="53340"/>
                    <a:pt x="1241426" y="54610"/>
                    <a:pt x="1242061" y="55245"/>
                  </a:cubicBezTo>
                  <a:cubicBezTo>
                    <a:pt x="1243331" y="55880"/>
                    <a:pt x="1244601" y="57150"/>
                    <a:pt x="1246506" y="57785"/>
                  </a:cubicBezTo>
                  <a:cubicBezTo>
                    <a:pt x="1248411" y="59055"/>
                    <a:pt x="1250951" y="59690"/>
                    <a:pt x="1253491" y="60960"/>
                  </a:cubicBezTo>
                  <a:cubicBezTo>
                    <a:pt x="1257936" y="62865"/>
                    <a:pt x="1261746" y="64135"/>
                    <a:pt x="1264921" y="66040"/>
                  </a:cubicBezTo>
                  <a:cubicBezTo>
                    <a:pt x="1268095" y="67310"/>
                    <a:pt x="1270635" y="69215"/>
                    <a:pt x="1273176" y="71120"/>
                  </a:cubicBezTo>
                  <a:cubicBezTo>
                    <a:pt x="1275080" y="73025"/>
                    <a:pt x="1276985" y="75565"/>
                    <a:pt x="1278256" y="78105"/>
                  </a:cubicBezTo>
                  <a:cubicBezTo>
                    <a:pt x="1279525" y="80645"/>
                    <a:pt x="1280161" y="83820"/>
                    <a:pt x="1280161" y="87630"/>
                  </a:cubicBezTo>
                  <a:cubicBezTo>
                    <a:pt x="1280161" y="92075"/>
                    <a:pt x="1279525" y="95250"/>
                    <a:pt x="1277621" y="98425"/>
                  </a:cubicBezTo>
                  <a:cubicBezTo>
                    <a:pt x="1275716" y="101600"/>
                    <a:pt x="1273811" y="103505"/>
                    <a:pt x="1271271" y="105410"/>
                  </a:cubicBezTo>
                  <a:cubicBezTo>
                    <a:pt x="1268731" y="107315"/>
                    <a:pt x="1265556" y="108585"/>
                    <a:pt x="1261746" y="109220"/>
                  </a:cubicBezTo>
                  <a:cubicBezTo>
                    <a:pt x="1257936" y="109855"/>
                    <a:pt x="1254761" y="110490"/>
                    <a:pt x="1250951" y="110490"/>
                  </a:cubicBezTo>
                  <a:cubicBezTo>
                    <a:pt x="1245871" y="110490"/>
                    <a:pt x="1240791" y="109855"/>
                    <a:pt x="1235711" y="107950"/>
                  </a:cubicBezTo>
                  <a:cubicBezTo>
                    <a:pt x="1229996" y="106045"/>
                    <a:pt x="1225551" y="103505"/>
                    <a:pt x="1221106" y="100965"/>
                  </a:cubicBezTo>
                  <a:lnTo>
                    <a:pt x="1228091" y="89535"/>
                  </a:lnTo>
                  <a:cubicBezTo>
                    <a:pt x="1231901" y="92075"/>
                    <a:pt x="1235711" y="93980"/>
                    <a:pt x="1239521" y="95250"/>
                  </a:cubicBezTo>
                  <a:cubicBezTo>
                    <a:pt x="1243331" y="96520"/>
                    <a:pt x="1247141" y="97155"/>
                    <a:pt x="1250951" y="97155"/>
                  </a:cubicBezTo>
                  <a:cubicBezTo>
                    <a:pt x="1256031" y="97155"/>
                    <a:pt x="1259205" y="96520"/>
                    <a:pt x="1261746" y="94615"/>
                  </a:cubicBezTo>
                  <a:cubicBezTo>
                    <a:pt x="1264286" y="93345"/>
                    <a:pt x="1264921" y="90805"/>
                    <a:pt x="1264921" y="88265"/>
                  </a:cubicBezTo>
                  <a:cubicBezTo>
                    <a:pt x="1264921" y="86995"/>
                    <a:pt x="1264921" y="85725"/>
                    <a:pt x="1263650" y="84455"/>
                  </a:cubicBezTo>
                  <a:cubicBezTo>
                    <a:pt x="1263015" y="83185"/>
                    <a:pt x="1261746" y="82550"/>
                    <a:pt x="1259841" y="81280"/>
                  </a:cubicBezTo>
                  <a:cubicBezTo>
                    <a:pt x="1258570" y="80010"/>
                    <a:pt x="1256666" y="79375"/>
                    <a:pt x="1254125" y="78105"/>
                  </a:cubicBezTo>
                  <a:cubicBezTo>
                    <a:pt x="1252221" y="77470"/>
                    <a:pt x="1249681" y="76200"/>
                    <a:pt x="1246506" y="74930"/>
                  </a:cubicBezTo>
                  <a:cubicBezTo>
                    <a:pt x="1242061" y="73025"/>
                    <a:pt x="1238886" y="71755"/>
                    <a:pt x="1235711" y="69850"/>
                  </a:cubicBezTo>
                  <a:cubicBezTo>
                    <a:pt x="1232536" y="67945"/>
                    <a:pt x="1230631" y="66675"/>
                    <a:pt x="1228726" y="64770"/>
                  </a:cubicBezTo>
                  <a:cubicBezTo>
                    <a:pt x="1226821" y="62865"/>
                    <a:pt x="1225551" y="60960"/>
                    <a:pt x="1224916" y="58420"/>
                  </a:cubicBezTo>
                  <a:cubicBezTo>
                    <a:pt x="1224281" y="55880"/>
                    <a:pt x="1223646" y="53340"/>
                    <a:pt x="1223646" y="50165"/>
                  </a:cubicBezTo>
                  <a:cubicBezTo>
                    <a:pt x="1223646" y="46990"/>
                    <a:pt x="1224281" y="43815"/>
                    <a:pt x="1225551" y="40640"/>
                  </a:cubicBezTo>
                  <a:cubicBezTo>
                    <a:pt x="1226821" y="38100"/>
                    <a:pt x="1228726" y="35560"/>
                    <a:pt x="1231266" y="34290"/>
                  </a:cubicBezTo>
                  <a:cubicBezTo>
                    <a:pt x="1233806" y="32385"/>
                    <a:pt x="1236346" y="31115"/>
                    <a:pt x="1239521" y="30480"/>
                  </a:cubicBezTo>
                  <a:cubicBezTo>
                    <a:pt x="1242696" y="29845"/>
                    <a:pt x="1246506" y="29210"/>
                    <a:pt x="1250316" y="29210"/>
                  </a:cubicBezTo>
                  <a:close/>
                  <a:moveTo>
                    <a:pt x="1180466" y="29210"/>
                  </a:moveTo>
                  <a:cubicBezTo>
                    <a:pt x="1186181" y="29210"/>
                    <a:pt x="1190626" y="30480"/>
                    <a:pt x="1195071" y="32385"/>
                  </a:cubicBezTo>
                  <a:cubicBezTo>
                    <a:pt x="1198881" y="34290"/>
                    <a:pt x="1202691" y="37465"/>
                    <a:pt x="1205231" y="40640"/>
                  </a:cubicBezTo>
                  <a:cubicBezTo>
                    <a:pt x="1207771" y="44450"/>
                    <a:pt x="1209676" y="48260"/>
                    <a:pt x="1211581" y="53340"/>
                  </a:cubicBezTo>
                  <a:cubicBezTo>
                    <a:pt x="1212851" y="57785"/>
                    <a:pt x="1213486" y="62865"/>
                    <a:pt x="1213486" y="68580"/>
                  </a:cubicBezTo>
                  <a:lnTo>
                    <a:pt x="1212216" y="68580"/>
                  </a:lnTo>
                  <a:cubicBezTo>
                    <a:pt x="1212216" y="68580"/>
                    <a:pt x="1212216" y="71120"/>
                    <a:pt x="1212216" y="72390"/>
                  </a:cubicBezTo>
                  <a:cubicBezTo>
                    <a:pt x="1212216" y="73660"/>
                    <a:pt x="1212216" y="74295"/>
                    <a:pt x="1212216" y="75565"/>
                  </a:cubicBezTo>
                  <a:lnTo>
                    <a:pt x="1160781" y="75565"/>
                  </a:lnTo>
                  <a:cubicBezTo>
                    <a:pt x="1160781" y="79375"/>
                    <a:pt x="1162051" y="82550"/>
                    <a:pt x="1163321" y="85090"/>
                  </a:cubicBezTo>
                  <a:cubicBezTo>
                    <a:pt x="1164591" y="87630"/>
                    <a:pt x="1165861" y="90170"/>
                    <a:pt x="1167766" y="91440"/>
                  </a:cubicBezTo>
                  <a:cubicBezTo>
                    <a:pt x="1169671" y="93345"/>
                    <a:pt x="1171576" y="94615"/>
                    <a:pt x="1173481" y="95250"/>
                  </a:cubicBezTo>
                  <a:cubicBezTo>
                    <a:pt x="1175386" y="95885"/>
                    <a:pt x="1177926" y="96520"/>
                    <a:pt x="1180466" y="96520"/>
                  </a:cubicBezTo>
                  <a:cubicBezTo>
                    <a:pt x="1182371" y="96520"/>
                    <a:pt x="1183641" y="96520"/>
                    <a:pt x="1185546" y="96520"/>
                  </a:cubicBezTo>
                  <a:cubicBezTo>
                    <a:pt x="1186816" y="96520"/>
                    <a:pt x="1188721" y="95885"/>
                    <a:pt x="1189991" y="95250"/>
                  </a:cubicBezTo>
                  <a:cubicBezTo>
                    <a:pt x="1191261" y="95250"/>
                    <a:pt x="1192531" y="93980"/>
                    <a:pt x="1193801" y="93345"/>
                  </a:cubicBezTo>
                  <a:cubicBezTo>
                    <a:pt x="1195071" y="93345"/>
                    <a:pt x="1196341" y="92075"/>
                    <a:pt x="1198246" y="90805"/>
                  </a:cubicBezTo>
                  <a:lnTo>
                    <a:pt x="1207136" y="100330"/>
                  </a:lnTo>
                  <a:cubicBezTo>
                    <a:pt x="1207136" y="100330"/>
                    <a:pt x="1203326" y="103505"/>
                    <a:pt x="1201421" y="104775"/>
                  </a:cubicBezTo>
                  <a:cubicBezTo>
                    <a:pt x="1199516" y="106045"/>
                    <a:pt x="1197611" y="106680"/>
                    <a:pt x="1195706" y="107950"/>
                  </a:cubicBezTo>
                  <a:cubicBezTo>
                    <a:pt x="1193801" y="108585"/>
                    <a:pt x="1191261" y="109855"/>
                    <a:pt x="1188721" y="109855"/>
                  </a:cubicBezTo>
                  <a:cubicBezTo>
                    <a:pt x="1186181" y="109855"/>
                    <a:pt x="1183006" y="110490"/>
                    <a:pt x="1179831" y="110490"/>
                  </a:cubicBezTo>
                  <a:cubicBezTo>
                    <a:pt x="1176656" y="110490"/>
                    <a:pt x="1173481" y="110490"/>
                    <a:pt x="1170306" y="109220"/>
                  </a:cubicBezTo>
                  <a:cubicBezTo>
                    <a:pt x="1167131" y="108585"/>
                    <a:pt x="1164591" y="107315"/>
                    <a:pt x="1162686" y="105410"/>
                  </a:cubicBezTo>
                  <a:cubicBezTo>
                    <a:pt x="1160781" y="103505"/>
                    <a:pt x="1158241" y="102235"/>
                    <a:pt x="1156336" y="100330"/>
                  </a:cubicBezTo>
                  <a:cubicBezTo>
                    <a:pt x="1154431" y="98425"/>
                    <a:pt x="1152526" y="95885"/>
                    <a:pt x="1151256" y="92710"/>
                  </a:cubicBezTo>
                  <a:cubicBezTo>
                    <a:pt x="1149351" y="89535"/>
                    <a:pt x="1148081" y="86360"/>
                    <a:pt x="1147446" y="82550"/>
                  </a:cubicBezTo>
                  <a:cubicBezTo>
                    <a:pt x="1146811" y="78740"/>
                    <a:pt x="1146176" y="74295"/>
                    <a:pt x="1146176" y="69850"/>
                  </a:cubicBezTo>
                  <a:cubicBezTo>
                    <a:pt x="1146176" y="63500"/>
                    <a:pt x="1146811" y="57150"/>
                    <a:pt x="1148716" y="52070"/>
                  </a:cubicBezTo>
                  <a:cubicBezTo>
                    <a:pt x="1150621" y="46990"/>
                    <a:pt x="1152526" y="42545"/>
                    <a:pt x="1155701" y="39370"/>
                  </a:cubicBezTo>
                  <a:cubicBezTo>
                    <a:pt x="1158876" y="36195"/>
                    <a:pt x="1162051" y="33020"/>
                    <a:pt x="1166496" y="31750"/>
                  </a:cubicBezTo>
                  <a:cubicBezTo>
                    <a:pt x="1170941" y="29845"/>
                    <a:pt x="1175386" y="29210"/>
                    <a:pt x="1180466" y="29210"/>
                  </a:cubicBezTo>
                  <a:close/>
                  <a:moveTo>
                    <a:pt x="901065" y="29210"/>
                  </a:moveTo>
                  <a:cubicBezTo>
                    <a:pt x="906780" y="29210"/>
                    <a:pt x="911225" y="30480"/>
                    <a:pt x="915670" y="32385"/>
                  </a:cubicBezTo>
                  <a:cubicBezTo>
                    <a:pt x="919480" y="34290"/>
                    <a:pt x="923290" y="37465"/>
                    <a:pt x="925830" y="40640"/>
                  </a:cubicBezTo>
                  <a:cubicBezTo>
                    <a:pt x="928370" y="44450"/>
                    <a:pt x="930275" y="48260"/>
                    <a:pt x="932180" y="53340"/>
                  </a:cubicBezTo>
                  <a:cubicBezTo>
                    <a:pt x="933450" y="57785"/>
                    <a:pt x="934085" y="62865"/>
                    <a:pt x="934085" y="68580"/>
                  </a:cubicBezTo>
                  <a:lnTo>
                    <a:pt x="932815" y="68580"/>
                  </a:lnTo>
                  <a:cubicBezTo>
                    <a:pt x="932815" y="68580"/>
                    <a:pt x="932815" y="71120"/>
                    <a:pt x="932815" y="72390"/>
                  </a:cubicBezTo>
                  <a:cubicBezTo>
                    <a:pt x="932815" y="73660"/>
                    <a:pt x="932815" y="74295"/>
                    <a:pt x="932815" y="75565"/>
                  </a:cubicBezTo>
                  <a:lnTo>
                    <a:pt x="881380" y="75565"/>
                  </a:lnTo>
                  <a:cubicBezTo>
                    <a:pt x="881380" y="79375"/>
                    <a:pt x="882650" y="82550"/>
                    <a:pt x="883920" y="85090"/>
                  </a:cubicBezTo>
                  <a:cubicBezTo>
                    <a:pt x="885190" y="87630"/>
                    <a:pt x="886460" y="90170"/>
                    <a:pt x="888365" y="91440"/>
                  </a:cubicBezTo>
                  <a:cubicBezTo>
                    <a:pt x="890270" y="93345"/>
                    <a:pt x="892175" y="94615"/>
                    <a:pt x="894080" y="95250"/>
                  </a:cubicBezTo>
                  <a:cubicBezTo>
                    <a:pt x="895985" y="95885"/>
                    <a:pt x="898525" y="96520"/>
                    <a:pt x="901065" y="96520"/>
                  </a:cubicBezTo>
                  <a:cubicBezTo>
                    <a:pt x="902970" y="96520"/>
                    <a:pt x="904240" y="96520"/>
                    <a:pt x="906145" y="96520"/>
                  </a:cubicBezTo>
                  <a:cubicBezTo>
                    <a:pt x="907415" y="96520"/>
                    <a:pt x="909320" y="95885"/>
                    <a:pt x="910590" y="95250"/>
                  </a:cubicBezTo>
                  <a:cubicBezTo>
                    <a:pt x="911860" y="95250"/>
                    <a:pt x="913130" y="93980"/>
                    <a:pt x="914400" y="93345"/>
                  </a:cubicBezTo>
                  <a:cubicBezTo>
                    <a:pt x="915670" y="93345"/>
                    <a:pt x="916940" y="92075"/>
                    <a:pt x="918845" y="90805"/>
                  </a:cubicBezTo>
                  <a:lnTo>
                    <a:pt x="927735" y="100330"/>
                  </a:lnTo>
                  <a:cubicBezTo>
                    <a:pt x="927735" y="100330"/>
                    <a:pt x="923925" y="103505"/>
                    <a:pt x="922020" y="104775"/>
                  </a:cubicBezTo>
                  <a:cubicBezTo>
                    <a:pt x="920115" y="106045"/>
                    <a:pt x="918210" y="106680"/>
                    <a:pt x="916305" y="107950"/>
                  </a:cubicBezTo>
                  <a:cubicBezTo>
                    <a:pt x="914400" y="108585"/>
                    <a:pt x="911860" y="109855"/>
                    <a:pt x="909320" y="109855"/>
                  </a:cubicBezTo>
                  <a:cubicBezTo>
                    <a:pt x="906780" y="109855"/>
                    <a:pt x="903605" y="110490"/>
                    <a:pt x="900430" y="110490"/>
                  </a:cubicBezTo>
                  <a:cubicBezTo>
                    <a:pt x="897255" y="110490"/>
                    <a:pt x="894080" y="110490"/>
                    <a:pt x="890905" y="109220"/>
                  </a:cubicBezTo>
                  <a:cubicBezTo>
                    <a:pt x="887730" y="108585"/>
                    <a:pt x="885190" y="107315"/>
                    <a:pt x="883285" y="105410"/>
                  </a:cubicBezTo>
                  <a:cubicBezTo>
                    <a:pt x="881380" y="103505"/>
                    <a:pt x="878840" y="102235"/>
                    <a:pt x="876935" y="100330"/>
                  </a:cubicBezTo>
                  <a:cubicBezTo>
                    <a:pt x="875030" y="98425"/>
                    <a:pt x="873125" y="95885"/>
                    <a:pt x="871855" y="92710"/>
                  </a:cubicBezTo>
                  <a:cubicBezTo>
                    <a:pt x="869950" y="89535"/>
                    <a:pt x="868680" y="86360"/>
                    <a:pt x="868045" y="82550"/>
                  </a:cubicBezTo>
                  <a:cubicBezTo>
                    <a:pt x="867410" y="78740"/>
                    <a:pt x="866775" y="74295"/>
                    <a:pt x="866775" y="69850"/>
                  </a:cubicBezTo>
                  <a:cubicBezTo>
                    <a:pt x="866775" y="63500"/>
                    <a:pt x="867410" y="57150"/>
                    <a:pt x="869315" y="52070"/>
                  </a:cubicBezTo>
                  <a:cubicBezTo>
                    <a:pt x="871220" y="46990"/>
                    <a:pt x="873125" y="42545"/>
                    <a:pt x="876300" y="39370"/>
                  </a:cubicBezTo>
                  <a:cubicBezTo>
                    <a:pt x="879475" y="36195"/>
                    <a:pt x="882650" y="33020"/>
                    <a:pt x="887095" y="31750"/>
                  </a:cubicBezTo>
                  <a:cubicBezTo>
                    <a:pt x="891540" y="29845"/>
                    <a:pt x="895985" y="29210"/>
                    <a:pt x="901065" y="29210"/>
                  </a:cubicBezTo>
                  <a:close/>
                  <a:moveTo>
                    <a:pt x="668656" y="29210"/>
                  </a:moveTo>
                  <a:cubicBezTo>
                    <a:pt x="671830" y="29210"/>
                    <a:pt x="674370" y="29210"/>
                    <a:pt x="676275" y="29845"/>
                  </a:cubicBezTo>
                  <a:cubicBezTo>
                    <a:pt x="678181" y="29845"/>
                    <a:pt x="680086" y="31115"/>
                    <a:pt x="681991" y="32385"/>
                  </a:cubicBezTo>
                  <a:lnTo>
                    <a:pt x="678181" y="46990"/>
                  </a:lnTo>
                  <a:lnTo>
                    <a:pt x="676910" y="46990"/>
                  </a:lnTo>
                  <a:cubicBezTo>
                    <a:pt x="676910" y="46990"/>
                    <a:pt x="673736" y="45085"/>
                    <a:pt x="671830" y="45085"/>
                  </a:cubicBezTo>
                  <a:cubicBezTo>
                    <a:pt x="669925" y="45085"/>
                    <a:pt x="668020" y="44450"/>
                    <a:pt x="665480" y="44450"/>
                  </a:cubicBezTo>
                  <a:cubicBezTo>
                    <a:pt x="660400" y="44450"/>
                    <a:pt x="656590" y="46355"/>
                    <a:pt x="654050" y="49530"/>
                  </a:cubicBezTo>
                  <a:cubicBezTo>
                    <a:pt x="651510" y="52705"/>
                    <a:pt x="650240" y="57785"/>
                    <a:pt x="650240" y="64770"/>
                  </a:cubicBezTo>
                  <a:lnTo>
                    <a:pt x="650240" y="109220"/>
                  </a:lnTo>
                  <a:lnTo>
                    <a:pt x="635000" y="109220"/>
                  </a:lnTo>
                  <a:lnTo>
                    <a:pt x="635000" y="31115"/>
                  </a:lnTo>
                  <a:lnTo>
                    <a:pt x="650240" y="31115"/>
                  </a:lnTo>
                  <a:lnTo>
                    <a:pt x="650240" y="38735"/>
                  </a:lnTo>
                  <a:cubicBezTo>
                    <a:pt x="650240" y="38735"/>
                    <a:pt x="652145" y="36195"/>
                    <a:pt x="653416" y="34925"/>
                  </a:cubicBezTo>
                  <a:cubicBezTo>
                    <a:pt x="654685" y="33655"/>
                    <a:pt x="655955" y="33020"/>
                    <a:pt x="657861" y="31750"/>
                  </a:cubicBezTo>
                  <a:cubicBezTo>
                    <a:pt x="659130" y="31115"/>
                    <a:pt x="661035" y="30480"/>
                    <a:pt x="662940" y="29845"/>
                  </a:cubicBezTo>
                  <a:cubicBezTo>
                    <a:pt x="664845" y="29845"/>
                    <a:pt x="666751" y="29210"/>
                    <a:pt x="668656" y="29210"/>
                  </a:cubicBezTo>
                  <a:close/>
                  <a:moveTo>
                    <a:pt x="586739" y="29210"/>
                  </a:moveTo>
                  <a:cubicBezTo>
                    <a:pt x="592454" y="29210"/>
                    <a:pt x="596899" y="30480"/>
                    <a:pt x="601344" y="32385"/>
                  </a:cubicBezTo>
                  <a:cubicBezTo>
                    <a:pt x="605154" y="34290"/>
                    <a:pt x="608964" y="37465"/>
                    <a:pt x="611504" y="40640"/>
                  </a:cubicBezTo>
                  <a:cubicBezTo>
                    <a:pt x="614044" y="44450"/>
                    <a:pt x="615949" y="48260"/>
                    <a:pt x="617854" y="53340"/>
                  </a:cubicBezTo>
                  <a:cubicBezTo>
                    <a:pt x="619124" y="57785"/>
                    <a:pt x="619759" y="62865"/>
                    <a:pt x="619759" y="68580"/>
                  </a:cubicBezTo>
                  <a:lnTo>
                    <a:pt x="618489" y="68580"/>
                  </a:lnTo>
                  <a:cubicBezTo>
                    <a:pt x="618489" y="68580"/>
                    <a:pt x="618489" y="71120"/>
                    <a:pt x="618489" y="72390"/>
                  </a:cubicBezTo>
                  <a:cubicBezTo>
                    <a:pt x="618489" y="73660"/>
                    <a:pt x="618489" y="74295"/>
                    <a:pt x="618489" y="75565"/>
                  </a:cubicBezTo>
                  <a:lnTo>
                    <a:pt x="567054" y="75565"/>
                  </a:lnTo>
                  <a:cubicBezTo>
                    <a:pt x="567054" y="79375"/>
                    <a:pt x="568324" y="82550"/>
                    <a:pt x="569594" y="85090"/>
                  </a:cubicBezTo>
                  <a:cubicBezTo>
                    <a:pt x="570864" y="87630"/>
                    <a:pt x="572134" y="90170"/>
                    <a:pt x="574039" y="91440"/>
                  </a:cubicBezTo>
                  <a:cubicBezTo>
                    <a:pt x="575944" y="93345"/>
                    <a:pt x="577849" y="94615"/>
                    <a:pt x="579754" y="95250"/>
                  </a:cubicBezTo>
                  <a:cubicBezTo>
                    <a:pt x="581659" y="95885"/>
                    <a:pt x="584199" y="96520"/>
                    <a:pt x="586739" y="96520"/>
                  </a:cubicBezTo>
                  <a:cubicBezTo>
                    <a:pt x="588644" y="96520"/>
                    <a:pt x="589914" y="96520"/>
                    <a:pt x="591819" y="96520"/>
                  </a:cubicBezTo>
                  <a:cubicBezTo>
                    <a:pt x="593089" y="96520"/>
                    <a:pt x="594994" y="95885"/>
                    <a:pt x="596264" y="95250"/>
                  </a:cubicBezTo>
                  <a:cubicBezTo>
                    <a:pt x="597534" y="95250"/>
                    <a:pt x="598804" y="93980"/>
                    <a:pt x="600074" y="93345"/>
                  </a:cubicBezTo>
                  <a:cubicBezTo>
                    <a:pt x="601344" y="93345"/>
                    <a:pt x="602614" y="92075"/>
                    <a:pt x="604519" y="90805"/>
                  </a:cubicBezTo>
                  <a:lnTo>
                    <a:pt x="613409" y="100330"/>
                  </a:lnTo>
                  <a:cubicBezTo>
                    <a:pt x="613409" y="100330"/>
                    <a:pt x="609599" y="103505"/>
                    <a:pt x="607694" y="104775"/>
                  </a:cubicBezTo>
                  <a:cubicBezTo>
                    <a:pt x="605789" y="106045"/>
                    <a:pt x="603884" y="106680"/>
                    <a:pt x="601979" y="107950"/>
                  </a:cubicBezTo>
                  <a:cubicBezTo>
                    <a:pt x="600074" y="108585"/>
                    <a:pt x="597534" y="109855"/>
                    <a:pt x="594994" y="109855"/>
                  </a:cubicBezTo>
                  <a:cubicBezTo>
                    <a:pt x="592454" y="109855"/>
                    <a:pt x="589279" y="110490"/>
                    <a:pt x="586104" y="110490"/>
                  </a:cubicBezTo>
                  <a:cubicBezTo>
                    <a:pt x="582929" y="110490"/>
                    <a:pt x="579754" y="110490"/>
                    <a:pt x="576579" y="109220"/>
                  </a:cubicBezTo>
                  <a:cubicBezTo>
                    <a:pt x="573404" y="108585"/>
                    <a:pt x="570864" y="107315"/>
                    <a:pt x="568959" y="105410"/>
                  </a:cubicBezTo>
                  <a:cubicBezTo>
                    <a:pt x="566419" y="104140"/>
                    <a:pt x="564514" y="102235"/>
                    <a:pt x="562609" y="100330"/>
                  </a:cubicBezTo>
                  <a:cubicBezTo>
                    <a:pt x="560704" y="98425"/>
                    <a:pt x="558799" y="95885"/>
                    <a:pt x="557529" y="92710"/>
                  </a:cubicBezTo>
                  <a:cubicBezTo>
                    <a:pt x="555624" y="89535"/>
                    <a:pt x="554354" y="86360"/>
                    <a:pt x="553719" y="82550"/>
                  </a:cubicBezTo>
                  <a:cubicBezTo>
                    <a:pt x="553084" y="78740"/>
                    <a:pt x="552449" y="74295"/>
                    <a:pt x="552449" y="69850"/>
                  </a:cubicBezTo>
                  <a:cubicBezTo>
                    <a:pt x="552449" y="63500"/>
                    <a:pt x="553084" y="57150"/>
                    <a:pt x="554989" y="52070"/>
                  </a:cubicBezTo>
                  <a:cubicBezTo>
                    <a:pt x="556894" y="46990"/>
                    <a:pt x="558799" y="42545"/>
                    <a:pt x="561974" y="39370"/>
                  </a:cubicBezTo>
                  <a:cubicBezTo>
                    <a:pt x="565149" y="36195"/>
                    <a:pt x="568324" y="33020"/>
                    <a:pt x="572769" y="31750"/>
                  </a:cubicBezTo>
                  <a:cubicBezTo>
                    <a:pt x="577214" y="29845"/>
                    <a:pt x="581659" y="29210"/>
                    <a:pt x="586739" y="29210"/>
                  </a:cubicBezTo>
                  <a:close/>
                  <a:moveTo>
                    <a:pt x="400050" y="29210"/>
                  </a:moveTo>
                  <a:cubicBezTo>
                    <a:pt x="405765" y="29210"/>
                    <a:pt x="410210" y="30480"/>
                    <a:pt x="414655" y="32385"/>
                  </a:cubicBezTo>
                  <a:cubicBezTo>
                    <a:pt x="418465" y="34290"/>
                    <a:pt x="422275" y="37465"/>
                    <a:pt x="424815" y="40640"/>
                  </a:cubicBezTo>
                  <a:cubicBezTo>
                    <a:pt x="427355" y="44450"/>
                    <a:pt x="429260" y="48260"/>
                    <a:pt x="431165" y="53340"/>
                  </a:cubicBezTo>
                  <a:cubicBezTo>
                    <a:pt x="432435" y="57785"/>
                    <a:pt x="433070" y="62865"/>
                    <a:pt x="433070" y="68580"/>
                  </a:cubicBezTo>
                  <a:lnTo>
                    <a:pt x="431800" y="68580"/>
                  </a:lnTo>
                  <a:cubicBezTo>
                    <a:pt x="431800" y="68580"/>
                    <a:pt x="431800" y="71120"/>
                    <a:pt x="431800" y="72390"/>
                  </a:cubicBezTo>
                  <a:cubicBezTo>
                    <a:pt x="431800" y="73660"/>
                    <a:pt x="431800" y="74295"/>
                    <a:pt x="431800" y="75565"/>
                  </a:cubicBezTo>
                  <a:lnTo>
                    <a:pt x="380365" y="75565"/>
                  </a:lnTo>
                  <a:cubicBezTo>
                    <a:pt x="380365" y="79375"/>
                    <a:pt x="381635" y="82550"/>
                    <a:pt x="382905" y="85090"/>
                  </a:cubicBezTo>
                  <a:cubicBezTo>
                    <a:pt x="384175" y="87630"/>
                    <a:pt x="385445" y="90170"/>
                    <a:pt x="387350" y="91440"/>
                  </a:cubicBezTo>
                  <a:cubicBezTo>
                    <a:pt x="389255" y="93345"/>
                    <a:pt x="391160" y="94615"/>
                    <a:pt x="393065" y="95250"/>
                  </a:cubicBezTo>
                  <a:cubicBezTo>
                    <a:pt x="394970" y="95885"/>
                    <a:pt x="397510" y="96520"/>
                    <a:pt x="400050" y="96520"/>
                  </a:cubicBezTo>
                  <a:cubicBezTo>
                    <a:pt x="401955" y="96520"/>
                    <a:pt x="403225" y="96520"/>
                    <a:pt x="405130" y="96520"/>
                  </a:cubicBezTo>
                  <a:cubicBezTo>
                    <a:pt x="406400" y="96520"/>
                    <a:pt x="408305" y="95885"/>
                    <a:pt x="409575" y="95250"/>
                  </a:cubicBezTo>
                  <a:cubicBezTo>
                    <a:pt x="410845" y="95250"/>
                    <a:pt x="412115" y="93980"/>
                    <a:pt x="413385" y="93345"/>
                  </a:cubicBezTo>
                  <a:cubicBezTo>
                    <a:pt x="414655" y="93345"/>
                    <a:pt x="415925" y="92075"/>
                    <a:pt x="417830" y="90805"/>
                  </a:cubicBezTo>
                  <a:lnTo>
                    <a:pt x="426720" y="100330"/>
                  </a:lnTo>
                  <a:cubicBezTo>
                    <a:pt x="426720" y="100330"/>
                    <a:pt x="422910" y="103505"/>
                    <a:pt x="421005" y="104775"/>
                  </a:cubicBezTo>
                  <a:cubicBezTo>
                    <a:pt x="419100" y="106045"/>
                    <a:pt x="417195" y="106680"/>
                    <a:pt x="415290" y="107950"/>
                  </a:cubicBezTo>
                  <a:cubicBezTo>
                    <a:pt x="413385" y="108585"/>
                    <a:pt x="410845" y="109855"/>
                    <a:pt x="408305" y="109855"/>
                  </a:cubicBezTo>
                  <a:cubicBezTo>
                    <a:pt x="405765" y="109855"/>
                    <a:pt x="402590" y="110490"/>
                    <a:pt x="399415" y="110490"/>
                  </a:cubicBezTo>
                  <a:cubicBezTo>
                    <a:pt x="396240" y="110490"/>
                    <a:pt x="393065" y="110490"/>
                    <a:pt x="389890" y="109220"/>
                  </a:cubicBezTo>
                  <a:cubicBezTo>
                    <a:pt x="386715" y="108585"/>
                    <a:pt x="384175" y="107315"/>
                    <a:pt x="382270" y="105410"/>
                  </a:cubicBezTo>
                  <a:cubicBezTo>
                    <a:pt x="380365" y="103505"/>
                    <a:pt x="377825" y="102235"/>
                    <a:pt x="375920" y="100330"/>
                  </a:cubicBezTo>
                  <a:cubicBezTo>
                    <a:pt x="374015" y="98425"/>
                    <a:pt x="372110" y="95885"/>
                    <a:pt x="370840" y="92710"/>
                  </a:cubicBezTo>
                  <a:cubicBezTo>
                    <a:pt x="368935" y="89535"/>
                    <a:pt x="367665" y="86360"/>
                    <a:pt x="367030" y="82550"/>
                  </a:cubicBezTo>
                  <a:cubicBezTo>
                    <a:pt x="366395" y="78740"/>
                    <a:pt x="365760" y="74295"/>
                    <a:pt x="365760" y="69850"/>
                  </a:cubicBezTo>
                  <a:cubicBezTo>
                    <a:pt x="365760" y="63500"/>
                    <a:pt x="366395" y="57150"/>
                    <a:pt x="368300" y="52070"/>
                  </a:cubicBezTo>
                  <a:cubicBezTo>
                    <a:pt x="370205" y="46990"/>
                    <a:pt x="372110" y="42545"/>
                    <a:pt x="375285" y="39370"/>
                  </a:cubicBezTo>
                  <a:cubicBezTo>
                    <a:pt x="378460" y="36195"/>
                    <a:pt x="381635" y="33020"/>
                    <a:pt x="386080" y="31750"/>
                  </a:cubicBezTo>
                  <a:cubicBezTo>
                    <a:pt x="390525" y="29845"/>
                    <a:pt x="394970" y="29210"/>
                    <a:pt x="400050" y="29210"/>
                  </a:cubicBezTo>
                  <a:close/>
                  <a:moveTo>
                    <a:pt x="201930" y="29210"/>
                  </a:moveTo>
                  <a:cubicBezTo>
                    <a:pt x="207645" y="29210"/>
                    <a:pt x="212090" y="30480"/>
                    <a:pt x="216535" y="32385"/>
                  </a:cubicBezTo>
                  <a:cubicBezTo>
                    <a:pt x="220345" y="34290"/>
                    <a:pt x="224155" y="37465"/>
                    <a:pt x="226695" y="40640"/>
                  </a:cubicBezTo>
                  <a:cubicBezTo>
                    <a:pt x="229235" y="44450"/>
                    <a:pt x="231140" y="48260"/>
                    <a:pt x="233045" y="53340"/>
                  </a:cubicBezTo>
                  <a:cubicBezTo>
                    <a:pt x="234315" y="57785"/>
                    <a:pt x="234950" y="62865"/>
                    <a:pt x="234950" y="68580"/>
                  </a:cubicBezTo>
                  <a:lnTo>
                    <a:pt x="233680" y="68580"/>
                  </a:lnTo>
                  <a:cubicBezTo>
                    <a:pt x="233680" y="68580"/>
                    <a:pt x="233680" y="71120"/>
                    <a:pt x="233680" y="72390"/>
                  </a:cubicBezTo>
                  <a:cubicBezTo>
                    <a:pt x="233680" y="73660"/>
                    <a:pt x="233680" y="74295"/>
                    <a:pt x="233680" y="75565"/>
                  </a:cubicBezTo>
                  <a:lnTo>
                    <a:pt x="182245" y="75565"/>
                  </a:lnTo>
                  <a:cubicBezTo>
                    <a:pt x="182245" y="79375"/>
                    <a:pt x="183515" y="82550"/>
                    <a:pt x="184785" y="85090"/>
                  </a:cubicBezTo>
                  <a:cubicBezTo>
                    <a:pt x="186055" y="87630"/>
                    <a:pt x="187325" y="90170"/>
                    <a:pt x="189230" y="91440"/>
                  </a:cubicBezTo>
                  <a:cubicBezTo>
                    <a:pt x="191135" y="93345"/>
                    <a:pt x="193040" y="94615"/>
                    <a:pt x="194945" y="95250"/>
                  </a:cubicBezTo>
                  <a:cubicBezTo>
                    <a:pt x="196850" y="95885"/>
                    <a:pt x="199390" y="96520"/>
                    <a:pt x="201930" y="96520"/>
                  </a:cubicBezTo>
                  <a:cubicBezTo>
                    <a:pt x="203835" y="96520"/>
                    <a:pt x="205105" y="96520"/>
                    <a:pt x="207010" y="96520"/>
                  </a:cubicBezTo>
                  <a:cubicBezTo>
                    <a:pt x="208280" y="96520"/>
                    <a:pt x="210185" y="95885"/>
                    <a:pt x="211455" y="95250"/>
                  </a:cubicBezTo>
                  <a:cubicBezTo>
                    <a:pt x="212725" y="95250"/>
                    <a:pt x="213995" y="93980"/>
                    <a:pt x="215265" y="93345"/>
                  </a:cubicBezTo>
                  <a:cubicBezTo>
                    <a:pt x="216535" y="93345"/>
                    <a:pt x="217805" y="92075"/>
                    <a:pt x="219710" y="90805"/>
                  </a:cubicBezTo>
                  <a:lnTo>
                    <a:pt x="228600" y="100330"/>
                  </a:lnTo>
                  <a:cubicBezTo>
                    <a:pt x="228600" y="100330"/>
                    <a:pt x="224790" y="103505"/>
                    <a:pt x="222885" y="104775"/>
                  </a:cubicBezTo>
                  <a:cubicBezTo>
                    <a:pt x="220980" y="106045"/>
                    <a:pt x="219075" y="106680"/>
                    <a:pt x="217170" y="107950"/>
                  </a:cubicBezTo>
                  <a:cubicBezTo>
                    <a:pt x="215265" y="108585"/>
                    <a:pt x="212725" y="109855"/>
                    <a:pt x="210185" y="109855"/>
                  </a:cubicBezTo>
                  <a:cubicBezTo>
                    <a:pt x="207645" y="109855"/>
                    <a:pt x="204470" y="110490"/>
                    <a:pt x="201295" y="110490"/>
                  </a:cubicBezTo>
                  <a:cubicBezTo>
                    <a:pt x="198120" y="110490"/>
                    <a:pt x="194945" y="110490"/>
                    <a:pt x="191770" y="109220"/>
                  </a:cubicBezTo>
                  <a:cubicBezTo>
                    <a:pt x="188595" y="108585"/>
                    <a:pt x="186055" y="107315"/>
                    <a:pt x="184150" y="105410"/>
                  </a:cubicBezTo>
                  <a:cubicBezTo>
                    <a:pt x="181610" y="104140"/>
                    <a:pt x="179705" y="102235"/>
                    <a:pt x="177800" y="100330"/>
                  </a:cubicBezTo>
                  <a:cubicBezTo>
                    <a:pt x="175895" y="98425"/>
                    <a:pt x="173990" y="95885"/>
                    <a:pt x="172720" y="92710"/>
                  </a:cubicBezTo>
                  <a:cubicBezTo>
                    <a:pt x="170815" y="89535"/>
                    <a:pt x="169545" y="86360"/>
                    <a:pt x="168910" y="82550"/>
                  </a:cubicBezTo>
                  <a:cubicBezTo>
                    <a:pt x="168275" y="78740"/>
                    <a:pt x="167640" y="74295"/>
                    <a:pt x="167640" y="69850"/>
                  </a:cubicBezTo>
                  <a:cubicBezTo>
                    <a:pt x="167640" y="63500"/>
                    <a:pt x="168275" y="57150"/>
                    <a:pt x="170180" y="52070"/>
                  </a:cubicBezTo>
                  <a:cubicBezTo>
                    <a:pt x="172085" y="46990"/>
                    <a:pt x="173990" y="42545"/>
                    <a:pt x="177165" y="39370"/>
                  </a:cubicBezTo>
                  <a:cubicBezTo>
                    <a:pt x="180340" y="36195"/>
                    <a:pt x="183515" y="33020"/>
                    <a:pt x="187960" y="31750"/>
                  </a:cubicBezTo>
                  <a:cubicBezTo>
                    <a:pt x="192405" y="29845"/>
                    <a:pt x="196850" y="29210"/>
                    <a:pt x="201930" y="29210"/>
                  </a:cubicBezTo>
                  <a:close/>
                  <a:moveTo>
                    <a:pt x="4664706" y="28574"/>
                  </a:moveTo>
                  <a:cubicBezTo>
                    <a:pt x="4669786" y="28574"/>
                    <a:pt x="4674231" y="29209"/>
                    <a:pt x="4678676" y="31749"/>
                  </a:cubicBezTo>
                  <a:cubicBezTo>
                    <a:pt x="4683121" y="33654"/>
                    <a:pt x="4686296" y="36194"/>
                    <a:pt x="4689471" y="40004"/>
                  </a:cubicBezTo>
                  <a:cubicBezTo>
                    <a:pt x="4692646" y="43814"/>
                    <a:pt x="4695186" y="47624"/>
                    <a:pt x="4696456" y="52704"/>
                  </a:cubicBezTo>
                  <a:cubicBezTo>
                    <a:pt x="4698361" y="57784"/>
                    <a:pt x="4698996" y="63499"/>
                    <a:pt x="4698996" y="69214"/>
                  </a:cubicBezTo>
                  <a:lnTo>
                    <a:pt x="4699631" y="69214"/>
                  </a:lnTo>
                  <a:cubicBezTo>
                    <a:pt x="4699631" y="75564"/>
                    <a:pt x="4698996" y="81279"/>
                    <a:pt x="4697091" y="86359"/>
                  </a:cubicBezTo>
                  <a:cubicBezTo>
                    <a:pt x="4695186" y="91439"/>
                    <a:pt x="4692646" y="95884"/>
                    <a:pt x="4689471" y="99059"/>
                  </a:cubicBezTo>
                  <a:cubicBezTo>
                    <a:pt x="4686296" y="102869"/>
                    <a:pt x="4682486" y="105409"/>
                    <a:pt x="4678041" y="107314"/>
                  </a:cubicBezTo>
                  <a:cubicBezTo>
                    <a:pt x="4673596" y="109219"/>
                    <a:pt x="4669151" y="109854"/>
                    <a:pt x="4664071" y="109854"/>
                  </a:cubicBezTo>
                  <a:cubicBezTo>
                    <a:pt x="4658991" y="109854"/>
                    <a:pt x="4654546" y="108584"/>
                    <a:pt x="4650101" y="106679"/>
                  </a:cubicBezTo>
                  <a:cubicBezTo>
                    <a:pt x="4645656" y="104774"/>
                    <a:pt x="4642481" y="102234"/>
                    <a:pt x="4639306" y="98424"/>
                  </a:cubicBezTo>
                  <a:cubicBezTo>
                    <a:pt x="4636131" y="94614"/>
                    <a:pt x="4633591" y="90804"/>
                    <a:pt x="4632321" y="85724"/>
                  </a:cubicBezTo>
                  <a:cubicBezTo>
                    <a:pt x="4630416" y="80644"/>
                    <a:pt x="4629781" y="74929"/>
                    <a:pt x="4629781" y="69214"/>
                  </a:cubicBezTo>
                  <a:cubicBezTo>
                    <a:pt x="4629781" y="63499"/>
                    <a:pt x="4630416" y="57149"/>
                    <a:pt x="4632321" y="52069"/>
                  </a:cubicBezTo>
                  <a:cubicBezTo>
                    <a:pt x="4634226" y="46989"/>
                    <a:pt x="4636766" y="42544"/>
                    <a:pt x="4639941" y="39369"/>
                  </a:cubicBezTo>
                  <a:cubicBezTo>
                    <a:pt x="4643116" y="35559"/>
                    <a:pt x="4646926" y="33019"/>
                    <a:pt x="4650736" y="31114"/>
                  </a:cubicBezTo>
                  <a:cubicBezTo>
                    <a:pt x="4655181" y="29209"/>
                    <a:pt x="4659626" y="28574"/>
                    <a:pt x="4664706" y="28574"/>
                  </a:cubicBezTo>
                  <a:close/>
                  <a:moveTo>
                    <a:pt x="4264655" y="28574"/>
                  </a:moveTo>
                  <a:cubicBezTo>
                    <a:pt x="4269735" y="28574"/>
                    <a:pt x="4274180" y="29209"/>
                    <a:pt x="4278625" y="31749"/>
                  </a:cubicBezTo>
                  <a:cubicBezTo>
                    <a:pt x="4283070" y="33654"/>
                    <a:pt x="4286245" y="36194"/>
                    <a:pt x="4289420" y="40004"/>
                  </a:cubicBezTo>
                  <a:cubicBezTo>
                    <a:pt x="4292595" y="43814"/>
                    <a:pt x="4295135" y="47624"/>
                    <a:pt x="4296405" y="52704"/>
                  </a:cubicBezTo>
                  <a:cubicBezTo>
                    <a:pt x="4298310" y="57784"/>
                    <a:pt x="4298945" y="63499"/>
                    <a:pt x="4298945" y="69214"/>
                  </a:cubicBezTo>
                  <a:lnTo>
                    <a:pt x="4299580" y="69214"/>
                  </a:lnTo>
                  <a:cubicBezTo>
                    <a:pt x="4299580" y="75564"/>
                    <a:pt x="4298945" y="81279"/>
                    <a:pt x="4297040" y="86359"/>
                  </a:cubicBezTo>
                  <a:cubicBezTo>
                    <a:pt x="4295135" y="91439"/>
                    <a:pt x="4292595" y="95884"/>
                    <a:pt x="4289420" y="99059"/>
                  </a:cubicBezTo>
                  <a:cubicBezTo>
                    <a:pt x="4286245" y="102869"/>
                    <a:pt x="4282435" y="105409"/>
                    <a:pt x="4277990" y="107314"/>
                  </a:cubicBezTo>
                  <a:cubicBezTo>
                    <a:pt x="4273545" y="109219"/>
                    <a:pt x="4269100" y="109854"/>
                    <a:pt x="4264020" y="109854"/>
                  </a:cubicBezTo>
                  <a:cubicBezTo>
                    <a:pt x="4258940" y="109854"/>
                    <a:pt x="4254495" y="108584"/>
                    <a:pt x="4250050" y="106679"/>
                  </a:cubicBezTo>
                  <a:cubicBezTo>
                    <a:pt x="4245605" y="104774"/>
                    <a:pt x="4242430" y="102234"/>
                    <a:pt x="4239255" y="98424"/>
                  </a:cubicBezTo>
                  <a:cubicBezTo>
                    <a:pt x="4236080" y="94614"/>
                    <a:pt x="4233540" y="90804"/>
                    <a:pt x="4232270" y="85724"/>
                  </a:cubicBezTo>
                  <a:cubicBezTo>
                    <a:pt x="4230365" y="80644"/>
                    <a:pt x="4229730" y="74929"/>
                    <a:pt x="4229730" y="69214"/>
                  </a:cubicBezTo>
                  <a:cubicBezTo>
                    <a:pt x="4229730" y="63499"/>
                    <a:pt x="4230365" y="57149"/>
                    <a:pt x="4232270" y="52069"/>
                  </a:cubicBezTo>
                  <a:cubicBezTo>
                    <a:pt x="4234175" y="46989"/>
                    <a:pt x="4236715" y="42544"/>
                    <a:pt x="4239890" y="39369"/>
                  </a:cubicBezTo>
                  <a:cubicBezTo>
                    <a:pt x="4243065" y="35559"/>
                    <a:pt x="4246875" y="33019"/>
                    <a:pt x="4250685" y="31114"/>
                  </a:cubicBezTo>
                  <a:cubicBezTo>
                    <a:pt x="4255130" y="29209"/>
                    <a:pt x="4259575" y="28574"/>
                    <a:pt x="4264655" y="28574"/>
                  </a:cubicBezTo>
                  <a:close/>
                  <a:moveTo>
                    <a:pt x="1420495" y="28574"/>
                  </a:moveTo>
                  <a:cubicBezTo>
                    <a:pt x="1425575" y="28574"/>
                    <a:pt x="1430020" y="29209"/>
                    <a:pt x="1434465" y="31749"/>
                  </a:cubicBezTo>
                  <a:cubicBezTo>
                    <a:pt x="1438910" y="33654"/>
                    <a:pt x="1442085" y="36194"/>
                    <a:pt x="1445260" y="40004"/>
                  </a:cubicBezTo>
                  <a:cubicBezTo>
                    <a:pt x="1448435" y="43814"/>
                    <a:pt x="1450975" y="47624"/>
                    <a:pt x="1452245" y="52704"/>
                  </a:cubicBezTo>
                  <a:cubicBezTo>
                    <a:pt x="1454150" y="57784"/>
                    <a:pt x="1454785" y="63499"/>
                    <a:pt x="1454785" y="69214"/>
                  </a:cubicBezTo>
                  <a:lnTo>
                    <a:pt x="1455420" y="69214"/>
                  </a:lnTo>
                  <a:cubicBezTo>
                    <a:pt x="1455420" y="75564"/>
                    <a:pt x="1454785" y="81279"/>
                    <a:pt x="1452880" y="86359"/>
                  </a:cubicBezTo>
                  <a:cubicBezTo>
                    <a:pt x="1450975" y="91439"/>
                    <a:pt x="1448435" y="95884"/>
                    <a:pt x="1445260" y="99059"/>
                  </a:cubicBezTo>
                  <a:cubicBezTo>
                    <a:pt x="1442085" y="102869"/>
                    <a:pt x="1438275" y="105409"/>
                    <a:pt x="1433830" y="107314"/>
                  </a:cubicBezTo>
                  <a:cubicBezTo>
                    <a:pt x="1429385" y="109219"/>
                    <a:pt x="1424940" y="109854"/>
                    <a:pt x="1419860" y="109854"/>
                  </a:cubicBezTo>
                  <a:cubicBezTo>
                    <a:pt x="1414780" y="109854"/>
                    <a:pt x="1410335" y="108584"/>
                    <a:pt x="1405890" y="106679"/>
                  </a:cubicBezTo>
                  <a:cubicBezTo>
                    <a:pt x="1401444" y="104774"/>
                    <a:pt x="1398270" y="102234"/>
                    <a:pt x="1395095" y="98424"/>
                  </a:cubicBezTo>
                  <a:cubicBezTo>
                    <a:pt x="1391920" y="94614"/>
                    <a:pt x="1389380" y="90804"/>
                    <a:pt x="1388110" y="85724"/>
                  </a:cubicBezTo>
                  <a:cubicBezTo>
                    <a:pt x="1386205" y="80644"/>
                    <a:pt x="1385570" y="74929"/>
                    <a:pt x="1385570" y="69214"/>
                  </a:cubicBezTo>
                  <a:cubicBezTo>
                    <a:pt x="1385570" y="63499"/>
                    <a:pt x="1386205" y="57149"/>
                    <a:pt x="1388110" y="52069"/>
                  </a:cubicBezTo>
                  <a:cubicBezTo>
                    <a:pt x="1390015" y="46989"/>
                    <a:pt x="1392555" y="42544"/>
                    <a:pt x="1395730" y="39369"/>
                  </a:cubicBezTo>
                  <a:cubicBezTo>
                    <a:pt x="1398905" y="35559"/>
                    <a:pt x="1402715" y="33019"/>
                    <a:pt x="1406525" y="31114"/>
                  </a:cubicBezTo>
                  <a:cubicBezTo>
                    <a:pt x="1410970" y="29209"/>
                    <a:pt x="1415415" y="28574"/>
                    <a:pt x="1420495" y="28574"/>
                  </a:cubicBezTo>
                  <a:close/>
                  <a:moveTo>
                    <a:pt x="3143245" y="5079"/>
                  </a:moveTo>
                  <a:lnTo>
                    <a:pt x="3219445" y="5079"/>
                  </a:lnTo>
                  <a:lnTo>
                    <a:pt x="3219445" y="20319"/>
                  </a:lnTo>
                  <a:lnTo>
                    <a:pt x="3188965" y="20319"/>
                  </a:lnTo>
                  <a:lnTo>
                    <a:pt x="3188965" y="108584"/>
                  </a:lnTo>
                  <a:lnTo>
                    <a:pt x="3173090" y="108584"/>
                  </a:lnTo>
                  <a:lnTo>
                    <a:pt x="3173090" y="20319"/>
                  </a:lnTo>
                  <a:lnTo>
                    <a:pt x="3143245" y="20319"/>
                  </a:lnTo>
                  <a:close/>
                  <a:moveTo>
                    <a:pt x="1628774" y="5079"/>
                  </a:moveTo>
                  <a:lnTo>
                    <a:pt x="1704970" y="5079"/>
                  </a:lnTo>
                  <a:lnTo>
                    <a:pt x="1704970" y="20319"/>
                  </a:lnTo>
                  <a:lnTo>
                    <a:pt x="1675129" y="20319"/>
                  </a:lnTo>
                  <a:lnTo>
                    <a:pt x="1675129" y="108584"/>
                  </a:lnTo>
                  <a:lnTo>
                    <a:pt x="1659255" y="108584"/>
                  </a:lnTo>
                  <a:lnTo>
                    <a:pt x="1659255" y="20319"/>
                  </a:lnTo>
                  <a:lnTo>
                    <a:pt x="1628774" y="20319"/>
                  </a:lnTo>
                  <a:close/>
                  <a:moveTo>
                    <a:pt x="0" y="5079"/>
                  </a:moveTo>
                  <a:lnTo>
                    <a:pt x="76200" y="5079"/>
                  </a:lnTo>
                  <a:lnTo>
                    <a:pt x="76200" y="20319"/>
                  </a:lnTo>
                  <a:lnTo>
                    <a:pt x="45720" y="20319"/>
                  </a:lnTo>
                  <a:lnTo>
                    <a:pt x="45720" y="108584"/>
                  </a:lnTo>
                  <a:lnTo>
                    <a:pt x="29845" y="108584"/>
                  </a:lnTo>
                  <a:lnTo>
                    <a:pt x="29845" y="20319"/>
                  </a:lnTo>
                  <a:lnTo>
                    <a:pt x="0" y="20319"/>
                  </a:lnTo>
                  <a:close/>
                  <a:moveTo>
                    <a:pt x="1362075" y="1269"/>
                  </a:moveTo>
                  <a:cubicBezTo>
                    <a:pt x="1363345" y="1269"/>
                    <a:pt x="1364615" y="1269"/>
                    <a:pt x="1365885" y="1904"/>
                  </a:cubicBezTo>
                  <a:cubicBezTo>
                    <a:pt x="1367155" y="1904"/>
                    <a:pt x="1367790" y="3174"/>
                    <a:pt x="1369060" y="3809"/>
                  </a:cubicBezTo>
                  <a:cubicBezTo>
                    <a:pt x="1369695" y="4444"/>
                    <a:pt x="1370965" y="5714"/>
                    <a:pt x="1370965" y="6984"/>
                  </a:cubicBezTo>
                  <a:cubicBezTo>
                    <a:pt x="1370965" y="8254"/>
                    <a:pt x="1371600" y="9524"/>
                    <a:pt x="1371600" y="10794"/>
                  </a:cubicBezTo>
                  <a:cubicBezTo>
                    <a:pt x="1371600" y="10794"/>
                    <a:pt x="1371600" y="13334"/>
                    <a:pt x="1370965" y="14604"/>
                  </a:cubicBezTo>
                  <a:cubicBezTo>
                    <a:pt x="1370965" y="15874"/>
                    <a:pt x="1369695" y="17144"/>
                    <a:pt x="1369060" y="17779"/>
                  </a:cubicBezTo>
                  <a:cubicBezTo>
                    <a:pt x="1368425" y="18414"/>
                    <a:pt x="1367155" y="19684"/>
                    <a:pt x="1365885" y="19684"/>
                  </a:cubicBezTo>
                  <a:cubicBezTo>
                    <a:pt x="1364615" y="19684"/>
                    <a:pt x="1363345" y="20319"/>
                    <a:pt x="1362075" y="20319"/>
                  </a:cubicBezTo>
                  <a:cubicBezTo>
                    <a:pt x="1360805" y="20319"/>
                    <a:pt x="1359535" y="20319"/>
                    <a:pt x="1358265" y="19684"/>
                  </a:cubicBezTo>
                  <a:cubicBezTo>
                    <a:pt x="1356995" y="19684"/>
                    <a:pt x="1355725" y="18414"/>
                    <a:pt x="1355090" y="17779"/>
                  </a:cubicBezTo>
                  <a:cubicBezTo>
                    <a:pt x="1354455" y="17144"/>
                    <a:pt x="1353185" y="15874"/>
                    <a:pt x="1353185" y="14604"/>
                  </a:cubicBezTo>
                  <a:cubicBezTo>
                    <a:pt x="1353185" y="13334"/>
                    <a:pt x="1352550" y="12064"/>
                    <a:pt x="1352550" y="10794"/>
                  </a:cubicBezTo>
                  <a:cubicBezTo>
                    <a:pt x="1352550" y="9524"/>
                    <a:pt x="1352550" y="8254"/>
                    <a:pt x="1353185" y="6984"/>
                  </a:cubicBezTo>
                  <a:cubicBezTo>
                    <a:pt x="1353185" y="5714"/>
                    <a:pt x="1354455" y="4444"/>
                    <a:pt x="1355090" y="3809"/>
                  </a:cubicBezTo>
                  <a:cubicBezTo>
                    <a:pt x="1355725" y="3174"/>
                    <a:pt x="1356995" y="1904"/>
                    <a:pt x="1358265" y="1904"/>
                  </a:cubicBezTo>
                  <a:cubicBezTo>
                    <a:pt x="1359535" y="1904"/>
                    <a:pt x="1360805" y="1269"/>
                    <a:pt x="1362075" y="1269"/>
                  </a:cubicBezTo>
                  <a:close/>
                  <a:moveTo>
                    <a:pt x="4789801" y="634"/>
                  </a:moveTo>
                  <a:lnTo>
                    <a:pt x="4789801" y="65404"/>
                  </a:lnTo>
                  <a:lnTo>
                    <a:pt x="4814566" y="31114"/>
                  </a:lnTo>
                  <a:lnTo>
                    <a:pt x="4831711" y="31114"/>
                  </a:lnTo>
                  <a:lnTo>
                    <a:pt x="4812026" y="57149"/>
                  </a:lnTo>
                  <a:lnTo>
                    <a:pt x="4835521" y="108584"/>
                  </a:lnTo>
                  <a:lnTo>
                    <a:pt x="4819011" y="108584"/>
                  </a:lnTo>
                  <a:lnTo>
                    <a:pt x="4801866" y="69849"/>
                  </a:lnTo>
                  <a:lnTo>
                    <a:pt x="4789801" y="85724"/>
                  </a:lnTo>
                  <a:lnTo>
                    <a:pt x="4789801" y="108584"/>
                  </a:lnTo>
                  <a:lnTo>
                    <a:pt x="4774561" y="108584"/>
                  </a:lnTo>
                  <a:lnTo>
                    <a:pt x="4774561" y="8889"/>
                  </a:lnTo>
                  <a:close/>
                  <a:moveTo>
                    <a:pt x="4472301" y="634"/>
                  </a:moveTo>
                  <a:lnTo>
                    <a:pt x="4472301" y="109219"/>
                  </a:lnTo>
                  <a:lnTo>
                    <a:pt x="4457061" y="109219"/>
                  </a:lnTo>
                  <a:lnTo>
                    <a:pt x="4457696" y="108584"/>
                  </a:lnTo>
                  <a:lnTo>
                    <a:pt x="4457696" y="100964"/>
                  </a:lnTo>
                  <a:cubicBezTo>
                    <a:pt x="4457696" y="100964"/>
                    <a:pt x="4454521" y="103504"/>
                    <a:pt x="4453251" y="104774"/>
                  </a:cubicBezTo>
                  <a:cubicBezTo>
                    <a:pt x="4451981" y="106044"/>
                    <a:pt x="4450076" y="106679"/>
                    <a:pt x="4448171" y="107949"/>
                  </a:cubicBezTo>
                  <a:cubicBezTo>
                    <a:pt x="4446266" y="108584"/>
                    <a:pt x="4444361" y="109219"/>
                    <a:pt x="4443091" y="109854"/>
                  </a:cubicBezTo>
                  <a:cubicBezTo>
                    <a:pt x="4441186" y="109854"/>
                    <a:pt x="4439281" y="109854"/>
                    <a:pt x="4437376" y="109854"/>
                  </a:cubicBezTo>
                  <a:cubicBezTo>
                    <a:pt x="4432931" y="109854"/>
                    <a:pt x="4429121" y="109219"/>
                    <a:pt x="4425946" y="107314"/>
                  </a:cubicBezTo>
                  <a:cubicBezTo>
                    <a:pt x="4422136" y="106044"/>
                    <a:pt x="4418961" y="103504"/>
                    <a:pt x="4416421" y="99694"/>
                  </a:cubicBezTo>
                  <a:cubicBezTo>
                    <a:pt x="4413881" y="96519"/>
                    <a:pt x="4411341" y="92074"/>
                    <a:pt x="4410071" y="86994"/>
                  </a:cubicBezTo>
                  <a:cubicBezTo>
                    <a:pt x="4408801" y="81914"/>
                    <a:pt x="4407531" y="75564"/>
                    <a:pt x="4407531" y="67944"/>
                  </a:cubicBezTo>
                  <a:cubicBezTo>
                    <a:pt x="4407531" y="61594"/>
                    <a:pt x="4408166" y="55244"/>
                    <a:pt x="4410071" y="50799"/>
                  </a:cubicBezTo>
                  <a:cubicBezTo>
                    <a:pt x="4411976" y="45719"/>
                    <a:pt x="4413881" y="41909"/>
                    <a:pt x="4417056" y="38734"/>
                  </a:cubicBezTo>
                  <a:cubicBezTo>
                    <a:pt x="4419596" y="35559"/>
                    <a:pt x="4423406" y="33019"/>
                    <a:pt x="4426581" y="31749"/>
                  </a:cubicBezTo>
                  <a:cubicBezTo>
                    <a:pt x="4430391" y="29844"/>
                    <a:pt x="4434201" y="29209"/>
                    <a:pt x="4438011" y="29209"/>
                  </a:cubicBezTo>
                  <a:cubicBezTo>
                    <a:pt x="4439916" y="29209"/>
                    <a:pt x="4441821" y="29209"/>
                    <a:pt x="4443726" y="29844"/>
                  </a:cubicBezTo>
                  <a:cubicBezTo>
                    <a:pt x="4445631" y="29844"/>
                    <a:pt x="4447536" y="31114"/>
                    <a:pt x="4448806" y="31749"/>
                  </a:cubicBezTo>
                  <a:cubicBezTo>
                    <a:pt x="4450711" y="32384"/>
                    <a:pt x="4451981" y="33654"/>
                    <a:pt x="4453251" y="34924"/>
                  </a:cubicBezTo>
                  <a:cubicBezTo>
                    <a:pt x="4454521" y="36194"/>
                    <a:pt x="4455791" y="36829"/>
                    <a:pt x="4457061" y="38099"/>
                  </a:cubicBezTo>
                  <a:lnTo>
                    <a:pt x="4457061" y="8254"/>
                  </a:lnTo>
                  <a:close/>
                  <a:moveTo>
                    <a:pt x="4390385" y="634"/>
                  </a:moveTo>
                  <a:lnTo>
                    <a:pt x="4390385" y="108584"/>
                  </a:lnTo>
                  <a:lnTo>
                    <a:pt x="4375145" y="108584"/>
                  </a:lnTo>
                  <a:lnTo>
                    <a:pt x="4375145" y="8889"/>
                  </a:lnTo>
                  <a:close/>
                  <a:moveTo>
                    <a:pt x="3946521" y="634"/>
                  </a:moveTo>
                  <a:lnTo>
                    <a:pt x="3946521" y="38099"/>
                  </a:lnTo>
                  <a:cubicBezTo>
                    <a:pt x="3946521" y="38099"/>
                    <a:pt x="3948426" y="35559"/>
                    <a:pt x="3950331" y="34289"/>
                  </a:cubicBezTo>
                  <a:cubicBezTo>
                    <a:pt x="3951601" y="33019"/>
                    <a:pt x="3953506" y="32384"/>
                    <a:pt x="3954776" y="31114"/>
                  </a:cubicBezTo>
                  <a:cubicBezTo>
                    <a:pt x="3956681" y="30479"/>
                    <a:pt x="3958586" y="29844"/>
                    <a:pt x="3960491" y="29209"/>
                  </a:cubicBezTo>
                  <a:cubicBezTo>
                    <a:pt x="3962396" y="29209"/>
                    <a:pt x="3964301" y="29209"/>
                    <a:pt x="3966206" y="29209"/>
                  </a:cubicBezTo>
                  <a:cubicBezTo>
                    <a:pt x="3970651" y="29209"/>
                    <a:pt x="3975096" y="29844"/>
                    <a:pt x="3978271" y="31749"/>
                  </a:cubicBezTo>
                  <a:cubicBezTo>
                    <a:pt x="3981446" y="33019"/>
                    <a:pt x="3984621" y="35559"/>
                    <a:pt x="3987161" y="38099"/>
                  </a:cubicBezTo>
                  <a:cubicBezTo>
                    <a:pt x="3989701" y="41274"/>
                    <a:pt x="3990971" y="44449"/>
                    <a:pt x="3992241" y="49529"/>
                  </a:cubicBezTo>
                  <a:cubicBezTo>
                    <a:pt x="3993511" y="53974"/>
                    <a:pt x="3994146" y="59054"/>
                    <a:pt x="3994146" y="64134"/>
                  </a:cubicBezTo>
                  <a:lnTo>
                    <a:pt x="3994146" y="108584"/>
                  </a:lnTo>
                  <a:lnTo>
                    <a:pt x="3978906" y="108584"/>
                  </a:lnTo>
                  <a:lnTo>
                    <a:pt x="3978271" y="108584"/>
                  </a:lnTo>
                  <a:lnTo>
                    <a:pt x="3978271" y="64769"/>
                  </a:lnTo>
                  <a:cubicBezTo>
                    <a:pt x="3978271" y="57784"/>
                    <a:pt x="3977001" y="52069"/>
                    <a:pt x="3974461" y="48894"/>
                  </a:cubicBezTo>
                  <a:cubicBezTo>
                    <a:pt x="3971921" y="45084"/>
                    <a:pt x="3968111" y="43814"/>
                    <a:pt x="3962396" y="43814"/>
                  </a:cubicBezTo>
                  <a:cubicBezTo>
                    <a:pt x="3959856" y="43814"/>
                    <a:pt x="3957951" y="43814"/>
                    <a:pt x="3956046" y="45084"/>
                  </a:cubicBezTo>
                  <a:cubicBezTo>
                    <a:pt x="3954141" y="45719"/>
                    <a:pt x="3952236" y="46989"/>
                    <a:pt x="3950966" y="48894"/>
                  </a:cubicBezTo>
                  <a:cubicBezTo>
                    <a:pt x="3949696" y="50799"/>
                    <a:pt x="3948426" y="52704"/>
                    <a:pt x="3947791" y="55244"/>
                  </a:cubicBezTo>
                  <a:cubicBezTo>
                    <a:pt x="3947156" y="57784"/>
                    <a:pt x="3946521" y="60324"/>
                    <a:pt x="3946521" y="63499"/>
                  </a:cubicBezTo>
                  <a:lnTo>
                    <a:pt x="3946521" y="109219"/>
                  </a:lnTo>
                  <a:lnTo>
                    <a:pt x="3931281" y="109219"/>
                  </a:lnTo>
                  <a:lnTo>
                    <a:pt x="3931281" y="8889"/>
                  </a:lnTo>
                  <a:close/>
                  <a:moveTo>
                    <a:pt x="3248021" y="634"/>
                  </a:moveTo>
                  <a:lnTo>
                    <a:pt x="3248021" y="38099"/>
                  </a:lnTo>
                  <a:cubicBezTo>
                    <a:pt x="3248021" y="38099"/>
                    <a:pt x="3249926" y="35559"/>
                    <a:pt x="3251831" y="34289"/>
                  </a:cubicBezTo>
                  <a:cubicBezTo>
                    <a:pt x="3253101" y="33019"/>
                    <a:pt x="3255006" y="32384"/>
                    <a:pt x="3256276" y="31114"/>
                  </a:cubicBezTo>
                  <a:cubicBezTo>
                    <a:pt x="3258181" y="30479"/>
                    <a:pt x="3260086" y="29844"/>
                    <a:pt x="3261991" y="29209"/>
                  </a:cubicBezTo>
                  <a:cubicBezTo>
                    <a:pt x="3263896" y="29209"/>
                    <a:pt x="3265801" y="29209"/>
                    <a:pt x="3267706" y="29209"/>
                  </a:cubicBezTo>
                  <a:cubicBezTo>
                    <a:pt x="3272151" y="29209"/>
                    <a:pt x="3276596" y="29844"/>
                    <a:pt x="3279771" y="31749"/>
                  </a:cubicBezTo>
                  <a:cubicBezTo>
                    <a:pt x="3282946" y="33019"/>
                    <a:pt x="3286121" y="35559"/>
                    <a:pt x="3288661" y="38099"/>
                  </a:cubicBezTo>
                  <a:cubicBezTo>
                    <a:pt x="3291201" y="41274"/>
                    <a:pt x="3292471" y="44449"/>
                    <a:pt x="3293741" y="49529"/>
                  </a:cubicBezTo>
                  <a:cubicBezTo>
                    <a:pt x="3295011" y="53974"/>
                    <a:pt x="3295646" y="59054"/>
                    <a:pt x="3295646" y="64134"/>
                  </a:cubicBezTo>
                  <a:lnTo>
                    <a:pt x="3295646" y="108584"/>
                  </a:lnTo>
                  <a:lnTo>
                    <a:pt x="3280406" y="108584"/>
                  </a:lnTo>
                  <a:lnTo>
                    <a:pt x="3279771" y="108584"/>
                  </a:lnTo>
                  <a:lnTo>
                    <a:pt x="3279771" y="64769"/>
                  </a:lnTo>
                  <a:cubicBezTo>
                    <a:pt x="3279771" y="57784"/>
                    <a:pt x="3278501" y="52069"/>
                    <a:pt x="3275961" y="48894"/>
                  </a:cubicBezTo>
                  <a:cubicBezTo>
                    <a:pt x="3273421" y="45084"/>
                    <a:pt x="3269611" y="43814"/>
                    <a:pt x="3263896" y="43814"/>
                  </a:cubicBezTo>
                  <a:cubicBezTo>
                    <a:pt x="3261356" y="43814"/>
                    <a:pt x="3259451" y="43814"/>
                    <a:pt x="3257546" y="45084"/>
                  </a:cubicBezTo>
                  <a:cubicBezTo>
                    <a:pt x="3255641" y="45719"/>
                    <a:pt x="3253736" y="46989"/>
                    <a:pt x="3252466" y="48894"/>
                  </a:cubicBezTo>
                  <a:cubicBezTo>
                    <a:pt x="3251196" y="50799"/>
                    <a:pt x="3249926" y="52704"/>
                    <a:pt x="3249291" y="55244"/>
                  </a:cubicBezTo>
                  <a:cubicBezTo>
                    <a:pt x="3248656" y="57784"/>
                    <a:pt x="3248021" y="60324"/>
                    <a:pt x="3248021" y="63499"/>
                  </a:cubicBezTo>
                  <a:lnTo>
                    <a:pt x="3248021" y="109219"/>
                  </a:lnTo>
                  <a:lnTo>
                    <a:pt x="3232781" y="109219"/>
                  </a:lnTo>
                  <a:lnTo>
                    <a:pt x="3232781" y="8889"/>
                  </a:lnTo>
                  <a:close/>
                  <a:moveTo>
                    <a:pt x="2432681" y="634"/>
                  </a:moveTo>
                  <a:lnTo>
                    <a:pt x="2432681" y="38099"/>
                  </a:lnTo>
                  <a:cubicBezTo>
                    <a:pt x="2432681" y="38099"/>
                    <a:pt x="2434586" y="35559"/>
                    <a:pt x="2436491" y="34289"/>
                  </a:cubicBezTo>
                  <a:cubicBezTo>
                    <a:pt x="2437761" y="33019"/>
                    <a:pt x="2439666" y="32384"/>
                    <a:pt x="2440936" y="31114"/>
                  </a:cubicBezTo>
                  <a:cubicBezTo>
                    <a:pt x="2442841" y="30479"/>
                    <a:pt x="2444746" y="29844"/>
                    <a:pt x="2446651" y="29209"/>
                  </a:cubicBezTo>
                  <a:cubicBezTo>
                    <a:pt x="2448556" y="29209"/>
                    <a:pt x="2450461" y="29209"/>
                    <a:pt x="2452366" y="29209"/>
                  </a:cubicBezTo>
                  <a:cubicBezTo>
                    <a:pt x="2456811" y="29209"/>
                    <a:pt x="2461256" y="29844"/>
                    <a:pt x="2464431" y="31749"/>
                  </a:cubicBezTo>
                  <a:cubicBezTo>
                    <a:pt x="2467606" y="33019"/>
                    <a:pt x="2470781" y="35559"/>
                    <a:pt x="2473321" y="38099"/>
                  </a:cubicBezTo>
                  <a:cubicBezTo>
                    <a:pt x="2475861" y="41274"/>
                    <a:pt x="2477131" y="44449"/>
                    <a:pt x="2478401" y="49529"/>
                  </a:cubicBezTo>
                  <a:cubicBezTo>
                    <a:pt x="2479671" y="53974"/>
                    <a:pt x="2480306" y="59054"/>
                    <a:pt x="2480306" y="64134"/>
                  </a:cubicBezTo>
                  <a:lnTo>
                    <a:pt x="2480306" y="108584"/>
                  </a:lnTo>
                  <a:lnTo>
                    <a:pt x="2465066" y="108584"/>
                  </a:lnTo>
                  <a:lnTo>
                    <a:pt x="2464431" y="108584"/>
                  </a:lnTo>
                  <a:lnTo>
                    <a:pt x="2464431" y="64769"/>
                  </a:lnTo>
                  <a:cubicBezTo>
                    <a:pt x="2464431" y="57784"/>
                    <a:pt x="2463161" y="52069"/>
                    <a:pt x="2460621" y="48894"/>
                  </a:cubicBezTo>
                  <a:cubicBezTo>
                    <a:pt x="2458081" y="45084"/>
                    <a:pt x="2454271" y="43814"/>
                    <a:pt x="2448556" y="43814"/>
                  </a:cubicBezTo>
                  <a:cubicBezTo>
                    <a:pt x="2446016" y="43814"/>
                    <a:pt x="2444111" y="43814"/>
                    <a:pt x="2442206" y="45084"/>
                  </a:cubicBezTo>
                  <a:cubicBezTo>
                    <a:pt x="2440301" y="45719"/>
                    <a:pt x="2438396" y="46989"/>
                    <a:pt x="2437126" y="48894"/>
                  </a:cubicBezTo>
                  <a:cubicBezTo>
                    <a:pt x="2435856" y="50799"/>
                    <a:pt x="2434586" y="52704"/>
                    <a:pt x="2433951" y="55244"/>
                  </a:cubicBezTo>
                  <a:cubicBezTo>
                    <a:pt x="2433316" y="57784"/>
                    <a:pt x="2432681" y="60324"/>
                    <a:pt x="2432681" y="63499"/>
                  </a:cubicBezTo>
                  <a:lnTo>
                    <a:pt x="2432681" y="109219"/>
                  </a:lnTo>
                  <a:lnTo>
                    <a:pt x="2417441" y="109219"/>
                  </a:lnTo>
                  <a:lnTo>
                    <a:pt x="2417441" y="8889"/>
                  </a:lnTo>
                  <a:close/>
                  <a:moveTo>
                    <a:pt x="1734181" y="634"/>
                  </a:moveTo>
                  <a:lnTo>
                    <a:pt x="1734181" y="38099"/>
                  </a:lnTo>
                  <a:cubicBezTo>
                    <a:pt x="1734181" y="38099"/>
                    <a:pt x="1736086" y="35559"/>
                    <a:pt x="1737991" y="34289"/>
                  </a:cubicBezTo>
                  <a:cubicBezTo>
                    <a:pt x="1739261" y="33019"/>
                    <a:pt x="1741166" y="32384"/>
                    <a:pt x="1742436" y="31114"/>
                  </a:cubicBezTo>
                  <a:cubicBezTo>
                    <a:pt x="1744341" y="30479"/>
                    <a:pt x="1746246" y="29844"/>
                    <a:pt x="1748151" y="29209"/>
                  </a:cubicBezTo>
                  <a:cubicBezTo>
                    <a:pt x="1750056" y="29209"/>
                    <a:pt x="1751961" y="29209"/>
                    <a:pt x="1753866" y="29209"/>
                  </a:cubicBezTo>
                  <a:cubicBezTo>
                    <a:pt x="1758311" y="29209"/>
                    <a:pt x="1762756" y="29844"/>
                    <a:pt x="1765931" y="31749"/>
                  </a:cubicBezTo>
                  <a:cubicBezTo>
                    <a:pt x="1769106" y="33019"/>
                    <a:pt x="1772281" y="35559"/>
                    <a:pt x="1774821" y="38099"/>
                  </a:cubicBezTo>
                  <a:cubicBezTo>
                    <a:pt x="1777361" y="41274"/>
                    <a:pt x="1778631" y="44449"/>
                    <a:pt x="1779901" y="49529"/>
                  </a:cubicBezTo>
                  <a:cubicBezTo>
                    <a:pt x="1781171" y="53974"/>
                    <a:pt x="1781806" y="59054"/>
                    <a:pt x="1781806" y="64134"/>
                  </a:cubicBezTo>
                  <a:lnTo>
                    <a:pt x="1781806" y="108584"/>
                  </a:lnTo>
                  <a:lnTo>
                    <a:pt x="1766566" y="108584"/>
                  </a:lnTo>
                  <a:lnTo>
                    <a:pt x="1765931" y="108584"/>
                  </a:lnTo>
                  <a:lnTo>
                    <a:pt x="1765931" y="64769"/>
                  </a:lnTo>
                  <a:cubicBezTo>
                    <a:pt x="1765931" y="57784"/>
                    <a:pt x="1764661" y="52069"/>
                    <a:pt x="1762121" y="48894"/>
                  </a:cubicBezTo>
                  <a:cubicBezTo>
                    <a:pt x="1759581" y="45084"/>
                    <a:pt x="1755771" y="43814"/>
                    <a:pt x="1750056" y="43814"/>
                  </a:cubicBezTo>
                  <a:cubicBezTo>
                    <a:pt x="1747516" y="43814"/>
                    <a:pt x="1745611" y="43814"/>
                    <a:pt x="1743706" y="45084"/>
                  </a:cubicBezTo>
                  <a:cubicBezTo>
                    <a:pt x="1741801" y="45719"/>
                    <a:pt x="1739896" y="46989"/>
                    <a:pt x="1738626" y="48894"/>
                  </a:cubicBezTo>
                  <a:cubicBezTo>
                    <a:pt x="1737356" y="50799"/>
                    <a:pt x="1736086" y="52704"/>
                    <a:pt x="1735451" y="55244"/>
                  </a:cubicBezTo>
                  <a:cubicBezTo>
                    <a:pt x="1734816" y="57784"/>
                    <a:pt x="1734181" y="60324"/>
                    <a:pt x="1734181" y="63499"/>
                  </a:cubicBezTo>
                  <a:lnTo>
                    <a:pt x="1734181" y="109219"/>
                  </a:lnTo>
                  <a:lnTo>
                    <a:pt x="1718941" y="109219"/>
                  </a:lnTo>
                  <a:lnTo>
                    <a:pt x="1718941" y="8889"/>
                  </a:lnTo>
                  <a:close/>
                  <a:moveTo>
                    <a:pt x="803275" y="634"/>
                  </a:moveTo>
                  <a:lnTo>
                    <a:pt x="803275" y="38099"/>
                  </a:lnTo>
                  <a:cubicBezTo>
                    <a:pt x="803275" y="38099"/>
                    <a:pt x="805180" y="35559"/>
                    <a:pt x="807085" y="34289"/>
                  </a:cubicBezTo>
                  <a:cubicBezTo>
                    <a:pt x="808355" y="33019"/>
                    <a:pt x="810260" y="32384"/>
                    <a:pt x="811530" y="31114"/>
                  </a:cubicBezTo>
                  <a:cubicBezTo>
                    <a:pt x="813435" y="30479"/>
                    <a:pt x="815340" y="29844"/>
                    <a:pt x="817245" y="29209"/>
                  </a:cubicBezTo>
                  <a:cubicBezTo>
                    <a:pt x="819150" y="29209"/>
                    <a:pt x="821055" y="29209"/>
                    <a:pt x="822960" y="29209"/>
                  </a:cubicBezTo>
                  <a:cubicBezTo>
                    <a:pt x="827405" y="29209"/>
                    <a:pt x="831850" y="29844"/>
                    <a:pt x="835025" y="31749"/>
                  </a:cubicBezTo>
                  <a:cubicBezTo>
                    <a:pt x="838200" y="33019"/>
                    <a:pt x="841375" y="35559"/>
                    <a:pt x="843915" y="38099"/>
                  </a:cubicBezTo>
                  <a:cubicBezTo>
                    <a:pt x="846455" y="41274"/>
                    <a:pt x="847725" y="44449"/>
                    <a:pt x="848995" y="49529"/>
                  </a:cubicBezTo>
                  <a:cubicBezTo>
                    <a:pt x="850265" y="53974"/>
                    <a:pt x="850900" y="59054"/>
                    <a:pt x="850900" y="64134"/>
                  </a:cubicBezTo>
                  <a:lnTo>
                    <a:pt x="850900" y="108584"/>
                  </a:lnTo>
                  <a:lnTo>
                    <a:pt x="835660" y="108584"/>
                  </a:lnTo>
                  <a:lnTo>
                    <a:pt x="835025" y="108584"/>
                  </a:lnTo>
                  <a:lnTo>
                    <a:pt x="835025" y="64769"/>
                  </a:lnTo>
                  <a:cubicBezTo>
                    <a:pt x="835025" y="57784"/>
                    <a:pt x="833755" y="52069"/>
                    <a:pt x="831215" y="48894"/>
                  </a:cubicBezTo>
                  <a:cubicBezTo>
                    <a:pt x="828675" y="45084"/>
                    <a:pt x="824865" y="43814"/>
                    <a:pt x="819150" y="43814"/>
                  </a:cubicBezTo>
                  <a:cubicBezTo>
                    <a:pt x="816610" y="43814"/>
                    <a:pt x="814705" y="43814"/>
                    <a:pt x="812800" y="45084"/>
                  </a:cubicBezTo>
                  <a:cubicBezTo>
                    <a:pt x="810895" y="45719"/>
                    <a:pt x="808990" y="46989"/>
                    <a:pt x="807720" y="48894"/>
                  </a:cubicBezTo>
                  <a:cubicBezTo>
                    <a:pt x="806450" y="50799"/>
                    <a:pt x="805180" y="52704"/>
                    <a:pt x="804545" y="55244"/>
                  </a:cubicBezTo>
                  <a:cubicBezTo>
                    <a:pt x="803910" y="57784"/>
                    <a:pt x="803275" y="60324"/>
                    <a:pt x="803275" y="63499"/>
                  </a:cubicBezTo>
                  <a:lnTo>
                    <a:pt x="803275" y="109219"/>
                  </a:lnTo>
                  <a:lnTo>
                    <a:pt x="788035" y="109219"/>
                  </a:lnTo>
                  <a:lnTo>
                    <a:pt x="788035" y="8889"/>
                  </a:lnTo>
                  <a:close/>
                  <a:moveTo>
                    <a:pt x="104774" y="634"/>
                  </a:moveTo>
                  <a:lnTo>
                    <a:pt x="104774" y="38099"/>
                  </a:lnTo>
                  <a:cubicBezTo>
                    <a:pt x="104774" y="38099"/>
                    <a:pt x="106679" y="35559"/>
                    <a:pt x="108584" y="34289"/>
                  </a:cubicBezTo>
                  <a:cubicBezTo>
                    <a:pt x="109854" y="33019"/>
                    <a:pt x="111759" y="32384"/>
                    <a:pt x="113029" y="31114"/>
                  </a:cubicBezTo>
                  <a:cubicBezTo>
                    <a:pt x="114934" y="30479"/>
                    <a:pt x="116839" y="29844"/>
                    <a:pt x="118744" y="29209"/>
                  </a:cubicBezTo>
                  <a:cubicBezTo>
                    <a:pt x="120649" y="29209"/>
                    <a:pt x="122554" y="29209"/>
                    <a:pt x="124459" y="29209"/>
                  </a:cubicBezTo>
                  <a:cubicBezTo>
                    <a:pt x="128904" y="29209"/>
                    <a:pt x="133349" y="29844"/>
                    <a:pt x="136524" y="31749"/>
                  </a:cubicBezTo>
                  <a:cubicBezTo>
                    <a:pt x="139699" y="33019"/>
                    <a:pt x="142874" y="35559"/>
                    <a:pt x="145414" y="38099"/>
                  </a:cubicBezTo>
                  <a:cubicBezTo>
                    <a:pt x="147954" y="41274"/>
                    <a:pt x="149224" y="44449"/>
                    <a:pt x="150494" y="49529"/>
                  </a:cubicBezTo>
                  <a:cubicBezTo>
                    <a:pt x="151764" y="53974"/>
                    <a:pt x="152399" y="59054"/>
                    <a:pt x="152399" y="64134"/>
                  </a:cubicBezTo>
                  <a:lnTo>
                    <a:pt x="152399" y="108584"/>
                  </a:lnTo>
                  <a:lnTo>
                    <a:pt x="137159" y="108584"/>
                  </a:lnTo>
                  <a:lnTo>
                    <a:pt x="136524" y="108584"/>
                  </a:lnTo>
                  <a:lnTo>
                    <a:pt x="136524" y="64769"/>
                  </a:lnTo>
                  <a:cubicBezTo>
                    <a:pt x="136524" y="57784"/>
                    <a:pt x="135254" y="52069"/>
                    <a:pt x="132714" y="48894"/>
                  </a:cubicBezTo>
                  <a:cubicBezTo>
                    <a:pt x="130174" y="45084"/>
                    <a:pt x="126364" y="43814"/>
                    <a:pt x="120649" y="43814"/>
                  </a:cubicBezTo>
                  <a:cubicBezTo>
                    <a:pt x="118109" y="43814"/>
                    <a:pt x="116204" y="43814"/>
                    <a:pt x="114299" y="45084"/>
                  </a:cubicBezTo>
                  <a:cubicBezTo>
                    <a:pt x="112394" y="45719"/>
                    <a:pt x="110489" y="46989"/>
                    <a:pt x="109219" y="48894"/>
                  </a:cubicBezTo>
                  <a:cubicBezTo>
                    <a:pt x="107949" y="50799"/>
                    <a:pt x="106679" y="52704"/>
                    <a:pt x="106044" y="55244"/>
                  </a:cubicBezTo>
                  <a:cubicBezTo>
                    <a:pt x="105409" y="57784"/>
                    <a:pt x="104774" y="60324"/>
                    <a:pt x="104774" y="63499"/>
                  </a:cubicBezTo>
                  <a:lnTo>
                    <a:pt x="104774" y="109219"/>
                  </a:lnTo>
                  <a:lnTo>
                    <a:pt x="89534" y="109219"/>
                  </a:lnTo>
                  <a:lnTo>
                    <a:pt x="89534" y="8889"/>
                  </a:lnTo>
                  <a:close/>
                  <a:moveTo>
                    <a:pt x="3894450" y="0"/>
                  </a:moveTo>
                  <a:lnTo>
                    <a:pt x="3894450" y="30480"/>
                  </a:lnTo>
                  <a:lnTo>
                    <a:pt x="3913500" y="30480"/>
                  </a:lnTo>
                  <a:lnTo>
                    <a:pt x="3913500" y="44450"/>
                  </a:lnTo>
                  <a:lnTo>
                    <a:pt x="3894450" y="44450"/>
                  </a:lnTo>
                  <a:lnTo>
                    <a:pt x="3894450" y="86995"/>
                  </a:lnTo>
                  <a:cubicBezTo>
                    <a:pt x="3894450" y="86995"/>
                    <a:pt x="3894450" y="90170"/>
                    <a:pt x="3894450" y="91440"/>
                  </a:cubicBezTo>
                  <a:cubicBezTo>
                    <a:pt x="3894450" y="92710"/>
                    <a:pt x="3895085" y="93345"/>
                    <a:pt x="3895720" y="94615"/>
                  </a:cubicBezTo>
                  <a:cubicBezTo>
                    <a:pt x="3896355" y="95250"/>
                    <a:pt x="3896990" y="95885"/>
                    <a:pt x="3898260" y="95885"/>
                  </a:cubicBezTo>
                  <a:cubicBezTo>
                    <a:pt x="3899530" y="95885"/>
                    <a:pt x="3900800" y="95885"/>
                    <a:pt x="3902070" y="95885"/>
                  </a:cubicBezTo>
                  <a:cubicBezTo>
                    <a:pt x="3903975" y="95885"/>
                    <a:pt x="3905880" y="95885"/>
                    <a:pt x="3908420" y="95250"/>
                  </a:cubicBezTo>
                  <a:cubicBezTo>
                    <a:pt x="3910325" y="94615"/>
                    <a:pt x="3912230" y="93980"/>
                    <a:pt x="3913500" y="93345"/>
                  </a:cubicBezTo>
                  <a:lnTo>
                    <a:pt x="3911595" y="106680"/>
                  </a:lnTo>
                  <a:cubicBezTo>
                    <a:pt x="3911595" y="106680"/>
                    <a:pt x="3907785" y="108585"/>
                    <a:pt x="3905245" y="109220"/>
                  </a:cubicBezTo>
                  <a:cubicBezTo>
                    <a:pt x="3902705" y="109855"/>
                    <a:pt x="3900165" y="110490"/>
                    <a:pt x="3896990" y="110490"/>
                  </a:cubicBezTo>
                  <a:cubicBezTo>
                    <a:pt x="3894450" y="110490"/>
                    <a:pt x="3891910" y="110490"/>
                    <a:pt x="3890005" y="109220"/>
                  </a:cubicBezTo>
                  <a:cubicBezTo>
                    <a:pt x="3888100" y="108585"/>
                    <a:pt x="3886195" y="107315"/>
                    <a:pt x="3884290" y="105410"/>
                  </a:cubicBezTo>
                  <a:cubicBezTo>
                    <a:pt x="3882385" y="103505"/>
                    <a:pt x="3881115" y="101600"/>
                    <a:pt x="3880480" y="99060"/>
                  </a:cubicBezTo>
                  <a:cubicBezTo>
                    <a:pt x="3879845" y="96520"/>
                    <a:pt x="3879210" y="93345"/>
                    <a:pt x="3879210" y="89535"/>
                  </a:cubicBezTo>
                  <a:lnTo>
                    <a:pt x="3879210" y="44450"/>
                  </a:lnTo>
                  <a:lnTo>
                    <a:pt x="3868415" y="44450"/>
                  </a:lnTo>
                  <a:lnTo>
                    <a:pt x="3868415" y="30480"/>
                  </a:lnTo>
                  <a:lnTo>
                    <a:pt x="3879210" y="30480"/>
                  </a:lnTo>
                  <a:lnTo>
                    <a:pt x="3879210" y="8255"/>
                  </a:lnTo>
                  <a:close/>
                  <a:moveTo>
                    <a:pt x="3664581" y="0"/>
                  </a:moveTo>
                  <a:lnTo>
                    <a:pt x="3664581" y="30480"/>
                  </a:lnTo>
                  <a:lnTo>
                    <a:pt x="3683631" y="30480"/>
                  </a:lnTo>
                  <a:lnTo>
                    <a:pt x="3683631" y="44450"/>
                  </a:lnTo>
                  <a:lnTo>
                    <a:pt x="3664581" y="44450"/>
                  </a:lnTo>
                  <a:lnTo>
                    <a:pt x="3664581" y="86995"/>
                  </a:lnTo>
                  <a:cubicBezTo>
                    <a:pt x="3664581" y="86995"/>
                    <a:pt x="3664581" y="90170"/>
                    <a:pt x="3664581" y="91440"/>
                  </a:cubicBezTo>
                  <a:cubicBezTo>
                    <a:pt x="3664581" y="92710"/>
                    <a:pt x="3665216" y="93345"/>
                    <a:pt x="3665851" y="94615"/>
                  </a:cubicBezTo>
                  <a:cubicBezTo>
                    <a:pt x="3666486" y="95250"/>
                    <a:pt x="3667121" y="95885"/>
                    <a:pt x="3668391" y="95885"/>
                  </a:cubicBezTo>
                  <a:cubicBezTo>
                    <a:pt x="3669661" y="95885"/>
                    <a:pt x="3670931" y="95885"/>
                    <a:pt x="3672201" y="95885"/>
                  </a:cubicBezTo>
                  <a:cubicBezTo>
                    <a:pt x="3674106" y="95885"/>
                    <a:pt x="3676011" y="95885"/>
                    <a:pt x="3678551" y="95250"/>
                  </a:cubicBezTo>
                  <a:cubicBezTo>
                    <a:pt x="3680456" y="94615"/>
                    <a:pt x="3682361" y="93980"/>
                    <a:pt x="3683631" y="93345"/>
                  </a:cubicBezTo>
                  <a:lnTo>
                    <a:pt x="3681726" y="106680"/>
                  </a:lnTo>
                  <a:cubicBezTo>
                    <a:pt x="3681726" y="106680"/>
                    <a:pt x="3677916" y="108585"/>
                    <a:pt x="3675376" y="109220"/>
                  </a:cubicBezTo>
                  <a:cubicBezTo>
                    <a:pt x="3672836" y="109855"/>
                    <a:pt x="3670296" y="110490"/>
                    <a:pt x="3667121" y="110490"/>
                  </a:cubicBezTo>
                  <a:cubicBezTo>
                    <a:pt x="3664581" y="110490"/>
                    <a:pt x="3662041" y="110490"/>
                    <a:pt x="3660136" y="109220"/>
                  </a:cubicBezTo>
                  <a:cubicBezTo>
                    <a:pt x="3658231" y="108585"/>
                    <a:pt x="3656326" y="107315"/>
                    <a:pt x="3654421" y="105410"/>
                  </a:cubicBezTo>
                  <a:cubicBezTo>
                    <a:pt x="3652516" y="103505"/>
                    <a:pt x="3651246" y="101600"/>
                    <a:pt x="3650611" y="99060"/>
                  </a:cubicBezTo>
                  <a:cubicBezTo>
                    <a:pt x="3649976" y="96520"/>
                    <a:pt x="3649341" y="93345"/>
                    <a:pt x="3649341" y="89535"/>
                  </a:cubicBezTo>
                  <a:lnTo>
                    <a:pt x="3649341" y="44450"/>
                  </a:lnTo>
                  <a:lnTo>
                    <a:pt x="3638546" y="44450"/>
                  </a:lnTo>
                  <a:lnTo>
                    <a:pt x="3638546" y="30480"/>
                  </a:lnTo>
                  <a:lnTo>
                    <a:pt x="3649341" y="30480"/>
                  </a:lnTo>
                  <a:lnTo>
                    <a:pt x="3649341" y="8255"/>
                  </a:lnTo>
                  <a:close/>
                  <a:moveTo>
                    <a:pt x="3610605" y="0"/>
                  </a:moveTo>
                  <a:lnTo>
                    <a:pt x="3610605" y="30480"/>
                  </a:lnTo>
                  <a:lnTo>
                    <a:pt x="3629655" y="30480"/>
                  </a:lnTo>
                  <a:lnTo>
                    <a:pt x="3629655" y="44450"/>
                  </a:lnTo>
                  <a:lnTo>
                    <a:pt x="3610605" y="44450"/>
                  </a:lnTo>
                  <a:lnTo>
                    <a:pt x="3610605" y="86995"/>
                  </a:lnTo>
                  <a:cubicBezTo>
                    <a:pt x="3610605" y="86995"/>
                    <a:pt x="3610605" y="90170"/>
                    <a:pt x="3610605" y="91440"/>
                  </a:cubicBezTo>
                  <a:cubicBezTo>
                    <a:pt x="3610605" y="92710"/>
                    <a:pt x="3611240" y="93345"/>
                    <a:pt x="3611875" y="94615"/>
                  </a:cubicBezTo>
                  <a:cubicBezTo>
                    <a:pt x="3612510" y="95250"/>
                    <a:pt x="3613145" y="95885"/>
                    <a:pt x="3614415" y="95885"/>
                  </a:cubicBezTo>
                  <a:cubicBezTo>
                    <a:pt x="3615685" y="95885"/>
                    <a:pt x="3616955" y="95885"/>
                    <a:pt x="3618225" y="95885"/>
                  </a:cubicBezTo>
                  <a:cubicBezTo>
                    <a:pt x="3620130" y="95885"/>
                    <a:pt x="3622035" y="95885"/>
                    <a:pt x="3624575" y="95250"/>
                  </a:cubicBezTo>
                  <a:cubicBezTo>
                    <a:pt x="3626480" y="94615"/>
                    <a:pt x="3628385" y="93980"/>
                    <a:pt x="3629655" y="93345"/>
                  </a:cubicBezTo>
                  <a:lnTo>
                    <a:pt x="3627750" y="106680"/>
                  </a:lnTo>
                  <a:cubicBezTo>
                    <a:pt x="3627750" y="106680"/>
                    <a:pt x="3623940" y="108585"/>
                    <a:pt x="3621400" y="109220"/>
                  </a:cubicBezTo>
                  <a:cubicBezTo>
                    <a:pt x="3618860" y="109855"/>
                    <a:pt x="3616320" y="110490"/>
                    <a:pt x="3613145" y="110490"/>
                  </a:cubicBezTo>
                  <a:cubicBezTo>
                    <a:pt x="3610605" y="110490"/>
                    <a:pt x="3608065" y="110490"/>
                    <a:pt x="3606160" y="109220"/>
                  </a:cubicBezTo>
                  <a:cubicBezTo>
                    <a:pt x="3604255" y="108585"/>
                    <a:pt x="3602350" y="107315"/>
                    <a:pt x="3600445" y="105410"/>
                  </a:cubicBezTo>
                  <a:cubicBezTo>
                    <a:pt x="3598540" y="103505"/>
                    <a:pt x="3597270" y="101600"/>
                    <a:pt x="3596635" y="99060"/>
                  </a:cubicBezTo>
                  <a:cubicBezTo>
                    <a:pt x="3596000" y="96520"/>
                    <a:pt x="3595365" y="93345"/>
                    <a:pt x="3595365" y="89535"/>
                  </a:cubicBezTo>
                  <a:lnTo>
                    <a:pt x="3595365" y="44450"/>
                  </a:lnTo>
                  <a:lnTo>
                    <a:pt x="3584570" y="44450"/>
                  </a:lnTo>
                  <a:lnTo>
                    <a:pt x="3584570" y="30480"/>
                  </a:lnTo>
                  <a:lnTo>
                    <a:pt x="3595365" y="30480"/>
                  </a:lnTo>
                  <a:lnTo>
                    <a:pt x="3595365" y="8255"/>
                  </a:lnTo>
                  <a:close/>
                  <a:moveTo>
                    <a:pt x="3445505" y="0"/>
                  </a:moveTo>
                  <a:lnTo>
                    <a:pt x="3445505" y="37465"/>
                  </a:lnTo>
                  <a:cubicBezTo>
                    <a:pt x="3445505" y="37465"/>
                    <a:pt x="3448680" y="34925"/>
                    <a:pt x="3449950" y="33655"/>
                  </a:cubicBezTo>
                  <a:cubicBezTo>
                    <a:pt x="3451220" y="33020"/>
                    <a:pt x="3452490" y="31750"/>
                    <a:pt x="3453760" y="31115"/>
                  </a:cubicBezTo>
                  <a:cubicBezTo>
                    <a:pt x="3455030" y="30480"/>
                    <a:pt x="3456935" y="29845"/>
                    <a:pt x="3458840" y="29210"/>
                  </a:cubicBezTo>
                  <a:cubicBezTo>
                    <a:pt x="3460745" y="29210"/>
                    <a:pt x="3463285" y="28575"/>
                    <a:pt x="3465825" y="28575"/>
                  </a:cubicBezTo>
                  <a:cubicBezTo>
                    <a:pt x="3470270" y="28575"/>
                    <a:pt x="3474080" y="29210"/>
                    <a:pt x="3477890" y="31115"/>
                  </a:cubicBezTo>
                  <a:cubicBezTo>
                    <a:pt x="3481700" y="32385"/>
                    <a:pt x="3484875" y="34925"/>
                    <a:pt x="3487415" y="38735"/>
                  </a:cubicBezTo>
                  <a:cubicBezTo>
                    <a:pt x="3489955" y="41910"/>
                    <a:pt x="3492495" y="46355"/>
                    <a:pt x="3493765" y="51435"/>
                  </a:cubicBezTo>
                  <a:cubicBezTo>
                    <a:pt x="3495035" y="56515"/>
                    <a:pt x="3496305" y="62865"/>
                    <a:pt x="3496305" y="70485"/>
                  </a:cubicBezTo>
                  <a:lnTo>
                    <a:pt x="3495670" y="71120"/>
                  </a:lnTo>
                  <a:cubicBezTo>
                    <a:pt x="3495670" y="77470"/>
                    <a:pt x="3495035" y="83820"/>
                    <a:pt x="3493130" y="88265"/>
                  </a:cubicBezTo>
                  <a:cubicBezTo>
                    <a:pt x="3491225" y="93345"/>
                    <a:pt x="3489320" y="97155"/>
                    <a:pt x="3486145" y="100330"/>
                  </a:cubicBezTo>
                  <a:cubicBezTo>
                    <a:pt x="3483605" y="103505"/>
                    <a:pt x="3479795" y="106045"/>
                    <a:pt x="3476620" y="107315"/>
                  </a:cubicBezTo>
                  <a:cubicBezTo>
                    <a:pt x="3472810" y="109220"/>
                    <a:pt x="3469000" y="109855"/>
                    <a:pt x="3465190" y="109855"/>
                  </a:cubicBezTo>
                  <a:cubicBezTo>
                    <a:pt x="3461380" y="109855"/>
                    <a:pt x="3457570" y="109220"/>
                    <a:pt x="3454395" y="107315"/>
                  </a:cubicBezTo>
                  <a:cubicBezTo>
                    <a:pt x="3450585" y="105410"/>
                    <a:pt x="3448045" y="103505"/>
                    <a:pt x="3445505" y="100965"/>
                  </a:cubicBezTo>
                  <a:lnTo>
                    <a:pt x="3445505" y="107950"/>
                  </a:lnTo>
                  <a:lnTo>
                    <a:pt x="3430265" y="107950"/>
                  </a:lnTo>
                  <a:lnTo>
                    <a:pt x="3430265" y="7620"/>
                  </a:lnTo>
                  <a:close/>
                  <a:moveTo>
                    <a:pt x="2380611" y="0"/>
                  </a:moveTo>
                  <a:lnTo>
                    <a:pt x="2380611" y="30480"/>
                  </a:lnTo>
                  <a:lnTo>
                    <a:pt x="2399661" y="30480"/>
                  </a:lnTo>
                  <a:lnTo>
                    <a:pt x="2399661" y="44450"/>
                  </a:lnTo>
                  <a:lnTo>
                    <a:pt x="2380611" y="44450"/>
                  </a:lnTo>
                  <a:lnTo>
                    <a:pt x="2380611" y="86995"/>
                  </a:lnTo>
                  <a:cubicBezTo>
                    <a:pt x="2380611" y="86995"/>
                    <a:pt x="2380611" y="90170"/>
                    <a:pt x="2380611" y="91440"/>
                  </a:cubicBezTo>
                  <a:cubicBezTo>
                    <a:pt x="2380611" y="92710"/>
                    <a:pt x="2381246" y="93345"/>
                    <a:pt x="2381881" y="94615"/>
                  </a:cubicBezTo>
                  <a:cubicBezTo>
                    <a:pt x="2382516" y="95250"/>
                    <a:pt x="2383151" y="95885"/>
                    <a:pt x="2384421" y="95885"/>
                  </a:cubicBezTo>
                  <a:cubicBezTo>
                    <a:pt x="2385691" y="95885"/>
                    <a:pt x="2386961" y="95885"/>
                    <a:pt x="2388231" y="95885"/>
                  </a:cubicBezTo>
                  <a:cubicBezTo>
                    <a:pt x="2390136" y="95885"/>
                    <a:pt x="2392041" y="95885"/>
                    <a:pt x="2394581" y="95250"/>
                  </a:cubicBezTo>
                  <a:cubicBezTo>
                    <a:pt x="2396486" y="94615"/>
                    <a:pt x="2398391" y="93980"/>
                    <a:pt x="2399661" y="93345"/>
                  </a:cubicBezTo>
                  <a:lnTo>
                    <a:pt x="2397756" y="106680"/>
                  </a:lnTo>
                  <a:cubicBezTo>
                    <a:pt x="2397756" y="106680"/>
                    <a:pt x="2393946" y="108585"/>
                    <a:pt x="2391406" y="109220"/>
                  </a:cubicBezTo>
                  <a:cubicBezTo>
                    <a:pt x="2388866" y="109855"/>
                    <a:pt x="2386326" y="110490"/>
                    <a:pt x="2383151" y="110490"/>
                  </a:cubicBezTo>
                  <a:cubicBezTo>
                    <a:pt x="2380611" y="110490"/>
                    <a:pt x="2378071" y="110490"/>
                    <a:pt x="2376166" y="109220"/>
                  </a:cubicBezTo>
                  <a:cubicBezTo>
                    <a:pt x="2374261" y="108585"/>
                    <a:pt x="2372356" y="107315"/>
                    <a:pt x="2370451" y="105410"/>
                  </a:cubicBezTo>
                  <a:cubicBezTo>
                    <a:pt x="2368546" y="103505"/>
                    <a:pt x="2367276" y="101600"/>
                    <a:pt x="2366641" y="99060"/>
                  </a:cubicBezTo>
                  <a:cubicBezTo>
                    <a:pt x="2366006" y="96520"/>
                    <a:pt x="2365371" y="93345"/>
                    <a:pt x="2365371" y="89535"/>
                  </a:cubicBezTo>
                  <a:lnTo>
                    <a:pt x="2365371" y="44450"/>
                  </a:lnTo>
                  <a:lnTo>
                    <a:pt x="2354576" y="44450"/>
                  </a:lnTo>
                  <a:lnTo>
                    <a:pt x="2354576" y="30480"/>
                  </a:lnTo>
                  <a:lnTo>
                    <a:pt x="2365371" y="30480"/>
                  </a:lnTo>
                  <a:lnTo>
                    <a:pt x="2365371" y="8255"/>
                  </a:lnTo>
                  <a:close/>
                  <a:moveTo>
                    <a:pt x="2150741" y="0"/>
                  </a:moveTo>
                  <a:lnTo>
                    <a:pt x="2150741" y="30480"/>
                  </a:lnTo>
                  <a:lnTo>
                    <a:pt x="2169791" y="30480"/>
                  </a:lnTo>
                  <a:lnTo>
                    <a:pt x="2169791" y="44450"/>
                  </a:lnTo>
                  <a:lnTo>
                    <a:pt x="2150741" y="44450"/>
                  </a:lnTo>
                  <a:lnTo>
                    <a:pt x="2150741" y="86995"/>
                  </a:lnTo>
                  <a:cubicBezTo>
                    <a:pt x="2150741" y="86995"/>
                    <a:pt x="2150741" y="90170"/>
                    <a:pt x="2150741" y="91440"/>
                  </a:cubicBezTo>
                  <a:cubicBezTo>
                    <a:pt x="2150741" y="92710"/>
                    <a:pt x="2151376" y="93345"/>
                    <a:pt x="2152011" y="94615"/>
                  </a:cubicBezTo>
                  <a:cubicBezTo>
                    <a:pt x="2152646" y="95250"/>
                    <a:pt x="2153281" y="95885"/>
                    <a:pt x="2154551" y="95885"/>
                  </a:cubicBezTo>
                  <a:cubicBezTo>
                    <a:pt x="2155821" y="95885"/>
                    <a:pt x="2157091" y="95885"/>
                    <a:pt x="2158361" y="95885"/>
                  </a:cubicBezTo>
                  <a:cubicBezTo>
                    <a:pt x="2160266" y="95885"/>
                    <a:pt x="2162171" y="95885"/>
                    <a:pt x="2164711" y="95250"/>
                  </a:cubicBezTo>
                  <a:cubicBezTo>
                    <a:pt x="2166616" y="94615"/>
                    <a:pt x="2168521" y="93980"/>
                    <a:pt x="2169791" y="93345"/>
                  </a:cubicBezTo>
                  <a:lnTo>
                    <a:pt x="2167886" y="106680"/>
                  </a:lnTo>
                  <a:cubicBezTo>
                    <a:pt x="2167886" y="106680"/>
                    <a:pt x="2164076" y="108585"/>
                    <a:pt x="2161536" y="109220"/>
                  </a:cubicBezTo>
                  <a:cubicBezTo>
                    <a:pt x="2158996" y="109855"/>
                    <a:pt x="2156456" y="110490"/>
                    <a:pt x="2153281" y="110490"/>
                  </a:cubicBezTo>
                  <a:cubicBezTo>
                    <a:pt x="2150741" y="110490"/>
                    <a:pt x="2148201" y="110490"/>
                    <a:pt x="2146296" y="109220"/>
                  </a:cubicBezTo>
                  <a:cubicBezTo>
                    <a:pt x="2144391" y="108585"/>
                    <a:pt x="2142486" y="107315"/>
                    <a:pt x="2140581" y="105410"/>
                  </a:cubicBezTo>
                  <a:cubicBezTo>
                    <a:pt x="2138676" y="103505"/>
                    <a:pt x="2137406" y="101600"/>
                    <a:pt x="2136771" y="99060"/>
                  </a:cubicBezTo>
                  <a:cubicBezTo>
                    <a:pt x="2136136" y="96520"/>
                    <a:pt x="2135501" y="93345"/>
                    <a:pt x="2135501" y="89535"/>
                  </a:cubicBezTo>
                  <a:lnTo>
                    <a:pt x="2135501" y="44450"/>
                  </a:lnTo>
                  <a:lnTo>
                    <a:pt x="2124706" y="44450"/>
                  </a:lnTo>
                  <a:lnTo>
                    <a:pt x="2124706" y="30480"/>
                  </a:lnTo>
                  <a:lnTo>
                    <a:pt x="2135501" y="30480"/>
                  </a:lnTo>
                  <a:lnTo>
                    <a:pt x="2135501" y="8255"/>
                  </a:lnTo>
                  <a:close/>
                  <a:moveTo>
                    <a:pt x="2096131" y="0"/>
                  </a:moveTo>
                  <a:lnTo>
                    <a:pt x="2096131" y="30480"/>
                  </a:lnTo>
                  <a:lnTo>
                    <a:pt x="2115181" y="30480"/>
                  </a:lnTo>
                  <a:lnTo>
                    <a:pt x="2115181" y="44450"/>
                  </a:lnTo>
                  <a:lnTo>
                    <a:pt x="2096131" y="44450"/>
                  </a:lnTo>
                  <a:lnTo>
                    <a:pt x="2096131" y="86995"/>
                  </a:lnTo>
                  <a:cubicBezTo>
                    <a:pt x="2096131" y="86995"/>
                    <a:pt x="2096131" y="90170"/>
                    <a:pt x="2096131" y="91440"/>
                  </a:cubicBezTo>
                  <a:cubicBezTo>
                    <a:pt x="2096131" y="92710"/>
                    <a:pt x="2096766" y="93345"/>
                    <a:pt x="2097401" y="94615"/>
                  </a:cubicBezTo>
                  <a:cubicBezTo>
                    <a:pt x="2098036" y="95250"/>
                    <a:pt x="2098671" y="95885"/>
                    <a:pt x="2099941" y="95885"/>
                  </a:cubicBezTo>
                  <a:cubicBezTo>
                    <a:pt x="2101211" y="95885"/>
                    <a:pt x="2102481" y="95885"/>
                    <a:pt x="2103751" y="95885"/>
                  </a:cubicBezTo>
                  <a:cubicBezTo>
                    <a:pt x="2105656" y="95885"/>
                    <a:pt x="2107561" y="95885"/>
                    <a:pt x="2110101" y="95250"/>
                  </a:cubicBezTo>
                  <a:cubicBezTo>
                    <a:pt x="2112006" y="94615"/>
                    <a:pt x="2113911" y="93980"/>
                    <a:pt x="2115181" y="93345"/>
                  </a:cubicBezTo>
                  <a:lnTo>
                    <a:pt x="2113276" y="106680"/>
                  </a:lnTo>
                  <a:cubicBezTo>
                    <a:pt x="2113276" y="106680"/>
                    <a:pt x="2109466" y="108585"/>
                    <a:pt x="2106926" y="109220"/>
                  </a:cubicBezTo>
                  <a:cubicBezTo>
                    <a:pt x="2104386" y="109855"/>
                    <a:pt x="2101846" y="110490"/>
                    <a:pt x="2098671" y="110490"/>
                  </a:cubicBezTo>
                  <a:cubicBezTo>
                    <a:pt x="2096131" y="110490"/>
                    <a:pt x="2093591" y="110490"/>
                    <a:pt x="2091686" y="109220"/>
                  </a:cubicBezTo>
                  <a:cubicBezTo>
                    <a:pt x="2089781" y="108585"/>
                    <a:pt x="2087876" y="107315"/>
                    <a:pt x="2085971" y="105410"/>
                  </a:cubicBezTo>
                  <a:cubicBezTo>
                    <a:pt x="2084066" y="103505"/>
                    <a:pt x="2082796" y="101600"/>
                    <a:pt x="2082161" y="99060"/>
                  </a:cubicBezTo>
                  <a:cubicBezTo>
                    <a:pt x="2081526" y="96520"/>
                    <a:pt x="2080891" y="93345"/>
                    <a:pt x="2080891" y="89535"/>
                  </a:cubicBezTo>
                  <a:lnTo>
                    <a:pt x="2080891" y="44450"/>
                  </a:lnTo>
                  <a:lnTo>
                    <a:pt x="2070096" y="44450"/>
                  </a:lnTo>
                  <a:lnTo>
                    <a:pt x="2070096" y="30480"/>
                  </a:lnTo>
                  <a:lnTo>
                    <a:pt x="2080891" y="30480"/>
                  </a:lnTo>
                  <a:lnTo>
                    <a:pt x="2080891" y="8255"/>
                  </a:lnTo>
                  <a:close/>
                  <a:moveTo>
                    <a:pt x="1931665" y="0"/>
                  </a:moveTo>
                  <a:lnTo>
                    <a:pt x="1931665" y="37465"/>
                  </a:lnTo>
                  <a:cubicBezTo>
                    <a:pt x="1931665" y="37465"/>
                    <a:pt x="1934840" y="34925"/>
                    <a:pt x="1936110" y="33655"/>
                  </a:cubicBezTo>
                  <a:cubicBezTo>
                    <a:pt x="1937380" y="33020"/>
                    <a:pt x="1938650" y="31750"/>
                    <a:pt x="1939920" y="31115"/>
                  </a:cubicBezTo>
                  <a:cubicBezTo>
                    <a:pt x="1941190" y="30480"/>
                    <a:pt x="1943095" y="29845"/>
                    <a:pt x="1945000" y="29210"/>
                  </a:cubicBezTo>
                  <a:cubicBezTo>
                    <a:pt x="1946905" y="29210"/>
                    <a:pt x="1949445" y="28575"/>
                    <a:pt x="1951985" y="28575"/>
                  </a:cubicBezTo>
                  <a:cubicBezTo>
                    <a:pt x="1956430" y="28575"/>
                    <a:pt x="1960240" y="29210"/>
                    <a:pt x="1964050" y="31115"/>
                  </a:cubicBezTo>
                  <a:cubicBezTo>
                    <a:pt x="1967860" y="32385"/>
                    <a:pt x="1971035" y="34925"/>
                    <a:pt x="1973575" y="38735"/>
                  </a:cubicBezTo>
                  <a:cubicBezTo>
                    <a:pt x="1976115" y="41910"/>
                    <a:pt x="1978655" y="46355"/>
                    <a:pt x="1979925" y="51435"/>
                  </a:cubicBezTo>
                  <a:cubicBezTo>
                    <a:pt x="1981195" y="56515"/>
                    <a:pt x="1982465" y="62865"/>
                    <a:pt x="1982465" y="70485"/>
                  </a:cubicBezTo>
                  <a:lnTo>
                    <a:pt x="1981830" y="71120"/>
                  </a:lnTo>
                  <a:cubicBezTo>
                    <a:pt x="1981830" y="77470"/>
                    <a:pt x="1981195" y="83820"/>
                    <a:pt x="1979290" y="88265"/>
                  </a:cubicBezTo>
                  <a:cubicBezTo>
                    <a:pt x="1977385" y="93345"/>
                    <a:pt x="1975480" y="97155"/>
                    <a:pt x="1972305" y="100330"/>
                  </a:cubicBezTo>
                  <a:cubicBezTo>
                    <a:pt x="1969765" y="103505"/>
                    <a:pt x="1965955" y="106045"/>
                    <a:pt x="1962780" y="107315"/>
                  </a:cubicBezTo>
                  <a:cubicBezTo>
                    <a:pt x="1958970" y="109220"/>
                    <a:pt x="1955160" y="109855"/>
                    <a:pt x="1951350" y="109855"/>
                  </a:cubicBezTo>
                  <a:cubicBezTo>
                    <a:pt x="1947540" y="109855"/>
                    <a:pt x="1943730" y="109220"/>
                    <a:pt x="1940555" y="107315"/>
                  </a:cubicBezTo>
                  <a:cubicBezTo>
                    <a:pt x="1936745" y="105410"/>
                    <a:pt x="1934205" y="103505"/>
                    <a:pt x="1931665" y="100965"/>
                  </a:cubicBezTo>
                  <a:lnTo>
                    <a:pt x="1931665" y="107950"/>
                  </a:lnTo>
                  <a:lnTo>
                    <a:pt x="1916425" y="107950"/>
                  </a:lnTo>
                  <a:lnTo>
                    <a:pt x="1916425" y="7620"/>
                  </a:lnTo>
                  <a:close/>
                  <a:moveTo>
                    <a:pt x="1316991" y="0"/>
                  </a:moveTo>
                  <a:lnTo>
                    <a:pt x="1316991" y="30480"/>
                  </a:lnTo>
                  <a:lnTo>
                    <a:pt x="1336041" y="30480"/>
                  </a:lnTo>
                  <a:lnTo>
                    <a:pt x="1336041" y="44450"/>
                  </a:lnTo>
                  <a:lnTo>
                    <a:pt x="1316991" y="44450"/>
                  </a:lnTo>
                  <a:lnTo>
                    <a:pt x="1316991" y="86995"/>
                  </a:lnTo>
                  <a:cubicBezTo>
                    <a:pt x="1316991" y="86995"/>
                    <a:pt x="1316991" y="90170"/>
                    <a:pt x="1316991" y="91440"/>
                  </a:cubicBezTo>
                  <a:cubicBezTo>
                    <a:pt x="1316991" y="92710"/>
                    <a:pt x="1317627" y="93345"/>
                    <a:pt x="1318261" y="94615"/>
                  </a:cubicBezTo>
                  <a:cubicBezTo>
                    <a:pt x="1318896" y="95250"/>
                    <a:pt x="1319531" y="95885"/>
                    <a:pt x="1320801" y="95885"/>
                  </a:cubicBezTo>
                  <a:cubicBezTo>
                    <a:pt x="1322072" y="95885"/>
                    <a:pt x="1323341" y="95885"/>
                    <a:pt x="1324611" y="95885"/>
                  </a:cubicBezTo>
                  <a:cubicBezTo>
                    <a:pt x="1326516" y="95885"/>
                    <a:pt x="1328422" y="95885"/>
                    <a:pt x="1330961" y="95250"/>
                  </a:cubicBezTo>
                  <a:cubicBezTo>
                    <a:pt x="1332867" y="94615"/>
                    <a:pt x="1334772" y="93980"/>
                    <a:pt x="1336041" y="93345"/>
                  </a:cubicBezTo>
                  <a:lnTo>
                    <a:pt x="1334136" y="106680"/>
                  </a:lnTo>
                  <a:cubicBezTo>
                    <a:pt x="1334136" y="106680"/>
                    <a:pt x="1330326" y="108585"/>
                    <a:pt x="1327786" y="109220"/>
                  </a:cubicBezTo>
                  <a:cubicBezTo>
                    <a:pt x="1325246" y="109855"/>
                    <a:pt x="1322706" y="110490"/>
                    <a:pt x="1319531" y="110490"/>
                  </a:cubicBezTo>
                  <a:cubicBezTo>
                    <a:pt x="1316991" y="110490"/>
                    <a:pt x="1314451" y="110490"/>
                    <a:pt x="1312546" y="109220"/>
                  </a:cubicBezTo>
                  <a:cubicBezTo>
                    <a:pt x="1310641" y="108585"/>
                    <a:pt x="1308736" y="107315"/>
                    <a:pt x="1306831" y="105410"/>
                  </a:cubicBezTo>
                  <a:cubicBezTo>
                    <a:pt x="1304926" y="103505"/>
                    <a:pt x="1303656" y="101600"/>
                    <a:pt x="1303021" y="99060"/>
                  </a:cubicBezTo>
                  <a:cubicBezTo>
                    <a:pt x="1302386" y="96520"/>
                    <a:pt x="1301751" y="93345"/>
                    <a:pt x="1301751" y="89535"/>
                  </a:cubicBezTo>
                  <a:lnTo>
                    <a:pt x="1301751" y="44450"/>
                  </a:lnTo>
                  <a:lnTo>
                    <a:pt x="1290956" y="44450"/>
                  </a:lnTo>
                  <a:lnTo>
                    <a:pt x="1290956" y="30480"/>
                  </a:lnTo>
                  <a:lnTo>
                    <a:pt x="1301751" y="30480"/>
                  </a:lnTo>
                  <a:lnTo>
                    <a:pt x="1301751" y="8255"/>
                  </a:lnTo>
                  <a:close/>
                  <a:moveTo>
                    <a:pt x="751206" y="0"/>
                  </a:moveTo>
                  <a:lnTo>
                    <a:pt x="751206" y="30480"/>
                  </a:lnTo>
                  <a:lnTo>
                    <a:pt x="770256" y="30480"/>
                  </a:lnTo>
                  <a:lnTo>
                    <a:pt x="770256" y="44450"/>
                  </a:lnTo>
                  <a:lnTo>
                    <a:pt x="751206" y="44450"/>
                  </a:lnTo>
                  <a:lnTo>
                    <a:pt x="751206" y="86995"/>
                  </a:lnTo>
                  <a:cubicBezTo>
                    <a:pt x="751206" y="86995"/>
                    <a:pt x="751206" y="90170"/>
                    <a:pt x="751206" y="91440"/>
                  </a:cubicBezTo>
                  <a:cubicBezTo>
                    <a:pt x="751206" y="92710"/>
                    <a:pt x="751841" y="93345"/>
                    <a:pt x="752476" y="94615"/>
                  </a:cubicBezTo>
                  <a:cubicBezTo>
                    <a:pt x="753111" y="95250"/>
                    <a:pt x="753746" y="95885"/>
                    <a:pt x="755016" y="95885"/>
                  </a:cubicBezTo>
                  <a:cubicBezTo>
                    <a:pt x="756286" y="95885"/>
                    <a:pt x="757556" y="95885"/>
                    <a:pt x="758826" y="95885"/>
                  </a:cubicBezTo>
                  <a:cubicBezTo>
                    <a:pt x="760731" y="95885"/>
                    <a:pt x="762636" y="95885"/>
                    <a:pt x="765176" y="95250"/>
                  </a:cubicBezTo>
                  <a:cubicBezTo>
                    <a:pt x="767081" y="94615"/>
                    <a:pt x="768986" y="93980"/>
                    <a:pt x="770256" y="93345"/>
                  </a:cubicBezTo>
                  <a:lnTo>
                    <a:pt x="768351" y="106680"/>
                  </a:lnTo>
                  <a:cubicBezTo>
                    <a:pt x="768351" y="106680"/>
                    <a:pt x="764541" y="108585"/>
                    <a:pt x="762001" y="109220"/>
                  </a:cubicBezTo>
                  <a:cubicBezTo>
                    <a:pt x="759461" y="109855"/>
                    <a:pt x="756921" y="110490"/>
                    <a:pt x="753746" y="110490"/>
                  </a:cubicBezTo>
                  <a:cubicBezTo>
                    <a:pt x="751206" y="110490"/>
                    <a:pt x="748666" y="110490"/>
                    <a:pt x="746761" y="109220"/>
                  </a:cubicBezTo>
                  <a:cubicBezTo>
                    <a:pt x="744856" y="108585"/>
                    <a:pt x="742951" y="107315"/>
                    <a:pt x="741045" y="105410"/>
                  </a:cubicBezTo>
                  <a:cubicBezTo>
                    <a:pt x="739141" y="103505"/>
                    <a:pt x="737871" y="101600"/>
                    <a:pt x="737236" y="99060"/>
                  </a:cubicBezTo>
                  <a:cubicBezTo>
                    <a:pt x="736600" y="96520"/>
                    <a:pt x="735966" y="93345"/>
                    <a:pt x="735966" y="89535"/>
                  </a:cubicBezTo>
                  <a:lnTo>
                    <a:pt x="735966" y="44450"/>
                  </a:lnTo>
                  <a:lnTo>
                    <a:pt x="725171" y="44450"/>
                  </a:lnTo>
                  <a:lnTo>
                    <a:pt x="725171" y="30480"/>
                  </a:lnTo>
                  <a:lnTo>
                    <a:pt x="735966" y="30480"/>
                  </a:lnTo>
                  <a:lnTo>
                    <a:pt x="735966" y="8255"/>
                  </a:lnTo>
                  <a:close/>
                  <a:moveTo>
                    <a:pt x="521335" y="0"/>
                  </a:moveTo>
                  <a:lnTo>
                    <a:pt x="521335" y="30480"/>
                  </a:lnTo>
                  <a:lnTo>
                    <a:pt x="540385" y="30480"/>
                  </a:lnTo>
                  <a:lnTo>
                    <a:pt x="540385" y="44450"/>
                  </a:lnTo>
                  <a:lnTo>
                    <a:pt x="521335" y="44450"/>
                  </a:lnTo>
                  <a:lnTo>
                    <a:pt x="521335" y="86995"/>
                  </a:lnTo>
                  <a:cubicBezTo>
                    <a:pt x="521335" y="86995"/>
                    <a:pt x="521335" y="90170"/>
                    <a:pt x="521335" y="91440"/>
                  </a:cubicBezTo>
                  <a:cubicBezTo>
                    <a:pt x="521335" y="92710"/>
                    <a:pt x="521970" y="93345"/>
                    <a:pt x="522605" y="94615"/>
                  </a:cubicBezTo>
                  <a:cubicBezTo>
                    <a:pt x="523240" y="95250"/>
                    <a:pt x="523875" y="95885"/>
                    <a:pt x="525145" y="95885"/>
                  </a:cubicBezTo>
                  <a:cubicBezTo>
                    <a:pt x="526415" y="95885"/>
                    <a:pt x="527685" y="95885"/>
                    <a:pt x="528955" y="95885"/>
                  </a:cubicBezTo>
                  <a:cubicBezTo>
                    <a:pt x="530860" y="95885"/>
                    <a:pt x="532765" y="95885"/>
                    <a:pt x="535305" y="95250"/>
                  </a:cubicBezTo>
                  <a:cubicBezTo>
                    <a:pt x="537210" y="94615"/>
                    <a:pt x="539115" y="93980"/>
                    <a:pt x="540385" y="93345"/>
                  </a:cubicBezTo>
                  <a:lnTo>
                    <a:pt x="538480" y="106680"/>
                  </a:lnTo>
                  <a:cubicBezTo>
                    <a:pt x="538480" y="106680"/>
                    <a:pt x="534670" y="108585"/>
                    <a:pt x="532130" y="109220"/>
                  </a:cubicBezTo>
                  <a:cubicBezTo>
                    <a:pt x="529590" y="109855"/>
                    <a:pt x="527050" y="110490"/>
                    <a:pt x="523875" y="110490"/>
                  </a:cubicBezTo>
                  <a:cubicBezTo>
                    <a:pt x="521335" y="110490"/>
                    <a:pt x="518795" y="110490"/>
                    <a:pt x="516890" y="109220"/>
                  </a:cubicBezTo>
                  <a:cubicBezTo>
                    <a:pt x="514985" y="108585"/>
                    <a:pt x="513080" y="107315"/>
                    <a:pt x="511175" y="105410"/>
                  </a:cubicBezTo>
                  <a:cubicBezTo>
                    <a:pt x="509270" y="103505"/>
                    <a:pt x="508000" y="101600"/>
                    <a:pt x="507365" y="99060"/>
                  </a:cubicBezTo>
                  <a:cubicBezTo>
                    <a:pt x="506730" y="96520"/>
                    <a:pt x="506095" y="93345"/>
                    <a:pt x="506095" y="89535"/>
                  </a:cubicBezTo>
                  <a:lnTo>
                    <a:pt x="506095" y="44450"/>
                  </a:lnTo>
                  <a:lnTo>
                    <a:pt x="495300" y="44450"/>
                  </a:lnTo>
                  <a:lnTo>
                    <a:pt x="495300" y="30480"/>
                  </a:lnTo>
                  <a:lnTo>
                    <a:pt x="506095" y="30480"/>
                  </a:lnTo>
                  <a:lnTo>
                    <a:pt x="506095" y="8255"/>
                  </a:lnTo>
                  <a:close/>
                  <a:moveTo>
                    <a:pt x="466724" y="0"/>
                  </a:moveTo>
                  <a:lnTo>
                    <a:pt x="466724" y="30480"/>
                  </a:lnTo>
                  <a:lnTo>
                    <a:pt x="485774" y="30480"/>
                  </a:lnTo>
                  <a:lnTo>
                    <a:pt x="485774" y="44450"/>
                  </a:lnTo>
                  <a:lnTo>
                    <a:pt x="466724" y="44450"/>
                  </a:lnTo>
                  <a:lnTo>
                    <a:pt x="466724" y="86995"/>
                  </a:lnTo>
                  <a:cubicBezTo>
                    <a:pt x="466724" y="86995"/>
                    <a:pt x="466724" y="90170"/>
                    <a:pt x="466724" y="91440"/>
                  </a:cubicBezTo>
                  <a:cubicBezTo>
                    <a:pt x="466724" y="92710"/>
                    <a:pt x="467359" y="93345"/>
                    <a:pt x="467994" y="94615"/>
                  </a:cubicBezTo>
                  <a:cubicBezTo>
                    <a:pt x="468629" y="95250"/>
                    <a:pt x="469264" y="95885"/>
                    <a:pt x="470534" y="95885"/>
                  </a:cubicBezTo>
                  <a:cubicBezTo>
                    <a:pt x="471804" y="95885"/>
                    <a:pt x="473074" y="95885"/>
                    <a:pt x="474344" y="95885"/>
                  </a:cubicBezTo>
                  <a:cubicBezTo>
                    <a:pt x="476249" y="95885"/>
                    <a:pt x="478154" y="95885"/>
                    <a:pt x="480694" y="95250"/>
                  </a:cubicBezTo>
                  <a:cubicBezTo>
                    <a:pt x="482599" y="94615"/>
                    <a:pt x="484504" y="93980"/>
                    <a:pt x="485774" y="93345"/>
                  </a:cubicBezTo>
                  <a:lnTo>
                    <a:pt x="483869" y="106680"/>
                  </a:lnTo>
                  <a:cubicBezTo>
                    <a:pt x="483869" y="106680"/>
                    <a:pt x="480059" y="108585"/>
                    <a:pt x="477519" y="109220"/>
                  </a:cubicBezTo>
                  <a:cubicBezTo>
                    <a:pt x="474979" y="109855"/>
                    <a:pt x="472439" y="110490"/>
                    <a:pt x="469264" y="110490"/>
                  </a:cubicBezTo>
                  <a:cubicBezTo>
                    <a:pt x="466724" y="110490"/>
                    <a:pt x="464184" y="110490"/>
                    <a:pt x="462279" y="109220"/>
                  </a:cubicBezTo>
                  <a:cubicBezTo>
                    <a:pt x="460374" y="108585"/>
                    <a:pt x="458469" y="107315"/>
                    <a:pt x="456564" y="105410"/>
                  </a:cubicBezTo>
                  <a:cubicBezTo>
                    <a:pt x="454659" y="103505"/>
                    <a:pt x="453389" y="101600"/>
                    <a:pt x="452754" y="99060"/>
                  </a:cubicBezTo>
                  <a:cubicBezTo>
                    <a:pt x="452119" y="96520"/>
                    <a:pt x="451484" y="93345"/>
                    <a:pt x="451484" y="89535"/>
                  </a:cubicBezTo>
                  <a:lnTo>
                    <a:pt x="451484" y="44450"/>
                  </a:lnTo>
                  <a:lnTo>
                    <a:pt x="440689" y="44450"/>
                  </a:lnTo>
                  <a:lnTo>
                    <a:pt x="440689" y="30480"/>
                  </a:lnTo>
                  <a:lnTo>
                    <a:pt x="451484" y="30480"/>
                  </a:lnTo>
                  <a:lnTo>
                    <a:pt x="451484" y="8255"/>
                  </a:lnTo>
                  <a:close/>
                  <a:moveTo>
                    <a:pt x="302259" y="0"/>
                  </a:moveTo>
                  <a:lnTo>
                    <a:pt x="302259" y="37465"/>
                  </a:lnTo>
                  <a:cubicBezTo>
                    <a:pt x="302259" y="37465"/>
                    <a:pt x="305434" y="34925"/>
                    <a:pt x="306704" y="33655"/>
                  </a:cubicBezTo>
                  <a:cubicBezTo>
                    <a:pt x="307974" y="33020"/>
                    <a:pt x="309244" y="31750"/>
                    <a:pt x="310514" y="31115"/>
                  </a:cubicBezTo>
                  <a:cubicBezTo>
                    <a:pt x="311784" y="30480"/>
                    <a:pt x="313689" y="29845"/>
                    <a:pt x="315594" y="29210"/>
                  </a:cubicBezTo>
                  <a:cubicBezTo>
                    <a:pt x="317499" y="29210"/>
                    <a:pt x="320039" y="28575"/>
                    <a:pt x="322579" y="28575"/>
                  </a:cubicBezTo>
                  <a:cubicBezTo>
                    <a:pt x="327024" y="28575"/>
                    <a:pt x="330834" y="29210"/>
                    <a:pt x="334644" y="31115"/>
                  </a:cubicBezTo>
                  <a:cubicBezTo>
                    <a:pt x="338454" y="32385"/>
                    <a:pt x="341629" y="34925"/>
                    <a:pt x="344169" y="38735"/>
                  </a:cubicBezTo>
                  <a:cubicBezTo>
                    <a:pt x="346709" y="41910"/>
                    <a:pt x="349249" y="46355"/>
                    <a:pt x="350519" y="51435"/>
                  </a:cubicBezTo>
                  <a:cubicBezTo>
                    <a:pt x="351789" y="56515"/>
                    <a:pt x="353059" y="62865"/>
                    <a:pt x="353059" y="70485"/>
                  </a:cubicBezTo>
                  <a:lnTo>
                    <a:pt x="352424" y="71120"/>
                  </a:lnTo>
                  <a:cubicBezTo>
                    <a:pt x="352424" y="77470"/>
                    <a:pt x="351789" y="83820"/>
                    <a:pt x="349884" y="88265"/>
                  </a:cubicBezTo>
                  <a:cubicBezTo>
                    <a:pt x="347979" y="93345"/>
                    <a:pt x="346074" y="97155"/>
                    <a:pt x="342899" y="100330"/>
                  </a:cubicBezTo>
                  <a:cubicBezTo>
                    <a:pt x="340359" y="103505"/>
                    <a:pt x="336549" y="106045"/>
                    <a:pt x="333374" y="107315"/>
                  </a:cubicBezTo>
                  <a:cubicBezTo>
                    <a:pt x="329564" y="109220"/>
                    <a:pt x="325754" y="109855"/>
                    <a:pt x="321944" y="109855"/>
                  </a:cubicBezTo>
                  <a:cubicBezTo>
                    <a:pt x="318134" y="109855"/>
                    <a:pt x="314324" y="109220"/>
                    <a:pt x="311149" y="107315"/>
                  </a:cubicBezTo>
                  <a:cubicBezTo>
                    <a:pt x="307339" y="105410"/>
                    <a:pt x="304799" y="103505"/>
                    <a:pt x="302259" y="100965"/>
                  </a:cubicBezTo>
                  <a:lnTo>
                    <a:pt x="302259" y="107950"/>
                  </a:lnTo>
                  <a:lnTo>
                    <a:pt x="287019" y="107950"/>
                  </a:lnTo>
                  <a:lnTo>
                    <a:pt x="287019" y="7620"/>
                  </a:lnTo>
                  <a:close/>
                </a:path>
              </a:pathLst>
            </a:custGeom>
            <a:solidFill>
              <a:srgbClr val="FFFFFF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28" name="Subtitle 2">
            <a:extLst>
              <a:ext uri="{FF2B5EF4-FFF2-40B4-BE49-F238E27FC236}">
                <a16:creationId xmlns:a16="http://schemas.microsoft.com/office/drawing/2014/main" id="{632E76BF-46D5-8E94-88AA-4783DD302E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90225" y="4436486"/>
            <a:ext cx="4910184" cy="511939"/>
          </a:xfrm>
        </p:spPr>
        <p:txBody>
          <a:bodyPr wrap="square">
            <a:noAutofit/>
          </a:bodyPr>
          <a:lstStyle>
            <a:lvl1pPr marL="0" indent="0" algn="l">
              <a:buNone/>
              <a:defRPr lang="en-GB" sz="16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/>
          </a:p>
        </p:txBody>
      </p:sp>
      <p:sp>
        <p:nvSpPr>
          <p:cNvPr id="29" name="Title 4">
            <a:extLst>
              <a:ext uri="{FF2B5EF4-FFF2-40B4-BE49-F238E27FC236}">
                <a16:creationId xmlns:a16="http://schemas.microsoft.com/office/drawing/2014/main" id="{1F7B1FDC-B90E-6693-A750-B9BA4B535E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90226" y="2698752"/>
            <a:ext cx="4908564" cy="1654043"/>
          </a:xfrm>
        </p:spPr>
        <p:txBody>
          <a:bodyPr anchor="t">
            <a:noAutofit/>
          </a:bodyPr>
          <a:lstStyle>
            <a:lvl1pPr>
              <a:defRPr sz="4200" b="1" i="0">
                <a:solidFill>
                  <a:schemeClr val="bg1"/>
                </a:solidFill>
                <a:latin typeface="EYInterstate Regular" panose="02000503020000020004" pitchFamily="2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0" name="Text Placeholder 288">
            <a:extLst>
              <a:ext uri="{FF2B5EF4-FFF2-40B4-BE49-F238E27FC236}">
                <a16:creationId xmlns:a16="http://schemas.microsoft.com/office/drawing/2014/main" id="{1673B89D-F206-B9D2-CDB7-BDE045C7447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90226" y="5047486"/>
            <a:ext cx="4908565" cy="246221"/>
          </a:xfrm>
        </p:spPr>
        <p:txBody>
          <a:bodyPr wrap="square">
            <a:spAutoFit/>
          </a:bodyPr>
          <a:lstStyle>
            <a:lvl1pPr marL="0" indent="0">
              <a:buNone/>
              <a:defRPr sz="1600" b="1">
                <a:latin typeface="+mj-lt"/>
              </a:defRPr>
            </a:lvl1pPr>
            <a:lvl2pPr marL="252000" indent="0">
              <a:buNone/>
              <a:defRPr sz="1600" b="1">
                <a:latin typeface="+mj-lt"/>
              </a:defRPr>
            </a:lvl2pPr>
            <a:lvl3pPr marL="504000" indent="0">
              <a:buNone/>
              <a:defRPr sz="1600" b="1">
                <a:latin typeface="+mj-lt"/>
              </a:defRPr>
            </a:lvl3pPr>
            <a:lvl4pPr marL="756000" indent="0">
              <a:buNone/>
              <a:defRPr sz="1600" b="1">
                <a:latin typeface="+mj-lt"/>
              </a:defRPr>
            </a:lvl4pPr>
            <a:lvl5pPr marL="1008000" indent="0">
              <a:buNone/>
              <a:defRPr sz="1600" b="1">
                <a:latin typeface="+mj-lt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166D7E4E-2A81-A5AB-16CA-DBCEFBD59141}"/>
              </a:ext>
            </a:extLst>
          </p:cNvPr>
          <p:cNvGrpSpPr/>
          <p:nvPr userDrawn="1"/>
        </p:nvGrpSpPr>
        <p:grpSpPr>
          <a:xfrm>
            <a:off x="486027" y="1291009"/>
            <a:ext cx="5709082" cy="4360545"/>
            <a:chOff x="485774" y="1291008"/>
            <a:chExt cx="5706110" cy="4360545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F7E50E80-DFF0-E065-898F-1AFD970459B6}"/>
                </a:ext>
              </a:extLst>
            </p:cNvPr>
            <p:cNvSpPr/>
            <p:nvPr userDrawn="1"/>
          </p:nvSpPr>
          <p:spPr>
            <a:xfrm>
              <a:off x="485774" y="5549953"/>
              <a:ext cx="508000" cy="101600"/>
            </a:xfrm>
            <a:custGeom>
              <a:avLst/>
              <a:gdLst>
                <a:gd name="connsiteX0" fmla="*/ 406400 w 508000"/>
                <a:gd name="connsiteY0" fmla="*/ 0 h 101600"/>
                <a:gd name="connsiteX1" fmla="*/ 508000 w 508000"/>
                <a:gd name="connsiteY1" fmla="*/ 0 h 101600"/>
                <a:gd name="connsiteX2" fmla="*/ 508000 w 508000"/>
                <a:gd name="connsiteY2" fmla="*/ 101600 h 101600"/>
                <a:gd name="connsiteX3" fmla="*/ 406400 w 508000"/>
                <a:gd name="connsiteY3" fmla="*/ 101600 h 101600"/>
                <a:gd name="connsiteX4" fmla="*/ 203200 w 508000"/>
                <a:gd name="connsiteY4" fmla="*/ 0 h 101600"/>
                <a:gd name="connsiteX5" fmla="*/ 304800 w 508000"/>
                <a:gd name="connsiteY5" fmla="*/ 0 h 101600"/>
                <a:gd name="connsiteX6" fmla="*/ 304800 w 508000"/>
                <a:gd name="connsiteY6" fmla="*/ 101600 h 101600"/>
                <a:gd name="connsiteX7" fmla="*/ 203200 w 508000"/>
                <a:gd name="connsiteY7" fmla="*/ 101600 h 101600"/>
                <a:gd name="connsiteX8" fmla="*/ 0 w 508000"/>
                <a:gd name="connsiteY8" fmla="*/ 0 h 101600"/>
                <a:gd name="connsiteX9" fmla="*/ 101600 w 508000"/>
                <a:gd name="connsiteY9" fmla="*/ 0 h 101600"/>
                <a:gd name="connsiteX10" fmla="*/ 101600 w 508000"/>
                <a:gd name="connsiteY10" fmla="*/ 101600 h 101600"/>
                <a:gd name="connsiteX11" fmla="*/ 0 w 508000"/>
                <a:gd name="connsiteY11" fmla="*/ 101600 h 101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08000" h="101600">
                  <a:moveTo>
                    <a:pt x="406400" y="0"/>
                  </a:moveTo>
                  <a:lnTo>
                    <a:pt x="508000" y="0"/>
                  </a:lnTo>
                  <a:lnTo>
                    <a:pt x="508000" y="101600"/>
                  </a:lnTo>
                  <a:lnTo>
                    <a:pt x="406400" y="101600"/>
                  </a:lnTo>
                  <a:close/>
                  <a:moveTo>
                    <a:pt x="203200" y="0"/>
                  </a:moveTo>
                  <a:lnTo>
                    <a:pt x="304800" y="0"/>
                  </a:lnTo>
                  <a:lnTo>
                    <a:pt x="304800" y="101600"/>
                  </a:lnTo>
                  <a:lnTo>
                    <a:pt x="203200" y="101600"/>
                  </a:lnTo>
                  <a:close/>
                  <a:moveTo>
                    <a:pt x="0" y="0"/>
                  </a:moveTo>
                  <a:lnTo>
                    <a:pt x="101600" y="0"/>
                  </a:lnTo>
                  <a:lnTo>
                    <a:pt x="101600" y="101600"/>
                  </a:lnTo>
                  <a:lnTo>
                    <a:pt x="0" y="101600"/>
                  </a:lnTo>
                  <a:close/>
                </a:path>
              </a:pathLst>
            </a:custGeom>
            <a:solidFill>
              <a:schemeClr val="tx2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4" name="Freeform 3">
              <a:extLst>
                <a:ext uri="{FF2B5EF4-FFF2-40B4-BE49-F238E27FC236}">
                  <a16:creationId xmlns:a16="http://schemas.microsoft.com/office/drawing/2014/main" id="{7E9D0337-F340-664F-6A13-B03AA4BA4F82}"/>
                </a:ext>
              </a:extLst>
            </p:cNvPr>
            <p:cNvSpPr/>
            <p:nvPr userDrawn="1"/>
          </p:nvSpPr>
          <p:spPr>
            <a:xfrm>
              <a:off x="485775" y="1291008"/>
              <a:ext cx="5706109" cy="4359275"/>
            </a:xfrm>
            <a:custGeom>
              <a:avLst/>
              <a:gdLst>
                <a:gd name="connsiteX0" fmla="*/ 0 w 5706109"/>
                <a:gd name="connsiteY0" fmla="*/ 4157346 h 4359275"/>
                <a:gd name="connsiteX1" fmla="*/ 101600 w 5706109"/>
                <a:gd name="connsiteY1" fmla="*/ 4157346 h 4359275"/>
                <a:gd name="connsiteX2" fmla="*/ 101600 w 5706109"/>
                <a:gd name="connsiteY2" fmla="*/ 1075055 h 4359275"/>
                <a:gd name="connsiteX3" fmla="*/ 101600 w 5706109"/>
                <a:gd name="connsiteY3" fmla="*/ 1075055 h 4359275"/>
                <a:gd name="connsiteX4" fmla="*/ 191770 w 5706109"/>
                <a:gd name="connsiteY4" fmla="*/ 1059180 h 4359275"/>
                <a:gd name="connsiteX5" fmla="*/ 861060 w 5706109"/>
                <a:gd name="connsiteY5" fmla="*/ 942975 h 4359275"/>
                <a:gd name="connsiteX6" fmla="*/ 1195705 w 5706109"/>
                <a:gd name="connsiteY6" fmla="*/ 885190 h 4359275"/>
                <a:gd name="connsiteX7" fmla="*/ 1362710 w 5706109"/>
                <a:gd name="connsiteY7" fmla="*/ 855980 h 4359275"/>
                <a:gd name="connsiteX8" fmla="*/ 1529715 w 5706109"/>
                <a:gd name="connsiteY8" fmla="*/ 826770 h 4359275"/>
                <a:gd name="connsiteX9" fmla="*/ 1864360 w 5706109"/>
                <a:gd name="connsiteY9" fmla="*/ 768985 h 4359275"/>
                <a:gd name="connsiteX10" fmla="*/ 2031365 w 5706109"/>
                <a:gd name="connsiteY10" fmla="*/ 739775 h 4359275"/>
                <a:gd name="connsiteX11" fmla="*/ 2198370 w 5706109"/>
                <a:gd name="connsiteY11" fmla="*/ 710565 h 4359275"/>
                <a:gd name="connsiteX12" fmla="*/ 2365375 w 5706109"/>
                <a:gd name="connsiteY12" fmla="*/ 681355 h 4359275"/>
                <a:gd name="connsiteX13" fmla="*/ 2532380 w 5706109"/>
                <a:gd name="connsiteY13" fmla="*/ 652145 h 4359275"/>
                <a:gd name="connsiteX14" fmla="*/ 2699385 w 5706109"/>
                <a:gd name="connsiteY14" fmla="*/ 622935 h 4359275"/>
                <a:gd name="connsiteX15" fmla="*/ 2866390 w 5706109"/>
                <a:gd name="connsiteY15" fmla="*/ 593725 h 4359275"/>
                <a:gd name="connsiteX16" fmla="*/ 5461000 w 5706109"/>
                <a:gd name="connsiteY16" fmla="*/ 144145 h 4359275"/>
                <a:gd name="connsiteX17" fmla="*/ 5602605 w 5706109"/>
                <a:gd name="connsiteY17" fmla="*/ 119380 h 4359275"/>
                <a:gd name="connsiteX18" fmla="*/ 5602605 w 5706109"/>
                <a:gd name="connsiteY18" fmla="*/ 119380 h 4359275"/>
                <a:gd name="connsiteX19" fmla="*/ 5602605 w 5706109"/>
                <a:gd name="connsiteY19" fmla="*/ 4257676 h 4359275"/>
                <a:gd name="connsiteX20" fmla="*/ 609600 w 5706109"/>
                <a:gd name="connsiteY20" fmla="*/ 4257676 h 4359275"/>
                <a:gd name="connsiteX21" fmla="*/ 609600 w 5706109"/>
                <a:gd name="connsiteY21" fmla="*/ 4359276 h 4359275"/>
                <a:gd name="connsiteX22" fmla="*/ 5706110 w 5706109"/>
                <a:gd name="connsiteY22" fmla="*/ 4359276 h 4359275"/>
                <a:gd name="connsiteX23" fmla="*/ 5706110 w 5706109"/>
                <a:gd name="connsiteY23" fmla="*/ 0 h 4359275"/>
                <a:gd name="connsiteX24" fmla="*/ 5704840 w 5706109"/>
                <a:gd name="connsiteY24" fmla="*/ 0 h 4359275"/>
                <a:gd name="connsiteX25" fmla="*/ 5445760 w 5706109"/>
                <a:gd name="connsiteY25" fmla="*/ 45085 h 4359275"/>
                <a:gd name="connsiteX26" fmla="*/ 2851150 w 5706109"/>
                <a:gd name="connsiteY26" fmla="*/ 494665 h 4359275"/>
                <a:gd name="connsiteX27" fmla="*/ 2684145 w 5706109"/>
                <a:gd name="connsiteY27" fmla="*/ 523875 h 4359275"/>
                <a:gd name="connsiteX28" fmla="*/ 2517140 w 5706109"/>
                <a:gd name="connsiteY28" fmla="*/ 553085 h 4359275"/>
                <a:gd name="connsiteX29" fmla="*/ 2350135 w 5706109"/>
                <a:gd name="connsiteY29" fmla="*/ 582295 h 4359275"/>
                <a:gd name="connsiteX30" fmla="*/ 2183130 w 5706109"/>
                <a:gd name="connsiteY30" fmla="*/ 611505 h 4359275"/>
                <a:gd name="connsiteX31" fmla="*/ 2016125 w 5706109"/>
                <a:gd name="connsiteY31" fmla="*/ 640715 h 4359275"/>
                <a:gd name="connsiteX32" fmla="*/ 1849120 w 5706109"/>
                <a:gd name="connsiteY32" fmla="*/ 669925 h 4359275"/>
                <a:gd name="connsiteX33" fmla="*/ 1514475 w 5706109"/>
                <a:gd name="connsiteY33" fmla="*/ 727710 h 4359275"/>
                <a:gd name="connsiteX34" fmla="*/ 1347470 w 5706109"/>
                <a:gd name="connsiteY34" fmla="*/ 756920 h 4359275"/>
                <a:gd name="connsiteX35" fmla="*/ 1180465 w 5706109"/>
                <a:gd name="connsiteY35" fmla="*/ 786130 h 4359275"/>
                <a:gd name="connsiteX36" fmla="*/ 845820 w 5706109"/>
                <a:gd name="connsiteY36" fmla="*/ 843915 h 4359275"/>
                <a:gd name="connsiteX37" fmla="*/ 176530 w 5706109"/>
                <a:gd name="connsiteY37" fmla="*/ 960120 h 4359275"/>
                <a:gd name="connsiteX38" fmla="*/ 3175 w 5706109"/>
                <a:gd name="connsiteY38" fmla="*/ 989965 h 4359275"/>
                <a:gd name="connsiteX39" fmla="*/ 1905 w 5706109"/>
                <a:gd name="connsiteY39" fmla="*/ 989965 h 4359275"/>
                <a:gd name="connsiteX40" fmla="*/ 1905 w 5706109"/>
                <a:gd name="connsiteY40" fmla="*/ 4158616 h 4359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5706109" h="4359275">
                  <a:moveTo>
                    <a:pt x="0" y="4157346"/>
                  </a:moveTo>
                  <a:lnTo>
                    <a:pt x="101600" y="4157346"/>
                  </a:lnTo>
                  <a:lnTo>
                    <a:pt x="101600" y="1075055"/>
                  </a:lnTo>
                  <a:lnTo>
                    <a:pt x="101600" y="1075055"/>
                  </a:lnTo>
                  <a:lnTo>
                    <a:pt x="191770" y="1059180"/>
                  </a:lnTo>
                  <a:lnTo>
                    <a:pt x="861060" y="942975"/>
                  </a:lnTo>
                  <a:lnTo>
                    <a:pt x="1195705" y="885190"/>
                  </a:lnTo>
                  <a:lnTo>
                    <a:pt x="1362710" y="855980"/>
                  </a:lnTo>
                  <a:lnTo>
                    <a:pt x="1529715" y="826770"/>
                  </a:lnTo>
                  <a:lnTo>
                    <a:pt x="1864360" y="768985"/>
                  </a:lnTo>
                  <a:lnTo>
                    <a:pt x="2031365" y="739775"/>
                  </a:lnTo>
                  <a:lnTo>
                    <a:pt x="2198370" y="710565"/>
                  </a:lnTo>
                  <a:lnTo>
                    <a:pt x="2365375" y="681355"/>
                  </a:lnTo>
                  <a:lnTo>
                    <a:pt x="2532380" y="652145"/>
                  </a:lnTo>
                  <a:lnTo>
                    <a:pt x="2699385" y="622935"/>
                  </a:lnTo>
                  <a:lnTo>
                    <a:pt x="2866390" y="593725"/>
                  </a:lnTo>
                  <a:cubicBezTo>
                    <a:pt x="3731260" y="443865"/>
                    <a:pt x="4596130" y="294005"/>
                    <a:pt x="5461000" y="144145"/>
                  </a:cubicBezTo>
                  <a:lnTo>
                    <a:pt x="5602605" y="119380"/>
                  </a:lnTo>
                  <a:lnTo>
                    <a:pt x="5602605" y="119380"/>
                  </a:lnTo>
                  <a:lnTo>
                    <a:pt x="5602605" y="4257676"/>
                  </a:lnTo>
                  <a:lnTo>
                    <a:pt x="609600" y="4257676"/>
                  </a:lnTo>
                  <a:lnTo>
                    <a:pt x="609600" y="4359276"/>
                  </a:lnTo>
                  <a:lnTo>
                    <a:pt x="5706110" y="4359276"/>
                  </a:lnTo>
                  <a:lnTo>
                    <a:pt x="5706110" y="0"/>
                  </a:lnTo>
                  <a:lnTo>
                    <a:pt x="5704840" y="0"/>
                  </a:lnTo>
                  <a:cubicBezTo>
                    <a:pt x="5618480" y="15240"/>
                    <a:pt x="5532120" y="30480"/>
                    <a:pt x="5445760" y="45085"/>
                  </a:cubicBezTo>
                  <a:cubicBezTo>
                    <a:pt x="4580890" y="194945"/>
                    <a:pt x="3716020" y="344805"/>
                    <a:pt x="2851150" y="494665"/>
                  </a:cubicBezTo>
                  <a:lnTo>
                    <a:pt x="2684145" y="523875"/>
                  </a:lnTo>
                  <a:lnTo>
                    <a:pt x="2517140" y="553085"/>
                  </a:lnTo>
                  <a:lnTo>
                    <a:pt x="2350135" y="582295"/>
                  </a:lnTo>
                  <a:lnTo>
                    <a:pt x="2183130" y="611505"/>
                  </a:lnTo>
                  <a:lnTo>
                    <a:pt x="2016125" y="640715"/>
                  </a:lnTo>
                  <a:lnTo>
                    <a:pt x="1849120" y="669925"/>
                  </a:lnTo>
                  <a:lnTo>
                    <a:pt x="1514475" y="727710"/>
                  </a:lnTo>
                  <a:lnTo>
                    <a:pt x="1347470" y="756920"/>
                  </a:lnTo>
                  <a:lnTo>
                    <a:pt x="1180465" y="786130"/>
                  </a:lnTo>
                  <a:lnTo>
                    <a:pt x="845820" y="843915"/>
                  </a:lnTo>
                  <a:lnTo>
                    <a:pt x="176530" y="960120"/>
                  </a:lnTo>
                  <a:lnTo>
                    <a:pt x="3175" y="989965"/>
                  </a:lnTo>
                  <a:lnTo>
                    <a:pt x="1905" y="989965"/>
                  </a:lnTo>
                  <a:lnTo>
                    <a:pt x="1905" y="4158616"/>
                  </a:lnTo>
                  <a:close/>
                </a:path>
              </a:pathLst>
            </a:custGeom>
            <a:gradFill flip="none" rotWithShape="1">
              <a:gsLst>
                <a:gs pos="46000">
                  <a:srgbClr val="FFE600"/>
                </a:gs>
                <a:gs pos="66000">
                  <a:srgbClr val="FF32FF"/>
                </a:gs>
                <a:gs pos="100000">
                  <a:srgbClr val="32FFFF"/>
                </a:gs>
              </a:gsLst>
              <a:lin ang="18600000" scaled="0"/>
              <a:tileRect/>
            </a:gradFill>
            <a:ln w="818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 sz="1800"/>
            </a:p>
          </p:txBody>
        </p:sp>
      </p:grpSp>
    </p:spTree>
    <p:extLst>
      <p:ext uri="{BB962C8B-B14F-4D97-AF65-F5344CB8AC3E}">
        <p14:creationId xmlns:p14="http://schemas.microsoft.com/office/powerpoint/2010/main" val="1945251430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Fram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A7B25F44-CAE3-AE0B-B97B-B0F6E4B43D5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0"/>
            <a:ext cx="8390722" cy="6858000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0"/>
                  <a:alpha val="0"/>
                </a:schemeClr>
              </a:gs>
              <a:gs pos="95000">
                <a:srgbClr val="000000">
                  <a:alpha val="70000"/>
                </a:srgbClr>
              </a:gs>
            </a:gsLst>
            <a:lin ang="108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endParaRPr lang="en-US" sz="1200" b="1">
              <a:solidFill>
                <a:schemeClr val="tx1"/>
              </a:solidFill>
            </a:endParaRP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A8D6BAB6-A68E-C404-5D92-6E11D325CFFA}"/>
              </a:ext>
            </a:extLst>
          </p:cNvPr>
          <p:cNvGrpSpPr/>
          <p:nvPr userDrawn="1"/>
        </p:nvGrpSpPr>
        <p:grpSpPr bwMode="black">
          <a:xfrm>
            <a:off x="10568726" y="5167683"/>
            <a:ext cx="1219835" cy="1284606"/>
            <a:chOff x="10563224" y="5158158"/>
            <a:chExt cx="1219200" cy="1284606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BEE0067F-78DC-1ABA-D072-D13444B14ED9}"/>
                </a:ext>
              </a:extLst>
            </p:cNvPr>
            <p:cNvSpPr/>
            <p:nvPr/>
          </p:nvSpPr>
          <p:spPr bwMode="black">
            <a:xfrm>
              <a:off x="10826115" y="5158158"/>
              <a:ext cx="805814" cy="294004"/>
            </a:xfrm>
            <a:custGeom>
              <a:avLst/>
              <a:gdLst>
                <a:gd name="connsiteX0" fmla="*/ 805814 w 805814"/>
                <a:gd name="connsiteY0" fmla="*/ 0 h 294004"/>
                <a:gd name="connsiteX1" fmla="*/ 0 w 805814"/>
                <a:gd name="connsiteY1" fmla="*/ 294005 h 294004"/>
                <a:gd name="connsiteX2" fmla="*/ 805814 w 805814"/>
                <a:gd name="connsiteY2" fmla="*/ 151765 h 294004"/>
                <a:gd name="connsiteX3" fmla="*/ 805814 w 805814"/>
                <a:gd name="connsiteY3" fmla="*/ 0 h 2940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05814" h="294004">
                  <a:moveTo>
                    <a:pt x="805814" y="0"/>
                  </a:moveTo>
                  <a:lnTo>
                    <a:pt x="0" y="294005"/>
                  </a:lnTo>
                  <a:lnTo>
                    <a:pt x="805814" y="151765"/>
                  </a:lnTo>
                  <a:lnTo>
                    <a:pt x="805814" y="0"/>
                  </a:lnTo>
                  <a:close/>
                </a:path>
              </a:pathLst>
            </a:custGeom>
            <a:solidFill>
              <a:srgbClr val="FFE600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23" name="Freeform 22">
              <a:extLst>
                <a:ext uri="{FF2B5EF4-FFF2-40B4-BE49-F238E27FC236}">
                  <a16:creationId xmlns:a16="http://schemas.microsoft.com/office/drawing/2014/main" id="{51F51328-AAA1-9C6C-5EE4-05350DF6D22E}"/>
                </a:ext>
              </a:extLst>
            </p:cNvPr>
            <p:cNvSpPr/>
            <p:nvPr/>
          </p:nvSpPr>
          <p:spPr bwMode="black">
            <a:xfrm>
              <a:off x="10563224" y="5574083"/>
              <a:ext cx="1219200" cy="868681"/>
            </a:xfrm>
            <a:custGeom>
              <a:avLst/>
              <a:gdLst>
                <a:gd name="connsiteX0" fmla="*/ 245110 w 1219200"/>
                <a:gd name="connsiteY0" fmla="*/ 839471 h 868681"/>
                <a:gd name="connsiteX1" fmla="*/ 246379 w 1219200"/>
                <a:gd name="connsiteY1" fmla="*/ 839471 h 868681"/>
                <a:gd name="connsiteX2" fmla="*/ 245041 w 1219200"/>
                <a:gd name="connsiteY2" fmla="*/ 839979 h 868681"/>
                <a:gd name="connsiteX3" fmla="*/ 522605 w 1219200"/>
                <a:gd name="connsiteY3" fmla="*/ 796926 h 868681"/>
                <a:gd name="connsiteX4" fmla="*/ 504189 w 1219200"/>
                <a:gd name="connsiteY4" fmla="*/ 821691 h 868681"/>
                <a:gd name="connsiteX5" fmla="*/ 522605 w 1219200"/>
                <a:gd name="connsiteY5" fmla="*/ 845821 h 868681"/>
                <a:gd name="connsiteX6" fmla="*/ 541019 w 1219200"/>
                <a:gd name="connsiteY6" fmla="*/ 821691 h 868681"/>
                <a:gd name="connsiteX7" fmla="*/ 522605 w 1219200"/>
                <a:gd name="connsiteY7" fmla="*/ 796926 h 868681"/>
                <a:gd name="connsiteX8" fmla="*/ 817245 w 1219200"/>
                <a:gd name="connsiteY8" fmla="*/ 796291 h 868681"/>
                <a:gd name="connsiteX9" fmla="*/ 800735 w 1219200"/>
                <a:gd name="connsiteY9" fmla="*/ 819786 h 868681"/>
                <a:gd name="connsiteX10" fmla="*/ 817879 w 1219200"/>
                <a:gd name="connsiteY10" fmla="*/ 846456 h 868681"/>
                <a:gd name="connsiteX11" fmla="*/ 833754 w 1219200"/>
                <a:gd name="connsiteY11" fmla="*/ 838836 h 868681"/>
                <a:gd name="connsiteX12" fmla="*/ 833754 w 1219200"/>
                <a:gd name="connsiteY12" fmla="*/ 838201 h 868681"/>
                <a:gd name="connsiteX13" fmla="*/ 833754 w 1219200"/>
                <a:gd name="connsiteY13" fmla="*/ 803911 h 868681"/>
                <a:gd name="connsiteX14" fmla="*/ 817245 w 1219200"/>
                <a:gd name="connsiteY14" fmla="*/ 796291 h 868681"/>
                <a:gd name="connsiteX15" fmla="*/ 1179195 w 1219200"/>
                <a:gd name="connsiteY15" fmla="*/ 794386 h 868681"/>
                <a:gd name="connsiteX16" fmla="*/ 1163320 w 1219200"/>
                <a:gd name="connsiteY16" fmla="*/ 811531 h 868681"/>
                <a:gd name="connsiteX17" fmla="*/ 1163954 w 1219200"/>
                <a:gd name="connsiteY17" fmla="*/ 811531 h 868681"/>
                <a:gd name="connsiteX18" fmla="*/ 1195704 w 1219200"/>
                <a:gd name="connsiteY18" fmla="*/ 811531 h 868681"/>
                <a:gd name="connsiteX19" fmla="*/ 1179195 w 1219200"/>
                <a:gd name="connsiteY19" fmla="*/ 794386 h 868681"/>
                <a:gd name="connsiteX20" fmla="*/ 909320 w 1219200"/>
                <a:gd name="connsiteY20" fmla="*/ 794386 h 868681"/>
                <a:gd name="connsiteX21" fmla="*/ 893445 w 1219200"/>
                <a:gd name="connsiteY21" fmla="*/ 811531 h 868681"/>
                <a:gd name="connsiteX22" fmla="*/ 894079 w 1219200"/>
                <a:gd name="connsiteY22" fmla="*/ 811531 h 868681"/>
                <a:gd name="connsiteX23" fmla="*/ 925829 w 1219200"/>
                <a:gd name="connsiteY23" fmla="*/ 811531 h 868681"/>
                <a:gd name="connsiteX24" fmla="*/ 909320 w 1219200"/>
                <a:gd name="connsiteY24" fmla="*/ 794386 h 868681"/>
                <a:gd name="connsiteX25" fmla="*/ 737870 w 1219200"/>
                <a:gd name="connsiteY25" fmla="*/ 775971 h 868681"/>
                <a:gd name="connsiteX26" fmla="*/ 761364 w 1219200"/>
                <a:gd name="connsiteY26" fmla="*/ 775971 h 868681"/>
                <a:gd name="connsiteX27" fmla="*/ 761364 w 1219200"/>
                <a:gd name="connsiteY27" fmla="*/ 866141 h 868681"/>
                <a:gd name="connsiteX28" fmla="*/ 737870 w 1219200"/>
                <a:gd name="connsiteY28" fmla="*/ 866141 h 868681"/>
                <a:gd name="connsiteX29" fmla="*/ 143510 w 1219200"/>
                <a:gd name="connsiteY29" fmla="*/ 775971 h 868681"/>
                <a:gd name="connsiteX30" fmla="*/ 167004 w 1219200"/>
                <a:gd name="connsiteY30" fmla="*/ 775971 h 868681"/>
                <a:gd name="connsiteX31" fmla="*/ 167004 w 1219200"/>
                <a:gd name="connsiteY31" fmla="*/ 866141 h 868681"/>
                <a:gd name="connsiteX32" fmla="*/ 143510 w 1219200"/>
                <a:gd name="connsiteY32" fmla="*/ 866141 h 868681"/>
                <a:gd name="connsiteX33" fmla="*/ 635 w 1219200"/>
                <a:gd name="connsiteY33" fmla="*/ 775971 h 868681"/>
                <a:gd name="connsiteX34" fmla="*/ 26670 w 1219200"/>
                <a:gd name="connsiteY34" fmla="*/ 775971 h 868681"/>
                <a:gd name="connsiteX35" fmla="*/ 40004 w 1219200"/>
                <a:gd name="connsiteY35" fmla="*/ 828041 h 868681"/>
                <a:gd name="connsiteX36" fmla="*/ 55245 w 1219200"/>
                <a:gd name="connsiteY36" fmla="*/ 775971 h 868681"/>
                <a:gd name="connsiteX37" fmla="*/ 76200 w 1219200"/>
                <a:gd name="connsiteY37" fmla="*/ 775971 h 868681"/>
                <a:gd name="connsiteX38" fmla="*/ 91439 w 1219200"/>
                <a:gd name="connsiteY38" fmla="*/ 828041 h 868681"/>
                <a:gd name="connsiteX39" fmla="*/ 105409 w 1219200"/>
                <a:gd name="connsiteY39" fmla="*/ 775971 h 868681"/>
                <a:gd name="connsiteX40" fmla="*/ 130810 w 1219200"/>
                <a:gd name="connsiteY40" fmla="*/ 775971 h 868681"/>
                <a:gd name="connsiteX41" fmla="*/ 102235 w 1219200"/>
                <a:gd name="connsiteY41" fmla="*/ 866141 h 868681"/>
                <a:gd name="connsiteX42" fmla="*/ 80644 w 1219200"/>
                <a:gd name="connsiteY42" fmla="*/ 866141 h 868681"/>
                <a:gd name="connsiteX43" fmla="*/ 65405 w 1219200"/>
                <a:gd name="connsiteY43" fmla="*/ 811531 h 868681"/>
                <a:gd name="connsiteX44" fmla="*/ 50165 w 1219200"/>
                <a:gd name="connsiteY44" fmla="*/ 866141 h 868681"/>
                <a:gd name="connsiteX45" fmla="*/ 28575 w 1219200"/>
                <a:gd name="connsiteY45" fmla="*/ 866141 h 868681"/>
                <a:gd name="connsiteX46" fmla="*/ 1181099 w 1219200"/>
                <a:gd name="connsiteY46" fmla="*/ 774066 h 868681"/>
                <a:gd name="connsiteX47" fmla="*/ 1219200 w 1219200"/>
                <a:gd name="connsiteY47" fmla="*/ 821056 h 868681"/>
                <a:gd name="connsiteX48" fmla="*/ 1218564 w 1219200"/>
                <a:gd name="connsiteY48" fmla="*/ 821056 h 868681"/>
                <a:gd name="connsiteX49" fmla="*/ 1218564 w 1219200"/>
                <a:gd name="connsiteY49" fmla="*/ 828676 h 868681"/>
                <a:gd name="connsiteX50" fmla="*/ 1163954 w 1219200"/>
                <a:gd name="connsiteY50" fmla="*/ 828676 h 868681"/>
                <a:gd name="connsiteX51" fmla="*/ 1183004 w 1219200"/>
                <a:gd name="connsiteY51" fmla="*/ 846456 h 868681"/>
                <a:gd name="connsiteX52" fmla="*/ 1198879 w 1219200"/>
                <a:gd name="connsiteY52" fmla="*/ 840106 h 868681"/>
                <a:gd name="connsiteX53" fmla="*/ 1214754 w 1219200"/>
                <a:gd name="connsiteY53" fmla="*/ 853441 h 868681"/>
                <a:gd name="connsiteX54" fmla="*/ 1182370 w 1219200"/>
                <a:gd name="connsiteY54" fmla="*/ 868046 h 868681"/>
                <a:gd name="connsiteX55" fmla="*/ 1141095 w 1219200"/>
                <a:gd name="connsiteY55" fmla="*/ 821056 h 868681"/>
                <a:gd name="connsiteX56" fmla="*/ 1181099 w 1219200"/>
                <a:gd name="connsiteY56" fmla="*/ 774066 h 868681"/>
                <a:gd name="connsiteX57" fmla="*/ 1097915 w 1219200"/>
                <a:gd name="connsiteY57" fmla="*/ 774066 h 868681"/>
                <a:gd name="connsiteX58" fmla="*/ 1133474 w 1219200"/>
                <a:gd name="connsiteY58" fmla="*/ 793751 h 868681"/>
                <a:gd name="connsiteX59" fmla="*/ 1118235 w 1219200"/>
                <a:gd name="connsiteY59" fmla="*/ 808991 h 868681"/>
                <a:gd name="connsiteX60" fmla="*/ 1097915 w 1219200"/>
                <a:gd name="connsiteY60" fmla="*/ 796291 h 868681"/>
                <a:gd name="connsiteX61" fmla="*/ 1078864 w 1219200"/>
                <a:gd name="connsiteY61" fmla="*/ 820421 h 868681"/>
                <a:gd name="connsiteX62" fmla="*/ 1097915 w 1219200"/>
                <a:gd name="connsiteY62" fmla="*/ 845186 h 868681"/>
                <a:gd name="connsiteX63" fmla="*/ 1118235 w 1219200"/>
                <a:gd name="connsiteY63" fmla="*/ 833756 h 868681"/>
                <a:gd name="connsiteX64" fmla="*/ 1118870 w 1219200"/>
                <a:gd name="connsiteY64" fmla="*/ 834391 h 868681"/>
                <a:gd name="connsiteX65" fmla="*/ 1133474 w 1219200"/>
                <a:gd name="connsiteY65" fmla="*/ 848361 h 868681"/>
                <a:gd name="connsiteX66" fmla="*/ 1097280 w 1219200"/>
                <a:gd name="connsiteY66" fmla="*/ 868046 h 868681"/>
                <a:gd name="connsiteX67" fmla="*/ 1054735 w 1219200"/>
                <a:gd name="connsiteY67" fmla="*/ 821056 h 868681"/>
                <a:gd name="connsiteX68" fmla="*/ 1097915 w 1219200"/>
                <a:gd name="connsiteY68" fmla="*/ 774066 h 868681"/>
                <a:gd name="connsiteX69" fmla="*/ 1009015 w 1219200"/>
                <a:gd name="connsiteY69" fmla="*/ 774066 h 868681"/>
                <a:gd name="connsiteX70" fmla="*/ 1041400 w 1219200"/>
                <a:gd name="connsiteY70" fmla="*/ 815341 h 868681"/>
                <a:gd name="connsiteX71" fmla="*/ 1041400 w 1219200"/>
                <a:gd name="connsiteY71" fmla="*/ 866141 h 868681"/>
                <a:gd name="connsiteX72" fmla="*/ 1017905 w 1219200"/>
                <a:gd name="connsiteY72" fmla="*/ 866141 h 868681"/>
                <a:gd name="connsiteX73" fmla="*/ 1017905 w 1219200"/>
                <a:gd name="connsiteY73" fmla="*/ 817246 h 868681"/>
                <a:gd name="connsiteX74" fmla="*/ 1002665 w 1219200"/>
                <a:gd name="connsiteY74" fmla="*/ 796291 h 868681"/>
                <a:gd name="connsiteX75" fmla="*/ 986790 w 1219200"/>
                <a:gd name="connsiteY75" fmla="*/ 816611 h 868681"/>
                <a:gd name="connsiteX76" fmla="*/ 986790 w 1219200"/>
                <a:gd name="connsiteY76" fmla="*/ 866141 h 868681"/>
                <a:gd name="connsiteX77" fmla="*/ 963295 w 1219200"/>
                <a:gd name="connsiteY77" fmla="*/ 866141 h 868681"/>
                <a:gd name="connsiteX78" fmla="*/ 963295 w 1219200"/>
                <a:gd name="connsiteY78" fmla="*/ 775971 h 868681"/>
                <a:gd name="connsiteX79" fmla="*/ 986790 w 1219200"/>
                <a:gd name="connsiteY79" fmla="*/ 775971 h 868681"/>
                <a:gd name="connsiteX80" fmla="*/ 986790 w 1219200"/>
                <a:gd name="connsiteY80" fmla="*/ 782321 h 868681"/>
                <a:gd name="connsiteX81" fmla="*/ 1009015 w 1219200"/>
                <a:gd name="connsiteY81" fmla="*/ 774066 h 868681"/>
                <a:gd name="connsiteX82" fmla="*/ 911224 w 1219200"/>
                <a:gd name="connsiteY82" fmla="*/ 774066 h 868681"/>
                <a:gd name="connsiteX83" fmla="*/ 949325 w 1219200"/>
                <a:gd name="connsiteY83" fmla="*/ 821056 h 868681"/>
                <a:gd name="connsiteX84" fmla="*/ 948689 w 1219200"/>
                <a:gd name="connsiteY84" fmla="*/ 821056 h 868681"/>
                <a:gd name="connsiteX85" fmla="*/ 948689 w 1219200"/>
                <a:gd name="connsiteY85" fmla="*/ 828676 h 868681"/>
                <a:gd name="connsiteX86" fmla="*/ 894079 w 1219200"/>
                <a:gd name="connsiteY86" fmla="*/ 828676 h 868681"/>
                <a:gd name="connsiteX87" fmla="*/ 913129 w 1219200"/>
                <a:gd name="connsiteY87" fmla="*/ 846456 h 868681"/>
                <a:gd name="connsiteX88" fmla="*/ 929004 w 1219200"/>
                <a:gd name="connsiteY88" fmla="*/ 840106 h 868681"/>
                <a:gd name="connsiteX89" fmla="*/ 944879 w 1219200"/>
                <a:gd name="connsiteY89" fmla="*/ 853441 h 868681"/>
                <a:gd name="connsiteX90" fmla="*/ 912495 w 1219200"/>
                <a:gd name="connsiteY90" fmla="*/ 868046 h 868681"/>
                <a:gd name="connsiteX91" fmla="*/ 871220 w 1219200"/>
                <a:gd name="connsiteY91" fmla="*/ 821056 h 868681"/>
                <a:gd name="connsiteX92" fmla="*/ 911224 w 1219200"/>
                <a:gd name="connsiteY92" fmla="*/ 774066 h 868681"/>
                <a:gd name="connsiteX93" fmla="*/ 623570 w 1219200"/>
                <a:gd name="connsiteY93" fmla="*/ 774066 h 868681"/>
                <a:gd name="connsiteX94" fmla="*/ 655954 w 1219200"/>
                <a:gd name="connsiteY94" fmla="*/ 815341 h 868681"/>
                <a:gd name="connsiteX95" fmla="*/ 655954 w 1219200"/>
                <a:gd name="connsiteY95" fmla="*/ 866141 h 868681"/>
                <a:gd name="connsiteX96" fmla="*/ 632459 w 1219200"/>
                <a:gd name="connsiteY96" fmla="*/ 866141 h 868681"/>
                <a:gd name="connsiteX97" fmla="*/ 632459 w 1219200"/>
                <a:gd name="connsiteY97" fmla="*/ 817246 h 868681"/>
                <a:gd name="connsiteX98" fmla="*/ 617220 w 1219200"/>
                <a:gd name="connsiteY98" fmla="*/ 796291 h 868681"/>
                <a:gd name="connsiteX99" fmla="*/ 601345 w 1219200"/>
                <a:gd name="connsiteY99" fmla="*/ 816611 h 868681"/>
                <a:gd name="connsiteX100" fmla="*/ 601345 w 1219200"/>
                <a:gd name="connsiteY100" fmla="*/ 866141 h 868681"/>
                <a:gd name="connsiteX101" fmla="*/ 577849 w 1219200"/>
                <a:gd name="connsiteY101" fmla="*/ 866141 h 868681"/>
                <a:gd name="connsiteX102" fmla="*/ 577849 w 1219200"/>
                <a:gd name="connsiteY102" fmla="*/ 775971 h 868681"/>
                <a:gd name="connsiteX103" fmla="*/ 601345 w 1219200"/>
                <a:gd name="connsiteY103" fmla="*/ 775971 h 868681"/>
                <a:gd name="connsiteX104" fmla="*/ 601345 w 1219200"/>
                <a:gd name="connsiteY104" fmla="*/ 782321 h 868681"/>
                <a:gd name="connsiteX105" fmla="*/ 623570 w 1219200"/>
                <a:gd name="connsiteY105" fmla="*/ 774066 h 868681"/>
                <a:gd name="connsiteX106" fmla="*/ 522605 w 1219200"/>
                <a:gd name="connsiteY106" fmla="*/ 774066 h 868681"/>
                <a:gd name="connsiteX107" fmla="*/ 564515 w 1219200"/>
                <a:gd name="connsiteY107" fmla="*/ 821056 h 868681"/>
                <a:gd name="connsiteX108" fmla="*/ 522605 w 1219200"/>
                <a:gd name="connsiteY108" fmla="*/ 868046 h 868681"/>
                <a:gd name="connsiteX109" fmla="*/ 480695 w 1219200"/>
                <a:gd name="connsiteY109" fmla="*/ 821056 h 868681"/>
                <a:gd name="connsiteX110" fmla="*/ 522605 w 1219200"/>
                <a:gd name="connsiteY110" fmla="*/ 774066 h 868681"/>
                <a:gd name="connsiteX111" fmla="*/ 436879 w 1219200"/>
                <a:gd name="connsiteY111" fmla="*/ 774066 h 868681"/>
                <a:gd name="connsiteX112" fmla="*/ 472439 w 1219200"/>
                <a:gd name="connsiteY112" fmla="*/ 793751 h 868681"/>
                <a:gd name="connsiteX113" fmla="*/ 457200 w 1219200"/>
                <a:gd name="connsiteY113" fmla="*/ 808991 h 868681"/>
                <a:gd name="connsiteX114" fmla="*/ 436879 w 1219200"/>
                <a:gd name="connsiteY114" fmla="*/ 796291 h 868681"/>
                <a:gd name="connsiteX115" fmla="*/ 417829 w 1219200"/>
                <a:gd name="connsiteY115" fmla="*/ 820421 h 868681"/>
                <a:gd name="connsiteX116" fmla="*/ 436879 w 1219200"/>
                <a:gd name="connsiteY116" fmla="*/ 845186 h 868681"/>
                <a:gd name="connsiteX117" fmla="*/ 457200 w 1219200"/>
                <a:gd name="connsiteY117" fmla="*/ 833756 h 868681"/>
                <a:gd name="connsiteX118" fmla="*/ 457834 w 1219200"/>
                <a:gd name="connsiteY118" fmla="*/ 834391 h 868681"/>
                <a:gd name="connsiteX119" fmla="*/ 472439 w 1219200"/>
                <a:gd name="connsiteY119" fmla="*/ 848361 h 868681"/>
                <a:gd name="connsiteX120" fmla="*/ 436245 w 1219200"/>
                <a:gd name="connsiteY120" fmla="*/ 868046 h 868681"/>
                <a:gd name="connsiteX121" fmla="*/ 393700 w 1219200"/>
                <a:gd name="connsiteY121" fmla="*/ 821056 h 868681"/>
                <a:gd name="connsiteX122" fmla="*/ 436879 w 1219200"/>
                <a:gd name="connsiteY122" fmla="*/ 774066 h 868681"/>
                <a:gd name="connsiteX123" fmla="*/ 219075 w 1219200"/>
                <a:gd name="connsiteY123" fmla="*/ 742316 h 868681"/>
                <a:gd name="connsiteX124" fmla="*/ 219075 w 1219200"/>
                <a:gd name="connsiteY124" fmla="*/ 777241 h 868681"/>
                <a:gd name="connsiteX125" fmla="*/ 245110 w 1219200"/>
                <a:gd name="connsiteY125" fmla="*/ 777241 h 868681"/>
                <a:gd name="connsiteX126" fmla="*/ 245110 w 1219200"/>
                <a:gd name="connsiteY126" fmla="*/ 798831 h 868681"/>
                <a:gd name="connsiteX127" fmla="*/ 219075 w 1219200"/>
                <a:gd name="connsiteY127" fmla="*/ 798831 h 868681"/>
                <a:gd name="connsiteX128" fmla="*/ 219075 w 1219200"/>
                <a:gd name="connsiteY128" fmla="*/ 835661 h 868681"/>
                <a:gd name="connsiteX129" fmla="*/ 227965 w 1219200"/>
                <a:gd name="connsiteY129" fmla="*/ 846456 h 868681"/>
                <a:gd name="connsiteX130" fmla="*/ 245041 w 1219200"/>
                <a:gd name="connsiteY130" fmla="*/ 839979 h 868681"/>
                <a:gd name="connsiteX131" fmla="*/ 241935 w 1219200"/>
                <a:gd name="connsiteY131" fmla="*/ 862966 h 868681"/>
                <a:gd name="connsiteX132" fmla="*/ 219709 w 1219200"/>
                <a:gd name="connsiteY132" fmla="*/ 868681 h 868681"/>
                <a:gd name="connsiteX133" fmla="*/ 195579 w 1219200"/>
                <a:gd name="connsiteY133" fmla="*/ 842011 h 868681"/>
                <a:gd name="connsiteX134" fmla="*/ 195579 w 1219200"/>
                <a:gd name="connsiteY134" fmla="*/ 798831 h 868681"/>
                <a:gd name="connsiteX135" fmla="*/ 179704 w 1219200"/>
                <a:gd name="connsiteY135" fmla="*/ 798831 h 868681"/>
                <a:gd name="connsiteX136" fmla="*/ 179704 w 1219200"/>
                <a:gd name="connsiteY136" fmla="*/ 777241 h 868681"/>
                <a:gd name="connsiteX137" fmla="*/ 195579 w 1219200"/>
                <a:gd name="connsiteY137" fmla="*/ 777241 h 868681"/>
                <a:gd name="connsiteX138" fmla="*/ 195579 w 1219200"/>
                <a:gd name="connsiteY138" fmla="*/ 753746 h 868681"/>
                <a:gd name="connsiteX139" fmla="*/ 749935 w 1219200"/>
                <a:gd name="connsiteY139" fmla="*/ 741681 h 868681"/>
                <a:gd name="connsiteX140" fmla="*/ 763269 w 1219200"/>
                <a:gd name="connsiteY140" fmla="*/ 755016 h 868681"/>
                <a:gd name="connsiteX141" fmla="*/ 749935 w 1219200"/>
                <a:gd name="connsiteY141" fmla="*/ 768351 h 868681"/>
                <a:gd name="connsiteX142" fmla="*/ 736599 w 1219200"/>
                <a:gd name="connsiteY142" fmla="*/ 755016 h 868681"/>
                <a:gd name="connsiteX143" fmla="*/ 749935 w 1219200"/>
                <a:gd name="connsiteY143" fmla="*/ 741681 h 868681"/>
                <a:gd name="connsiteX144" fmla="*/ 154939 w 1219200"/>
                <a:gd name="connsiteY144" fmla="*/ 741681 h 868681"/>
                <a:gd name="connsiteX145" fmla="*/ 168275 w 1219200"/>
                <a:gd name="connsiteY145" fmla="*/ 755016 h 868681"/>
                <a:gd name="connsiteX146" fmla="*/ 154939 w 1219200"/>
                <a:gd name="connsiteY146" fmla="*/ 768351 h 868681"/>
                <a:gd name="connsiteX147" fmla="*/ 141605 w 1219200"/>
                <a:gd name="connsiteY147" fmla="*/ 755016 h 868681"/>
                <a:gd name="connsiteX148" fmla="*/ 154939 w 1219200"/>
                <a:gd name="connsiteY148" fmla="*/ 741681 h 868681"/>
                <a:gd name="connsiteX149" fmla="*/ 856614 w 1219200"/>
                <a:gd name="connsiteY149" fmla="*/ 741046 h 868681"/>
                <a:gd name="connsiteX150" fmla="*/ 856614 w 1219200"/>
                <a:gd name="connsiteY150" fmla="*/ 866141 h 868681"/>
                <a:gd name="connsiteX151" fmla="*/ 833120 w 1219200"/>
                <a:gd name="connsiteY151" fmla="*/ 866141 h 868681"/>
                <a:gd name="connsiteX152" fmla="*/ 833120 w 1219200"/>
                <a:gd name="connsiteY152" fmla="*/ 860426 h 868681"/>
                <a:gd name="connsiteX153" fmla="*/ 812799 w 1219200"/>
                <a:gd name="connsiteY153" fmla="*/ 868046 h 868681"/>
                <a:gd name="connsiteX154" fmla="*/ 775970 w 1219200"/>
                <a:gd name="connsiteY154" fmla="*/ 820421 h 868681"/>
                <a:gd name="connsiteX155" fmla="*/ 812165 w 1219200"/>
                <a:gd name="connsiteY155" fmla="*/ 774066 h 868681"/>
                <a:gd name="connsiteX156" fmla="*/ 833120 w 1219200"/>
                <a:gd name="connsiteY156" fmla="*/ 781051 h 868681"/>
                <a:gd name="connsiteX157" fmla="*/ 833120 w 1219200"/>
                <a:gd name="connsiteY157" fmla="*/ 752476 h 868681"/>
                <a:gd name="connsiteX158" fmla="*/ 707390 w 1219200"/>
                <a:gd name="connsiteY158" fmla="*/ 741046 h 868681"/>
                <a:gd name="connsiteX159" fmla="*/ 724534 w 1219200"/>
                <a:gd name="connsiteY159" fmla="*/ 743586 h 868681"/>
                <a:gd name="connsiteX160" fmla="*/ 724534 w 1219200"/>
                <a:gd name="connsiteY160" fmla="*/ 744221 h 868681"/>
                <a:gd name="connsiteX161" fmla="*/ 724534 w 1219200"/>
                <a:gd name="connsiteY161" fmla="*/ 762636 h 868681"/>
                <a:gd name="connsiteX162" fmla="*/ 713105 w 1219200"/>
                <a:gd name="connsiteY162" fmla="*/ 760731 h 868681"/>
                <a:gd name="connsiteX163" fmla="*/ 703579 w 1219200"/>
                <a:gd name="connsiteY163" fmla="*/ 768351 h 868681"/>
                <a:gd name="connsiteX164" fmla="*/ 703579 w 1219200"/>
                <a:gd name="connsiteY164" fmla="*/ 775336 h 868681"/>
                <a:gd name="connsiteX165" fmla="*/ 722629 w 1219200"/>
                <a:gd name="connsiteY165" fmla="*/ 775336 h 868681"/>
                <a:gd name="connsiteX166" fmla="*/ 722629 w 1219200"/>
                <a:gd name="connsiteY166" fmla="*/ 796926 h 868681"/>
                <a:gd name="connsiteX167" fmla="*/ 703579 w 1219200"/>
                <a:gd name="connsiteY167" fmla="*/ 796926 h 868681"/>
                <a:gd name="connsiteX168" fmla="*/ 703579 w 1219200"/>
                <a:gd name="connsiteY168" fmla="*/ 865506 h 868681"/>
                <a:gd name="connsiteX169" fmla="*/ 680084 w 1219200"/>
                <a:gd name="connsiteY169" fmla="*/ 865506 h 868681"/>
                <a:gd name="connsiteX170" fmla="*/ 680084 w 1219200"/>
                <a:gd name="connsiteY170" fmla="*/ 796926 h 868681"/>
                <a:gd name="connsiteX171" fmla="*/ 667385 w 1219200"/>
                <a:gd name="connsiteY171" fmla="*/ 796926 h 868681"/>
                <a:gd name="connsiteX172" fmla="*/ 667385 w 1219200"/>
                <a:gd name="connsiteY172" fmla="*/ 775336 h 868681"/>
                <a:gd name="connsiteX173" fmla="*/ 680084 w 1219200"/>
                <a:gd name="connsiteY173" fmla="*/ 775336 h 868681"/>
                <a:gd name="connsiteX174" fmla="*/ 680084 w 1219200"/>
                <a:gd name="connsiteY174" fmla="*/ 764541 h 868681"/>
                <a:gd name="connsiteX175" fmla="*/ 707390 w 1219200"/>
                <a:gd name="connsiteY175" fmla="*/ 741046 h 868681"/>
                <a:gd name="connsiteX176" fmla="*/ 282575 w 1219200"/>
                <a:gd name="connsiteY176" fmla="*/ 741046 h 868681"/>
                <a:gd name="connsiteX177" fmla="*/ 282575 w 1219200"/>
                <a:gd name="connsiteY177" fmla="*/ 782321 h 868681"/>
                <a:gd name="connsiteX178" fmla="*/ 304799 w 1219200"/>
                <a:gd name="connsiteY178" fmla="*/ 774066 h 868681"/>
                <a:gd name="connsiteX179" fmla="*/ 336549 w 1219200"/>
                <a:gd name="connsiteY179" fmla="*/ 815341 h 868681"/>
                <a:gd name="connsiteX180" fmla="*/ 336549 w 1219200"/>
                <a:gd name="connsiteY180" fmla="*/ 866141 h 868681"/>
                <a:gd name="connsiteX181" fmla="*/ 313689 w 1219200"/>
                <a:gd name="connsiteY181" fmla="*/ 866141 h 868681"/>
                <a:gd name="connsiteX182" fmla="*/ 313689 w 1219200"/>
                <a:gd name="connsiteY182" fmla="*/ 817246 h 868681"/>
                <a:gd name="connsiteX183" fmla="*/ 298450 w 1219200"/>
                <a:gd name="connsiteY183" fmla="*/ 796291 h 868681"/>
                <a:gd name="connsiteX184" fmla="*/ 282575 w 1219200"/>
                <a:gd name="connsiteY184" fmla="*/ 816611 h 868681"/>
                <a:gd name="connsiteX185" fmla="*/ 282575 w 1219200"/>
                <a:gd name="connsiteY185" fmla="*/ 866141 h 868681"/>
                <a:gd name="connsiteX186" fmla="*/ 259079 w 1219200"/>
                <a:gd name="connsiteY186" fmla="*/ 866141 h 868681"/>
                <a:gd name="connsiteX187" fmla="*/ 259079 w 1219200"/>
                <a:gd name="connsiteY187" fmla="*/ 752476 h 868681"/>
                <a:gd name="connsiteX188" fmla="*/ 92709 w 1219200"/>
                <a:gd name="connsiteY188" fmla="*/ 648336 h 868681"/>
                <a:gd name="connsiteX189" fmla="*/ 92709 w 1219200"/>
                <a:gd name="connsiteY189" fmla="*/ 649606 h 868681"/>
                <a:gd name="connsiteX190" fmla="*/ 92427 w 1219200"/>
                <a:gd name="connsiteY190" fmla="*/ 648959 h 868681"/>
                <a:gd name="connsiteX191" fmla="*/ 230504 w 1219200"/>
                <a:gd name="connsiteY191" fmla="*/ 643256 h 868681"/>
                <a:gd name="connsiteX192" fmla="*/ 215900 w 1219200"/>
                <a:gd name="connsiteY192" fmla="*/ 654686 h 868681"/>
                <a:gd name="connsiteX193" fmla="*/ 228599 w 1219200"/>
                <a:gd name="connsiteY193" fmla="*/ 667386 h 868681"/>
                <a:gd name="connsiteX194" fmla="*/ 245745 w 1219200"/>
                <a:gd name="connsiteY194" fmla="*/ 658496 h 868681"/>
                <a:gd name="connsiteX195" fmla="*/ 245745 w 1219200"/>
                <a:gd name="connsiteY195" fmla="*/ 647066 h 868681"/>
                <a:gd name="connsiteX196" fmla="*/ 230504 w 1219200"/>
                <a:gd name="connsiteY196" fmla="*/ 643256 h 868681"/>
                <a:gd name="connsiteX197" fmla="*/ 321310 w 1219200"/>
                <a:gd name="connsiteY197" fmla="*/ 614046 h 868681"/>
                <a:gd name="connsiteX198" fmla="*/ 306704 w 1219200"/>
                <a:gd name="connsiteY198" fmla="*/ 622301 h 868681"/>
                <a:gd name="connsiteX199" fmla="*/ 306704 w 1219200"/>
                <a:gd name="connsiteY199" fmla="*/ 656591 h 868681"/>
                <a:gd name="connsiteX200" fmla="*/ 323215 w 1219200"/>
                <a:gd name="connsiteY200" fmla="*/ 664846 h 868681"/>
                <a:gd name="connsiteX201" fmla="*/ 339090 w 1219200"/>
                <a:gd name="connsiteY201" fmla="*/ 640716 h 868681"/>
                <a:gd name="connsiteX202" fmla="*/ 338454 w 1219200"/>
                <a:gd name="connsiteY202" fmla="*/ 640716 h 868681"/>
                <a:gd name="connsiteX203" fmla="*/ 321310 w 1219200"/>
                <a:gd name="connsiteY203" fmla="*/ 614046 h 868681"/>
                <a:gd name="connsiteX204" fmla="*/ 1179195 w 1219200"/>
                <a:gd name="connsiteY204" fmla="*/ 612776 h 868681"/>
                <a:gd name="connsiteX205" fmla="*/ 1163320 w 1219200"/>
                <a:gd name="connsiteY205" fmla="*/ 629921 h 868681"/>
                <a:gd name="connsiteX206" fmla="*/ 1163954 w 1219200"/>
                <a:gd name="connsiteY206" fmla="*/ 629921 h 868681"/>
                <a:gd name="connsiteX207" fmla="*/ 1195704 w 1219200"/>
                <a:gd name="connsiteY207" fmla="*/ 629921 h 868681"/>
                <a:gd name="connsiteX208" fmla="*/ 1179195 w 1219200"/>
                <a:gd name="connsiteY208" fmla="*/ 612776 h 868681"/>
                <a:gd name="connsiteX209" fmla="*/ 689610 w 1219200"/>
                <a:gd name="connsiteY209" fmla="*/ 612776 h 868681"/>
                <a:gd name="connsiteX210" fmla="*/ 673735 w 1219200"/>
                <a:gd name="connsiteY210" fmla="*/ 629921 h 868681"/>
                <a:gd name="connsiteX211" fmla="*/ 674370 w 1219200"/>
                <a:gd name="connsiteY211" fmla="*/ 629921 h 868681"/>
                <a:gd name="connsiteX212" fmla="*/ 706120 w 1219200"/>
                <a:gd name="connsiteY212" fmla="*/ 629921 h 868681"/>
                <a:gd name="connsiteX213" fmla="*/ 689610 w 1219200"/>
                <a:gd name="connsiteY213" fmla="*/ 612776 h 868681"/>
                <a:gd name="connsiteX214" fmla="*/ 410845 w 1219200"/>
                <a:gd name="connsiteY214" fmla="*/ 612776 h 868681"/>
                <a:gd name="connsiteX215" fmla="*/ 395605 w 1219200"/>
                <a:gd name="connsiteY215" fmla="*/ 629921 h 868681"/>
                <a:gd name="connsiteX216" fmla="*/ 427355 w 1219200"/>
                <a:gd name="connsiteY216" fmla="*/ 629921 h 868681"/>
                <a:gd name="connsiteX217" fmla="*/ 410845 w 1219200"/>
                <a:gd name="connsiteY217" fmla="*/ 612776 h 868681"/>
                <a:gd name="connsiteX218" fmla="*/ 991870 w 1219200"/>
                <a:gd name="connsiteY218" fmla="*/ 594361 h 868681"/>
                <a:gd name="connsiteX219" fmla="*/ 1014095 w 1219200"/>
                <a:gd name="connsiteY219" fmla="*/ 594361 h 868681"/>
                <a:gd name="connsiteX220" fmla="*/ 1014095 w 1219200"/>
                <a:gd name="connsiteY220" fmla="*/ 643256 h 868681"/>
                <a:gd name="connsiteX221" fmla="*/ 1029334 w 1219200"/>
                <a:gd name="connsiteY221" fmla="*/ 664846 h 868681"/>
                <a:gd name="connsiteX222" fmla="*/ 1044575 w 1219200"/>
                <a:gd name="connsiteY222" fmla="*/ 644526 h 868681"/>
                <a:gd name="connsiteX223" fmla="*/ 1044575 w 1219200"/>
                <a:gd name="connsiteY223" fmla="*/ 594996 h 868681"/>
                <a:gd name="connsiteX224" fmla="*/ 1066799 w 1219200"/>
                <a:gd name="connsiteY224" fmla="*/ 594996 h 868681"/>
                <a:gd name="connsiteX225" fmla="*/ 1066799 w 1219200"/>
                <a:gd name="connsiteY225" fmla="*/ 684531 h 868681"/>
                <a:gd name="connsiteX226" fmla="*/ 1044575 w 1219200"/>
                <a:gd name="connsiteY226" fmla="*/ 684531 h 868681"/>
                <a:gd name="connsiteX227" fmla="*/ 1044575 w 1219200"/>
                <a:gd name="connsiteY227" fmla="*/ 678181 h 868681"/>
                <a:gd name="connsiteX228" fmla="*/ 1023620 w 1219200"/>
                <a:gd name="connsiteY228" fmla="*/ 686436 h 868681"/>
                <a:gd name="connsiteX229" fmla="*/ 991870 w 1219200"/>
                <a:gd name="connsiteY229" fmla="*/ 645161 h 868681"/>
                <a:gd name="connsiteX230" fmla="*/ 836295 w 1219200"/>
                <a:gd name="connsiteY230" fmla="*/ 594361 h 868681"/>
                <a:gd name="connsiteX231" fmla="*/ 858519 w 1219200"/>
                <a:gd name="connsiteY231" fmla="*/ 594361 h 868681"/>
                <a:gd name="connsiteX232" fmla="*/ 858519 w 1219200"/>
                <a:gd name="connsiteY232" fmla="*/ 643256 h 868681"/>
                <a:gd name="connsiteX233" fmla="*/ 873760 w 1219200"/>
                <a:gd name="connsiteY233" fmla="*/ 664846 h 868681"/>
                <a:gd name="connsiteX234" fmla="*/ 889000 w 1219200"/>
                <a:gd name="connsiteY234" fmla="*/ 644526 h 868681"/>
                <a:gd name="connsiteX235" fmla="*/ 889000 w 1219200"/>
                <a:gd name="connsiteY235" fmla="*/ 594996 h 868681"/>
                <a:gd name="connsiteX236" fmla="*/ 911224 w 1219200"/>
                <a:gd name="connsiteY236" fmla="*/ 594996 h 868681"/>
                <a:gd name="connsiteX237" fmla="*/ 911224 w 1219200"/>
                <a:gd name="connsiteY237" fmla="*/ 684531 h 868681"/>
                <a:gd name="connsiteX238" fmla="*/ 889000 w 1219200"/>
                <a:gd name="connsiteY238" fmla="*/ 684531 h 868681"/>
                <a:gd name="connsiteX239" fmla="*/ 889000 w 1219200"/>
                <a:gd name="connsiteY239" fmla="*/ 678181 h 868681"/>
                <a:gd name="connsiteX240" fmla="*/ 868045 w 1219200"/>
                <a:gd name="connsiteY240" fmla="*/ 686436 h 868681"/>
                <a:gd name="connsiteX241" fmla="*/ 836295 w 1219200"/>
                <a:gd name="connsiteY241" fmla="*/ 645161 h 868681"/>
                <a:gd name="connsiteX242" fmla="*/ 1181099 w 1219200"/>
                <a:gd name="connsiteY242" fmla="*/ 592456 h 868681"/>
                <a:gd name="connsiteX243" fmla="*/ 1219200 w 1219200"/>
                <a:gd name="connsiteY243" fmla="*/ 639446 h 868681"/>
                <a:gd name="connsiteX244" fmla="*/ 1218564 w 1219200"/>
                <a:gd name="connsiteY244" fmla="*/ 639446 h 868681"/>
                <a:gd name="connsiteX245" fmla="*/ 1218564 w 1219200"/>
                <a:gd name="connsiteY245" fmla="*/ 647066 h 868681"/>
                <a:gd name="connsiteX246" fmla="*/ 1163954 w 1219200"/>
                <a:gd name="connsiteY246" fmla="*/ 647066 h 868681"/>
                <a:gd name="connsiteX247" fmla="*/ 1183004 w 1219200"/>
                <a:gd name="connsiteY247" fmla="*/ 664846 h 868681"/>
                <a:gd name="connsiteX248" fmla="*/ 1198879 w 1219200"/>
                <a:gd name="connsiteY248" fmla="*/ 658496 h 868681"/>
                <a:gd name="connsiteX249" fmla="*/ 1214754 w 1219200"/>
                <a:gd name="connsiteY249" fmla="*/ 671831 h 868681"/>
                <a:gd name="connsiteX250" fmla="*/ 1182370 w 1219200"/>
                <a:gd name="connsiteY250" fmla="*/ 686436 h 868681"/>
                <a:gd name="connsiteX251" fmla="*/ 1141095 w 1219200"/>
                <a:gd name="connsiteY251" fmla="*/ 639446 h 868681"/>
                <a:gd name="connsiteX252" fmla="*/ 1181099 w 1219200"/>
                <a:gd name="connsiteY252" fmla="*/ 592456 h 868681"/>
                <a:gd name="connsiteX253" fmla="*/ 691515 w 1219200"/>
                <a:gd name="connsiteY253" fmla="*/ 592456 h 868681"/>
                <a:gd name="connsiteX254" fmla="*/ 729614 w 1219200"/>
                <a:gd name="connsiteY254" fmla="*/ 639446 h 868681"/>
                <a:gd name="connsiteX255" fmla="*/ 728980 w 1219200"/>
                <a:gd name="connsiteY255" fmla="*/ 639446 h 868681"/>
                <a:gd name="connsiteX256" fmla="*/ 728980 w 1219200"/>
                <a:gd name="connsiteY256" fmla="*/ 647066 h 868681"/>
                <a:gd name="connsiteX257" fmla="*/ 674370 w 1219200"/>
                <a:gd name="connsiteY257" fmla="*/ 647066 h 868681"/>
                <a:gd name="connsiteX258" fmla="*/ 693420 w 1219200"/>
                <a:gd name="connsiteY258" fmla="*/ 664846 h 868681"/>
                <a:gd name="connsiteX259" fmla="*/ 709295 w 1219200"/>
                <a:gd name="connsiteY259" fmla="*/ 658496 h 868681"/>
                <a:gd name="connsiteX260" fmla="*/ 725170 w 1219200"/>
                <a:gd name="connsiteY260" fmla="*/ 671831 h 868681"/>
                <a:gd name="connsiteX261" fmla="*/ 692784 w 1219200"/>
                <a:gd name="connsiteY261" fmla="*/ 686436 h 868681"/>
                <a:gd name="connsiteX262" fmla="*/ 651510 w 1219200"/>
                <a:gd name="connsiteY262" fmla="*/ 639446 h 868681"/>
                <a:gd name="connsiteX263" fmla="*/ 691515 w 1219200"/>
                <a:gd name="connsiteY263" fmla="*/ 592456 h 868681"/>
                <a:gd name="connsiteX264" fmla="*/ 412114 w 1219200"/>
                <a:gd name="connsiteY264" fmla="*/ 592456 h 868681"/>
                <a:gd name="connsiteX265" fmla="*/ 448310 w 1219200"/>
                <a:gd name="connsiteY265" fmla="*/ 639446 h 868681"/>
                <a:gd name="connsiteX266" fmla="*/ 448310 w 1219200"/>
                <a:gd name="connsiteY266" fmla="*/ 647066 h 868681"/>
                <a:gd name="connsiteX267" fmla="*/ 395605 w 1219200"/>
                <a:gd name="connsiteY267" fmla="*/ 647066 h 868681"/>
                <a:gd name="connsiteX268" fmla="*/ 415290 w 1219200"/>
                <a:gd name="connsiteY268" fmla="*/ 664846 h 868681"/>
                <a:gd name="connsiteX269" fmla="*/ 430530 w 1219200"/>
                <a:gd name="connsiteY269" fmla="*/ 658496 h 868681"/>
                <a:gd name="connsiteX270" fmla="*/ 446405 w 1219200"/>
                <a:gd name="connsiteY270" fmla="*/ 671831 h 868681"/>
                <a:gd name="connsiteX271" fmla="*/ 413385 w 1219200"/>
                <a:gd name="connsiteY271" fmla="*/ 686436 h 868681"/>
                <a:gd name="connsiteX272" fmla="*/ 372110 w 1219200"/>
                <a:gd name="connsiteY272" fmla="*/ 640081 h 868681"/>
                <a:gd name="connsiteX273" fmla="*/ 412114 w 1219200"/>
                <a:gd name="connsiteY273" fmla="*/ 592456 h 868681"/>
                <a:gd name="connsiteX274" fmla="*/ 326390 w 1219200"/>
                <a:gd name="connsiteY274" fmla="*/ 592456 h 868681"/>
                <a:gd name="connsiteX275" fmla="*/ 361314 w 1219200"/>
                <a:gd name="connsiteY275" fmla="*/ 639446 h 868681"/>
                <a:gd name="connsiteX276" fmla="*/ 326390 w 1219200"/>
                <a:gd name="connsiteY276" fmla="*/ 686436 h 868681"/>
                <a:gd name="connsiteX277" fmla="*/ 306070 w 1219200"/>
                <a:gd name="connsiteY277" fmla="*/ 678816 h 868681"/>
                <a:gd name="connsiteX278" fmla="*/ 306070 w 1219200"/>
                <a:gd name="connsiteY278" fmla="*/ 706121 h 868681"/>
                <a:gd name="connsiteX279" fmla="*/ 283845 w 1219200"/>
                <a:gd name="connsiteY279" fmla="*/ 717551 h 868681"/>
                <a:gd name="connsiteX280" fmla="*/ 283845 w 1219200"/>
                <a:gd name="connsiteY280" fmla="*/ 594361 h 868681"/>
                <a:gd name="connsiteX281" fmla="*/ 306070 w 1219200"/>
                <a:gd name="connsiteY281" fmla="*/ 594361 h 868681"/>
                <a:gd name="connsiteX282" fmla="*/ 306070 w 1219200"/>
                <a:gd name="connsiteY282" fmla="*/ 600711 h 868681"/>
                <a:gd name="connsiteX283" fmla="*/ 326390 w 1219200"/>
                <a:gd name="connsiteY283" fmla="*/ 592456 h 868681"/>
                <a:gd name="connsiteX284" fmla="*/ 231775 w 1219200"/>
                <a:gd name="connsiteY284" fmla="*/ 592456 h 868681"/>
                <a:gd name="connsiteX285" fmla="*/ 268605 w 1219200"/>
                <a:gd name="connsiteY285" fmla="*/ 624206 h 868681"/>
                <a:gd name="connsiteX286" fmla="*/ 268605 w 1219200"/>
                <a:gd name="connsiteY286" fmla="*/ 684531 h 868681"/>
                <a:gd name="connsiteX287" fmla="*/ 267970 w 1219200"/>
                <a:gd name="connsiteY287" fmla="*/ 684531 h 868681"/>
                <a:gd name="connsiteX288" fmla="*/ 245745 w 1219200"/>
                <a:gd name="connsiteY288" fmla="*/ 684531 h 868681"/>
                <a:gd name="connsiteX289" fmla="*/ 245745 w 1219200"/>
                <a:gd name="connsiteY289" fmla="*/ 678181 h 868681"/>
                <a:gd name="connsiteX290" fmla="*/ 224790 w 1219200"/>
                <a:gd name="connsiteY290" fmla="*/ 686436 h 868681"/>
                <a:gd name="connsiteX291" fmla="*/ 193040 w 1219200"/>
                <a:gd name="connsiteY291" fmla="*/ 655321 h 868681"/>
                <a:gd name="connsiteX292" fmla="*/ 227965 w 1219200"/>
                <a:gd name="connsiteY292" fmla="*/ 624841 h 868681"/>
                <a:gd name="connsiteX293" fmla="*/ 245745 w 1219200"/>
                <a:gd name="connsiteY293" fmla="*/ 628651 h 868681"/>
                <a:gd name="connsiteX294" fmla="*/ 245745 w 1219200"/>
                <a:gd name="connsiteY294" fmla="*/ 623571 h 868681"/>
                <a:gd name="connsiteX295" fmla="*/ 230504 w 1219200"/>
                <a:gd name="connsiteY295" fmla="*/ 611506 h 868681"/>
                <a:gd name="connsiteX296" fmla="*/ 209549 w 1219200"/>
                <a:gd name="connsiteY296" fmla="*/ 617221 h 868681"/>
                <a:gd name="connsiteX297" fmla="*/ 200659 w 1219200"/>
                <a:gd name="connsiteY297" fmla="*/ 601346 h 868681"/>
                <a:gd name="connsiteX298" fmla="*/ 231775 w 1219200"/>
                <a:gd name="connsiteY298" fmla="*/ 592456 h 868681"/>
                <a:gd name="connsiteX299" fmla="*/ 1125855 w 1219200"/>
                <a:gd name="connsiteY299" fmla="*/ 591821 h 868681"/>
                <a:gd name="connsiteX300" fmla="*/ 1142364 w 1219200"/>
                <a:gd name="connsiteY300" fmla="*/ 598171 h 868681"/>
                <a:gd name="connsiteX301" fmla="*/ 1141730 w 1219200"/>
                <a:gd name="connsiteY301" fmla="*/ 598806 h 868681"/>
                <a:gd name="connsiteX302" fmla="*/ 1132840 w 1219200"/>
                <a:gd name="connsiteY302" fmla="*/ 621031 h 868681"/>
                <a:gd name="connsiteX303" fmla="*/ 1120140 w 1219200"/>
                <a:gd name="connsiteY303" fmla="*/ 615316 h 868681"/>
                <a:gd name="connsiteX304" fmla="*/ 1106805 w 1219200"/>
                <a:gd name="connsiteY304" fmla="*/ 635001 h 868681"/>
                <a:gd name="connsiteX305" fmla="*/ 1106805 w 1219200"/>
                <a:gd name="connsiteY305" fmla="*/ 683896 h 868681"/>
                <a:gd name="connsiteX306" fmla="*/ 1084579 w 1219200"/>
                <a:gd name="connsiteY306" fmla="*/ 683896 h 868681"/>
                <a:gd name="connsiteX307" fmla="*/ 1084579 w 1219200"/>
                <a:gd name="connsiteY307" fmla="*/ 593726 h 868681"/>
                <a:gd name="connsiteX308" fmla="*/ 1106805 w 1219200"/>
                <a:gd name="connsiteY308" fmla="*/ 593726 h 868681"/>
                <a:gd name="connsiteX309" fmla="*/ 1106805 w 1219200"/>
                <a:gd name="connsiteY309" fmla="*/ 600076 h 868681"/>
                <a:gd name="connsiteX310" fmla="*/ 1125855 w 1219200"/>
                <a:gd name="connsiteY310" fmla="*/ 591821 h 868681"/>
                <a:gd name="connsiteX311" fmla="*/ 47625 w 1219200"/>
                <a:gd name="connsiteY311" fmla="*/ 563881 h 868681"/>
                <a:gd name="connsiteX312" fmla="*/ 90170 w 1219200"/>
                <a:gd name="connsiteY312" fmla="*/ 582296 h 868681"/>
                <a:gd name="connsiteX313" fmla="*/ 73659 w 1219200"/>
                <a:gd name="connsiteY313" fmla="*/ 598806 h 868681"/>
                <a:gd name="connsiteX314" fmla="*/ 46355 w 1219200"/>
                <a:gd name="connsiteY314" fmla="*/ 586741 h 868681"/>
                <a:gd name="connsiteX315" fmla="*/ 28575 w 1219200"/>
                <a:gd name="connsiteY315" fmla="*/ 598171 h 868681"/>
                <a:gd name="connsiteX316" fmla="*/ 33655 w 1219200"/>
                <a:gd name="connsiteY316" fmla="*/ 606426 h 868681"/>
                <a:gd name="connsiteX317" fmla="*/ 52704 w 1219200"/>
                <a:gd name="connsiteY317" fmla="*/ 612776 h 868681"/>
                <a:gd name="connsiteX318" fmla="*/ 81915 w 1219200"/>
                <a:gd name="connsiteY318" fmla="*/ 624841 h 868681"/>
                <a:gd name="connsiteX319" fmla="*/ 92427 w 1219200"/>
                <a:gd name="connsiteY319" fmla="*/ 648959 h 868681"/>
                <a:gd name="connsiteX320" fmla="*/ 79454 w 1219200"/>
                <a:gd name="connsiteY320" fmla="*/ 677626 h 868681"/>
                <a:gd name="connsiteX321" fmla="*/ 47625 w 1219200"/>
                <a:gd name="connsiteY321" fmla="*/ 686436 h 868681"/>
                <a:gd name="connsiteX322" fmla="*/ 0 w 1219200"/>
                <a:gd name="connsiteY322" fmla="*/ 664846 h 868681"/>
                <a:gd name="connsiteX323" fmla="*/ 16510 w 1219200"/>
                <a:gd name="connsiteY323" fmla="*/ 650241 h 868681"/>
                <a:gd name="connsiteX324" fmla="*/ 46989 w 1219200"/>
                <a:gd name="connsiteY324" fmla="*/ 664211 h 868681"/>
                <a:gd name="connsiteX325" fmla="*/ 68579 w 1219200"/>
                <a:gd name="connsiteY325" fmla="*/ 649606 h 868681"/>
                <a:gd name="connsiteX326" fmla="*/ 61595 w 1219200"/>
                <a:gd name="connsiteY326" fmla="*/ 640081 h 868681"/>
                <a:gd name="connsiteX327" fmla="*/ 41909 w 1219200"/>
                <a:gd name="connsiteY327" fmla="*/ 634366 h 868681"/>
                <a:gd name="connsiteX328" fmla="*/ 14605 w 1219200"/>
                <a:gd name="connsiteY328" fmla="*/ 623571 h 868681"/>
                <a:gd name="connsiteX329" fmla="*/ 4444 w 1219200"/>
                <a:gd name="connsiteY329" fmla="*/ 599441 h 868681"/>
                <a:gd name="connsiteX330" fmla="*/ 47625 w 1219200"/>
                <a:gd name="connsiteY330" fmla="*/ 563881 h 868681"/>
                <a:gd name="connsiteX331" fmla="*/ 814070 w 1219200"/>
                <a:gd name="connsiteY331" fmla="*/ 560071 h 868681"/>
                <a:gd name="connsiteX332" fmla="*/ 830579 w 1219200"/>
                <a:gd name="connsiteY332" fmla="*/ 562611 h 868681"/>
                <a:gd name="connsiteX333" fmla="*/ 829945 w 1219200"/>
                <a:gd name="connsiteY333" fmla="*/ 562611 h 868681"/>
                <a:gd name="connsiteX334" fmla="*/ 829945 w 1219200"/>
                <a:gd name="connsiteY334" fmla="*/ 581026 h 868681"/>
                <a:gd name="connsiteX335" fmla="*/ 818515 w 1219200"/>
                <a:gd name="connsiteY335" fmla="*/ 579121 h 868681"/>
                <a:gd name="connsiteX336" fmla="*/ 808989 w 1219200"/>
                <a:gd name="connsiteY336" fmla="*/ 586741 h 868681"/>
                <a:gd name="connsiteX337" fmla="*/ 808989 w 1219200"/>
                <a:gd name="connsiteY337" fmla="*/ 594361 h 868681"/>
                <a:gd name="connsiteX338" fmla="*/ 824230 w 1219200"/>
                <a:gd name="connsiteY338" fmla="*/ 594361 h 868681"/>
                <a:gd name="connsiteX339" fmla="*/ 824230 w 1219200"/>
                <a:gd name="connsiteY339" fmla="*/ 615951 h 868681"/>
                <a:gd name="connsiteX340" fmla="*/ 808989 w 1219200"/>
                <a:gd name="connsiteY340" fmla="*/ 615951 h 868681"/>
                <a:gd name="connsiteX341" fmla="*/ 808989 w 1219200"/>
                <a:gd name="connsiteY341" fmla="*/ 684531 h 868681"/>
                <a:gd name="connsiteX342" fmla="*/ 786765 w 1219200"/>
                <a:gd name="connsiteY342" fmla="*/ 684531 h 868681"/>
                <a:gd name="connsiteX343" fmla="*/ 786765 w 1219200"/>
                <a:gd name="connsiteY343" fmla="*/ 615951 h 868681"/>
                <a:gd name="connsiteX344" fmla="*/ 775970 w 1219200"/>
                <a:gd name="connsiteY344" fmla="*/ 615951 h 868681"/>
                <a:gd name="connsiteX345" fmla="*/ 775970 w 1219200"/>
                <a:gd name="connsiteY345" fmla="*/ 594361 h 868681"/>
                <a:gd name="connsiteX346" fmla="*/ 786765 w 1219200"/>
                <a:gd name="connsiteY346" fmla="*/ 594361 h 868681"/>
                <a:gd name="connsiteX347" fmla="*/ 786765 w 1219200"/>
                <a:gd name="connsiteY347" fmla="*/ 583566 h 868681"/>
                <a:gd name="connsiteX348" fmla="*/ 814070 w 1219200"/>
                <a:gd name="connsiteY348" fmla="*/ 560071 h 868681"/>
                <a:gd name="connsiteX349" fmla="*/ 957579 w 1219200"/>
                <a:gd name="connsiteY349" fmla="*/ 559436 h 868681"/>
                <a:gd name="connsiteX350" fmla="*/ 957579 w 1219200"/>
                <a:gd name="connsiteY350" fmla="*/ 594361 h 868681"/>
                <a:gd name="connsiteX351" fmla="*/ 979170 w 1219200"/>
                <a:gd name="connsiteY351" fmla="*/ 594361 h 868681"/>
                <a:gd name="connsiteX352" fmla="*/ 979170 w 1219200"/>
                <a:gd name="connsiteY352" fmla="*/ 615951 h 868681"/>
                <a:gd name="connsiteX353" fmla="*/ 957579 w 1219200"/>
                <a:gd name="connsiteY353" fmla="*/ 615951 h 868681"/>
                <a:gd name="connsiteX354" fmla="*/ 957579 w 1219200"/>
                <a:gd name="connsiteY354" fmla="*/ 654051 h 868681"/>
                <a:gd name="connsiteX355" fmla="*/ 966470 w 1219200"/>
                <a:gd name="connsiteY355" fmla="*/ 664846 h 868681"/>
                <a:gd name="connsiteX356" fmla="*/ 981075 w 1219200"/>
                <a:gd name="connsiteY356" fmla="*/ 658496 h 868681"/>
                <a:gd name="connsiteX357" fmla="*/ 977900 w 1219200"/>
                <a:gd name="connsiteY357" fmla="*/ 681356 h 868681"/>
                <a:gd name="connsiteX358" fmla="*/ 959485 w 1219200"/>
                <a:gd name="connsiteY358" fmla="*/ 686436 h 868681"/>
                <a:gd name="connsiteX359" fmla="*/ 935355 w 1219200"/>
                <a:gd name="connsiteY359" fmla="*/ 659766 h 868681"/>
                <a:gd name="connsiteX360" fmla="*/ 935355 w 1219200"/>
                <a:gd name="connsiteY360" fmla="*/ 615951 h 868681"/>
                <a:gd name="connsiteX361" fmla="*/ 922655 w 1219200"/>
                <a:gd name="connsiteY361" fmla="*/ 615951 h 868681"/>
                <a:gd name="connsiteX362" fmla="*/ 922655 w 1219200"/>
                <a:gd name="connsiteY362" fmla="*/ 594361 h 868681"/>
                <a:gd name="connsiteX363" fmla="*/ 935355 w 1219200"/>
                <a:gd name="connsiteY363" fmla="*/ 594361 h 868681"/>
                <a:gd name="connsiteX364" fmla="*/ 935355 w 1219200"/>
                <a:gd name="connsiteY364" fmla="*/ 570866 h 868681"/>
                <a:gd name="connsiteX365" fmla="*/ 586739 w 1219200"/>
                <a:gd name="connsiteY365" fmla="*/ 559436 h 868681"/>
                <a:gd name="connsiteX366" fmla="*/ 586739 w 1219200"/>
                <a:gd name="connsiteY366" fmla="*/ 600711 h 868681"/>
                <a:gd name="connsiteX367" fmla="*/ 607695 w 1219200"/>
                <a:gd name="connsiteY367" fmla="*/ 592456 h 868681"/>
                <a:gd name="connsiteX368" fmla="*/ 639445 w 1219200"/>
                <a:gd name="connsiteY368" fmla="*/ 633731 h 868681"/>
                <a:gd name="connsiteX369" fmla="*/ 639445 w 1219200"/>
                <a:gd name="connsiteY369" fmla="*/ 684531 h 868681"/>
                <a:gd name="connsiteX370" fmla="*/ 617220 w 1219200"/>
                <a:gd name="connsiteY370" fmla="*/ 684531 h 868681"/>
                <a:gd name="connsiteX371" fmla="*/ 617220 w 1219200"/>
                <a:gd name="connsiteY371" fmla="*/ 635636 h 868681"/>
                <a:gd name="connsiteX372" fmla="*/ 601980 w 1219200"/>
                <a:gd name="connsiteY372" fmla="*/ 614681 h 868681"/>
                <a:gd name="connsiteX373" fmla="*/ 586739 w 1219200"/>
                <a:gd name="connsiteY373" fmla="*/ 635001 h 868681"/>
                <a:gd name="connsiteX374" fmla="*/ 586739 w 1219200"/>
                <a:gd name="connsiteY374" fmla="*/ 684531 h 868681"/>
                <a:gd name="connsiteX375" fmla="*/ 564515 w 1219200"/>
                <a:gd name="connsiteY375" fmla="*/ 684531 h 868681"/>
                <a:gd name="connsiteX376" fmla="*/ 564515 w 1219200"/>
                <a:gd name="connsiteY376" fmla="*/ 570866 h 868681"/>
                <a:gd name="connsiteX377" fmla="*/ 529590 w 1219200"/>
                <a:gd name="connsiteY377" fmla="*/ 559436 h 868681"/>
                <a:gd name="connsiteX378" fmla="*/ 529590 w 1219200"/>
                <a:gd name="connsiteY378" fmla="*/ 594361 h 868681"/>
                <a:gd name="connsiteX379" fmla="*/ 550545 w 1219200"/>
                <a:gd name="connsiteY379" fmla="*/ 594361 h 868681"/>
                <a:gd name="connsiteX380" fmla="*/ 550545 w 1219200"/>
                <a:gd name="connsiteY380" fmla="*/ 615951 h 868681"/>
                <a:gd name="connsiteX381" fmla="*/ 529590 w 1219200"/>
                <a:gd name="connsiteY381" fmla="*/ 615951 h 868681"/>
                <a:gd name="connsiteX382" fmla="*/ 529590 w 1219200"/>
                <a:gd name="connsiteY382" fmla="*/ 654051 h 868681"/>
                <a:gd name="connsiteX383" fmla="*/ 538480 w 1219200"/>
                <a:gd name="connsiteY383" fmla="*/ 664846 h 868681"/>
                <a:gd name="connsiteX384" fmla="*/ 553084 w 1219200"/>
                <a:gd name="connsiteY384" fmla="*/ 658496 h 868681"/>
                <a:gd name="connsiteX385" fmla="*/ 549909 w 1219200"/>
                <a:gd name="connsiteY385" fmla="*/ 681356 h 868681"/>
                <a:gd name="connsiteX386" fmla="*/ 531495 w 1219200"/>
                <a:gd name="connsiteY386" fmla="*/ 686436 h 868681"/>
                <a:gd name="connsiteX387" fmla="*/ 507364 w 1219200"/>
                <a:gd name="connsiteY387" fmla="*/ 659766 h 868681"/>
                <a:gd name="connsiteX388" fmla="*/ 507364 w 1219200"/>
                <a:gd name="connsiteY388" fmla="*/ 615951 h 868681"/>
                <a:gd name="connsiteX389" fmla="*/ 491489 w 1219200"/>
                <a:gd name="connsiteY389" fmla="*/ 615951 h 868681"/>
                <a:gd name="connsiteX390" fmla="*/ 491489 w 1219200"/>
                <a:gd name="connsiteY390" fmla="*/ 594361 h 868681"/>
                <a:gd name="connsiteX391" fmla="*/ 507364 w 1219200"/>
                <a:gd name="connsiteY391" fmla="*/ 594361 h 868681"/>
                <a:gd name="connsiteX392" fmla="*/ 507364 w 1219200"/>
                <a:gd name="connsiteY392" fmla="*/ 570866 h 868681"/>
                <a:gd name="connsiteX393" fmla="*/ 128269 w 1219200"/>
                <a:gd name="connsiteY393" fmla="*/ 559436 h 868681"/>
                <a:gd name="connsiteX394" fmla="*/ 128269 w 1219200"/>
                <a:gd name="connsiteY394" fmla="*/ 600711 h 868681"/>
                <a:gd name="connsiteX395" fmla="*/ 149224 w 1219200"/>
                <a:gd name="connsiteY395" fmla="*/ 592456 h 868681"/>
                <a:gd name="connsiteX396" fmla="*/ 180974 w 1219200"/>
                <a:gd name="connsiteY396" fmla="*/ 633731 h 868681"/>
                <a:gd name="connsiteX397" fmla="*/ 180974 w 1219200"/>
                <a:gd name="connsiteY397" fmla="*/ 684531 h 868681"/>
                <a:gd name="connsiteX398" fmla="*/ 158750 w 1219200"/>
                <a:gd name="connsiteY398" fmla="*/ 684531 h 868681"/>
                <a:gd name="connsiteX399" fmla="*/ 158750 w 1219200"/>
                <a:gd name="connsiteY399" fmla="*/ 635636 h 868681"/>
                <a:gd name="connsiteX400" fmla="*/ 143510 w 1219200"/>
                <a:gd name="connsiteY400" fmla="*/ 614681 h 868681"/>
                <a:gd name="connsiteX401" fmla="*/ 128269 w 1219200"/>
                <a:gd name="connsiteY401" fmla="*/ 635001 h 868681"/>
                <a:gd name="connsiteX402" fmla="*/ 128269 w 1219200"/>
                <a:gd name="connsiteY402" fmla="*/ 684531 h 868681"/>
                <a:gd name="connsiteX403" fmla="*/ 106045 w 1219200"/>
                <a:gd name="connsiteY403" fmla="*/ 684531 h 868681"/>
                <a:gd name="connsiteX404" fmla="*/ 106045 w 1219200"/>
                <a:gd name="connsiteY404" fmla="*/ 570866 h 868681"/>
                <a:gd name="connsiteX405" fmla="*/ 269875 w 1219200"/>
                <a:gd name="connsiteY405" fmla="*/ 635 h 868681"/>
                <a:gd name="connsiteX406" fmla="*/ 501015 w 1219200"/>
                <a:gd name="connsiteY406" fmla="*/ 635 h 868681"/>
                <a:gd name="connsiteX407" fmla="*/ 554989 w 1219200"/>
                <a:gd name="connsiteY407" fmla="*/ 94615 h 868681"/>
                <a:gd name="connsiteX408" fmla="*/ 391795 w 1219200"/>
                <a:gd name="connsiteY408" fmla="*/ 94615 h 868681"/>
                <a:gd name="connsiteX409" fmla="*/ 391795 w 1219200"/>
                <a:gd name="connsiteY409" fmla="*/ 161925 h 868681"/>
                <a:gd name="connsiteX410" fmla="*/ 539114 w 1219200"/>
                <a:gd name="connsiteY410" fmla="*/ 161925 h 868681"/>
                <a:gd name="connsiteX411" fmla="*/ 539114 w 1219200"/>
                <a:gd name="connsiteY411" fmla="*/ 247650 h 868681"/>
                <a:gd name="connsiteX412" fmla="*/ 391795 w 1219200"/>
                <a:gd name="connsiteY412" fmla="*/ 247650 h 868681"/>
                <a:gd name="connsiteX413" fmla="*/ 391795 w 1219200"/>
                <a:gd name="connsiteY413" fmla="*/ 314325 h 868681"/>
                <a:gd name="connsiteX414" fmla="*/ 595629 w 1219200"/>
                <a:gd name="connsiteY414" fmla="*/ 314325 h 868681"/>
                <a:gd name="connsiteX415" fmla="*/ 595629 w 1219200"/>
                <a:gd name="connsiteY415" fmla="*/ 408305 h 868681"/>
                <a:gd name="connsiteX416" fmla="*/ 269875 w 1219200"/>
                <a:gd name="connsiteY416" fmla="*/ 408305 h 868681"/>
                <a:gd name="connsiteX417" fmla="*/ 539114 w 1219200"/>
                <a:gd name="connsiteY417" fmla="*/ 0 h 868681"/>
                <a:gd name="connsiteX418" fmla="*/ 674370 w 1219200"/>
                <a:gd name="connsiteY418" fmla="*/ 0 h 868681"/>
                <a:gd name="connsiteX419" fmla="*/ 743584 w 1219200"/>
                <a:gd name="connsiteY419" fmla="*/ 132715 h 868681"/>
                <a:gd name="connsiteX420" fmla="*/ 812799 w 1219200"/>
                <a:gd name="connsiteY420" fmla="*/ 0 h 868681"/>
                <a:gd name="connsiteX421" fmla="*/ 946150 w 1219200"/>
                <a:gd name="connsiteY421" fmla="*/ 0 h 868681"/>
                <a:gd name="connsiteX422" fmla="*/ 803275 w 1219200"/>
                <a:gd name="connsiteY422" fmla="*/ 246380 h 868681"/>
                <a:gd name="connsiteX423" fmla="*/ 803275 w 1219200"/>
                <a:gd name="connsiteY423" fmla="*/ 407670 h 868681"/>
                <a:gd name="connsiteX424" fmla="*/ 681355 w 1219200"/>
                <a:gd name="connsiteY424" fmla="*/ 407670 h 868681"/>
                <a:gd name="connsiteX425" fmla="*/ 681355 w 1219200"/>
                <a:gd name="connsiteY425" fmla="*/ 246380 h 868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</a:cxnLst>
              <a:rect l="l" t="t" r="r" b="b"/>
              <a:pathLst>
                <a:path w="1219200" h="868681">
                  <a:moveTo>
                    <a:pt x="245110" y="839471"/>
                  </a:moveTo>
                  <a:lnTo>
                    <a:pt x="246379" y="839471"/>
                  </a:lnTo>
                  <a:lnTo>
                    <a:pt x="245041" y="839979"/>
                  </a:lnTo>
                  <a:close/>
                  <a:moveTo>
                    <a:pt x="522605" y="796926"/>
                  </a:moveTo>
                  <a:cubicBezTo>
                    <a:pt x="509905" y="796926"/>
                    <a:pt x="504189" y="807721"/>
                    <a:pt x="504189" y="821691"/>
                  </a:cubicBezTo>
                  <a:cubicBezTo>
                    <a:pt x="504189" y="831216"/>
                    <a:pt x="508000" y="845821"/>
                    <a:pt x="522605" y="845821"/>
                  </a:cubicBezTo>
                  <a:cubicBezTo>
                    <a:pt x="537845" y="845821"/>
                    <a:pt x="541019" y="831851"/>
                    <a:pt x="541019" y="821691"/>
                  </a:cubicBezTo>
                  <a:cubicBezTo>
                    <a:pt x="541019" y="807721"/>
                    <a:pt x="535305" y="796926"/>
                    <a:pt x="522605" y="796926"/>
                  </a:cubicBezTo>
                  <a:close/>
                  <a:moveTo>
                    <a:pt x="817245" y="796291"/>
                  </a:moveTo>
                  <a:cubicBezTo>
                    <a:pt x="803909" y="796291"/>
                    <a:pt x="800735" y="807086"/>
                    <a:pt x="800735" y="819786"/>
                  </a:cubicBezTo>
                  <a:cubicBezTo>
                    <a:pt x="800735" y="834391"/>
                    <a:pt x="805180" y="846456"/>
                    <a:pt x="817879" y="846456"/>
                  </a:cubicBezTo>
                  <a:cubicBezTo>
                    <a:pt x="824230" y="846456"/>
                    <a:pt x="828674" y="843281"/>
                    <a:pt x="833754" y="838836"/>
                  </a:cubicBezTo>
                  <a:lnTo>
                    <a:pt x="833754" y="838201"/>
                  </a:lnTo>
                  <a:lnTo>
                    <a:pt x="833754" y="803911"/>
                  </a:lnTo>
                  <a:cubicBezTo>
                    <a:pt x="828674" y="798831"/>
                    <a:pt x="824230" y="796291"/>
                    <a:pt x="817245" y="796291"/>
                  </a:cubicBezTo>
                  <a:close/>
                  <a:moveTo>
                    <a:pt x="1179195" y="794386"/>
                  </a:moveTo>
                  <a:cubicBezTo>
                    <a:pt x="1168400" y="794386"/>
                    <a:pt x="1163954" y="803911"/>
                    <a:pt x="1163320" y="811531"/>
                  </a:cubicBezTo>
                  <a:lnTo>
                    <a:pt x="1163954" y="811531"/>
                  </a:lnTo>
                  <a:lnTo>
                    <a:pt x="1195704" y="811531"/>
                  </a:lnTo>
                  <a:cubicBezTo>
                    <a:pt x="1195070" y="801371"/>
                    <a:pt x="1188720" y="794386"/>
                    <a:pt x="1179195" y="794386"/>
                  </a:cubicBezTo>
                  <a:close/>
                  <a:moveTo>
                    <a:pt x="909320" y="794386"/>
                  </a:moveTo>
                  <a:cubicBezTo>
                    <a:pt x="898525" y="794386"/>
                    <a:pt x="894079" y="803911"/>
                    <a:pt x="893445" y="811531"/>
                  </a:cubicBezTo>
                  <a:lnTo>
                    <a:pt x="894079" y="811531"/>
                  </a:lnTo>
                  <a:lnTo>
                    <a:pt x="925829" y="811531"/>
                  </a:lnTo>
                  <a:cubicBezTo>
                    <a:pt x="925195" y="801371"/>
                    <a:pt x="918845" y="794386"/>
                    <a:pt x="909320" y="794386"/>
                  </a:cubicBezTo>
                  <a:close/>
                  <a:moveTo>
                    <a:pt x="737870" y="775971"/>
                  </a:moveTo>
                  <a:lnTo>
                    <a:pt x="761364" y="775971"/>
                  </a:lnTo>
                  <a:lnTo>
                    <a:pt x="761364" y="866141"/>
                  </a:lnTo>
                  <a:lnTo>
                    <a:pt x="737870" y="866141"/>
                  </a:lnTo>
                  <a:close/>
                  <a:moveTo>
                    <a:pt x="143510" y="775971"/>
                  </a:moveTo>
                  <a:lnTo>
                    <a:pt x="167004" y="775971"/>
                  </a:lnTo>
                  <a:lnTo>
                    <a:pt x="167004" y="866141"/>
                  </a:lnTo>
                  <a:lnTo>
                    <a:pt x="143510" y="866141"/>
                  </a:lnTo>
                  <a:close/>
                  <a:moveTo>
                    <a:pt x="635" y="775971"/>
                  </a:moveTo>
                  <a:lnTo>
                    <a:pt x="26670" y="775971"/>
                  </a:lnTo>
                  <a:lnTo>
                    <a:pt x="40004" y="828041"/>
                  </a:lnTo>
                  <a:lnTo>
                    <a:pt x="55245" y="775971"/>
                  </a:lnTo>
                  <a:lnTo>
                    <a:pt x="76200" y="775971"/>
                  </a:lnTo>
                  <a:lnTo>
                    <a:pt x="91439" y="828041"/>
                  </a:lnTo>
                  <a:lnTo>
                    <a:pt x="105409" y="775971"/>
                  </a:lnTo>
                  <a:lnTo>
                    <a:pt x="130810" y="775971"/>
                  </a:lnTo>
                  <a:lnTo>
                    <a:pt x="102235" y="866141"/>
                  </a:lnTo>
                  <a:lnTo>
                    <a:pt x="80644" y="866141"/>
                  </a:lnTo>
                  <a:lnTo>
                    <a:pt x="65405" y="811531"/>
                  </a:lnTo>
                  <a:lnTo>
                    <a:pt x="50165" y="866141"/>
                  </a:lnTo>
                  <a:lnTo>
                    <a:pt x="28575" y="866141"/>
                  </a:lnTo>
                  <a:close/>
                  <a:moveTo>
                    <a:pt x="1181099" y="774066"/>
                  </a:moveTo>
                  <a:cubicBezTo>
                    <a:pt x="1204595" y="774066"/>
                    <a:pt x="1219200" y="795021"/>
                    <a:pt x="1219200" y="821056"/>
                  </a:cubicBezTo>
                  <a:lnTo>
                    <a:pt x="1218564" y="821056"/>
                  </a:lnTo>
                  <a:cubicBezTo>
                    <a:pt x="1218564" y="821056"/>
                    <a:pt x="1218564" y="827406"/>
                    <a:pt x="1218564" y="828676"/>
                  </a:cubicBezTo>
                  <a:lnTo>
                    <a:pt x="1163954" y="828676"/>
                  </a:lnTo>
                  <a:cubicBezTo>
                    <a:pt x="1165224" y="841376"/>
                    <a:pt x="1173480" y="846456"/>
                    <a:pt x="1183004" y="846456"/>
                  </a:cubicBezTo>
                  <a:cubicBezTo>
                    <a:pt x="1188720" y="846456"/>
                    <a:pt x="1193799" y="844551"/>
                    <a:pt x="1198879" y="840106"/>
                  </a:cubicBezTo>
                  <a:lnTo>
                    <a:pt x="1214754" y="853441"/>
                  </a:lnTo>
                  <a:cubicBezTo>
                    <a:pt x="1206500" y="864236"/>
                    <a:pt x="1193799" y="868046"/>
                    <a:pt x="1182370" y="868046"/>
                  </a:cubicBezTo>
                  <a:cubicBezTo>
                    <a:pt x="1156335" y="868046"/>
                    <a:pt x="1141095" y="847726"/>
                    <a:pt x="1141095" y="821056"/>
                  </a:cubicBezTo>
                  <a:cubicBezTo>
                    <a:pt x="1141095" y="792481"/>
                    <a:pt x="1158875" y="774066"/>
                    <a:pt x="1181099" y="774066"/>
                  </a:cubicBezTo>
                  <a:close/>
                  <a:moveTo>
                    <a:pt x="1097915" y="774066"/>
                  </a:moveTo>
                  <a:cubicBezTo>
                    <a:pt x="1113790" y="774066"/>
                    <a:pt x="1125220" y="781051"/>
                    <a:pt x="1133474" y="793751"/>
                  </a:cubicBezTo>
                  <a:lnTo>
                    <a:pt x="1118235" y="808991"/>
                  </a:lnTo>
                  <a:cubicBezTo>
                    <a:pt x="1113155" y="802006"/>
                    <a:pt x="1107439" y="796291"/>
                    <a:pt x="1097915" y="796291"/>
                  </a:cubicBezTo>
                  <a:cubicBezTo>
                    <a:pt x="1085215" y="796291"/>
                    <a:pt x="1078864" y="807086"/>
                    <a:pt x="1078864" y="820421"/>
                  </a:cubicBezTo>
                  <a:cubicBezTo>
                    <a:pt x="1078864" y="833121"/>
                    <a:pt x="1084579" y="845186"/>
                    <a:pt x="1097915" y="845186"/>
                  </a:cubicBezTo>
                  <a:cubicBezTo>
                    <a:pt x="1106170" y="845186"/>
                    <a:pt x="1113155" y="840741"/>
                    <a:pt x="1118235" y="833756"/>
                  </a:cubicBezTo>
                  <a:lnTo>
                    <a:pt x="1118870" y="834391"/>
                  </a:lnTo>
                  <a:lnTo>
                    <a:pt x="1133474" y="848361"/>
                  </a:lnTo>
                  <a:cubicBezTo>
                    <a:pt x="1125855" y="857886"/>
                    <a:pt x="1115060" y="868046"/>
                    <a:pt x="1097280" y="868046"/>
                  </a:cubicBezTo>
                  <a:cubicBezTo>
                    <a:pt x="1072515" y="868046"/>
                    <a:pt x="1054735" y="848361"/>
                    <a:pt x="1054735" y="821056"/>
                  </a:cubicBezTo>
                  <a:cubicBezTo>
                    <a:pt x="1054735" y="796291"/>
                    <a:pt x="1069974" y="774066"/>
                    <a:pt x="1097915" y="774066"/>
                  </a:cubicBezTo>
                  <a:close/>
                  <a:moveTo>
                    <a:pt x="1009015" y="774066"/>
                  </a:moveTo>
                  <a:cubicBezTo>
                    <a:pt x="1033144" y="774066"/>
                    <a:pt x="1041400" y="793116"/>
                    <a:pt x="1041400" y="815341"/>
                  </a:cubicBezTo>
                  <a:lnTo>
                    <a:pt x="1041400" y="866141"/>
                  </a:lnTo>
                  <a:lnTo>
                    <a:pt x="1017905" y="866141"/>
                  </a:lnTo>
                  <a:lnTo>
                    <a:pt x="1017905" y="817246"/>
                  </a:lnTo>
                  <a:cubicBezTo>
                    <a:pt x="1017905" y="804546"/>
                    <a:pt x="1014730" y="796291"/>
                    <a:pt x="1002665" y="796291"/>
                  </a:cubicBezTo>
                  <a:cubicBezTo>
                    <a:pt x="990599" y="796291"/>
                    <a:pt x="986790" y="803276"/>
                    <a:pt x="986790" y="816611"/>
                  </a:cubicBezTo>
                  <a:lnTo>
                    <a:pt x="986790" y="866141"/>
                  </a:lnTo>
                  <a:lnTo>
                    <a:pt x="963295" y="866141"/>
                  </a:lnTo>
                  <a:lnTo>
                    <a:pt x="963295" y="775971"/>
                  </a:lnTo>
                  <a:lnTo>
                    <a:pt x="986790" y="775971"/>
                  </a:lnTo>
                  <a:lnTo>
                    <a:pt x="986790" y="782321"/>
                  </a:lnTo>
                  <a:cubicBezTo>
                    <a:pt x="991870" y="777241"/>
                    <a:pt x="998855" y="774066"/>
                    <a:pt x="1009015" y="774066"/>
                  </a:cubicBezTo>
                  <a:close/>
                  <a:moveTo>
                    <a:pt x="911224" y="774066"/>
                  </a:moveTo>
                  <a:cubicBezTo>
                    <a:pt x="934720" y="774066"/>
                    <a:pt x="949325" y="795021"/>
                    <a:pt x="949325" y="821056"/>
                  </a:cubicBezTo>
                  <a:lnTo>
                    <a:pt x="948689" y="821056"/>
                  </a:lnTo>
                  <a:cubicBezTo>
                    <a:pt x="948689" y="821056"/>
                    <a:pt x="948689" y="827406"/>
                    <a:pt x="948689" y="828676"/>
                  </a:cubicBezTo>
                  <a:lnTo>
                    <a:pt x="894079" y="828676"/>
                  </a:lnTo>
                  <a:cubicBezTo>
                    <a:pt x="895349" y="841376"/>
                    <a:pt x="903605" y="846456"/>
                    <a:pt x="913129" y="846456"/>
                  </a:cubicBezTo>
                  <a:cubicBezTo>
                    <a:pt x="918845" y="846456"/>
                    <a:pt x="923924" y="844551"/>
                    <a:pt x="929004" y="840106"/>
                  </a:cubicBezTo>
                  <a:lnTo>
                    <a:pt x="944879" y="853441"/>
                  </a:lnTo>
                  <a:cubicBezTo>
                    <a:pt x="936625" y="864236"/>
                    <a:pt x="923924" y="868046"/>
                    <a:pt x="912495" y="868046"/>
                  </a:cubicBezTo>
                  <a:cubicBezTo>
                    <a:pt x="886459" y="868046"/>
                    <a:pt x="871220" y="847726"/>
                    <a:pt x="871220" y="821056"/>
                  </a:cubicBezTo>
                  <a:cubicBezTo>
                    <a:pt x="871220" y="792481"/>
                    <a:pt x="889000" y="774066"/>
                    <a:pt x="911224" y="774066"/>
                  </a:cubicBezTo>
                  <a:close/>
                  <a:moveTo>
                    <a:pt x="623570" y="774066"/>
                  </a:moveTo>
                  <a:cubicBezTo>
                    <a:pt x="647700" y="774066"/>
                    <a:pt x="655954" y="793116"/>
                    <a:pt x="655954" y="815341"/>
                  </a:cubicBezTo>
                  <a:lnTo>
                    <a:pt x="655954" y="866141"/>
                  </a:lnTo>
                  <a:lnTo>
                    <a:pt x="632459" y="866141"/>
                  </a:lnTo>
                  <a:lnTo>
                    <a:pt x="632459" y="817246"/>
                  </a:lnTo>
                  <a:cubicBezTo>
                    <a:pt x="632459" y="804546"/>
                    <a:pt x="629284" y="796291"/>
                    <a:pt x="617220" y="796291"/>
                  </a:cubicBezTo>
                  <a:cubicBezTo>
                    <a:pt x="605155" y="796291"/>
                    <a:pt x="601345" y="803276"/>
                    <a:pt x="601345" y="816611"/>
                  </a:cubicBezTo>
                  <a:lnTo>
                    <a:pt x="601345" y="866141"/>
                  </a:lnTo>
                  <a:lnTo>
                    <a:pt x="577849" y="866141"/>
                  </a:lnTo>
                  <a:lnTo>
                    <a:pt x="577849" y="775971"/>
                  </a:lnTo>
                  <a:lnTo>
                    <a:pt x="601345" y="775971"/>
                  </a:lnTo>
                  <a:lnTo>
                    <a:pt x="601345" y="782321"/>
                  </a:lnTo>
                  <a:cubicBezTo>
                    <a:pt x="606424" y="777241"/>
                    <a:pt x="613409" y="774066"/>
                    <a:pt x="623570" y="774066"/>
                  </a:cubicBezTo>
                  <a:close/>
                  <a:moveTo>
                    <a:pt x="522605" y="774066"/>
                  </a:moveTo>
                  <a:cubicBezTo>
                    <a:pt x="548004" y="774066"/>
                    <a:pt x="564515" y="793116"/>
                    <a:pt x="564515" y="821056"/>
                  </a:cubicBezTo>
                  <a:cubicBezTo>
                    <a:pt x="564515" y="848996"/>
                    <a:pt x="546735" y="868046"/>
                    <a:pt x="522605" y="868046"/>
                  </a:cubicBezTo>
                  <a:cubicBezTo>
                    <a:pt x="498474" y="868046"/>
                    <a:pt x="480695" y="848996"/>
                    <a:pt x="480695" y="821056"/>
                  </a:cubicBezTo>
                  <a:cubicBezTo>
                    <a:pt x="480695" y="794386"/>
                    <a:pt x="496570" y="774066"/>
                    <a:pt x="522605" y="774066"/>
                  </a:cubicBezTo>
                  <a:close/>
                  <a:moveTo>
                    <a:pt x="436879" y="774066"/>
                  </a:moveTo>
                  <a:cubicBezTo>
                    <a:pt x="452754" y="774066"/>
                    <a:pt x="464185" y="781051"/>
                    <a:pt x="472439" y="793751"/>
                  </a:cubicBezTo>
                  <a:lnTo>
                    <a:pt x="457200" y="808991"/>
                  </a:lnTo>
                  <a:cubicBezTo>
                    <a:pt x="452120" y="802006"/>
                    <a:pt x="446405" y="796291"/>
                    <a:pt x="436879" y="796291"/>
                  </a:cubicBezTo>
                  <a:cubicBezTo>
                    <a:pt x="424180" y="796291"/>
                    <a:pt x="417829" y="807086"/>
                    <a:pt x="417829" y="820421"/>
                  </a:cubicBezTo>
                  <a:cubicBezTo>
                    <a:pt x="417829" y="833121"/>
                    <a:pt x="423545" y="845186"/>
                    <a:pt x="436879" y="845186"/>
                  </a:cubicBezTo>
                  <a:cubicBezTo>
                    <a:pt x="445135" y="845186"/>
                    <a:pt x="452120" y="840741"/>
                    <a:pt x="457200" y="833756"/>
                  </a:cubicBezTo>
                  <a:lnTo>
                    <a:pt x="457834" y="834391"/>
                  </a:lnTo>
                  <a:lnTo>
                    <a:pt x="472439" y="848361"/>
                  </a:lnTo>
                  <a:cubicBezTo>
                    <a:pt x="464820" y="857886"/>
                    <a:pt x="454025" y="868046"/>
                    <a:pt x="436245" y="868046"/>
                  </a:cubicBezTo>
                  <a:cubicBezTo>
                    <a:pt x="411480" y="868046"/>
                    <a:pt x="393700" y="848361"/>
                    <a:pt x="393700" y="821056"/>
                  </a:cubicBezTo>
                  <a:cubicBezTo>
                    <a:pt x="393700" y="796291"/>
                    <a:pt x="408939" y="774066"/>
                    <a:pt x="436879" y="774066"/>
                  </a:cubicBezTo>
                  <a:close/>
                  <a:moveTo>
                    <a:pt x="219075" y="742316"/>
                  </a:moveTo>
                  <a:lnTo>
                    <a:pt x="219075" y="777241"/>
                  </a:lnTo>
                  <a:lnTo>
                    <a:pt x="245110" y="777241"/>
                  </a:lnTo>
                  <a:lnTo>
                    <a:pt x="245110" y="798831"/>
                  </a:lnTo>
                  <a:lnTo>
                    <a:pt x="219075" y="798831"/>
                  </a:lnTo>
                  <a:lnTo>
                    <a:pt x="219075" y="835661"/>
                  </a:lnTo>
                  <a:cubicBezTo>
                    <a:pt x="219075" y="843916"/>
                    <a:pt x="222250" y="846456"/>
                    <a:pt x="227965" y="846456"/>
                  </a:cubicBezTo>
                  <a:lnTo>
                    <a:pt x="245041" y="839979"/>
                  </a:lnTo>
                  <a:lnTo>
                    <a:pt x="241935" y="862966"/>
                  </a:lnTo>
                  <a:cubicBezTo>
                    <a:pt x="236855" y="866776"/>
                    <a:pt x="225424" y="868681"/>
                    <a:pt x="219709" y="868681"/>
                  </a:cubicBezTo>
                  <a:cubicBezTo>
                    <a:pt x="205739" y="868681"/>
                    <a:pt x="195579" y="857251"/>
                    <a:pt x="195579" y="842011"/>
                  </a:cubicBezTo>
                  <a:lnTo>
                    <a:pt x="195579" y="798831"/>
                  </a:lnTo>
                  <a:lnTo>
                    <a:pt x="179704" y="798831"/>
                  </a:lnTo>
                  <a:lnTo>
                    <a:pt x="179704" y="777241"/>
                  </a:lnTo>
                  <a:lnTo>
                    <a:pt x="195579" y="777241"/>
                  </a:lnTo>
                  <a:lnTo>
                    <a:pt x="195579" y="753746"/>
                  </a:lnTo>
                  <a:close/>
                  <a:moveTo>
                    <a:pt x="749935" y="741681"/>
                  </a:moveTo>
                  <a:cubicBezTo>
                    <a:pt x="757555" y="741681"/>
                    <a:pt x="763269" y="747396"/>
                    <a:pt x="763269" y="755016"/>
                  </a:cubicBezTo>
                  <a:cubicBezTo>
                    <a:pt x="763269" y="762636"/>
                    <a:pt x="757555" y="768351"/>
                    <a:pt x="749935" y="768351"/>
                  </a:cubicBezTo>
                  <a:cubicBezTo>
                    <a:pt x="742314" y="768351"/>
                    <a:pt x="736599" y="762636"/>
                    <a:pt x="736599" y="755016"/>
                  </a:cubicBezTo>
                  <a:cubicBezTo>
                    <a:pt x="736599" y="747396"/>
                    <a:pt x="742314" y="741681"/>
                    <a:pt x="749935" y="741681"/>
                  </a:cubicBezTo>
                  <a:close/>
                  <a:moveTo>
                    <a:pt x="154939" y="741681"/>
                  </a:moveTo>
                  <a:cubicBezTo>
                    <a:pt x="162560" y="741681"/>
                    <a:pt x="168275" y="747396"/>
                    <a:pt x="168275" y="755016"/>
                  </a:cubicBezTo>
                  <a:cubicBezTo>
                    <a:pt x="168275" y="762636"/>
                    <a:pt x="162560" y="768351"/>
                    <a:pt x="154939" y="768351"/>
                  </a:cubicBezTo>
                  <a:cubicBezTo>
                    <a:pt x="147320" y="768351"/>
                    <a:pt x="141605" y="762636"/>
                    <a:pt x="141605" y="755016"/>
                  </a:cubicBezTo>
                  <a:cubicBezTo>
                    <a:pt x="141605" y="747396"/>
                    <a:pt x="147320" y="741681"/>
                    <a:pt x="154939" y="741681"/>
                  </a:cubicBezTo>
                  <a:close/>
                  <a:moveTo>
                    <a:pt x="856614" y="741046"/>
                  </a:moveTo>
                  <a:lnTo>
                    <a:pt x="856614" y="866141"/>
                  </a:lnTo>
                  <a:lnTo>
                    <a:pt x="833120" y="866141"/>
                  </a:lnTo>
                  <a:lnTo>
                    <a:pt x="833120" y="860426"/>
                  </a:lnTo>
                  <a:cubicBezTo>
                    <a:pt x="825500" y="866141"/>
                    <a:pt x="821055" y="868046"/>
                    <a:pt x="812799" y="868046"/>
                  </a:cubicBezTo>
                  <a:cubicBezTo>
                    <a:pt x="786765" y="868046"/>
                    <a:pt x="775970" y="845821"/>
                    <a:pt x="775970" y="820421"/>
                  </a:cubicBezTo>
                  <a:cubicBezTo>
                    <a:pt x="775970" y="793116"/>
                    <a:pt x="788670" y="774066"/>
                    <a:pt x="812165" y="774066"/>
                  </a:cubicBezTo>
                  <a:cubicBezTo>
                    <a:pt x="819784" y="774066"/>
                    <a:pt x="827405" y="775971"/>
                    <a:pt x="833120" y="781051"/>
                  </a:cubicBezTo>
                  <a:lnTo>
                    <a:pt x="833120" y="752476"/>
                  </a:lnTo>
                  <a:close/>
                  <a:moveTo>
                    <a:pt x="707390" y="741046"/>
                  </a:moveTo>
                  <a:cubicBezTo>
                    <a:pt x="712470" y="741046"/>
                    <a:pt x="719454" y="741046"/>
                    <a:pt x="724534" y="743586"/>
                  </a:cubicBezTo>
                  <a:lnTo>
                    <a:pt x="724534" y="744221"/>
                  </a:lnTo>
                  <a:lnTo>
                    <a:pt x="724534" y="762636"/>
                  </a:lnTo>
                  <a:cubicBezTo>
                    <a:pt x="721360" y="761366"/>
                    <a:pt x="716280" y="760731"/>
                    <a:pt x="713105" y="760731"/>
                  </a:cubicBezTo>
                  <a:cubicBezTo>
                    <a:pt x="706120" y="760731"/>
                    <a:pt x="703579" y="762636"/>
                    <a:pt x="703579" y="768351"/>
                  </a:cubicBezTo>
                  <a:lnTo>
                    <a:pt x="703579" y="775336"/>
                  </a:lnTo>
                  <a:lnTo>
                    <a:pt x="722629" y="775336"/>
                  </a:lnTo>
                  <a:lnTo>
                    <a:pt x="722629" y="796926"/>
                  </a:lnTo>
                  <a:lnTo>
                    <a:pt x="703579" y="796926"/>
                  </a:lnTo>
                  <a:lnTo>
                    <a:pt x="703579" y="865506"/>
                  </a:lnTo>
                  <a:lnTo>
                    <a:pt x="680084" y="865506"/>
                  </a:lnTo>
                  <a:lnTo>
                    <a:pt x="680084" y="796926"/>
                  </a:lnTo>
                  <a:lnTo>
                    <a:pt x="667385" y="796926"/>
                  </a:lnTo>
                  <a:lnTo>
                    <a:pt x="667385" y="775336"/>
                  </a:lnTo>
                  <a:lnTo>
                    <a:pt x="680084" y="775336"/>
                  </a:lnTo>
                  <a:lnTo>
                    <a:pt x="680084" y="764541"/>
                  </a:lnTo>
                  <a:cubicBezTo>
                    <a:pt x="680084" y="748031"/>
                    <a:pt x="690879" y="741046"/>
                    <a:pt x="707390" y="741046"/>
                  </a:cubicBezTo>
                  <a:close/>
                  <a:moveTo>
                    <a:pt x="282575" y="741046"/>
                  </a:moveTo>
                  <a:lnTo>
                    <a:pt x="282575" y="782321"/>
                  </a:lnTo>
                  <a:cubicBezTo>
                    <a:pt x="287019" y="777241"/>
                    <a:pt x="295909" y="774066"/>
                    <a:pt x="304799" y="774066"/>
                  </a:cubicBezTo>
                  <a:cubicBezTo>
                    <a:pt x="328295" y="774066"/>
                    <a:pt x="336549" y="792481"/>
                    <a:pt x="336549" y="815341"/>
                  </a:cubicBezTo>
                  <a:lnTo>
                    <a:pt x="336549" y="866141"/>
                  </a:lnTo>
                  <a:lnTo>
                    <a:pt x="313689" y="866141"/>
                  </a:lnTo>
                  <a:lnTo>
                    <a:pt x="313689" y="817246"/>
                  </a:lnTo>
                  <a:cubicBezTo>
                    <a:pt x="313689" y="804546"/>
                    <a:pt x="310515" y="796291"/>
                    <a:pt x="298450" y="796291"/>
                  </a:cubicBezTo>
                  <a:cubicBezTo>
                    <a:pt x="286385" y="796291"/>
                    <a:pt x="282575" y="803276"/>
                    <a:pt x="282575" y="816611"/>
                  </a:cubicBezTo>
                  <a:lnTo>
                    <a:pt x="282575" y="866141"/>
                  </a:lnTo>
                  <a:lnTo>
                    <a:pt x="259079" y="866141"/>
                  </a:lnTo>
                  <a:lnTo>
                    <a:pt x="259079" y="752476"/>
                  </a:lnTo>
                  <a:close/>
                  <a:moveTo>
                    <a:pt x="92709" y="648336"/>
                  </a:moveTo>
                  <a:lnTo>
                    <a:pt x="92709" y="649606"/>
                  </a:lnTo>
                  <a:lnTo>
                    <a:pt x="92427" y="648959"/>
                  </a:lnTo>
                  <a:close/>
                  <a:moveTo>
                    <a:pt x="230504" y="643256"/>
                  </a:moveTo>
                  <a:cubicBezTo>
                    <a:pt x="220345" y="643256"/>
                    <a:pt x="215900" y="647701"/>
                    <a:pt x="215900" y="654686"/>
                  </a:cubicBezTo>
                  <a:cubicBezTo>
                    <a:pt x="215900" y="661671"/>
                    <a:pt x="220345" y="667386"/>
                    <a:pt x="228599" y="667386"/>
                  </a:cubicBezTo>
                  <a:cubicBezTo>
                    <a:pt x="233045" y="667386"/>
                    <a:pt x="240665" y="666116"/>
                    <a:pt x="245745" y="658496"/>
                  </a:cubicBezTo>
                  <a:lnTo>
                    <a:pt x="245745" y="647066"/>
                  </a:lnTo>
                  <a:cubicBezTo>
                    <a:pt x="241299" y="643891"/>
                    <a:pt x="234950" y="643256"/>
                    <a:pt x="230504" y="643256"/>
                  </a:cubicBezTo>
                  <a:close/>
                  <a:moveTo>
                    <a:pt x="321310" y="614046"/>
                  </a:moveTo>
                  <a:cubicBezTo>
                    <a:pt x="314959" y="614046"/>
                    <a:pt x="309879" y="617221"/>
                    <a:pt x="306704" y="622301"/>
                  </a:cubicBezTo>
                  <a:lnTo>
                    <a:pt x="306704" y="656591"/>
                  </a:lnTo>
                  <a:cubicBezTo>
                    <a:pt x="310515" y="661671"/>
                    <a:pt x="316230" y="664846"/>
                    <a:pt x="323215" y="664846"/>
                  </a:cubicBezTo>
                  <a:cubicBezTo>
                    <a:pt x="335915" y="664846"/>
                    <a:pt x="339090" y="653416"/>
                    <a:pt x="339090" y="640716"/>
                  </a:cubicBezTo>
                  <a:lnTo>
                    <a:pt x="338454" y="640716"/>
                  </a:lnTo>
                  <a:cubicBezTo>
                    <a:pt x="338454" y="627381"/>
                    <a:pt x="335280" y="614046"/>
                    <a:pt x="321310" y="614046"/>
                  </a:cubicBezTo>
                  <a:close/>
                  <a:moveTo>
                    <a:pt x="1179195" y="612776"/>
                  </a:moveTo>
                  <a:cubicBezTo>
                    <a:pt x="1168400" y="612776"/>
                    <a:pt x="1163954" y="622301"/>
                    <a:pt x="1163320" y="629921"/>
                  </a:cubicBezTo>
                  <a:lnTo>
                    <a:pt x="1163954" y="629921"/>
                  </a:lnTo>
                  <a:lnTo>
                    <a:pt x="1195704" y="629921"/>
                  </a:lnTo>
                  <a:cubicBezTo>
                    <a:pt x="1195070" y="619761"/>
                    <a:pt x="1188720" y="612776"/>
                    <a:pt x="1179195" y="612776"/>
                  </a:cubicBezTo>
                  <a:close/>
                  <a:moveTo>
                    <a:pt x="689610" y="612776"/>
                  </a:moveTo>
                  <a:cubicBezTo>
                    <a:pt x="678814" y="612776"/>
                    <a:pt x="674370" y="622301"/>
                    <a:pt x="673735" y="629921"/>
                  </a:cubicBezTo>
                  <a:lnTo>
                    <a:pt x="674370" y="629921"/>
                  </a:lnTo>
                  <a:lnTo>
                    <a:pt x="706120" y="629921"/>
                  </a:lnTo>
                  <a:cubicBezTo>
                    <a:pt x="705485" y="619761"/>
                    <a:pt x="699135" y="612776"/>
                    <a:pt x="689610" y="612776"/>
                  </a:cubicBezTo>
                  <a:close/>
                  <a:moveTo>
                    <a:pt x="410845" y="612776"/>
                  </a:moveTo>
                  <a:cubicBezTo>
                    <a:pt x="400685" y="612776"/>
                    <a:pt x="396239" y="622301"/>
                    <a:pt x="395605" y="629921"/>
                  </a:cubicBezTo>
                  <a:lnTo>
                    <a:pt x="427355" y="629921"/>
                  </a:lnTo>
                  <a:cubicBezTo>
                    <a:pt x="426084" y="619761"/>
                    <a:pt x="420370" y="612776"/>
                    <a:pt x="410845" y="612776"/>
                  </a:cubicBezTo>
                  <a:close/>
                  <a:moveTo>
                    <a:pt x="991870" y="594361"/>
                  </a:moveTo>
                  <a:lnTo>
                    <a:pt x="1014095" y="594361"/>
                  </a:lnTo>
                  <a:lnTo>
                    <a:pt x="1014095" y="643256"/>
                  </a:lnTo>
                  <a:cubicBezTo>
                    <a:pt x="1014095" y="655321"/>
                    <a:pt x="1016635" y="664846"/>
                    <a:pt x="1029334" y="664846"/>
                  </a:cubicBezTo>
                  <a:cubicBezTo>
                    <a:pt x="1042034" y="664846"/>
                    <a:pt x="1044575" y="655321"/>
                    <a:pt x="1044575" y="644526"/>
                  </a:cubicBezTo>
                  <a:lnTo>
                    <a:pt x="1044575" y="594996"/>
                  </a:lnTo>
                  <a:lnTo>
                    <a:pt x="1066799" y="594996"/>
                  </a:lnTo>
                  <a:lnTo>
                    <a:pt x="1066799" y="684531"/>
                  </a:lnTo>
                  <a:lnTo>
                    <a:pt x="1044575" y="684531"/>
                  </a:lnTo>
                  <a:lnTo>
                    <a:pt x="1044575" y="678181"/>
                  </a:lnTo>
                  <a:cubicBezTo>
                    <a:pt x="1039495" y="683896"/>
                    <a:pt x="1031875" y="686436"/>
                    <a:pt x="1023620" y="686436"/>
                  </a:cubicBezTo>
                  <a:cubicBezTo>
                    <a:pt x="1000125" y="686436"/>
                    <a:pt x="991870" y="669926"/>
                    <a:pt x="991870" y="645161"/>
                  </a:cubicBezTo>
                  <a:close/>
                  <a:moveTo>
                    <a:pt x="836295" y="594361"/>
                  </a:moveTo>
                  <a:lnTo>
                    <a:pt x="858519" y="594361"/>
                  </a:lnTo>
                  <a:lnTo>
                    <a:pt x="858519" y="643256"/>
                  </a:lnTo>
                  <a:cubicBezTo>
                    <a:pt x="858519" y="655321"/>
                    <a:pt x="861060" y="664846"/>
                    <a:pt x="873760" y="664846"/>
                  </a:cubicBezTo>
                  <a:cubicBezTo>
                    <a:pt x="886459" y="664846"/>
                    <a:pt x="889000" y="655321"/>
                    <a:pt x="889000" y="644526"/>
                  </a:cubicBezTo>
                  <a:lnTo>
                    <a:pt x="889000" y="594996"/>
                  </a:lnTo>
                  <a:lnTo>
                    <a:pt x="911224" y="594996"/>
                  </a:lnTo>
                  <a:lnTo>
                    <a:pt x="911224" y="684531"/>
                  </a:lnTo>
                  <a:lnTo>
                    <a:pt x="889000" y="684531"/>
                  </a:lnTo>
                  <a:lnTo>
                    <a:pt x="889000" y="678181"/>
                  </a:lnTo>
                  <a:cubicBezTo>
                    <a:pt x="883920" y="683896"/>
                    <a:pt x="876299" y="686436"/>
                    <a:pt x="868045" y="686436"/>
                  </a:cubicBezTo>
                  <a:cubicBezTo>
                    <a:pt x="844549" y="686436"/>
                    <a:pt x="836295" y="669926"/>
                    <a:pt x="836295" y="645161"/>
                  </a:cubicBezTo>
                  <a:close/>
                  <a:moveTo>
                    <a:pt x="1181099" y="592456"/>
                  </a:moveTo>
                  <a:cubicBezTo>
                    <a:pt x="1204595" y="592456"/>
                    <a:pt x="1219200" y="613411"/>
                    <a:pt x="1219200" y="639446"/>
                  </a:cubicBezTo>
                  <a:lnTo>
                    <a:pt x="1218564" y="639446"/>
                  </a:lnTo>
                  <a:cubicBezTo>
                    <a:pt x="1218564" y="639446"/>
                    <a:pt x="1218564" y="645796"/>
                    <a:pt x="1218564" y="647066"/>
                  </a:cubicBezTo>
                  <a:lnTo>
                    <a:pt x="1163954" y="647066"/>
                  </a:lnTo>
                  <a:cubicBezTo>
                    <a:pt x="1165224" y="659766"/>
                    <a:pt x="1173480" y="664846"/>
                    <a:pt x="1183004" y="664846"/>
                  </a:cubicBezTo>
                  <a:cubicBezTo>
                    <a:pt x="1188720" y="664846"/>
                    <a:pt x="1193799" y="662941"/>
                    <a:pt x="1198879" y="658496"/>
                  </a:cubicBezTo>
                  <a:lnTo>
                    <a:pt x="1214754" y="671831"/>
                  </a:lnTo>
                  <a:cubicBezTo>
                    <a:pt x="1206500" y="682626"/>
                    <a:pt x="1193799" y="686436"/>
                    <a:pt x="1182370" y="686436"/>
                  </a:cubicBezTo>
                  <a:cubicBezTo>
                    <a:pt x="1156335" y="686436"/>
                    <a:pt x="1141095" y="666116"/>
                    <a:pt x="1141095" y="639446"/>
                  </a:cubicBezTo>
                  <a:cubicBezTo>
                    <a:pt x="1141095" y="610871"/>
                    <a:pt x="1158875" y="592456"/>
                    <a:pt x="1181099" y="592456"/>
                  </a:cubicBezTo>
                  <a:close/>
                  <a:moveTo>
                    <a:pt x="691515" y="592456"/>
                  </a:moveTo>
                  <a:cubicBezTo>
                    <a:pt x="715010" y="592456"/>
                    <a:pt x="729614" y="613411"/>
                    <a:pt x="729614" y="639446"/>
                  </a:cubicBezTo>
                  <a:lnTo>
                    <a:pt x="728980" y="639446"/>
                  </a:lnTo>
                  <a:cubicBezTo>
                    <a:pt x="728980" y="639446"/>
                    <a:pt x="728980" y="645796"/>
                    <a:pt x="728980" y="647066"/>
                  </a:cubicBezTo>
                  <a:lnTo>
                    <a:pt x="674370" y="647066"/>
                  </a:lnTo>
                  <a:cubicBezTo>
                    <a:pt x="675640" y="659766"/>
                    <a:pt x="683894" y="664846"/>
                    <a:pt x="693420" y="664846"/>
                  </a:cubicBezTo>
                  <a:cubicBezTo>
                    <a:pt x="699135" y="664846"/>
                    <a:pt x="704215" y="662941"/>
                    <a:pt x="709295" y="658496"/>
                  </a:cubicBezTo>
                  <a:lnTo>
                    <a:pt x="725170" y="671831"/>
                  </a:lnTo>
                  <a:cubicBezTo>
                    <a:pt x="716915" y="682626"/>
                    <a:pt x="704215" y="686436"/>
                    <a:pt x="692784" y="686436"/>
                  </a:cubicBezTo>
                  <a:cubicBezTo>
                    <a:pt x="666750" y="686436"/>
                    <a:pt x="651510" y="666116"/>
                    <a:pt x="651510" y="639446"/>
                  </a:cubicBezTo>
                  <a:cubicBezTo>
                    <a:pt x="651510" y="610871"/>
                    <a:pt x="669290" y="592456"/>
                    <a:pt x="691515" y="592456"/>
                  </a:cubicBezTo>
                  <a:close/>
                  <a:moveTo>
                    <a:pt x="412114" y="592456"/>
                  </a:moveTo>
                  <a:cubicBezTo>
                    <a:pt x="437515" y="592456"/>
                    <a:pt x="448310" y="615316"/>
                    <a:pt x="448310" y="639446"/>
                  </a:cubicBezTo>
                  <a:cubicBezTo>
                    <a:pt x="448310" y="639446"/>
                    <a:pt x="448310" y="645796"/>
                    <a:pt x="448310" y="647066"/>
                  </a:cubicBezTo>
                  <a:lnTo>
                    <a:pt x="395605" y="647066"/>
                  </a:lnTo>
                  <a:cubicBezTo>
                    <a:pt x="396875" y="659766"/>
                    <a:pt x="405129" y="664846"/>
                    <a:pt x="415290" y="664846"/>
                  </a:cubicBezTo>
                  <a:cubicBezTo>
                    <a:pt x="421004" y="664846"/>
                    <a:pt x="426084" y="662941"/>
                    <a:pt x="430530" y="658496"/>
                  </a:cubicBezTo>
                  <a:lnTo>
                    <a:pt x="446405" y="671831"/>
                  </a:lnTo>
                  <a:cubicBezTo>
                    <a:pt x="438784" y="681991"/>
                    <a:pt x="425450" y="686436"/>
                    <a:pt x="413385" y="686436"/>
                  </a:cubicBezTo>
                  <a:cubicBezTo>
                    <a:pt x="387349" y="686436"/>
                    <a:pt x="372110" y="666116"/>
                    <a:pt x="372110" y="640081"/>
                  </a:cubicBezTo>
                  <a:cubicBezTo>
                    <a:pt x="372110" y="614046"/>
                    <a:pt x="388620" y="592456"/>
                    <a:pt x="412114" y="592456"/>
                  </a:cubicBezTo>
                  <a:close/>
                  <a:moveTo>
                    <a:pt x="326390" y="592456"/>
                  </a:moveTo>
                  <a:cubicBezTo>
                    <a:pt x="350519" y="592456"/>
                    <a:pt x="361314" y="615316"/>
                    <a:pt x="361314" y="639446"/>
                  </a:cubicBezTo>
                  <a:cubicBezTo>
                    <a:pt x="361314" y="662306"/>
                    <a:pt x="351790" y="686436"/>
                    <a:pt x="326390" y="686436"/>
                  </a:cubicBezTo>
                  <a:cubicBezTo>
                    <a:pt x="316230" y="686436"/>
                    <a:pt x="310515" y="682626"/>
                    <a:pt x="306070" y="678816"/>
                  </a:cubicBezTo>
                  <a:lnTo>
                    <a:pt x="306070" y="706121"/>
                  </a:lnTo>
                  <a:lnTo>
                    <a:pt x="283845" y="717551"/>
                  </a:lnTo>
                  <a:lnTo>
                    <a:pt x="283845" y="594361"/>
                  </a:lnTo>
                  <a:lnTo>
                    <a:pt x="306070" y="594361"/>
                  </a:lnTo>
                  <a:lnTo>
                    <a:pt x="306070" y="600711"/>
                  </a:lnTo>
                  <a:cubicBezTo>
                    <a:pt x="311784" y="595631"/>
                    <a:pt x="318135" y="592456"/>
                    <a:pt x="326390" y="592456"/>
                  </a:cubicBezTo>
                  <a:close/>
                  <a:moveTo>
                    <a:pt x="231775" y="592456"/>
                  </a:moveTo>
                  <a:cubicBezTo>
                    <a:pt x="254635" y="592456"/>
                    <a:pt x="268605" y="603251"/>
                    <a:pt x="268605" y="624206"/>
                  </a:cubicBezTo>
                  <a:lnTo>
                    <a:pt x="268605" y="684531"/>
                  </a:lnTo>
                  <a:lnTo>
                    <a:pt x="267970" y="684531"/>
                  </a:lnTo>
                  <a:lnTo>
                    <a:pt x="245745" y="684531"/>
                  </a:lnTo>
                  <a:lnTo>
                    <a:pt x="245745" y="678181"/>
                  </a:lnTo>
                  <a:cubicBezTo>
                    <a:pt x="240665" y="683261"/>
                    <a:pt x="233680" y="686436"/>
                    <a:pt x="224790" y="686436"/>
                  </a:cubicBezTo>
                  <a:cubicBezTo>
                    <a:pt x="207010" y="686436"/>
                    <a:pt x="193040" y="675006"/>
                    <a:pt x="193040" y="655321"/>
                  </a:cubicBezTo>
                  <a:cubicBezTo>
                    <a:pt x="193040" y="635636"/>
                    <a:pt x="206375" y="624841"/>
                    <a:pt x="227965" y="624841"/>
                  </a:cubicBezTo>
                  <a:cubicBezTo>
                    <a:pt x="233680" y="624841"/>
                    <a:pt x="239394" y="625476"/>
                    <a:pt x="245745" y="628651"/>
                  </a:cubicBezTo>
                  <a:lnTo>
                    <a:pt x="245745" y="623571"/>
                  </a:lnTo>
                  <a:cubicBezTo>
                    <a:pt x="245745" y="615316"/>
                    <a:pt x="240030" y="611506"/>
                    <a:pt x="230504" y="611506"/>
                  </a:cubicBezTo>
                  <a:cubicBezTo>
                    <a:pt x="223519" y="611506"/>
                    <a:pt x="216534" y="613411"/>
                    <a:pt x="209549" y="617221"/>
                  </a:cubicBezTo>
                  <a:lnTo>
                    <a:pt x="200659" y="601346"/>
                  </a:lnTo>
                  <a:cubicBezTo>
                    <a:pt x="210185" y="594996"/>
                    <a:pt x="219709" y="592456"/>
                    <a:pt x="231775" y="592456"/>
                  </a:cubicBezTo>
                  <a:close/>
                  <a:moveTo>
                    <a:pt x="1125855" y="591821"/>
                  </a:moveTo>
                  <a:cubicBezTo>
                    <a:pt x="1132204" y="591821"/>
                    <a:pt x="1137920" y="593726"/>
                    <a:pt x="1142364" y="598171"/>
                  </a:cubicBezTo>
                  <a:lnTo>
                    <a:pt x="1141730" y="598806"/>
                  </a:lnTo>
                  <a:lnTo>
                    <a:pt x="1132840" y="621031"/>
                  </a:lnTo>
                  <a:cubicBezTo>
                    <a:pt x="1129665" y="617856"/>
                    <a:pt x="1125220" y="615316"/>
                    <a:pt x="1120140" y="615316"/>
                  </a:cubicBezTo>
                  <a:cubicBezTo>
                    <a:pt x="1109345" y="615316"/>
                    <a:pt x="1106805" y="624206"/>
                    <a:pt x="1106805" y="635001"/>
                  </a:cubicBezTo>
                  <a:lnTo>
                    <a:pt x="1106805" y="683896"/>
                  </a:lnTo>
                  <a:lnTo>
                    <a:pt x="1084579" y="683896"/>
                  </a:lnTo>
                  <a:lnTo>
                    <a:pt x="1084579" y="593726"/>
                  </a:lnTo>
                  <a:lnTo>
                    <a:pt x="1106805" y="593726"/>
                  </a:lnTo>
                  <a:lnTo>
                    <a:pt x="1106805" y="600076"/>
                  </a:lnTo>
                  <a:cubicBezTo>
                    <a:pt x="1111885" y="594996"/>
                    <a:pt x="1118235" y="591821"/>
                    <a:pt x="1125855" y="591821"/>
                  </a:cubicBezTo>
                  <a:close/>
                  <a:moveTo>
                    <a:pt x="47625" y="563881"/>
                  </a:moveTo>
                  <a:cubicBezTo>
                    <a:pt x="66040" y="563881"/>
                    <a:pt x="79375" y="571501"/>
                    <a:pt x="90170" y="582296"/>
                  </a:cubicBezTo>
                  <a:lnTo>
                    <a:pt x="73659" y="598806"/>
                  </a:lnTo>
                  <a:cubicBezTo>
                    <a:pt x="66040" y="591186"/>
                    <a:pt x="58420" y="586741"/>
                    <a:pt x="46355" y="586741"/>
                  </a:cubicBezTo>
                  <a:cubicBezTo>
                    <a:pt x="36194" y="586741"/>
                    <a:pt x="28575" y="589916"/>
                    <a:pt x="28575" y="598171"/>
                  </a:cubicBezTo>
                  <a:cubicBezTo>
                    <a:pt x="28575" y="601981"/>
                    <a:pt x="29845" y="604521"/>
                    <a:pt x="33655" y="606426"/>
                  </a:cubicBezTo>
                  <a:cubicBezTo>
                    <a:pt x="38099" y="608966"/>
                    <a:pt x="43814" y="610236"/>
                    <a:pt x="52704" y="612776"/>
                  </a:cubicBezTo>
                  <a:cubicBezTo>
                    <a:pt x="63500" y="615951"/>
                    <a:pt x="73659" y="617856"/>
                    <a:pt x="81915" y="624841"/>
                  </a:cubicBezTo>
                  <a:lnTo>
                    <a:pt x="92427" y="648959"/>
                  </a:lnTo>
                  <a:lnTo>
                    <a:pt x="79454" y="677626"/>
                  </a:lnTo>
                  <a:cubicBezTo>
                    <a:pt x="71279" y="683738"/>
                    <a:pt x="60008" y="686436"/>
                    <a:pt x="47625" y="686436"/>
                  </a:cubicBezTo>
                  <a:cubicBezTo>
                    <a:pt x="29845" y="686436"/>
                    <a:pt x="10795" y="680721"/>
                    <a:pt x="0" y="664846"/>
                  </a:cubicBezTo>
                  <a:lnTo>
                    <a:pt x="16510" y="650241"/>
                  </a:lnTo>
                  <a:cubicBezTo>
                    <a:pt x="24129" y="659766"/>
                    <a:pt x="35560" y="664211"/>
                    <a:pt x="46989" y="664211"/>
                  </a:cubicBezTo>
                  <a:cubicBezTo>
                    <a:pt x="60325" y="664211"/>
                    <a:pt x="68579" y="657861"/>
                    <a:pt x="68579" y="649606"/>
                  </a:cubicBezTo>
                  <a:cubicBezTo>
                    <a:pt x="68579" y="646431"/>
                    <a:pt x="67310" y="642621"/>
                    <a:pt x="61595" y="640081"/>
                  </a:cubicBezTo>
                  <a:cubicBezTo>
                    <a:pt x="57150" y="638176"/>
                    <a:pt x="52069" y="636906"/>
                    <a:pt x="41909" y="634366"/>
                  </a:cubicBezTo>
                  <a:cubicBezTo>
                    <a:pt x="35560" y="633096"/>
                    <a:pt x="22860" y="629921"/>
                    <a:pt x="14605" y="623571"/>
                  </a:cubicBezTo>
                  <a:cubicBezTo>
                    <a:pt x="6349" y="617221"/>
                    <a:pt x="4444" y="607696"/>
                    <a:pt x="4444" y="599441"/>
                  </a:cubicBezTo>
                  <a:cubicBezTo>
                    <a:pt x="4444" y="574041"/>
                    <a:pt x="26034" y="563881"/>
                    <a:pt x="47625" y="563881"/>
                  </a:cubicBezTo>
                  <a:close/>
                  <a:moveTo>
                    <a:pt x="814070" y="560071"/>
                  </a:moveTo>
                  <a:cubicBezTo>
                    <a:pt x="820420" y="560071"/>
                    <a:pt x="824864" y="561341"/>
                    <a:pt x="830579" y="562611"/>
                  </a:cubicBezTo>
                  <a:lnTo>
                    <a:pt x="829945" y="562611"/>
                  </a:lnTo>
                  <a:lnTo>
                    <a:pt x="829945" y="581026"/>
                  </a:lnTo>
                  <a:cubicBezTo>
                    <a:pt x="824864" y="579756"/>
                    <a:pt x="821055" y="579121"/>
                    <a:pt x="818515" y="579121"/>
                  </a:cubicBezTo>
                  <a:cubicBezTo>
                    <a:pt x="810260" y="579121"/>
                    <a:pt x="808989" y="582296"/>
                    <a:pt x="808989" y="586741"/>
                  </a:cubicBezTo>
                  <a:lnTo>
                    <a:pt x="808989" y="594361"/>
                  </a:lnTo>
                  <a:lnTo>
                    <a:pt x="824230" y="594361"/>
                  </a:lnTo>
                  <a:lnTo>
                    <a:pt x="824230" y="615951"/>
                  </a:lnTo>
                  <a:lnTo>
                    <a:pt x="808989" y="615951"/>
                  </a:lnTo>
                  <a:lnTo>
                    <a:pt x="808989" y="684531"/>
                  </a:lnTo>
                  <a:lnTo>
                    <a:pt x="786765" y="684531"/>
                  </a:lnTo>
                  <a:lnTo>
                    <a:pt x="786765" y="615951"/>
                  </a:lnTo>
                  <a:lnTo>
                    <a:pt x="775970" y="615951"/>
                  </a:lnTo>
                  <a:lnTo>
                    <a:pt x="775970" y="594361"/>
                  </a:lnTo>
                  <a:lnTo>
                    <a:pt x="786765" y="594361"/>
                  </a:lnTo>
                  <a:lnTo>
                    <a:pt x="786765" y="583566"/>
                  </a:lnTo>
                  <a:cubicBezTo>
                    <a:pt x="786765" y="567691"/>
                    <a:pt x="795019" y="560071"/>
                    <a:pt x="814070" y="560071"/>
                  </a:cubicBezTo>
                  <a:close/>
                  <a:moveTo>
                    <a:pt x="957579" y="559436"/>
                  </a:moveTo>
                  <a:lnTo>
                    <a:pt x="957579" y="594361"/>
                  </a:lnTo>
                  <a:lnTo>
                    <a:pt x="979170" y="594361"/>
                  </a:lnTo>
                  <a:lnTo>
                    <a:pt x="979170" y="615951"/>
                  </a:lnTo>
                  <a:lnTo>
                    <a:pt x="957579" y="615951"/>
                  </a:lnTo>
                  <a:lnTo>
                    <a:pt x="957579" y="654051"/>
                  </a:lnTo>
                  <a:cubicBezTo>
                    <a:pt x="957579" y="661671"/>
                    <a:pt x="960754" y="664846"/>
                    <a:pt x="966470" y="664846"/>
                  </a:cubicBezTo>
                  <a:cubicBezTo>
                    <a:pt x="972185" y="664846"/>
                    <a:pt x="977900" y="661671"/>
                    <a:pt x="981075" y="658496"/>
                  </a:cubicBezTo>
                  <a:lnTo>
                    <a:pt x="977900" y="681356"/>
                  </a:lnTo>
                  <a:cubicBezTo>
                    <a:pt x="973454" y="685166"/>
                    <a:pt x="965200" y="686436"/>
                    <a:pt x="959485" y="686436"/>
                  </a:cubicBezTo>
                  <a:cubicBezTo>
                    <a:pt x="945515" y="686436"/>
                    <a:pt x="935355" y="676276"/>
                    <a:pt x="935355" y="659766"/>
                  </a:cubicBezTo>
                  <a:lnTo>
                    <a:pt x="935355" y="615951"/>
                  </a:lnTo>
                  <a:lnTo>
                    <a:pt x="922655" y="615951"/>
                  </a:lnTo>
                  <a:lnTo>
                    <a:pt x="922655" y="594361"/>
                  </a:lnTo>
                  <a:lnTo>
                    <a:pt x="935355" y="594361"/>
                  </a:lnTo>
                  <a:lnTo>
                    <a:pt x="935355" y="570866"/>
                  </a:lnTo>
                  <a:close/>
                  <a:moveTo>
                    <a:pt x="586739" y="559436"/>
                  </a:moveTo>
                  <a:lnTo>
                    <a:pt x="586739" y="600711"/>
                  </a:lnTo>
                  <a:cubicBezTo>
                    <a:pt x="591820" y="595631"/>
                    <a:pt x="597534" y="592456"/>
                    <a:pt x="607695" y="592456"/>
                  </a:cubicBezTo>
                  <a:cubicBezTo>
                    <a:pt x="631825" y="592456"/>
                    <a:pt x="639445" y="610871"/>
                    <a:pt x="639445" y="633731"/>
                  </a:cubicBezTo>
                  <a:lnTo>
                    <a:pt x="639445" y="684531"/>
                  </a:lnTo>
                  <a:lnTo>
                    <a:pt x="617220" y="684531"/>
                  </a:lnTo>
                  <a:lnTo>
                    <a:pt x="617220" y="635636"/>
                  </a:lnTo>
                  <a:cubicBezTo>
                    <a:pt x="617220" y="623571"/>
                    <a:pt x="614680" y="614681"/>
                    <a:pt x="601980" y="614681"/>
                  </a:cubicBezTo>
                  <a:cubicBezTo>
                    <a:pt x="589280" y="614681"/>
                    <a:pt x="586739" y="622936"/>
                    <a:pt x="586739" y="635001"/>
                  </a:cubicBezTo>
                  <a:lnTo>
                    <a:pt x="586739" y="684531"/>
                  </a:lnTo>
                  <a:lnTo>
                    <a:pt x="564515" y="684531"/>
                  </a:lnTo>
                  <a:lnTo>
                    <a:pt x="564515" y="570866"/>
                  </a:lnTo>
                  <a:close/>
                  <a:moveTo>
                    <a:pt x="529590" y="559436"/>
                  </a:moveTo>
                  <a:lnTo>
                    <a:pt x="529590" y="594361"/>
                  </a:lnTo>
                  <a:lnTo>
                    <a:pt x="550545" y="594361"/>
                  </a:lnTo>
                  <a:lnTo>
                    <a:pt x="550545" y="615951"/>
                  </a:lnTo>
                  <a:lnTo>
                    <a:pt x="529590" y="615951"/>
                  </a:lnTo>
                  <a:lnTo>
                    <a:pt x="529590" y="654051"/>
                  </a:lnTo>
                  <a:cubicBezTo>
                    <a:pt x="529590" y="661671"/>
                    <a:pt x="532765" y="664846"/>
                    <a:pt x="538480" y="664846"/>
                  </a:cubicBezTo>
                  <a:cubicBezTo>
                    <a:pt x="544195" y="664846"/>
                    <a:pt x="549275" y="661671"/>
                    <a:pt x="553084" y="658496"/>
                  </a:cubicBezTo>
                  <a:lnTo>
                    <a:pt x="549909" y="681356"/>
                  </a:lnTo>
                  <a:cubicBezTo>
                    <a:pt x="545465" y="685166"/>
                    <a:pt x="537209" y="686436"/>
                    <a:pt x="531495" y="686436"/>
                  </a:cubicBezTo>
                  <a:cubicBezTo>
                    <a:pt x="517525" y="686436"/>
                    <a:pt x="507364" y="676276"/>
                    <a:pt x="507364" y="659766"/>
                  </a:cubicBezTo>
                  <a:lnTo>
                    <a:pt x="507364" y="615951"/>
                  </a:lnTo>
                  <a:lnTo>
                    <a:pt x="491489" y="615951"/>
                  </a:lnTo>
                  <a:lnTo>
                    <a:pt x="491489" y="594361"/>
                  </a:lnTo>
                  <a:lnTo>
                    <a:pt x="507364" y="594361"/>
                  </a:lnTo>
                  <a:lnTo>
                    <a:pt x="507364" y="570866"/>
                  </a:lnTo>
                  <a:close/>
                  <a:moveTo>
                    <a:pt x="128269" y="559436"/>
                  </a:moveTo>
                  <a:lnTo>
                    <a:pt x="128269" y="600711"/>
                  </a:lnTo>
                  <a:cubicBezTo>
                    <a:pt x="133349" y="595631"/>
                    <a:pt x="139064" y="592456"/>
                    <a:pt x="149224" y="592456"/>
                  </a:cubicBezTo>
                  <a:cubicBezTo>
                    <a:pt x="173355" y="592456"/>
                    <a:pt x="180974" y="610871"/>
                    <a:pt x="180974" y="633731"/>
                  </a:cubicBezTo>
                  <a:lnTo>
                    <a:pt x="180974" y="684531"/>
                  </a:lnTo>
                  <a:lnTo>
                    <a:pt x="158750" y="684531"/>
                  </a:lnTo>
                  <a:lnTo>
                    <a:pt x="158750" y="635636"/>
                  </a:lnTo>
                  <a:cubicBezTo>
                    <a:pt x="158750" y="623571"/>
                    <a:pt x="156209" y="614681"/>
                    <a:pt x="143510" y="614681"/>
                  </a:cubicBezTo>
                  <a:cubicBezTo>
                    <a:pt x="130810" y="614681"/>
                    <a:pt x="128269" y="622936"/>
                    <a:pt x="128269" y="635001"/>
                  </a:cubicBezTo>
                  <a:lnTo>
                    <a:pt x="128269" y="684531"/>
                  </a:lnTo>
                  <a:lnTo>
                    <a:pt x="106045" y="684531"/>
                  </a:lnTo>
                  <a:lnTo>
                    <a:pt x="106045" y="570866"/>
                  </a:lnTo>
                  <a:close/>
                  <a:moveTo>
                    <a:pt x="269875" y="635"/>
                  </a:moveTo>
                  <a:lnTo>
                    <a:pt x="501015" y="635"/>
                  </a:lnTo>
                  <a:lnTo>
                    <a:pt x="554989" y="94615"/>
                  </a:lnTo>
                  <a:lnTo>
                    <a:pt x="391795" y="94615"/>
                  </a:lnTo>
                  <a:lnTo>
                    <a:pt x="391795" y="161925"/>
                  </a:lnTo>
                  <a:lnTo>
                    <a:pt x="539114" y="161925"/>
                  </a:lnTo>
                  <a:lnTo>
                    <a:pt x="539114" y="247650"/>
                  </a:lnTo>
                  <a:lnTo>
                    <a:pt x="391795" y="247650"/>
                  </a:lnTo>
                  <a:lnTo>
                    <a:pt x="391795" y="314325"/>
                  </a:lnTo>
                  <a:lnTo>
                    <a:pt x="595629" y="314325"/>
                  </a:lnTo>
                  <a:lnTo>
                    <a:pt x="595629" y="408305"/>
                  </a:lnTo>
                  <a:lnTo>
                    <a:pt x="269875" y="408305"/>
                  </a:lnTo>
                  <a:close/>
                  <a:moveTo>
                    <a:pt x="539114" y="0"/>
                  </a:moveTo>
                  <a:lnTo>
                    <a:pt x="674370" y="0"/>
                  </a:lnTo>
                  <a:lnTo>
                    <a:pt x="743584" y="132715"/>
                  </a:lnTo>
                  <a:lnTo>
                    <a:pt x="812799" y="0"/>
                  </a:lnTo>
                  <a:lnTo>
                    <a:pt x="946150" y="0"/>
                  </a:lnTo>
                  <a:lnTo>
                    <a:pt x="803275" y="246380"/>
                  </a:lnTo>
                  <a:lnTo>
                    <a:pt x="803275" y="407670"/>
                  </a:lnTo>
                  <a:lnTo>
                    <a:pt x="681355" y="407670"/>
                  </a:lnTo>
                  <a:lnTo>
                    <a:pt x="681355" y="246380"/>
                  </a:lnTo>
                  <a:close/>
                </a:path>
              </a:pathLst>
            </a:custGeom>
            <a:solidFill>
              <a:srgbClr val="FFFFFF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7E7E8938-439A-DB5B-B3DF-7EF202013D57}"/>
              </a:ext>
            </a:extLst>
          </p:cNvPr>
          <p:cNvGrpSpPr/>
          <p:nvPr userDrawn="1"/>
        </p:nvGrpSpPr>
        <p:grpSpPr>
          <a:xfrm>
            <a:off x="486029" y="6164633"/>
            <a:ext cx="4943508" cy="318770"/>
            <a:chOff x="485775" y="6164633"/>
            <a:chExt cx="4940935" cy="318770"/>
          </a:xfrm>
        </p:grpSpPr>
        <p:sp>
          <p:nvSpPr>
            <p:cNvPr id="24" name="Freeform 23">
              <a:extLst>
                <a:ext uri="{FF2B5EF4-FFF2-40B4-BE49-F238E27FC236}">
                  <a16:creationId xmlns:a16="http://schemas.microsoft.com/office/drawing/2014/main" id="{BDF3ED9A-57E4-25C5-BC4E-AC1C77798191}"/>
                </a:ext>
              </a:extLst>
            </p:cNvPr>
            <p:cNvSpPr/>
            <p:nvPr userDrawn="1"/>
          </p:nvSpPr>
          <p:spPr>
            <a:xfrm>
              <a:off x="485775" y="6164633"/>
              <a:ext cx="405765" cy="81280"/>
            </a:xfrm>
            <a:custGeom>
              <a:avLst/>
              <a:gdLst>
                <a:gd name="connsiteX0" fmla="*/ 324485 w 405765"/>
                <a:gd name="connsiteY0" fmla="*/ 0 h 81280"/>
                <a:gd name="connsiteX1" fmla="*/ 405765 w 405765"/>
                <a:gd name="connsiteY1" fmla="*/ 0 h 81280"/>
                <a:gd name="connsiteX2" fmla="*/ 405765 w 405765"/>
                <a:gd name="connsiteY2" fmla="*/ 81280 h 81280"/>
                <a:gd name="connsiteX3" fmla="*/ 324485 w 405765"/>
                <a:gd name="connsiteY3" fmla="*/ 81280 h 81280"/>
                <a:gd name="connsiteX4" fmla="*/ 161925 w 405765"/>
                <a:gd name="connsiteY4" fmla="*/ 0 h 81280"/>
                <a:gd name="connsiteX5" fmla="*/ 243205 w 405765"/>
                <a:gd name="connsiteY5" fmla="*/ 0 h 81280"/>
                <a:gd name="connsiteX6" fmla="*/ 243205 w 405765"/>
                <a:gd name="connsiteY6" fmla="*/ 81280 h 81280"/>
                <a:gd name="connsiteX7" fmla="*/ 161925 w 405765"/>
                <a:gd name="connsiteY7" fmla="*/ 81280 h 81280"/>
                <a:gd name="connsiteX8" fmla="*/ 0 w 405765"/>
                <a:gd name="connsiteY8" fmla="*/ 0 h 81280"/>
                <a:gd name="connsiteX9" fmla="*/ 81280 w 405765"/>
                <a:gd name="connsiteY9" fmla="*/ 0 h 81280"/>
                <a:gd name="connsiteX10" fmla="*/ 81280 w 405765"/>
                <a:gd name="connsiteY10" fmla="*/ 81280 h 81280"/>
                <a:gd name="connsiteX11" fmla="*/ 0 w 405765"/>
                <a:gd name="connsiteY11" fmla="*/ 81280 h 812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05765" h="81280">
                  <a:moveTo>
                    <a:pt x="324485" y="0"/>
                  </a:moveTo>
                  <a:lnTo>
                    <a:pt x="405765" y="0"/>
                  </a:lnTo>
                  <a:lnTo>
                    <a:pt x="405765" y="81280"/>
                  </a:lnTo>
                  <a:lnTo>
                    <a:pt x="324485" y="81280"/>
                  </a:lnTo>
                  <a:close/>
                  <a:moveTo>
                    <a:pt x="161925" y="0"/>
                  </a:moveTo>
                  <a:lnTo>
                    <a:pt x="243205" y="0"/>
                  </a:lnTo>
                  <a:lnTo>
                    <a:pt x="243205" y="81280"/>
                  </a:lnTo>
                  <a:lnTo>
                    <a:pt x="161925" y="81280"/>
                  </a:lnTo>
                  <a:close/>
                  <a:moveTo>
                    <a:pt x="0" y="0"/>
                  </a:moveTo>
                  <a:lnTo>
                    <a:pt x="81280" y="0"/>
                  </a:lnTo>
                  <a:lnTo>
                    <a:pt x="81280" y="81280"/>
                  </a:lnTo>
                  <a:lnTo>
                    <a:pt x="0" y="81280"/>
                  </a:lnTo>
                  <a:close/>
                </a:path>
              </a:pathLst>
            </a:custGeom>
            <a:solidFill>
              <a:srgbClr val="FFE600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25" name="Freeform 24">
              <a:extLst>
                <a:ext uri="{FF2B5EF4-FFF2-40B4-BE49-F238E27FC236}">
                  <a16:creationId xmlns:a16="http://schemas.microsoft.com/office/drawing/2014/main" id="{F8AD9B21-63CE-8D03-9802-DB2391C6BC13}"/>
                </a:ext>
              </a:extLst>
            </p:cNvPr>
            <p:cNvSpPr/>
            <p:nvPr userDrawn="1"/>
          </p:nvSpPr>
          <p:spPr bwMode="black">
            <a:xfrm>
              <a:off x="485779" y="6344974"/>
              <a:ext cx="4940931" cy="138429"/>
            </a:xfrm>
            <a:custGeom>
              <a:avLst/>
              <a:gdLst>
                <a:gd name="connsiteX0" fmla="*/ 1032512 w 4940931"/>
                <a:gd name="connsiteY0" fmla="*/ 137477 h 138429"/>
                <a:gd name="connsiteX1" fmla="*/ 1032512 w 4940931"/>
                <a:gd name="connsiteY1" fmla="*/ 137794 h 138429"/>
                <a:gd name="connsiteX2" fmla="*/ 1030607 w 4940931"/>
                <a:gd name="connsiteY2" fmla="*/ 138429 h 138429"/>
                <a:gd name="connsiteX3" fmla="*/ 4929501 w 4940931"/>
                <a:gd name="connsiteY3" fmla="*/ 87629 h 138429"/>
                <a:gd name="connsiteX4" fmla="*/ 4933946 w 4940931"/>
                <a:gd name="connsiteY4" fmla="*/ 88264 h 138429"/>
                <a:gd name="connsiteX5" fmla="*/ 4937756 w 4940931"/>
                <a:gd name="connsiteY5" fmla="*/ 90804 h 138429"/>
                <a:gd name="connsiteX6" fmla="*/ 4940296 w 4940931"/>
                <a:gd name="connsiteY6" fmla="*/ 94614 h 138429"/>
                <a:gd name="connsiteX7" fmla="*/ 4940931 w 4940931"/>
                <a:gd name="connsiteY7" fmla="*/ 99059 h 138429"/>
                <a:gd name="connsiteX8" fmla="*/ 4940296 w 4940931"/>
                <a:gd name="connsiteY8" fmla="*/ 103504 h 138429"/>
                <a:gd name="connsiteX9" fmla="*/ 4937756 w 4940931"/>
                <a:gd name="connsiteY9" fmla="*/ 107314 h 138429"/>
                <a:gd name="connsiteX10" fmla="*/ 4933946 w 4940931"/>
                <a:gd name="connsiteY10" fmla="*/ 109854 h 138429"/>
                <a:gd name="connsiteX11" fmla="*/ 4929501 w 4940931"/>
                <a:gd name="connsiteY11" fmla="*/ 110489 h 138429"/>
                <a:gd name="connsiteX12" fmla="*/ 4925056 w 4940931"/>
                <a:gd name="connsiteY12" fmla="*/ 109854 h 138429"/>
                <a:gd name="connsiteX13" fmla="*/ 4921246 w 4940931"/>
                <a:gd name="connsiteY13" fmla="*/ 107314 h 138429"/>
                <a:gd name="connsiteX14" fmla="*/ 4918706 w 4940931"/>
                <a:gd name="connsiteY14" fmla="*/ 103504 h 138429"/>
                <a:gd name="connsiteX15" fmla="*/ 4918071 w 4940931"/>
                <a:gd name="connsiteY15" fmla="*/ 99059 h 138429"/>
                <a:gd name="connsiteX16" fmla="*/ 4918706 w 4940931"/>
                <a:gd name="connsiteY16" fmla="*/ 94614 h 138429"/>
                <a:gd name="connsiteX17" fmla="*/ 4921246 w 4940931"/>
                <a:gd name="connsiteY17" fmla="*/ 90804 h 138429"/>
                <a:gd name="connsiteX18" fmla="*/ 4925056 w 4940931"/>
                <a:gd name="connsiteY18" fmla="*/ 88264 h 138429"/>
                <a:gd name="connsiteX19" fmla="*/ 4929501 w 4940931"/>
                <a:gd name="connsiteY19" fmla="*/ 87629 h 138429"/>
                <a:gd name="connsiteX20" fmla="*/ 3079110 w 4940931"/>
                <a:gd name="connsiteY20" fmla="*/ 87629 h 138429"/>
                <a:gd name="connsiteX21" fmla="*/ 3083555 w 4940931"/>
                <a:gd name="connsiteY21" fmla="*/ 88264 h 138429"/>
                <a:gd name="connsiteX22" fmla="*/ 3087365 w 4940931"/>
                <a:gd name="connsiteY22" fmla="*/ 90804 h 138429"/>
                <a:gd name="connsiteX23" fmla="*/ 3089905 w 4940931"/>
                <a:gd name="connsiteY23" fmla="*/ 94614 h 138429"/>
                <a:gd name="connsiteX24" fmla="*/ 3090540 w 4940931"/>
                <a:gd name="connsiteY24" fmla="*/ 99059 h 138429"/>
                <a:gd name="connsiteX25" fmla="*/ 3089905 w 4940931"/>
                <a:gd name="connsiteY25" fmla="*/ 103504 h 138429"/>
                <a:gd name="connsiteX26" fmla="*/ 3087365 w 4940931"/>
                <a:gd name="connsiteY26" fmla="*/ 107314 h 138429"/>
                <a:gd name="connsiteX27" fmla="*/ 3083555 w 4940931"/>
                <a:gd name="connsiteY27" fmla="*/ 109854 h 138429"/>
                <a:gd name="connsiteX28" fmla="*/ 3079110 w 4940931"/>
                <a:gd name="connsiteY28" fmla="*/ 110489 h 138429"/>
                <a:gd name="connsiteX29" fmla="*/ 3074665 w 4940931"/>
                <a:gd name="connsiteY29" fmla="*/ 109854 h 138429"/>
                <a:gd name="connsiteX30" fmla="*/ 3070855 w 4940931"/>
                <a:gd name="connsiteY30" fmla="*/ 107314 h 138429"/>
                <a:gd name="connsiteX31" fmla="*/ 3068315 w 4940931"/>
                <a:gd name="connsiteY31" fmla="*/ 103504 h 138429"/>
                <a:gd name="connsiteX32" fmla="*/ 3067680 w 4940931"/>
                <a:gd name="connsiteY32" fmla="*/ 99059 h 138429"/>
                <a:gd name="connsiteX33" fmla="*/ 3068315 w 4940931"/>
                <a:gd name="connsiteY33" fmla="*/ 94614 h 138429"/>
                <a:gd name="connsiteX34" fmla="*/ 3070855 w 4940931"/>
                <a:gd name="connsiteY34" fmla="*/ 90804 h 138429"/>
                <a:gd name="connsiteX35" fmla="*/ 3074665 w 4940931"/>
                <a:gd name="connsiteY35" fmla="*/ 88264 h 138429"/>
                <a:gd name="connsiteX36" fmla="*/ 3079110 w 4940931"/>
                <a:gd name="connsiteY36" fmla="*/ 87629 h 138429"/>
                <a:gd name="connsiteX37" fmla="*/ 1565275 w 4940931"/>
                <a:gd name="connsiteY37" fmla="*/ 87629 h 138429"/>
                <a:gd name="connsiteX38" fmla="*/ 1569720 w 4940931"/>
                <a:gd name="connsiteY38" fmla="*/ 88264 h 138429"/>
                <a:gd name="connsiteX39" fmla="*/ 1573529 w 4940931"/>
                <a:gd name="connsiteY39" fmla="*/ 90804 h 138429"/>
                <a:gd name="connsiteX40" fmla="*/ 1576069 w 4940931"/>
                <a:gd name="connsiteY40" fmla="*/ 94614 h 138429"/>
                <a:gd name="connsiteX41" fmla="*/ 1576705 w 4940931"/>
                <a:gd name="connsiteY41" fmla="*/ 99059 h 138429"/>
                <a:gd name="connsiteX42" fmla="*/ 1576069 w 4940931"/>
                <a:gd name="connsiteY42" fmla="*/ 103504 h 138429"/>
                <a:gd name="connsiteX43" fmla="*/ 1573529 w 4940931"/>
                <a:gd name="connsiteY43" fmla="*/ 107314 h 138429"/>
                <a:gd name="connsiteX44" fmla="*/ 1569720 w 4940931"/>
                <a:gd name="connsiteY44" fmla="*/ 109854 h 138429"/>
                <a:gd name="connsiteX45" fmla="*/ 1565275 w 4940931"/>
                <a:gd name="connsiteY45" fmla="*/ 110489 h 138429"/>
                <a:gd name="connsiteX46" fmla="*/ 1560830 w 4940931"/>
                <a:gd name="connsiteY46" fmla="*/ 109854 h 138429"/>
                <a:gd name="connsiteX47" fmla="*/ 1557020 w 4940931"/>
                <a:gd name="connsiteY47" fmla="*/ 107314 h 138429"/>
                <a:gd name="connsiteX48" fmla="*/ 1554479 w 4940931"/>
                <a:gd name="connsiteY48" fmla="*/ 103504 h 138429"/>
                <a:gd name="connsiteX49" fmla="*/ 1553844 w 4940931"/>
                <a:gd name="connsiteY49" fmla="*/ 99059 h 138429"/>
                <a:gd name="connsiteX50" fmla="*/ 1554479 w 4940931"/>
                <a:gd name="connsiteY50" fmla="*/ 94614 h 138429"/>
                <a:gd name="connsiteX51" fmla="*/ 1557020 w 4940931"/>
                <a:gd name="connsiteY51" fmla="*/ 90804 h 138429"/>
                <a:gd name="connsiteX52" fmla="*/ 1560830 w 4940931"/>
                <a:gd name="connsiteY52" fmla="*/ 88264 h 138429"/>
                <a:gd name="connsiteX53" fmla="*/ 1565275 w 4940931"/>
                <a:gd name="connsiteY53" fmla="*/ 87629 h 138429"/>
                <a:gd name="connsiteX54" fmla="*/ 2642230 w 4940931"/>
                <a:gd name="connsiteY54" fmla="*/ 73024 h 138429"/>
                <a:gd name="connsiteX55" fmla="*/ 2630800 w 4940931"/>
                <a:gd name="connsiteY55" fmla="*/ 76199 h 138429"/>
                <a:gd name="connsiteX56" fmla="*/ 2626355 w 4940931"/>
                <a:gd name="connsiteY56" fmla="*/ 84454 h 138429"/>
                <a:gd name="connsiteX57" fmla="*/ 2627625 w 4940931"/>
                <a:gd name="connsiteY57" fmla="*/ 90169 h 138429"/>
                <a:gd name="connsiteX58" fmla="*/ 2630800 w 4940931"/>
                <a:gd name="connsiteY58" fmla="*/ 93979 h 138429"/>
                <a:gd name="connsiteX59" fmla="*/ 2635245 w 4940931"/>
                <a:gd name="connsiteY59" fmla="*/ 96519 h 138429"/>
                <a:gd name="connsiteX60" fmla="*/ 2641595 w 4940931"/>
                <a:gd name="connsiteY60" fmla="*/ 97154 h 138429"/>
                <a:gd name="connsiteX61" fmla="*/ 2647310 w 4940931"/>
                <a:gd name="connsiteY61" fmla="*/ 96519 h 138429"/>
                <a:gd name="connsiteX62" fmla="*/ 2652390 w 4940931"/>
                <a:gd name="connsiteY62" fmla="*/ 93979 h 138429"/>
                <a:gd name="connsiteX63" fmla="*/ 2656835 w 4940931"/>
                <a:gd name="connsiteY63" fmla="*/ 90804 h 138429"/>
                <a:gd name="connsiteX64" fmla="*/ 2660010 w 4940931"/>
                <a:gd name="connsiteY64" fmla="*/ 86994 h 138429"/>
                <a:gd name="connsiteX65" fmla="*/ 2660010 w 4940931"/>
                <a:gd name="connsiteY65" fmla="*/ 75564 h 138429"/>
                <a:gd name="connsiteX66" fmla="*/ 2656200 w 4940931"/>
                <a:gd name="connsiteY66" fmla="*/ 74294 h 138429"/>
                <a:gd name="connsiteX67" fmla="*/ 2652390 w 4940931"/>
                <a:gd name="connsiteY67" fmla="*/ 73659 h 138429"/>
                <a:gd name="connsiteX68" fmla="*/ 2647945 w 4940931"/>
                <a:gd name="connsiteY68" fmla="*/ 73024 h 138429"/>
                <a:gd name="connsiteX69" fmla="*/ 2642230 w 4940931"/>
                <a:gd name="connsiteY69" fmla="*/ 73024 h 138429"/>
                <a:gd name="connsiteX70" fmla="*/ 4664706 w 4940931"/>
                <a:gd name="connsiteY70" fmla="*/ 43814 h 138429"/>
                <a:gd name="connsiteX71" fmla="*/ 4657086 w 4940931"/>
                <a:gd name="connsiteY71" fmla="*/ 45719 h 138429"/>
                <a:gd name="connsiteX72" fmla="*/ 4651371 w 4940931"/>
                <a:gd name="connsiteY72" fmla="*/ 50799 h 138429"/>
                <a:gd name="connsiteX73" fmla="*/ 4647561 w 4940931"/>
                <a:gd name="connsiteY73" fmla="*/ 59054 h 138429"/>
                <a:gd name="connsiteX74" fmla="*/ 4646291 w 4940931"/>
                <a:gd name="connsiteY74" fmla="*/ 69849 h 138429"/>
                <a:gd name="connsiteX75" fmla="*/ 4647561 w 4940931"/>
                <a:gd name="connsiteY75" fmla="*/ 81279 h 138429"/>
                <a:gd name="connsiteX76" fmla="*/ 4651371 w 4940931"/>
                <a:gd name="connsiteY76" fmla="*/ 89534 h 138429"/>
                <a:gd name="connsiteX77" fmla="*/ 4657721 w 4940931"/>
                <a:gd name="connsiteY77" fmla="*/ 94614 h 138429"/>
                <a:gd name="connsiteX78" fmla="*/ 4665341 w 4940931"/>
                <a:gd name="connsiteY78" fmla="*/ 96519 h 138429"/>
                <a:gd name="connsiteX79" fmla="*/ 4672961 w 4940931"/>
                <a:gd name="connsiteY79" fmla="*/ 94614 h 138429"/>
                <a:gd name="connsiteX80" fmla="*/ 4678676 w 4940931"/>
                <a:gd name="connsiteY80" fmla="*/ 88899 h 138429"/>
                <a:gd name="connsiteX81" fmla="*/ 4682486 w 4940931"/>
                <a:gd name="connsiteY81" fmla="*/ 80644 h 138429"/>
                <a:gd name="connsiteX82" fmla="*/ 4683756 w 4940931"/>
                <a:gd name="connsiteY82" fmla="*/ 70484 h 138429"/>
                <a:gd name="connsiteX83" fmla="*/ 4684391 w 4940931"/>
                <a:gd name="connsiteY83" fmla="*/ 69849 h 138429"/>
                <a:gd name="connsiteX84" fmla="*/ 4683121 w 4940931"/>
                <a:gd name="connsiteY84" fmla="*/ 59054 h 138429"/>
                <a:gd name="connsiteX85" fmla="*/ 4679311 w 4940931"/>
                <a:gd name="connsiteY85" fmla="*/ 50799 h 138429"/>
                <a:gd name="connsiteX86" fmla="*/ 4672961 w 4940931"/>
                <a:gd name="connsiteY86" fmla="*/ 45719 h 138429"/>
                <a:gd name="connsiteX87" fmla="*/ 4664706 w 4940931"/>
                <a:gd name="connsiteY87" fmla="*/ 43814 h 138429"/>
                <a:gd name="connsiteX88" fmla="*/ 4264020 w 4940931"/>
                <a:gd name="connsiteY88" fmla="*/ 43814 h 138429"/>
                <a:gd name="connsiteX89" fmla="*/ 4256400 w 4940931"/>
                <a:gd name="connsiteY89" fmla="*/ 45719 h 138429"/>
                <a:gd name="connsiteX90" fmla="*/ 4250685 w 4940931"/>
                <a:gd name="connsiteY90" fmla="*/ 50799 h 138429"/>
                <a:gd name="connsiteX91" fmla="*/ 4246875 w 4940931"/>
                <a:gd name="connsiteY91" fmla="*/ 59054 h 138429"/>
                <a:gd name="connsiteX92" fmla="*/ 4245605 w 4940931"/>
                <a:gd name="connsiteY92" fmla="*/ 69849 h 138429"/>
                <a:gd name="connsiteX93" fmla="*/ 4246875 w 4940931"/>
                <a:gd name="connsiteY93" fmla="*/ 81279 h 138429"/>
                <a:gd name="connsiteX94" fmla="*/ 4250685 w 4940931"/>
                <a:gd name="connsiteY94" fmla="*/ 89534 h 138429"/>
                <a:gd name="connsiteX95" fmla="*/ 4257035 w 4940931"/>
                <a:gd name="connsiteY95" fmla="*/ 94614 h 138429"/>
                <a:gd name="connsiteX96" fmla="*/ 4264655 w 4940931"/>
                <a:gd name="connsiteY96" fmla="*/ 96519 h 138429"/>
                <a:gd name="connsiteX97" fmla="*/ 4272275 w 4940931"/>
                <a:gd name="connsiteY97" fmla="*/ 94614 h 138429"/>
                <a:gd name="connsiteX98" fmla="*/ 4277990 w 4940931"/>
                <a:gd name="connsiteY98" fmla="*/ 88899 h 138429"/>
                <a:gd name="connsiteX99" fmla="*/ 4281800 w 4940931"/>
                <a:gd name="connsiteY99" fmla="*/ 80644 h 138429"/>
                <a:gd name="connsiteX100" fmla="*/ 4283070 w 4940931"/>
                <a:gd name="connsiteY100" fmla="*/ 70484 h 138429"/>
                <a:gd name="connsiteX101" fmla="*/ 4283705 w 4940931"/>
                <a:gd name="connsiteY101" fmla="*/ 69849 h 138429"/>
                <a:gd name="connsiteX102" fmla="*/ 4282435 w 4940931"/>
                <a:gd name="connsiteY102" fmla="*/ 59054 h 138429"/>
                <a:gd name="connsiteX103" fmla="*/ 4278625 w 4940931"/>
                <a:gd name="connsiteY103" fmla="*/ 50799 h 138429"/>
                <a:gd name="connsiteX104" fmla="*/ 4272275 w 4940931"/>
                <a:gd name="connsiteY104" fmla="*/ 45719 h 138429"/>
                <a:gd name="connsiteX105" fmla="*/ 4264020 w 4940931"/>
                <a:gd name="connsiteY105" fmla="*/ 43814 h 138429"/>
                <a:gd name="connsiteX106" fmla="*/ 1420495 w 4940931"/>
                <a:gd name="connsiteY106" fmla="*/ 43814 h 138429"/>
                <a:gd name="connsiteX107" fmla="*/ 1412875 w 4940931"/>
                <a:gd name="connsiteY107" fmla="*/ 45719 h 138429"/>
                <a:gd name="connsiteX108" fmla="*/ 1407160 w 4940931"/>
                <a:gd name="connsiteY108" fmla="*/ 50799 h 138429"/>
                <a:gd name="connsiteX109" fmla="*/ 1403350 w 4940931"/>
                <a:gd name="connsiteY109" fmla="*/ 59054 h 138429"/>
                <a:gd name="connsiteX110" fmla="*/ 1402080 w 4940931"/>
                <a:gd name="connsiteY110" fmla="*/ 69849 h 138429"/>
                <a:gd name="connsiteX111" fmla="*/ 1403350 w 4940931"/>
                <a:gd name="connsiteY111" fmla="*/ 81279 h 138429"/>
                <a:gd name="connsiteX112" fmla="*/ 1407160 w 4940931"/>
                <a:gd name="connsiteY112" fmla="*/ 89534 h 138429"/>
                <a:gd name="connsiteX113" fmla="*/ 1413510 w 4940931"/>
                <a:gd name="connsiteY113" fmla="*/ 94614 h 138429"/>
                <a:gd name="connsiteX114" fmla="*/ 1421130 w 4940931"/>
                <a:gd name="connsiteY114" fmla="*/ 96519 h 138429"/>
                <a:gd name="connsiteX115" fmla="*/ 1428750 w 4940931"/>
                <a:gd name="connsiteY115" fmla="*/ 94614 h 138429"/>
                <a:gd name="connsiteX116" fmla="*/ 1434465 w 4940931"/>
                <a:gd name="connsiteY116" fmla="*/ 88899 h 138429"/>
                <a:gd name="connsiteX117" fmla="*/ 1438275 w 4940931"/>
                <a:gd name="connsiteY117" fmla="*/ 80644 h 138429"/>
                <a:gd name="connsiteX118" fmla="*/ 1439545 w 4940931"/>
                <a:gd name="connsiteY118" fmla="*/ 70484 h 138429"/>
                <a:gd name="connsiteX119" fmla="*/ 1440180 w 4940931"/>
                <a:gd name="connsiteY119" fmla="*/ 69849 h 138429"/>
                <a:gd name="connsiteX120" fmla="*/ 1438910 w 4940931"/>
                <a:gd name="connsiteY120" fmla="*/ 59054 h 138429"/>
                <a:gd name="connsiteX121" fmla="*/ 1435100 w 4940931"/>
                <a:gd name="connsiteY121" fmla="*/ 50799 h 138429"/>
                <a:gd name="connsiteX122" fmla="*/ 1428750 w 4940931"/>
                <a:gd name="connsiteY122" fmla="*/ 45719 h 138429"/>
                <a:gd name="connsiteX123" fmla="*/ 1420495 w 4940931"/>
                <a:gd name="connsiteY123" fmla="*/ 43814 h 138429"/>
                <a:gd name="connsiteX124" fmla="*/ 4041770 w 4940931"/>
                <a:gd name="connsiteY124" fmla="*/ 43180 h 138429"/>
                <a:gd name="connsiteX125" fmla="*/ 4034785 w 4940931"/>
                <a:gd name="connsiteY125" fmla="*/ 44450 h 138429"/>
                <a:gd name="connsiteX126" fmla="*/ 4029705 w 4940931"/>
                <a:gd name="connsiteY126" fmla="*/ 48260 h 138429"/>
                <a:gd name="connsiteX127" fmla="*/ 4025895 w 4940931"/>
                <a:gd name="connsiteY127" fmla="*/ 54610 h 138429"/>
                <a:gd name="connsiteX128" fmla="*/ 4023990 w 4940931"/>
                <a:gd name="connsiteY128" fmla="*/ 62865 h 138429"/>
                <a:gd name="connsiteX129" fmla="*/ 4060185 w 4940931"/>
                <a:gd name="connsiteY129" fmla="*/ 62865 h 138429"/>
                <a:gd name="connsiteX130" fmla="*/ 4058915 w 4940931"/>
                <a:gd name="connsiteY130" fmla="*/ 55245 h 138429"/>
                <a:gd name="connsiteX131" fmla="*/ 4055740 w 4940931"/>
                <a:gd name="connsiteY131" fmla="*/ 48895 h 138429"/>
                <a:gd name="connsiteX132" fmla="*/ 4050025 w 4940931"/>
                <a:gd name="connsiteY132" fmla="*/ 44450 h 138429"/>
                <a:gd name="connsiteX133" fmla="*/ 4041770 w 4940931"/>
                <a:gd name="connsiteY133" fmla="*/ 43180 h 138429"/>
                <a:gd name="connsiteX134" fmla="*/ 3728081 w 4940931"/>
                <a:gd name="connsiteY134" fmla="*/ 43180 h 138429"/>
                <a:gd name="connsiteX135" fmla="*/ 3721096 w 4940931"/>
                <a:gd name="connsiteY135" fmla="*/ 44450 h 138429"/>
                <a:gd name="connsiteX136" fmla="*/ 3716016 w 4940931"/>
                <a:gd name="connsiteY136" fmla="*/ 48260 h 138429"/>
                <a:gd name="connsiteX137" fmla="*/ 3712206 w 4940931"/>
                <a:gd name="connsiteY137" fmla="*/ 54610 h 138429"/>
                <a:gd name="connsiteX138" fmla="*/ 3710301 w 4940931"/>
                <a:gd name="connsiteY138" fmla="*/ 62865 h 138429"/>
                <a:gd name="connsiteX139" fmla="*/ 3746496 w 4940931"/>
                <a:gd name="connsiteY139" fmla="*/ 62865 h 138429"/>
                <a:gd name="connsiteX140" fmla="*/ 3745226 w 4940931"/>
                <a:gd name="connsiteY140" fmla="*/ 55245 h 138429"/>
                <a:gd name="connsiteX141" fmla="*/ 3742051 w 4940931"/>
                <a:gd name="connsiteY141" fmla="*/ 48895 h 138429"/>
                <a:gd name="connsiteX142" fmla="*/ 3736336 w 4940931"/>
                <a:gd name="connsiteY142" fmla="*/ 44450 h 138429"/>
                <a:gd name="connsiteX143" fmla="*/ 3728081 w 4940931"/>
                <a:gd name="connsiteY143" fmla="*/ 43180 h 138429"/>
                <a:gd name="connsiteX144" fmla="*/ 3541391 w 4940931"/>
                <a:gd name="connsiteY144" fmla="*/ 43180 h 138429"/>
                <a:gd name="connsiteX145" fmla="*/ 3534406 w 4940931"/>
                <a:gd name="connsiteY145" fmla="*/ 44450 h 138429"/>
                <a:gd name="connsiteX146" fmla="*/ 3529326 w 4940931"/>
                <a:gd name="connsiteY146" fmla="*/ 48260 h 138429"/>
                <a:gd name="connsiteX147" fmla="*/ 3525516 w 4940931"/>
                <a:gd name="connsiteY147" fmla="*/ 54610 h 138429"/>
                <a:gd name="connsiteX148" fmla="*/ 3523611 w 4940931"/>
                <a:gd name="connsiteY148" fmla="*/ 62865 h 138429"/>
                <a:gd name="connsiteX149" fmla="*/ 3559806 w 4940931"/>
                <a:gd name="connsiteY149" fmla="*/ 62865 h 138429"/>
                <a:gd name="connsiteX150" fmla="*/ 3558536 w 4940931"/>
                <a:gd name="connsiteY150" fmla="*/ 55245 h 138429"/>
                <a:gd name="connsiteX151" fmla="*/ 3555361 w 4940931"/>
                <a:gd name="connsiteY151" fmla="*/ 48895 h 138429"/>
                <a:gd name="connsiteX152" fmla="*/ 3549646 w 4940931"/>
                <a:gd name="connsiteY152" fmla="*/ 44450 h 138429"/>
                <a:gd name="connsiteX153" fmla="*/ 3541391 w 4940931"/>
                <a:gd name="connsiteY153" fmla="*/ 43180 h 138429"/>
                <a:gd name="connsiteX154" fmla="*/ 3463285 w 4940931"/>
                <a:gd name="connsiteY154" fmla="*/ 43180 h 138429"/>
                <a:gd name="connsiteX155" fmla="*/ 3458205 w 4940931"/>
                <a:gd name="connsiteY155" fmla="*/ 43815 h 138429"/>
                <a:gd name="connsiteX156" fmla="*/ 3453125 w 4940931"/>
                <a:gd name="connsiteY156" fmla="*/ 45720 h 138429"/>
                <a:gd name="connsiteX157" fmla="*/ 3448680 w 4940931"/>
                <a:gd name="connsiteY157" fmla="*/ 48895 h 138429"/>
                <a:gd name="connsiteX158" fmla="*/ 3445505 w 4940931"/>
                <a:gd name="connsiteY158" fmla="*/ 52705 h 138429"/>
                <a:gd name="connsiteX159" fmla="*/ 3445505 w 4940931"/>
                <a:gd name="connsiteY159" fmla="*/ 85725 h 138429"/>
                <a:gd name="connsiteX160" fmla="*/ 3448680 w 4940931"/>
                <a:gd name="connsiteY160" fmla="*/ 89535 h 138429"/>
                <a:gd name="connsiteX161" fmla="*/ 3453125 w 4940931"/>
                <a:gd name="connsiteY161" fmla="*/ 92710 h 138429"/>
                <a:gd name="connsiteX162" fmla="*/ 3458205 w 4940931"/>
                <a:gd name="connsiteY162" fmla="*/ 95250 h 138429"/>
                <a:gd name="connsiteX163" fmla="*/ 3463920 w 4940931"/>
                <a:gd name="connsiteY163" fmla="*/ 95885 h 138429"/>
                <a:gd name="connsiteX164" fmla="*/ 3476620 w 4940931"/>
                <a:gd name="connsiteY164" fmla="*/ 89535 h 138429"/>
                <a:gd name="connsiteX165" fmla="*/ 3481065 w 4940931"/>
                <a:gd name="connsiteY165" fmla="*/ 71120 h 138429"/>
                <a:gd name="connsiteX166" fmla="*/ 3480430 w 4940931"/>
                <a:gd name="connsiteY166" fmla="*/ 71755 h 138429"/>
                <a:gd name="connsiteX167" fmla="*/ 3475985 w 4940931"/>
                <a:gd name="connsiteY167" fmla="*/ 50165 h 138429"/>
                <a:gd name="connsiteX168" fmla="*/ 3463285 w 4940931"/>
                <a:gd name="connsiteY168" fmla="*/ 43180 h 138429"/>
                <a:gd name="connsiteX169" fmla="*/ 3343271 w 4940931"/>
                <a:gd name="connsiteY169" fmla="*/ 43180 h 138429"/>
                <a:gd name="connsiteX170" fmla="*/ 3336286 w 4940931"/>
                <a:gd name="connsiteY170" fmla="*/ 44450 h 138429"/>
                <a:gd name="connsiteX171" fmla="*/ 3331206 w 4940931"/>
                <a:gd name="connsiteY171" fmla="*/ 48260 h 138429"/>
                <a:gd name="connsiteX172" fmla="*/ 3327396 w 4940931"/>
                <a:gd name="connsiteY172" fmla="*/ 54610 h 138429"/>
                <a:gd name="connsiteX173" fmla="*/ 3325491 w 4940931"/>
                <a:gd name="connsiteY173" fmla="*/ 62865 h 138429"/>
                <a:gd name="connsiteX174" fmla="*/ 3361686 w 4940931"/>
                <a:gd name="connsiteY174" fmla="*/ 62865 h 138429"/>
                <a:gd name="connsiteX175" fmla="*/ 3360416 w 4940931"/>
                <a:gd name="connsiteY175" fmla="*/ 55245 h 138429"/>
                <a:gd name="connsiteX176" fmla="*/ 3357241 w 4940931"/>
                <a:gd name="connsiteY176" fmla="*/ 48895 h 138429"/>
                <a:gd name="connsiteX177" fmla="*/ 3351526 w 4940931"/>
                <a:gd name="connsiteY177" fmla="*/ 44450 h 138429"/>
                <a:gd name="connsiteX178" fmla="*/ 3343271 w 4940931"/>
                <a:gd name="connsiteY178" fmla="*/ 43180 h 138429"/>
                <a:gd name="connsiteX179" fmla="*/ 2976876 w 4940931"/>
                <a:gd name="connsiteY179" fmla="*/ 43180 h 138429"/>
                <a:gd name="connsiteX180" fmla="*/ 2969891 w 4940931"/>
                <a:gd name="connsiteY180" fmla="*/ 44450 h 138429"/>
                <a:gd name="connsiteX181" fmla="*/ 2964811 w 4940931"/>
                <a:gd name="connsiteY181" fmla="*/ 48260 h 138429"/>
                <a:gd name="connsiteX182" fmla="*/ 2961001 w 4940931"/>
                <a:gd name="connsiteY182" fmla="*/ 54610 h 138429"/>
                <a:gd name="connsiteX183" fmla="*/ 2959096 w 4940931"/>
                <a:gd name="connsiteY183" fmla="*/ 62865 h 138429"/>
                <a:gd name="connsiteX184" fmla="*/ 2995291 w 4940931"/>
                <a:gd name="connsiteY184" fmla="*/ 62865 h 138429"/>
                <a:gd name="connsiteX185" fmla="*/ 2994021 w 4940931"/>
                <a:gd name="connsiteY185" fmla="*/ 55245 h 138429"/>
                <a:gd name="connsiteX186" fmla="*/ 2990846 w 4940931"/>
                <a:gd name="connsiteY186" fmla="*/ 48895 h 138429"/>
                <a:gd name="connsiteX187" fmla="*/ 2985131 w 4940931"/>
                <a:gd name="connsiteY187" fmla="*/ 44450 h 138429"/>
                <a:gd name="connsiteX188" fmla="*/ 2976876 w 4940931"/>
                <a:gd name="connsiteY188" fmla="*/ 43180 h 138429"/>
                <a:gd name="connsiteX189" fmla="*/ 2527930 w 4940931"/>
                <a:gd name="connsiteY189" fmla="*/ 43180 h 138429"/>
                <a:gd name="connsiteX190" fmla="*/ 2520945 w 4940931"/>
                <a:gd name="connsiteY190" fmla="*/ 44450 h 138429"/>
                <a:gd name="connsiteX191" fmla="*/ 2515865 w 4940931"/>
                <a:gd name="connsiteY191" fmla="*/ 48260 h 138429"/>
                <a:gd name="connsiteX192" fmla="*/ 2512055 w 4940931"/>
                <a:gd name="connsiteY192" fmla="*/ 54610 h 138429"/>
                <a:gd name="connsiteX193" fmla="*/ 2510150 w 4940931"/>
                <a:gd name="connsiteY193" fmla="*/ 62865 h 138429"/>
                <a:gd name="connsiteX194" fmla="*/ 2546345 w 4940931"/>
                <a:gd name="connsiteY194" fmla="*/ 62865 h 138429"/>
                <a:gd name="connsiteX195" fmla="*/ 2545075 w 4940931"/>
                <a:gd name="connsiteY195" fmla="*/ 55245 h 138429"/>
                <a:gd name="connsiteX196" fmla="*/ 2541900 w 4940931"/>
                <a:gd name="connsiteY196" fmla="*/ 48895 h 138429"/>
                <a:gd name="connsiteX197" fmla="*/ 2536185 w 4940931"/>
                <a:gd name="connsiteY197" fmla="*/ 44450 h 138429"/>
                <a:gd name="connsiteX198" fmla="*/ 2527930 w 4940931"/>
                <a:gd name="connsiteY198" fmla="*/ 43180 h 138429"/>
                <a:gd name="connsiteX199" fmla="*/ 2214240 w 4940931"/>
                <a:gd name="connsiteY199" fmla="*/ 43180 h 138429"/>
                <a:gd name="connsiteX200" fmla="*/ 2207255 w 4940931"/>
                <a:gd name="connsiteY200" fmla="*/ 44450 h 138429"/>
                <a:gd name="connsiteX201" fmla="*/ 2202175 w 4940931"/>
                <a:gd name="connsiteY201" fmla="*/ 48260 h 138429"/>
                <a:gd name="connsiteX202" fmla="*/ 2198365 w 4940931"/>
                <a:gd name="connsiteY202" fmla="*/ 54610 h 138429"/>
                <a:gd name="connsiteX203" fmla="*/ 2196460 w 4940931"/>
                <a:gd name="connsiteY203" fmla="*/ 62865 h 138429"/>
                <a:gd name="connsiteX204" fmla="*/ 2232655 w 4940931"/>
                <a:gd name="connsiteY204" fmla="*/ 62865 h 138429"/>
                <a:gd name="connsiteX205" fmla="*/ 2231385 w 4940931"/>
                <a:gd name="connsiteY205" fmla="*/ 55245 h 138429"/>
                <a:gd name="connsiteX206" fmla="*/ 2228210 w 4940931"/>
                <a:gd name="connsiteY206" fmla="*/ 48895 h 138429"/>
                <a:gd name="connsiteX207" fmla="*/ 2222495 w 4940931"/>
                <a:gd name="connsiteY207" fmla="*/ 44450 h 138429"/>
                <a:gd name="connsiteX208" fmla="*/ 2214240 w 4940931"/>
                <a:gd name="connsiteY208" fmla="*/ 43180 h 138429"/>
                <a:gd name="connsiteX209" fmla="*/ 2027551 w 4940931"/>
                <a:gd name="connsiteY209" fmla="*/ 43180 h 138429"/>
                <a:gd name="connsiteX210" fmla="*/ 2020566 w 4940931"/>
                <a:gd name="connsiteY210" fmla="*/ 44450 h 138429"/>
                <a:gd name="connsiteX211" fmla="*/ 2015486 w 4940931"/>
                <a:gd name="connsiteY211" fmla="*/ 48260 h 138429"/>
                <a:gd name="connsiteX212" fmla="*/ 2011676 w 4940931"/>
                <a:gd name="connsiteY212" fmla="*/ 54610 h 138429"/>
                <a:gd name="connsiteX213" fmla="*/ 2009771 w 4940931"/>
                <a:gd name="connsiteY213" fmla="*/ 62865 h 138429"/>
                <a:gd name="connsiteX214" fmla="*/ 2045966 w 4940931"/>
                <a:gd name="connsiteY214" fmla="*/ 62865 h 138429"/>
                <a:gd name="connsiteX215" fmla="*/ 2044696 w 4940931"/>
                <a:gd name="connsiteY215" fmla="*/ 55245 h 138429"/>
                <a:gd name="connsiteX216" fmla="*/ 2041521 w 4940931"/>
                <a:gd name="connsiteY216" fmla="*/ 48895 h 138429"/>
                <a:gd name="connsiteX217" fmla="*/ 2035806 w 4940931"/>
                <a:gd name="connsiteY217" fmla="*/ 44450 h 138429"/>
                <a:gd name="connsiteX218" fmla="*/ 2027551 w 4940931"/>
                <a:gd name="connsiteY218" fmla="*/ 43180 h 138429"/>
                <a:gd name="connsiteX219" fmla="*/ 1949445 w 4940931"/>
                <a:gd name="connsiteY219" fmla="*/ 43180 h 138429"/>
                <a:gd name="connsiteX220" fmla="*/ 1944365 w 4940931"/>
                <a:gd name="connsiteY220" fmla="*/ 43815 h 138429"/>
                <a:gd name="connsiteX221" fmla="*/ 1939285 w 4940931"/>
                <a:gd name="connsiteY221" fmla="*/ 45720 h 138429"/>
                <a:gd name="connsiteX222" fmla="*/ 1934840 w 4940931"/>
                <a:gd name="connsiteY222" fmla="*/ 48895 h 138429"/>
                <a:gd name="connsiteX223" fmla="*/ 1931665 w 4940931"/>
                <a:gd name="connsiteY223" fmla="*/ 52705 h 138429"/>
                <a:gd name="connsiteX224" fmla="*/ 1931665 w 4940931"/>
                <a:gd name="connsiteY224" fmla="*/ 85725 h 138429"/>
                <a:gd name="connsiteX225" fmla="*/ 1934840 w 4940931"/>
                <a:gd name="connsiteY225" fmla="*/ 89535 h 138429"/>
                <a:gd name="connsiteX226" fmla="*/ 1939285 w 4940931"/>
                <a:gd name="connsiteY226" fmla="*/ 92710 h 138429"/>
                <a:gd name="connsiteX227" fmla="*/ 1944365 w 4940931"/>
                <a:gd name="connsiteY227" fmla="*/ 95250 h 138429"/>
                <a:gd name="connsiteX228" fmla="*/ 1950080 w 4940931"/>
                <a:gd name="connsiteY228" fmla="*/ 95885 h 138429"/>
                <a:gd name="connsiteX229" fmla="*/ 1962780 w 4940931"/>
                <a:gd name="connsiteY229" fmla="*/ 89535 h 138429"/>
                <a:gd name="connsiteX230" fmla="*/ 1967225 w 4940931"/>
                <a:gd name="connsiteY230" fmla="*/ 71120 h 138429"/>
                <a:gd name="connsiteX231" fmla="*/ 1966590 w 4940931"/>
                <a:gd name="connsiteY231" fmla="*/ 71755 h 138429"/>
                <a:gd name="connsiteX232" fmla="*/ 1962145 w 4940931"/>
                <a:gd name="connsiteY232" fmla="*/ 50165 h 138429"/>
                <a:gd name="connsiteX233" fmla="*/ 1949445 w 4940931"/>
                <a:gd name="connsiteY233" fmla="*/ 43180 h 138429"/>
                <a:gd name="connsiteX234" fmla="*/ 1829431 w 4940931"/>
                <a:gd name="connsiteY234" fmla="*/ 43180 h 138429"/>
                <a:gd name="connsiteX235" fmla="*/ 1822446 w 4940931"/>
                <a:gd name="connsiteY235" fmla="*/ 44450 h 138429"/>
                <a:gd name="connsiteX236" fmla="*/ 1817366 w 4940931"/>
                <a:gd name="connsiteY236" fmla="*/ 48260 h 138429"/>
                <a:gd name="connsiteX237" fmla="*/ 1813556 w 4940931"/>
                <a:gd name="connsiteY237" fmla="*/ 54610 h 138429"/>
                <a:gd name="connsiteX238" fmla="*/ 1811651 w 4940931"/>
                <a:gd name="connsiteY238" fmla="*/ 62865 h 138429"/>
                <a:gd name="connsiteX239" fmla="*/ 1847846 w 4940931"/>
                <a:gd name="connsiteY239" fmla="*/ 62865 h 138429"/>
                <a:gd name="connsiteX240" fmla="*/ 1846576 w 4940931"/>
                <a:gd name="connsiteY240" fmla="*/ 55245 h 138429"/>
                <a:gd name="connsiteX241" fmla="*/ 1843401 w 4940931"/>
                <a:gd name="connsiteY241" fmla="*/ 48895 h 138429"/>
                <a:gd name="connsiteX242" fmla="*/ 1837686 w 4940931"/>
                <a:gd name="connsiteY242" fmla="*/ 44450 h 138429"/>
                <a:gd name="connsiteX243" fmla="*/ 1829431 w 4940931"/>
                <a:gd name="connsiteY243" fmla="*/ 43180 h 138429"/>
                <a:gd name="connsiteX244" fmla="*/ 1178561 w 4940931"/>
                <a:gd name="connsiteY244" fmla="*/ 43180 h 138429"/>
                <a:gd name="connsiteX245" fmla="*/ 1171576 w 4940931"/>
                <a:gd name="connsiteY245" fmla="*/ 44450 h 138429"/>
                <a:gd name="connsiteX246" fmla="*/ 1166496 w 4940931"/>
                <a:gd name="connsiteY246" fmla="*/ 48260 h 138429"/>
                <a:gd name="connsiteX247" fmla="*/ 1162686 w 4940931"/>
                <a:gd name="connsiteY247" fmla="*/ 54610 h 138429"/>
                <a:gd name="connsiteX248" fmla="*/ 1160781 w 4940931"/>
                <a:gd name="connsiteY248" fmla="*/ 62865 h 138429"/>
                <a:gd name="connsiteX249" fmla="*/ 1196976 w 4940931"/>
                <a:gd name="connsiteY249" fmla="*/ 62865 h 138429"/>
                <a:gd name="connsiteX250" fmla="*/ 1195706 w 4940931"/>
                <a:gd name="connsiteY250" fmla="*/ 55245 h 138429"/>
                <a:gd name="connsiteX251" fmla="*/ 1192531 w 4940931"/>
                <a:gd name="connsiteY251" fmla="*/ 48895 h 138429"/>
                <a:gd name="connsiteX252" fmla="*/ 1186816 w 4940931"/>
                <a:gd name="connsiteY252" fmla="*/ 44450 h 138429"/>
                <a:gd name="connsiteX253" fmla="*/ 1178561 w 4940931"/>
                <a:gd name="connsiteY253" fmla="*/ 43180 h 138429"/>
                <a:gd name="connsiteX254" fmla="*/ 898525 w 4940931"/>
                <a:gd name="connsiteY254" fmla="*/ 43180 h 138429"/>
                <a:gd name="connsiteX255" fmla="*/ 891540 w 4940931"/>
                <a:gd name="connsiteY255" fmla="*/ 44450 h 138429"/>
                <a:gd name="connsiteX256" fmla="*/ 886460 w 4940931"/>
                <a:gd name="connsiteY256" fmla="*/ 48260 h 138429"/>
                <a:gd name="connsiteX257" fmla="*/ 882650 w 4940931"/>
                <a:gd name="connsiteY257" fmla="*/ 54610 h 138429"/>
                <a:gd name="connsiteX258" fmla="*/ 880745 w 4940931"/>
                <a:gd name="connsiteY258" fmla="*/ 62865 h 138429"/>
                <a:gd name="connsiteX259" fmla="*/ 916940 w 4940931"/>
                <a:gd name="connsiteY259" fmla="*/ 62865 h 138429"/>
                <a:gd name="connsiteX260" fmla="*/ 915670 w 4940931"/>
                <a:gd name="connsiteY260" fmla="*/ 55245 h 138429"/>
                <a:gd name="connsiteX261" fmla="*/ 912495 w 4940931"/>
                <a:gd name="connsiteY261" fmla="*/ 48895 h 138429"/>
                <a:gd name="connsiteX262" fmla="*/ 906780 w 4940931"/>
                <a:gd name="connsiteY262" fmla="*/ 44450 h 138429"/>
                <a:gd name="connsiteX263" fmla="*/ 898525 w 4940931"/>
                <a:gd name="connsiteY263" fmla="*/ 43180 h 138429"/>
                <a:gd name="connsiteX264" fmla="*/ 584834 w 4940931"/>
                <a:gd name="connsiteY264" fmla="*/ 43180 h 138429"/>
                <a:gd name="connsiteX265" fmla="*/ 577849 w 4940931"/>
                <a:gd name="connsiteY265" fmla="*/ 44450 h 138429"/>
                <a:gd name="connsiteX266" fmla="*/ 572769 w 4940931"/>
                <a:gd name="connsiteY266" fmla="*/ 48260 h 138429"/>
                <a:gd name="connsiteX267" fmla="*/ 568959 w 4940931"/>
                <a:gd name="connsiteY267" fmla="*/ 54610 h 138429"/>
                <a:gd name="connsiteX268" fmla="*/ 567054 w 4940931"/>
                <a:gd name="connsiteY268" fmla="*/ 62865 h 138429"/>
                <a:gd name="connsiteX269" fmla="*/ 603249 w 4940931"/>
                <a:gd name="connsiteY269" fmla="*/ 62865 h 138429"/>
                <a:gd name="connsiteX270" fmla="*/ 601979 w 4940931"/>
                <a:gd name="connsiteY270" fmla="*/ 55245 h 138429"/>
                <a:gd name="connsiteX271" fmla="*/ 598804 w 4940931"/>
                <a:gd name="connsiteY271" fmla="*/ 48895 h 138429"/>
                <a:gd name="connsiteX272" fmla="*/ 593089 w 4940931"/>
                <a:gd name="connsiteY272" fmla="*/ 44450 h 138429"/>
                <a:gd name="connsiteX273" fmla="*/ 584834 w 4940931"/>
                <a:gd name="connsiteY273" fmla="*/ 43180 h 138429"/>
                <a:gd name="connsiteX274" fmla="*/ 398145 w 4940931"/>
                <a:gd name="connsiteY274" fmla="*/ 43180 h 138429"/>
                <a:gd name="connsiteX275" fmla="*/ 391160 w 4940931"/>
                <a:gd name="connsiteY275" fmla="*/ 44450 h 138429"/>
                <a:gd name="connsiteX276" fmla="*/ 386080 w 4940931"/>
                <a:gd name="connsiteY276" fmla="*/ 48260 h 138429"/>
                <a:gd name="connsiteX277" fmla="*/ 382270 w 4940931"/>
                <a:gd name="connsiteY277" fmla="*/ 54610 h 138429"/>
                <a:gd name="connsiteX278" fmla="*/ 380365 w 4940931"/>
                <a:gd name="connsiteY278" fmla="*/ 62865 h 138429"/>
                <a:gd name="connsiteX279" fmla="*/ 416560 w 4940931"/>
                <a:gd name="connsiteY279" fmla="*/ 62865 h 138429"/>
                <a:gd name="connsiteX280" fmla="*/ 415290 w 4940931"/>
                <a:gd name="connsiteY280" fmla="*/ 55245 h 138429"/>
                <a:gd name="connsiteX281" fmla="*/ 412115 w 4940931"/>
                <a:gd name="connsiteY281" fmla="*/ 48895 h 138429"/>
                <a:gd name="connsiteX282" fmla="*/ 406400 w 4940931"/>
                <a:gd name="connsiteY282" fmla="*/ 44450 h 138429"/>
                <a:gd name="connsiteX283" fmla="*/ 398145 w 4940931"/>
                <a:gd name="connsiteY283" fmla="*/ 43180 h 138429"/>
                <a:gd name="connsiteX284" fmla="*/ 320039 w 4940931"/>
                <a:gd name="connsiteY284" fmla="*/ 43180 h 138429"/>
                <a:gd name="connsiteX285" fmla="*/ 314959 w 4940931"/>
                <a:gd name="connsiteY285" fmla="*/ 43815 h 138429"/>
                <a:gd name="connsiteX286" fmla="*/ 309879 w 4940931"/>
                <a:gd name="connsiteY286" fmla="*/ 45720 h 138429"/>
                <a:gd name="connsiteX287" fmla="*/ 305434 w 4940931"/>
                <a:gd name="connsiteY287" fmla="*/ 48895 h 138429"/>
                <a:gd name="connsiteX288" fmla="*/ 302259 w 4940931"/>
                <a:gd name="connsiteY288" fmla="*/ 52705 h 138429"/>
                <a:gd name="connsiteX289" fmla="*/ 302259 w 4940931"/>
                <a:gd name="connsiteY289" fmla="*/ 85725 h 138429"/>
                <a:gd name="connsiteX290" fmla="*/ 305434 w 4940931"/>
                <a:gd name="connsiteY290" fmla="*/ 89535 h 138429"/>
                <a:gd name="connsiteX291" fmla="*/ 309879 w 4940931"/>
                <a:gd name="connsiteY291" fmla="*/ 92710 h 138429"/>
                <a:gd name="connsiteX292" fmla="*/ 314959 w 4940931"/>
                <a:gd name="connsiteY292" fmla="*/ 95250 h 138429"/>
                <a:gd name="connsiteX293" fmla="*/ 320674 w 4940931"/>
                <a:gd name="connsiteY293" fmla="*/ 95885 h 138429"/>
                <a:gd name="connsiteX294" fmla="*/ 333374 w 4940931"/>
                <a:gd name="connsiteY294" fmla="*/ 89535 h 138429"/>
                <a:gd name="connsiteX295" fmla="*/ 337819 w 4940931"/>
                <a:gd name="connsiteY295" fmla="*/ 71120 h 138429"/>
                <a:gd name="connsiteX296" fmla="*/ 337184 w 4940931"/>
                <a:gd name="connsiteY296" fmla="*/ 71755 h 138429"/>
                <a:gd name="connsiteX297" fmla="*/ 332739 w 4940931"/>
                <a:gd name="connsiteY297" fmla="*/ 50165 h 138429"/>
                <a:gd name="connsiteX298" fmla="*/ 320039 w 4940931"/>
                <a:gd name="connsiteY298" fmla="*/ 43180 h 138429"/>
                <a:gd name="connsiteX299" fmla="*/ 200025 w 4940931"/>
                <a:gd name="connsiteY299" fmla="*/ 43180 h 138429"/>
                <a:gd name="connsiteX300" fmla="*/ 193040 w 4940931"/>
                <a:gd name="connsiteY300" fmla="*/ 44450 h 138429"/>
                <a:gd name="connsiteX301" fmla="*/ 187960 w 4940931"/>
                <a:gd name="connsiteY301" fmla="*/ 48260 h 138429"/>
                <a:gd name="connsiteX302" fmla="*/ 184150 w 4940931"/>
                <a:gd name="connsiteY302" fmla="*/ 54610 h 138429"/>
                <a:gd name="connsiteX303" fmla="*/ 182245 w 4940931"/>
                <a:gd name="connsiteY303" fmla="*/ 62865 h 138429"/>
                <a:gd name="connsiteX304" fmla="*/ 218440 w 4940931"/>
                <a:gd name="connsiteY304" fmla="*/ 62865 h 138429"/>
                <a:gd name="connsiteX305" fmla="*/ 217170 w 4940931"/>
                <a:gd name="connsiteY305" fmla="*/ 55245 h 138429"/>
                <a:gd name="connsiteX306" fmla="*/ 213995 w 4940931"/>
                <a:gd name="connsiteY306" fmla="*/ 48895 h 138429"/>
                <a:gd name="connsiteX307" fmla="*/ 208280 w 4940931"/>
                <a:gd name="connsiteY307" fmla="*/ 44450 h 138429"/>
                <a:gd name="connsiteX308" fmla="*/ 200025 w 4940931"/>
                <a:gd name="connsiteY308" fmla="*/ 43180 h 138429"/>
                <a:gd name="connsiteX309" fmla="*/ 4439281 w 4940931"/>
                <a:gd name="connsiteY309" fmla="*/ 43179 h 138429"/>
                <a:gd name="connsiteX310" fmla="*/ 4426581 w 4940931"/>
                <a:gd name="connsiteY310" fmla="*/ 49529 h 138429"/>
                <a:gd name="connsiteX311" fmla="*/ 4422136 w 4940931"/>
                <a:gd name="connsiteY311" fmla="*/ 67944 h 138429"/>
                <a:gd name="connsiteX312" fmla="*/ 4423406 w 4940931"/>
                <a:gd name="connsiteY312" fmla="*/ 80644 h 138429"/>
                <a:gd name="connsiteX313" fmla="*/ 4426581 w 4940931"/>
                <a:gd name="connsiteY313" fmla="*/ 89534 h 138429"/>
                <a:gd name="connsiteX314" fmla="*/ 4432296 w 4940931"/>
                <a:gd name="connsiteY314" fmla="*/ 94614 h 138429"/>
                <a:gd name="connsiteX315" fmla="*/ 4439916 w 4940931"/>
                <a:gd name="connsiteY315" fmla="*/ 96519 h 138429"/>
                <a:gd name="connsiteX316" fmla="*/ 4444996 w 4940931"/>
                <a:gd name="connsiteY316" fmla="*/ 95884 h 138429"/>
                <a:gd name="connsiteX317" fmla="*/ 4450076 w 4940931"/>
                <a:gd name="connsiteY317" fmla="*/ 93344 h 138429"/>
                <a:gd name="connsiteX318" fmla="*/ 4454521 w 4940931"/>
                <a:gd name="connsiteY318" fmla="*/ 90169 h 138429"/>
                <a:gd name="connsiteX319" fmla="*/ 4457696 w 4940931"/>
                <a:gd name="connsiteY319" fmla="*/ 86359 h 138429"/>
                <a:gd name="connsiteX320" fmla="*/ 4457696 w 4940931"/>
                <a:gd name="connsiteY320" fmla="*/ 53339 h 138429"/>
                <a:gd name="connsiteX321" fmla="*/ 4454521 w 4940931"/>
                <a:gd name="connsiteY321" fmla="*/ 49529 h 138429"/>
                <a:gd name="connsiteX322" fmla="*/ 4450076 w 4940931"/>
                <a:gd name="connsiteY322" fmla="*/ 46354 h 138429"/>
                <a:gd name="connsiteX323" fmla="*/ 4444996 w 4940931"/>
                <a:gd name="connsiteY323" fmla="*/ 43814 h 138429"/>
                <a:gd name="connsiteX324" fmla="*/ 4439281 w 4940931"/>
                <a:gd name="connsiteY324" fmla="*/ 43179 h 138429"/>
                <a:gd name="connsiteX325" fmla="*/ 1014731 w 4940931"/>
                <a:gd name="connsiteY325" fmla="*/ 43179 h 138429"/>
                <a:gd name="connsiteX326" fmla="*/ 1002032 w 4940931"/>
                <a:gd name="connsiteY326" fmla="*/ 49529 h 138429"/>
                <a:gd name="connsiteX327" fmla="*/ 997587 w 4940931"/>
                <a:gd name="connsiteY327" fmla="*/ 67944 h 138429"/>
                <a:gd name="connsiteX328" fmla="*/ 1002032 w 4940931"/>
                <a:gd name="connsiteY328" fmla="*/ 88899 h 138429"/>
                <a:gd name="connsiteX329" fmla="*/ 1015367 w 4940931"/>
                <a:gd name="connsiteY329" fmla="*/ 95884 h 138429"/>
                <a:gd name="connsiteX330" fmla="*/ 1024891 w 4940931"/>
                <a:gd name="connsiteY330" fmla="*/ 93344 h 138429"/>
                <a:gd name="connsiteX331" fmla="*/ 1033147 w 4940931"/>
                <a:gd name="connsiteY331" fmla="*/ 86359 h 138429"/>
                <a:gd name="connsiteX332" fmla="*/ 1033147 w 4940931"/>
                <a:gd name="connsiteY332" fmla="*/ 53339 h 138429"/>
                <a:gd name="connsiteX333" fmla="*/ 1029971 w 4940931"/>
                <a:gd name="connsiteY333" fmla="*/ 49529 h 138429"/>
                <a:gd name="connsiteX334" fmla="*/ 1025526 w 4940931"/>
                <a:gd name="connsiteY334" fmla="*/ 46354 h 138429"/>
                <a:gd name="connsiteX335" fmla="*/ 1020446 w 4940931"/>
                <a:gd name="connsiteY335" fmla="*/ 43814 h 138429"/>
                <a:gd name="connsiteX336" fmla="*/ 1014731 w 4940931"/>
                <a:gd name="connsiteY336" fmla="*/ 43179 h 138429"/>
                <a:gd name="connsiteX337" fmla="*/ 4524370 w 4940931"/>
                <a:gd name="connsiteY337" fmla="*/ 31114 h 138429"/>
                <a:gd name="connsiteX338" fmla="*/ 4538975 w 4940931"/>
                <a:gd name="connsiteY338" fmla="*/ 31114 h 138429"/>
                <a:gd name="connsiteX339" fmla="*/ 4552310 w 4940931"/>
                <a:gd name="connsiteY339" fmla="*/ 84454 h 138429"/>
                <a:gd name="connsiteX340" fmla="*/ 4566915 w 4940931"/>
                <a:gd name="connsiteY340" fmla="*/ 31114 h 138429"/>
                <a:gd name="connsiteX341" fmla="*/ 4579615 w 4940931"/>
                <a:gd name="connsiteY341" fmla="*/ 31114 h 138429"/>
                <a:gd name="connsiteX342" fmla="*/ 4594220 w 4940931"/>
                <a:gd name="connsiteY342" fmla="*/ 84454 h 138429"/>
                <a:gd name="connsiteX343" fmla="*/ 4606920 w 4940931"/>
                <a:gd name="connsiteY343" fmla="*/ 31114 h 138429"/>
                <a:gd name="connsiteX344" fmla="*/ 4622160 w 4940931"/>
                <a:gd name="connsiteY344" fmla="*/ 31114 h 138429"/>
                <a:gd name="connsiteX345" fmla="*/ 4600570 w 4940931"/>
                <a:gd name="connsiteY345" fmla="*/ 108584 h 138429"/>
                <a:gd name="connsiteX346" fmla="*/ 4587235 w 4940931"/>
                <a:gd name="connsiteY346" fmla="*/ 108584 h 138429"/>
                <a:gd name="connsiteX347" fmla="*/ 4572630 w 4940931"/>
                <a:gd name="connsiteY347" fmla="*/ 54609 h 138429"/>
                <a:gd name="connsiteX348" fmla="*/ 4558660 w 4940931"/>
                <a:gd name="connsiteY348" fmla="*/ 108584 h 138429"/>
                <a:gd name="connsiteX349" fmla="*/ 4545325 w 4940931"/>
                <a:gd name="connsiteY349" fmla="*/ 108584 h 138429"/>
                <a:gd name="connsiteX350" fmla="*/ 4123686 w 4940931"/>
                <a:gd name="connsiteY350" fmla="*/ 31114 h 138429"/>
                <a:gd name="connsiteX351" fmla="*/ 4138926 w 4940931"/>
                <a:gd name="connsiteY351" fmla="*/ 31114 h 138429"/>
                <a:gd name="connsiteX352" fmla="*/ 4152261 w 4940931"/>
                <a:gd name="connsiteY352" fmla="*/ 84454 h 138429"/>
                <a:gd name="connsiteX353" fmla="*/ 4166866 w 4940931"/>
                <a:gd name="connsiteY353" fmla="*/ 31114 h 138429"/>
                <a:gd name="connsiteX354" fmla="*/ 4178931 w 4940931"/>
                <a:gd name="connsiteY354" fmla="*/ 31114 h 138429"/>
                <a:gd name="connsiteX355" fmla="*/ 4193536 w 4940931"/>
                <a:gd name="connsiteY355" fmla="*/ 84454 h 138429"/>
                <a:gd name="connsiteX356" fmla="*/ 4206871 w 4940931"/>
                <a:gd name="connsiteY356" fmla="*/ 31114 h 138429"/>
                <a:gd name="connsiteX357" fmla="*/ 4222111 w 4940931"/>
                <a:gd name="connsiteY357" fmla="*/ 31114 h 138429"/>
                <a:gd name="connsiteX358" fmla="*/ 4200521 w 4940931"/>
                <a:gd name="connsiteY358" fmla="*/ 108584 h 138429"/>
                <a:gd name="connsiteX359" fmla="*/ 4187186 w 4940931"/>
                <a:gd name="connsiteY359" fmla="*/ 108584 h 138429"/>
                <a:gd name="connsiteX360" fmla="*/ 4172581 w 4940931"/>
                <a:gd name="connsiteY360" fmla="*/ 54609 h 138429"/>
                <a:gd name="connsiteX361" fmla="*/ 4157976 w 4940931"/>
                <a:gd name="connsiteY361" fmla="*/ 108584 h 138429"/>
                <a:gd name="connsiteX362" fmla="*/ 4145276 w 4940931"/>
                <a:gd name="connsiteY362" fmla="*/ 108584 h 138429"/>
                <a:gd name="connsiteX363" fmla="*/ 2837811 w 4940931"/>
                <a:gd name="connsiteY363" fmla="*/ 31114 h 138429"/>
                <a:gd name="connsiteX364" fmla="*/ 2852416 w 4940931"/>
                <a:gd name="connsiteY364" fmla="*/ 31114 h 138429"/>
                <a:gd name="connsiteX365" fmla="*/ 2865751 w 4940931"/>
                <a:gd name="connsiteY365" fmla="*/ 84454 h 138429"/>
                <a:gd name="connsiteX366" fmla="*/ 2880356 w 4940931"/>
                <a:gd name="connsiteY366" fmla="*/ 31114 h 138429"/>
                <a:gd name="connsiteX367" fmla="*/ 2893056 w 4940931"/>
                <a:gd name="connsiteY367" fmla="*/ 31114 h 138429"/>
                <a:gd name="connsiteX368" fmla="*/ 2907661 w 4940931"/>
                <a:gd name="connsiteY368" fmla="*/ 84454 h 138429"/>
                <a:gd name="connsiteX369" fmla="*/ 2920361 w 4940931"/>
                <a:gd name="connsiteY369" fmla="*/ 31114 h 138429"/>
                <a:gd name="connsiteX370" fmla="*/ 2935601 w 4940931"/>
                <a:gd name="connsiteY370" fmla="*/ 31114 h 138429"/>
                <a:gd name="connsiteX371" fmla="*/ 2914011 w 4940931"/>
                <a:gd name="connsiteY371" fmla="*/ 108584 h 138429"/>
                <a:gd name="connsiteX372" fmla="*/ 2900676 w 4940931"/>
                <a:gd name="connsiteY372" fmla="*/ 108584 h 138429"/>
                <a:gd name="connsiteX373" fmla="*/ 2886706 w 4940931"/>
                <a:gd name="connsiteY373" fmla="*/ 54609 h 138429"/>
                <a:gd name="connsiteX374" fmla="*/ 2872101 w 4940931"/>
                <a:gd name="connsiteY374" fmla="*/ 108584 h 138429"/>
                <a:gd name="connsiteX375" fmla="*/ 2858766 w 4940931"/>
                <a:gd name="connsiteY375" fmla="*/ 108584 h 138429"/>
                <a:gd name="connsiteX376" fmla="*/ 1354455 w 4940931"/>
                <a:gd name="connsiteY376" fmla="*/ 31114 h 138429"/>
                <a:gd name="connsiteX377" fmla="*/ 1369695 w 4940931"/>
                <a:gd name="connsiteY377" fmla="*/ 31114 h 138429"/>
                <a:gd name="connsiteX378" fmla="*/ 1369695 w 4940931"/>
                <a:gd name="connsiteY378" fmla="*/ 109219 h 138429"/>
                <a:gd name="connsiteX379" fmla="*/ 1354455 w 4940931"/>
                <a:gd name="connsiteY379" fmla="*/ 109219 h 138429"/>
                <a:gd name="connsiteX380" fmla="*/ 2646040 w 4940931"/>
                <a:gd name="connsiteY380" fmla="*/ 29844 h 138429"/>
                <a:gd name="connsiteX381" fmla="*/ 2658105 w 4940931"/>
                <a:gd name="connsiteY381" fmla="*/ 31749 h 138429"/>
                <a:gd name="connsiteX382" fmla="*/ 2667630 w 4940931"/>
                <a:gd name="connsiteY382" fmla="*/ 36829 h 138429"/>
                <a:gd name="connsiteX383" fmla="*/ 2673345 w 4940931"/>
                <a:gd name="connsiteY383" fmla="*/ 45084 h 138429"/>
                <a:gd name="connsiteX384" fmla="*/ 2675250 w 4940931"/>
                <a:gd name="connsiteY384" fmla="*/ 56514 h 138429"/>
                <a:gd name="connsiteX385" fmla="*/ 2675250 w 4940931"/>
                <a:gd name="connsiteY385" fmla="*/ 109854 h 138429"/>
                <a:gd name="connsiteX386" fmla="*/ 2660010 w 4940931"/>
                <a:gd name="connsiteY386" fmla="*/ 109854 h 138429"/>
                <a:gd name="connsiteX387" fmla="*/ 2660010 w 4940931"/>
                <a:gd name="connsiteY387" fmla="*/ 108584 h 138429"/>
                <a:gd name="connsiteX388" fmla="*/ 2660010 w 4940931"/>
                <a:gd name="connsiteY388" fmla="*/ 100964 h 138429"/>
                <a:gd name="connsiteX389" fmla="*/ 2654930 w 4940931"/>
                <a:gd name="connsiteY389" fmla="*/ 104774 h 138429"/>
                <a:gd name="connsiteX390" fmla="*/ 2651120 w 4940931"/>
                <a:gd name="connsiteY390" fmla="*/ 107314 h 138429"/>
                <a:gd name="connsiteX391" fmla="*/ 2646040 w 4940931"/>
                <a:gd name="connsiteY391" fmla="*/ 109219 h 138429"/>
                <a:gd name="connsiteX392" fmla="*/ 2639055 w 4940931"/>
                <a:gd name="connsiteY392" fmla="*/ 109854 h 138429"/>
                <a:gd name="connsiteX393" fmla="*/ 2629530 w 4940931"/>
                <a:gd name="connsiteY393" fmla="*/ 108584 h 138429"/>
                <a:gd name="connsiteX394" fmla="*/ 2620640 w 4940931"/>
                <a:gd name="connsiteY394" fmla="*/ 104139 h 138429"/>
                <a:gd name="connsiteX395" fmla="*/ 2614290 w 4940931"/>
                <a:gd name="connsiteY395" fmla="*/ 95884 h 138429"/>
                <a:gd name="connsiteX396" fmla="*/ 2611750 w 4940931"/>
                <a:gd name="connsiteY396" fmla="*/ 83819 h 138429"/>
                <a:gd name="connsiteX397" fmla="*/ 2614290 w 4940931"/>
                <a:gd name="connsiteY397" fmla="*/ 72389 h 138429"/>
                <a:gd name="connsiteX398" fmla="*/ 2620640 w 4940931"/>
                <a:gd name="connsiteY398" fmla="*/ 64769 h 138429"/>
                <a:gd name="connsiteX399" fmla="*/ 2630800 w 4940931"/>
                <a:gd name="connsiteY399" fmla="*/ 60324 h 138429"/>
                <a:gd name="connsiteX400" fmla="*/ 2642865 w 4940931"/>
                <a:gd name="connsiteY400" fmla="*/ 59054 h 138429"/>
                <a:gd name="connsiteX401" fmla="*/ 2653025 w 4940931"/>
                <a:gd name="connsiteY401" fmla="*/ 59689 h 138429"/>
                <a:gd name="connsiteX402" fmla="*/ 2660010 w 4940931"/>
                <a:gd name="connsiteY402" fmla="*/ 61594 h 138429"/>
                <a:gd name="connsiteX403" fmla="*/ 2660010 w 4940931"/>
                <a:gd name="connsiteY403" fmla="*/ 55879 h 138429"/>
                <a:gd name="connsiteX404" fmla="*/ 2656200 w 4940931"/>
                <a:gd name="connsiteY404" fmla="*/ 46354 h 138429"/>
                <a:gd name="connsiteX405" fmla="*/ 2645405 w 4940931"/>
                <a:gd name="connsiteY405" fmla="*/ 43179 h 138429"/>
                <a:gd name="connsiteX406" fmla="*/ 2634610 w 4940931"/>
                <a:gd name="connsiteY406" fmla="*/ 44449 h 138429"/>
                <a:gd name="connsiteX407" fmla="*/ 2625085 w 4940931"/>
                <a:gd name="connsiteY407" fmla="*/ 48259 h 138429"/>
                <a:gd name="connsiteX408" fmla="*/ 2619370 w 4940931"/>
                <a:gd name="connsiteY408" fmla="*/ 36829 h 138429"/>
                <a:gd name="connsiteX409" fmla="*/ 2631435 w 4940931"/>
                <a:gd name="connsiteY409" fmla="*/ 31749 h 138429"/>
                <a:gd name="connsiteX410" fmla="*/ 2646040 w 4940931"/>
                <a:gd name="connsiteY410" fmla="*/ 29844 h 138429"/>
                <a:gd name="connsiteX411" fmla="*/ 1114426 w 4940931"/>
                <a:gd name="connsiteY411" fmla="*/ 29844 h 138429"/>
                <a:gd name="connsiteX412" fmla="*/ 1129666 w 4940931"/>
                <a:gd name="connsiteY412" fmla="*/ 29844 h 138429"/>
                <a:gd name="connsiteX413" fmla="*/ 1129666 w 4940931"/>
                <a:gd name="connsiteY413" fmla="*/ 107949 h 138429"/>
                <a:gd name="connsiteX414" fmla="*/ 1114426 w 4940931"/>
                <a:gd name="connsiteY414" fmla="*/ 107949 h 138429"/>
                <a:gd name="connsiteX415" fmla="*/ 1114426 w 4940931"/>
                <a:gd name="connsiteY415" fmla="*/ 100964 h 138429"/>
                <a:gd name="connsiteX416" fmla="*/ 1106171 w 4940931"/>
                <a:gd name="connsiteY416" fmla="*/ 107314 h 138429"/>
                <a:gd name="connsiteX417" fmla="*/ 1094741 w 4940931"/>
                <a:gd name="connsiteY417" fmla="*/ 109854 h 138429"/>
                <a:gd name="connsiteX418" fmla="*/ 1073786 w 4940931"/>
                <a:gd name="connsiteY418" fmla="*/ 100964 h 138429"/>
                <a:gd name="connsiteX419" fmla="*/ 1066800 w 4940931"/>
                <a:gd name="connsiteY419" fmla="*/ 74929 h 138429"/>
                <a:gd name="connsiteX420" fmla="*/ 1066800 w 4940931"/>
                <a:gd name="connsiteY420" fmla="*/ 30479 h 138429"/>
                <a:gd name="connsiteX421" fmla="*/ 1082040 w 4940931"/>
                <a:gd name="connsiteY421" fmla="*/ 30479 h 138429"/>
                <a:gd name="connsiteX422" fmla="*/ 1082040 w 4940931"/>
                <a:gd name="connsiteY422" fmla="*/ 74294 h 138429"/>
                <a:gd name="connsiteX423" fmla="*/ 1085851 w 4940931"/>
                <a:gd name="connsiteY423" fmla="*/ 90169 h 138429"/>
                <a:gd name="connsiteX424" fmla="*/ 1097916 w 4940931"/>
                <a:gd name="connsiteY424" fmla="*/ 95249 h 138429"/>
                <a:gd name="connsiteX425" fmla="*/ 1109981 w 4940931"/>
                <a:gd name="connsiteY425" fmla="*/ 90169 h 138429"/>
                <a:gd name="connsiteX426" fmla="*/ 1114426 w 4940931"/>
                <a:gd name="connsiteY426" fmla="*/ 75564 h 138429"/>
                <a:gd name="connsiteX427" fmla="*/ 1011556 w 4940931"/>
                <a:gd name="connsiteY427" fmla="*/ 29844 h 138429"/>
                <a:gd name="connsiteX428" fmla="*/ 1017272 w 4940931"/>
                <a:gd name="connsiteY428" fmla="*/ 30479 h 138429"/>
                <a:gd name="connsiteX429" fmla="*/ 1022352 w 4940931"/>
                <a:gd name="connsiteY429" fmla="*/ 32384 h 138429"/>
                <a:gd name="connsiteX430" fmla="*/ 1026797 w 4940931"/>
                <a:gd name="connsiteY430" fmla="*/ 35559 h 138429"/>
                <a:gd name="connsiteX431" fmla="*/ 1030607 w 4940931"/>
                <a:gd name="connsiteY431" fmla="*/ 38734 h 138429"/>
                <a:gd name="connsiteX432" fmla="*/ 1030607 w 4940931"/>
                <a:gd name="connsiteY432" fmla="*/ 31749 h 138429"/>
                <a:gd name="connsiteX433" fmla="*/ 1045847 w 4940931"/>
                <a:gd name="connsiteY433" fmla="*/ 31749 h 138429"/>
                <a:gd name="connsiteX434" fmla="*/ 1045847 w 4940931"/>
                <a:gd name="connsiteY434" fmla="*/ 130809 h 138429"/>
                <a:gd name="connsiteX435" fmla="*/ 1032512 w 4940931"/>
                <a:gd name="connsiteY435" fmla="*/ 137477 h 138429"/>
                <a:gd name="connsiteX436" fmla="*/ 1032512 w 4940931"/>
                <a:gd name="connsiteY436" fmla="*/ 101599 h 138429"/>
                <a:gd name="connsiteX437" fmla="*/ 1022986 w 4940931"/>
                <a:gd name="connsiteY437" fmla="*/ 107949 h 138429"/>
                <a:gd name="connsiteX438" fmla="*/ 1011556 w 4940931"/>
                <a:gd name="connsiteY438" fmla="*/ 110489 h 138429"/>
                <a:gd name="connsiteX439" fmla="*/ 999491 w 4940931"/>
                <a:gd name="connsiteY439" fmla="*/ 107949 h 138429"/>
                <a:gd name="connsiteX440" fmla="*/ 989966 w 4940931"/>
                <a:gd name="connsiteY440" fmla="*/ 100329 h 138429"/>
                <a:gd name="connsiteX441" fmla="*/ 983616 w 4940931"/>
                <a:gd name="connsiteY441" fmla="*/ 87629 h 138429"/>
                <a:gd name="connsiteX442" fmla="*/ 981076 w 4940931"/>
                <a:gd name="connsiteY442" fmla="*/ 68579 h 138429"/>
                <a:gd name="connsiteX443" fmla="*/ 983616 w 4940931"/>
                <a:gd name="connsiteY443" fmla="*/ 51434 h 138429"/>
                <a:gd name="connsiteX444" fmla="*/ 990601 w 4940931"/>
                <a:gd name="connsiteY444" fmla="*/ 39369 h 138429"/>
                <a:gd name="connsiteX445" fmla="*/ 1000126 w 4940931"/>
                <a:gd name="connsiteY445" fmla="*/ 32384 h 138429"/>
                <a:gd name="connsiteX446" fmla="*/ 1011556 w 4940931"/>
                <a:gd name="connsiteY446" fmla="*/ 29844 h 138429"/>
                <a:gd name="connsiteX447" fmla="*/ 4871716 w 4940931"/>
                <a:gd name="connsiteY447" fmla="*/ 29210 h 138429"/>
                <a:gd name="connsiteX448" fmla="*/ 4885686 w 4940931"/>
                <a:gd name="connsiteY448" fmla="*/ 31750 h 138429"/>
                <a:gd name="connsiteX449" fmla="*/ 4897751 w 4940931"/>
                <a:gd name="connsiteY449" fmla="*/ 38100 h 138429"/>
                <a:gd name="connsiteX450" fmla="*/ 4899021 w 4940931"/>
                <a:gd name="connsiteY450" fmla="*/ 38100 h 138429"/>
                <a:gd name="connsiteX451" fmla="*/ 4892036 w 4940931"/>
                <a:gd name="connsiteY451" fmla="*/ 50165 h 138429"/>
                <a:gd name="connsiteX452" fmla="*/ 4882511 w 4940931"/>
                <a:gd name="connsiteY452" fmla="*/ 45085 h 138429"/>
                <a:gd name="connsiteX453" fmla="*/ 4872351 w 4940931"/>
                <a:gd name="connsiteY453" fmla="*/ 43180 h 138429"/>
                <a:gd name="connsiteX454" fmla="*/ 4864096 w 4940931"/>
                <a:gd name="connsiteY454" fmla="*/ 45085 h 138429"/>
                <a:gd name="connsiteX455" fmla="*/ 4861556 w 4940931"/>
                <a:gd name="connsiteY455" fmla="*/ 50165 h 138429"/>
                <a:gd name="connsiteX456" fmla="*/ 4861556 w 4940931"/>
                <a:gd name="connsiteY456" fmla="*/ 52705 h 138429"/>
                <a:gd name="connsiteX457" fmla="*/ 4863461 w 4940931"/>
                <a:gd name="connsiteY457" fmla="*/ 55245 h 138429"/>
                <a:gd name="connsiteX458" fmla="*/ 4867906 w 4940931"/>
                <a:gd name="connsiteY458" fmla="*/ 57785 h 138429"/>
                <a:gd name="connsiteX459" fmla="*/ 4874891 w 4940931"/>
                <a:gd name="connsiteY459" fmla="*/ 60960 h 138429"/>
                <a:gd name="connsiteX460" fmla="*/ 4886321 w 4940931"/>
                <a:gd name="connsiteY460" fmla="*/ 66040 h 138429"/>
                <a:gd name="connsiteX461" fmla="*/ 4894576 w 4940931"/>
                <a:gd name="connsiteY461" fmla="*/ 71120 h 138429"/>
                <a:gd name="connsiteX462" fmla="*/ 4899656 w 4940931"/>
                <a:gd name="connsiteY462" fmla="*/ 78105 h 138429"/>
                <a:gd name="connsiteX463" fmla="*/ 4901561 w 4940931"/>
                <a:gd name="connsiteY463" fmla="*/ 87630 h 138429"/>
                <a:gd name="connsiteX464" fmla="*/ 4899021 w 4940931"/>
                <a:gd name="connsiteY464" fmla="*/ 98425 h 138429"/>
                <a:gd name="connsiteX465" fmla="*/ 4892671 w 4940931"/>
                <a:gd name="connsiteY465" fmla="*/ 105410 h 138429"/>
                <a:gd name="connsiteX466" fmla="*/ 4883146 w 4940931"/>
                <a:gd name="connsiteY466" fmla="*/ 109220 h 138429"/>
                <a:gd name="connsiteX467" fmla="*/ 4872351 w 4940931"/>
                <a:gd name="connsiteY467" fmla="*/ 110490 h 138429"/>
                <a:gd name="connsiteX468" fmla="*/ 4857111 w 4940931"/>
                <a:gd name="connsiteY468" fmla="*/ 107950 h 138429"/>
                <a:gd name="connsiteX469" fmla="*/ 4842506 w 4940931"/>
                <a:gd name="connsiteY469" fmla="*/ 100965 h 138429"/>
                <a:gd name="connsiteX470" fmla="*/ 4849491 w 4940931"/>
                <a:gd name="connsiteY470" fmla="*/ 89535 h 138429"/>
                <a:gd name="connsiteX471" fmla="*/ 4860921 w 4940931"/>
                <a:gd name="connsiteY471" fmla="*/ 95250 h 138429"/>
                <a:gd name="connsiteX472" fmla="*/ 4872351 w 4940931"/>
                <a:gd name="connsiteY472" fmla="*/ 97155 h 138429"/>
                <a:gd name="connsiteX473" fmla="*/ 4883146 w 4940931"/>
                <a:gd name="connsiteY473" fmla="*/ 94615 h 138429"/>
                <a:gd name="connsiteX474" fmla="*/ 4886321 w 4940931"/>
                <a:gd name="connsiteY474" fmla="*/ 88265 h 138429"/>
                <a:gd name="connsiteX475" fmla="*/ 4885051 w 4940931"/>
                <a:gd name="connsiteY475" fmla="*/ 84455 h 138429"/>
                <a:gd name="connsiteX476" fmla="*/ 4881241 w 4940931"/>
                <a:gd name="connsiteY476" fmla="*/ 81280 h 138429"/>
                <a:gd name="connsiteX477" fmla="*/ 4875526 w 4940931"/>
                <a:gd name="connsiteY477" fmla="*/ 78105 h 138429"/>
                <a:gd name="connsiteX478" fmla="*/ 4867906 w 4940931"/>
                <a:gd name="connsiteY478" fmla="*/ 74930 h 138429"/>
                <a:gd name="connsiteX479" fmla="*/ 4857111 w 4940931"/>
                <a:gd name="connsiteY479" fmla="*/ 69850 h 138429"/>
                <a:gd name="connsiteX480" fmla="*/ 4850126 w 4940931"/>
                <a:gd name="connsiteY480" fmla="*/ 64770 h 138429"/>
                <a:gd name="connsiteX481" fmla="*/ 4846316 w 4940931"/>
                <a:gd name="connsiteY481" fmla="*/ 58420 h 138429"/>
                <a:gd name="connsiteX482" fmla="*/ 4845046 w 4940931"/>
                <a:gd name="connsiteY482" fmla="*/ 50165 h 138429"/>
                <a:gd name="connsiteX483" fmla="*/ 4846951 w 4940931"/>
                <a:gd name="connsiteY483" fmla="*/ 40640 h 138429"/>
                <a:gd name="connsiteX484" fmla="*/ 4852666 w 4940931"/>
                <a:gd name="connsiteY484" fmla="*/ 34290 h 138429"/>
                <a:gd name="connsiteX485" fmla="*/ 4860921 w 4940931"/>
                <a:gd name="connsiteY485" fmla="*/ 30480 h 138429"/>
                <a:gd name="connsiteX486" fmla="*/ 4871716 w 4940931"/>
                <a:gd name="connsiteY486" fmla="*/ 29210 h 138429"/>
                <a:gd name="connsiteX487" fmla="*/ 4749796 w 4940931"/>
                <a:gd name="connsiteY487" fmla="*/ 29210 h 138429"/>
                <a:gd name="connsiteX488" fmla="*/ 4757416 w 4940931"/>
                <a:gd name="connsiteY488" fmla="*/ 29845 h 138429"/>
                <a:gd name="connsiteX489" fmla="*/ 4763131 w 4940931"/>
                <a:gd name="connsiteY489" fmla="*/ 32385 h 138429"/>
                <a:gd name="connsiteX490" fmla="*/ 4759321 w 4940931"/>
                <a:gd name="connsiteY490" fmla="*/ 46990 h 138429"/>
                <a:gd name="connsiteX491" fmla="*/ 4758051 w 4940931"/>
                <a:gd name="connsiteY491" fmla="*/ 46990 h 138429"/>
                <a:gd name="connsiteX492" fmla="*/ 4752971 w 4940931"/>
                <a:gd name="connsiteY492" fmla="*/ 45085 h 138429"/>
                <a:gd name="connsiteX493" fmla="*/ 4746621 w 4940931"/>
                <a:gd name="connsiteY493" fmla="*/ 44450 h 138429"/>
                <a:gd name="connsiteX494" fmla="*/ 4735191 w 4940931"/>
                <a:gd name="connsiteY494" fmla="*/ 49530 h 138429"/>
                <a:gd name="connsiteX495" fmla="*/ 4731381 w 4940931"/>
                <a:gd name="connsiteY495" fmla="*/ 64770 h 138429"/>
                <a:gd name="connsiteX496" fmla="*/ 4731381 w 4940931"/>
                <a:gd name="connsiteY496" fmla="*/ 109220 h 138429"/>
                <a:gd name="connsiteX497" fmla="*/ 4716141 w 4940931"/>
                <a:gd name="connsiteY497" fmla="*/ 109220 h 138429"/>
                <a:gd name="connsiteX498" fmla="*/ 4716141 w 4940931"/>
                <a:gd name="connsiteY498" fmla="*/ 31115 h 138429"/>
                <a:gd name="connsiteX499" fmla="*/ 4731381 w 4940931"/>
                <a:gd name="connsiteY499" fmla="*/ 31115 h 138429"/>
                <a:gd name="connsiteX500" fmla="*/ 4731381 w 4940931"/>
                <a:gd name="connsiteY500" fmla="*/ 38735 h 138429"/>
                <a:gd name="connsiteX501" fmla="*/ 4734556 w 4940931"/>
                <a:gd name="connsiteY501" fmla="*/ 34925 h 138429"/>
                <a:gd name="connsiteX502" fmla="*/ 4739001 w 4940931"/>
                <a:gd name="connsiteY502" fmla="*/ 31750 h 138429"/>
                <a:gd name="connsiteX503" fmla="*/ 4744081 w 4940931"/>
                <a:gd name="connsiteY503" fmla="*/ 29845 h 138429"/>
                <a:gd name="connsiteX504" fmla="*/ 4749796 w 4940931"/>
                <a:gd name="connsiteY504" fmla="*/ 29210 h 138429"/>
                <a:gd name="connsiteX505" fmla="*/ 4349110 w 4940931"/>
                <a:gd name="connsiteY505" fmla="*/ 29210 h 138429"/>
                <a:gd name="connsiteX506" fmla="*/ 4356730 w 4940931"/>
                <a:gd name="connsiteY506" fmla="*/ 29845 h 138429"/>
                <a:gd name="connsiteX507" fmla="*/ 4362445 w 4940931"/>
                <a:gd name="connsiteY507" fmla="*/ 32385 h 138429"/>
                <a:gd name="connsiteX508" fmla="*/ 4358635 w 4940931"/>
                <a:gd name="connsiteY508" fmla="*/ 46990 h 138429"/>
                <a:gd name="connsiteX509" fmla="*/ 4357365 w 4940931"/>
                <a:gd name="connsiteY509" fmla="*/ 46990 h 138429"/>
                <a:gd name="connsiteX510" fmla="*/ 4352285 w 4940931"/>
                <a:gd name="connsiteY510" fmla="*/ 45085 h 138429"/>
                <a:gd name="connsiteX511" fmla="*/ 4345935 w 4940931"/>
                <a:gd name="connsiteY511" fmla="*/ 44450 h 138429"/>
                <a:gd name="connsiteX512" fmla="*/ 4334505 w 4940931"/>
                <a:gd name="connsiteY512" fmla="*/ 49530 h 138429"/>
                <a:gd name="connsiteX513" fmla="*/ 4330695 w 4940931"/>
                <a:gd name="connsiteY513" fmla="*/ 64770 h 138429"/>
                <a:gd name="connsiteX514" fmla="*/ 4330695 w 4940931"/>
                <a:gd name="connsiteY514" fmla="*/ 109220 h 138429"/>
                <a:gd name="connsiteX515" fmla="*/ 4315455 w 4940931"/>
                <a:gd name="connsiteY515" fmla="*/ 109220 h 138429"/>
                <a:gd name="connsiteX516" fmla="*/ 4315455 w 4940931"/>
                <a:gd name="connsiteY516" fmla="*/ 31115 h 138429"/>
                <a:gd name="connsiteX517" fmla="*/ 4330695 w 4940931"/>
                <a:gd name="connsiteY517" fmla="*/ 31115 h 138429"/>
                <a:gd name="connsiteX518" fmla="*/ 4330695 w 4940931"/>
                <a:gd name="connsiteY518" fmla="*/ 38735 h 138429"/>
                <a:gd name="connsiteX519" fmla="*/ 4333870 w 4940931"/>
                <a:gd name="connsiteY519" fmla="*/ 34925 h 138429"/>
                <a:gd name="connsiteX520" fmla="*/ 4338315 w 4940931"/>
                <a:gd name="connsiteY520" fmla="*/ 31750 h 138429"/>
                <a:gd name="connsiteX521" fmla="*/ 4343395 w 4940931"/>
                <a:gd name="connsiteY521" fmla="*/ 29845 h 138429"/>
                <a:gd name="connsiteX522" fmla="*/ 4349110 w 4940931"/>
                <a:gd name="connsiteY522" fmla="*/ 29210 h 138429"/>
                <a:gd name="connsiteX523" fmla="*/ 4044310 w 4940931"/>
                <a:gd name="connsiteY523" fmla="*/ 29210 h 138429"/>
                <a:gd name="connsiteX524" fmla="*/ 4058915 w 4940931"/>
                <a:gd name="connsiteY524" fmla="*/ 32385 h 138429"/>
                <a:gd name="connsiteX525" fmla="*/ 4069075 w 4940931"/>
                <a:gd name="connsiteY525" fmla="*/ 40640 h 138429"/>
                <a:gd name="connsiteX526" fmla="*/ 4075425 w 4940931"/>
                <a:gd name="connsiteY526" fmla="*/ 53340 h 138429"/>
                <a:gd name="connsiteX527" fmla="*/ 4077330 w 4940931"/>
                <a:gd name="connsiteY527" fmla="*/ 68580 h 138429"/>
                <a:gd name="connsiteX528" fmla="*/ 4076060 w 4940931"/>
                <a:gd name="connsiteY528" fmla="*/ 68580 h 138429"/>
                <a:gd name="connsiteX529" fmla="*/ 4076060 w 4940931"/>
                <a:gd name="connsiteY529" fmla="*/ 72390 h 138429"/>
                <a:gd name="connsiteX530" fmla="*/ 4076060 w 4940931"/>
                <a:gd name="connsiteY530" fmla="*/ 75565 h 138429"/>
                <a:gd name="connsiteX531" fmla="*/ 4024625 w 4940931"/>
                <a:gd name="connsiteY531" fmla="*/ 75565 h 138429"/>
                <a:gd name="connsiteX532" fmla="*/ 4027165 w 4940931"/>
                <a:gd name="connsiteY532" fmla="*/ 85090 h 138429"/>
                <a:gd name="connsiteX533" fmla="*/ 4031610 w 4940931"/>
                <a:gd name="connsiteY533" fmla="*/ 91440 h 138429"/>
                <a:gd name="connsiteX534" fmla="*/ 4037325 w 4940931"/>
                <a:gd name="connsiteY534" fmla="*/ 95250 h 138429"/>
                <a:gd name="connsiteX535" fmla="*/ 4044310 w 4940931"/>
                <a:gd name="connsiteY535" fmla="*/ 96520 h 138429"/>
                <a:gd name="connsiteX536" fmla="*/ 4049390 w 4940931"/>
                <a:gd name="connsiteY536" fmla="*/ 96520 h 138429"/>
                <a:gd name="connsiteX537" fmla="*/ 4053835 w 4940931"/>
                <a:gd name="connsiteY537" fmla="*/ 95250 h 138429"/>
                <a:gd name="connsiteX538" fmla="*/ 4057645 w 4940931"/>
                <a:gd name="connsiteY538" fmla="*/ 93345 h 138429"/>
                <a:gd name="connsiteX539" fmla="*/ 4062090 w 4940931"/>
                <a:gd name="connsiteY539" fmla="*/ 90805 h 138429"/>
                <a:gd name="connsiteX540" fmla="*/ 4070980 w 4940931"/>
                <a:gd name="connsiteY540" fmla="*/ 100330 h 138429"/>
                <a:gd name="connsiteX541" fmla="*/ 4065265 w 4940931"/>
                <a:gd name="connsiteY541" fmla="*/ 104775 h 138429"/>
                <a:gd name="connsiteX542" fmla="*/ 4059550 w 4940931"/>
                <a:gd name="connsiteY542" fmla="*/ 107950 h 138429"/>
                <a:gd name="connsiteX543" fmla="*/ 4052565 w 4940931"/>
                <a:gd name="connsiteY543" fmla="*/ 109855 h 138429"/>
                <a:gd name="connsiteX544" fmla="*/ 4043675 w 4940931"/>
                <a:gd name="connsiteY544" fmla="*/ 110490 h 138429"/>
                <a:gd name="connsiteX545" fmla="*/ 4034150 w 4940931"/>
                <a:gd name="connsiteY545" fmla="*/ 109220 h 138429"/>
                <a:gd name="connsiteX546" fmla="*/ 4026530 w 4940931"/>
                <a:gd name="connsiteY546" fmla="*/ 105410 h 138429"/>
                <a:gd name="connsiteX547" fmla="*/ 4020180 w 4940931"/>
                <a:gd name="connsiteY547" fmla="*/ 100330 h 138429"/>
                <a:gd name="connsiteX548" fmla="*/ 4015100 w 4940931"/>
                <a:gd name="connsiteY548" fmla="*/ 92710 h 138429"/>
                <a:gd name="connsiteX549" fmla="*/ 4011290 w 4940931"/>
                <a:gd name="connsiteY549" fmla="*/ 82550 h 138429"/>
                <a:gd name="connsiteX550" fmla="*/ 4010020 w 4940931"/>
                <a:gd name="connsiteY550" fmla="*/ 69850 h 138429"/>
                <a:gd name="connsiteX551" fmla="*/ 4012560 w 4940931"/>
                <a:gd name="connsiteY551" fmla="*/ 52070 h 138429"/>
                <a:gd name="connsiteX552" fmla="*/ 4019545 w 4940931"/>
                <a:gd name="connsiteY552" fmla="*/ 39370 h 138429"/>
                <a:gd name="connsiteX553" fmla="*/ 4030340 w 4940931"/>
                <a:gd name="connsiteY553" fmla="*/ 31750 h 138429"/>
                <a:gd name="connsiteX554" fmla="*/ 4044310 w 4940931"/>
                <a:gd name="connsiteY554" fmla="*/ 29210 h 138429"/>
                <a:gd name="connsiteX555" fmla="*/ 3811900 w 4940931"/>
                <a:gd name="connsiteY555" fmla="*/ 29210 h 138429"/>
                <a:gd name="connsiteX556" fmla="*/ 3819520 w 4940931"/>
                <a:gd name="connsiteY556" fmla="*/ 29845 h 138429"/>
                <a:gd name="connsiteX557" fmla="*/ 3825235 w 4940931"/>
                <a:gd name="connsiteY557" fmla="*/ 32385 h 138429"/>
                <a:gd name="connsiteX558" fmla="*/ 3821425 w 4940931"/>
                <a:gd name="connsiteY558" fmla="*/ 46990 h 138429"/>
                <a:gd name="connsiteX559" fmla="*/ 3820155 w 4940931"/>
                <a:gd name="connsiteY559" fmla="*/ 46990 h 138429"/>
                <a:gd name="connsiteX560" fmla="*/ 3815075 w 4940931"/>
                <a:gd name="connsiteY560" fmla="*/ 45085 h 138429"/>
                <a:gd name="connsiteX561" fmla="*/ 3808725 w 4940931"/>
                <a:gd name="connsiteY561" fmla="*/ 44450 h 138429"/>
                <a:gd name="connsiteX562" fmla="*/ 3797295 w 4940931"/>
                <a:gd name="connsiteY562" fmla="*/ 49530 h 138429"/>
                <a:gd name="connsiteX563" fmla="*/ 3793485 w 4940931"/>
                <a:gd name="connsiteY563" fmla="*/ 64770 h 138429"/>
                <a:gd name="connsiteX564" fmla="*/ 3793485 w 4940931"/>
                <a:gd name="connsiteY564" fmla="*/ 109220 h 138429"/>
                <a:gd name="connsiteX565" fmla="*/ 3778245 w 4940931"/>
                <a:gd name="connsiteY565" fmla="*/ 109220 h 138429"/>
                <a:gd name="connsiteX566" fmla="*/ 3778245 w 4940931"/>
                <a:gd name="connsiteY566" fmla="*/ 31115 h 138429"/>
                <a:gd name="connsiteX567" fmla="*/ 3793485 w 4940931"/>
                <a:gd name="connsiteY567" fmla="*/ 31115 h 138429"/>
                <a:gd name="connsiteX568" fmla="*/ 3793485 w 4940931"/>
                <a:gd name="connsiteY568" fmla="*/ 38735 h 138429"/>
                <a:gd name="connsiteX569" fmla="*/ 3796660 w 4940931"/>
                <a:gd name="connsiteY569" fmla="*/ 34925 h 138429"/>
                <a:gd name="connsiteX570" fmla="*/ 3801105 w 4940931"/>
                <a:gd name="connsiteY570" fmla="*/ 31750 h 138429"/>
                <a:gd name="connsiteX571" fmla="*/ 3806185 w 4940931"/>
                <a:gd name="connsiteY571" fmla="*/ 29845 h 138429"/>
                <a:gd name="connsiteX572" fmla="*/ 3811900 w 4940931"/>
                <a:gd name="connsiteY572" fmla="*/ 29210 h 138429"/>
                <a:gd name="connsiteX573" fmla="*/ 3729986 w 4940931"/>
                <a:gd name="connsiteY573" fmla="*/ 29210 h 138429"/>
                <a:gd name="connsiteX574" fmla="*/ 3744591 w 4940931"/>
                <a:gd name="connsiteY574" fmla="*/ 32385 h 138429"/>
                <a:gd name="connsiteX575" fmla="*/ 3754751 w 4940931"/>
                <a:gd name="connsiteY575" fmla="*/ 40640 h 138429"/>
                <a:gd name="connsiteX576" fmla="*/ 3761101 w 4940931"/>
                <a:gd name="connsiteY576" fmla="*/ 53340 h 138429"/>
                <a:gd name="connsiteX577" fmla="*/ 3763006 w 4940931"/>
                <a:gd name="connsiteY577" fmla="*/ 68580 h 138429"/>
                <a:gd name="connsiteX578" fmla="*/ 3761736 w 4940931"/>
                <a:gd name="connsiteY578" fmla="*/ 68580 h 138429"/>
                <a:gd name="connsiteX579" fmla="*/ 3761736 w 4940931"/>
                <a:gd name="connsiteY579" fmla="*/ 72390 h 138429"/>
                <a:gd name="connsiteX580" fmla="*/ 3761736 w 4940931"/>
                <a:gd name="connsiteY580" fmla="*/ 75565 h 138429"/>
                <a:gd name="connsiteX581" fmla="*/ 3710301 w 4940931"/>
                <a:gd name="connsiteY581" fmla="*/ 75565 h 138429"/>
                <a:gd name="connsiteX582" fmla="*/ 3712841 w 4940931"/>
                <a:gd name="connsiteY582" fmla="*/ 85090 h 138429"/>
                <a:gd name="connsiteX583" fmla="*/ 3717286 w 4940931"/>
                <a:gd name="connsiteY583" fmla="*/ 91440 h 138429"/>
                <a:gd name="connsiteX584" fmla="*/ 3723001 w 4940931"/>
                <a:gd name="connsiteY584" fmla="*/ 95250 h 138429"/>
                <a:gd name="connsiteX585" fmla="*/ 3729986 w 4940931"/>
                <a:gd name="connsiteY585" fmla="*/ 96520 h 138429"/>
                <a:gd name="connsiteX586" fmla="*/ 3735066 w 4940931"/>
                <a:gd name="connsiteY586" fmla="*/ 96520 h 138429"/>
                <a:gd name="connsiteX587" fmla="*/ 3739511 w 4940931"/>
                <a:gd name="connsiteY587" fmla="*/ 95250 h 138429"/>
                <a:gd name="connsiteX588" fmla="*/ 3743321 w 4940931"/>
                <a:gd name="connsiteY588" fmla="*/ 93345 h 138429"/>
                <a:gd name="connsiteX589" fmla="*/ 3747766 w 4940931"/>
                <a:gd name="connsiteY589" fmla="*/ 90805 h 138429"/>
                <a:gd name="connsiteX590" fmla="*/ 3756656 w 4940931"/>
                <a:gd name="connsiteY590" fmla="*/ 100330 h 138429"/>
                <a:gd name="connsiteX591" fmla="*/ 3750941 w 4940931"/>
                <a:gd name="connsiteY591" fmla="*/ 104775 h 138429"/>
                <a:gd name="connsiteX592" fmla="*/ 3745226 w 4940931"/>
                <a:gd name="connsiteY592" fmla="*/ 107950 h 138429"/>
                <a:gd name="connsiteX593" fmla="*/ 3738241 w 4940931"/>
                <a:gd name="connsiteY593" fmla="*/ 109855 h 138429"/>
                <a:gd name="connsiteX594" fmla="*/ 3729351 w 4940931"/>
                <a:gd name="connsiteY594" fmla="*/ 110490 h 138429"/>
                <a:gd name="connsiteX595" fmla="*/ 3719826 w 4940931"/>
                <a:gd name="connsiteY595" fmla="*/ 109220 h 138429"/>
                <a:gd name="connsiteX596" fmla="*/ 3712206 w 4940931"/>
                <a:gd name="connsiteY596" fmla="*/ 105410 h 138429"/>
                <a:gd name="connsiteX597" fmla="*/ 3705856 w 4940931"/>
                <a:gd name="connsiteY597" fmla="*/ 100330 h 138429"/>
                <a:gd name="connsiteX598" fmla="*/ 3700776 w 4940931"/>
                <a:gd name="connsiteY598" fmla="*/ 92710 h 138429"/>
                <a:gd name="connsiteX599" fmla="*/ 3696966 w 4940931"/>
                <a:gd name="connsiteY599" fmla="*/ 82550 h 138429"/>
                <a:gd name="connsiteX600" fmla="*/ 3695696 w 4940931"/>
                <a:gd name="connsiteY600" fmla="*/ 69850 h 138429"/>
                <a:gd name="connsiteX601" fmla="*/ 3698236 w 4940931"/>
                <a:gd name="connsiteY601" fmla="*/ 52070 h 138429"/>
                <a:gd name="connsiteX602" fmla="*/ 3705221 w 4940931"/>
                <a:gd name="connsiteY602" fmla="*/ 39370 h 138429"/>
                <a:gd name="connsiteX603" fmla="*/ 3716016 w 4940931"/>
                <a:gd name="connsiteY603" fmla="*/ 31750 h 138429"/>
                <a:gd name="connsiteX604" fmla="*/ 3729986 w 4940931"/>
                <a:gd name="connsiteY604" fmla="*/ 29210 h 138429"/>
                <a:gd name="connsiteX605" fmla="*/ 3543296 w 4940931"/>
                <a:gd name="connsiteY605" fmla="*/ 29210 h 138429"/>
                <a:gd name="connsiteX606" fmla="*/ 3557901 w 4940931"/>
                <a:gd name="connsiteY606" fmla="*/ 32385 h 138429"/>
                <a:gd name="connsiteX607" fmla="*/ 3568061 w 4940931"/>
                <a:gd name="connsiteY607" fmla="*/ 40640 h 138429"/>
                <a:gd name="connsiteX608" fmla="*/ 3574411 w 4940931"/>
                <a:gd name="connsiteY608" fmla="*/ 53340 h 138429"/>
                <a:gd name="connsiteX609" fmla="*/ 3576316 w 4940931"/>
                <a:gd name="connsiteY609" fmla="*/ 68580 h 138429"/>
                <a:gd name="connsiteX610" fmla="*/ 3575046 w 4940931"/>
                <a:gd name="connsiteY610" fmla="*/ 68580 h 138429"/>
                <a:gd name="connsiteX611" fmla="*/ 3575046 w 4940931"/>
                <a:gd name="connsiteY611" fmla="*/ 72390 h 138429"/>
                <a:gd name="connsiteX612" fmla="*/ 3575046 w 4940931"/>
                <a:gd name="connsiteY612" fmla="*/ 75565 h 138429"/>
                <a:gd name="connsiteX613" fmla="*/ 3523611 w 4940931"/>
                <a:gd name="connsiteY613" fmla="*/ 75565 h 138429"/>
                <a:gd name="connsiteX614" fmla="*/ 3526151 w 4940931"/>
                <a:gd name="connsiteY614" fmla="*/ 85090 h 138429"/>
                <a:gd name="connsiteX615" fmla="*/ 3530596 w 4940931"/>
                <a:gd name="connsiteY615" fmla="*/ 91440 h 138429"/>
                <a:gd name="connsiteX616" fmla="*/ 3536311 w 4940931"/>
                <a:gd name="connsiteY616" fmla="*/ 95250 h 138429"/>
                <a:gd name="connsiteX617" fmla="*/ 3543296 w 4940931"/>
                <a:gd name="connsiteY617" fmla="*/ 96520 h 138429"/>
                <a:gd name="connsiteX618" fmla="*/ 3548376 w 4940931"/>
                <a:gd name="connsiteY618" fmla="*/ 96520 h 138429"/>
                <a:gd name="connsiteX619" fmla="*/ 3552821 w 4940931"/>
                <a:gd name="connsiteY619" fmla="*/ 95250 h 138429"/>
                <a:gd name="connsiteX620" fmla="*/ 3556631 w 4940931"/>
                <a:gd name="connsiteY620" fmla="*/ 93345 h 138429"/>
                <a:gd name="connsiteX621" fmla="*/ 3561076 w 4940931"/>
                <a:gd name="connsiteY621" fmla="*/ 90805 h 138429"/>
                <a:gd name="connsiteX622" fmla="*/ 3569966 w 4940931"/>
                <a:gd name="connsiteY622" fmla="*/ 100330 h 138429"/>
                <a:gd name="connsiteX623" fmla="*/ 3564251 w 4940931"/>
                <a:gd name="connsiteY623" fmla="*/ 104775 h 138429"/>
                <a:gd name="connsiteX624" fmla="*/ 3558536 w 4940931"/>
                <a:gd name="connsiteY624" fmla="*/ 107950 h 138429"/>
                <a:gd name="connsiteX625" fmla="*/ 3551551 w 4940931"/>
                <a:gd name="connsiteY625" fmla="*/ 109855 h 138429"/>
                <a:gd name="connsiteX626" fmla="*/ 3542661 w 4940931"/>
                <a:gd name="connsiteY626" fmla="*/ 110490 h 138429"/>
                <a:gd name="connsiteX627" fmla="*/ 3533136 w 4940931"/>
                <a:gd name="connsiteY627" fmla="*/ 109220 h 138429"/>
                <a:gd name="connsiteX628" fmla="*/ 3525516 w 4940931"/>
                <a:gd name="connsiteY628" fmla="*/ 105410 h 138429"/>
                <a:gd name="connsiteX629" fmla="*/ 3519166 w 4940931"/>
                <a:gd name="connsiteY629" fmla="*/ 100330 h 138429"/>
                <a:gd name="connsiteX630" fmla="*/ 3514086 w 4940931"/>
                <a:gd name="connsiteY630" fmla="*/ 92710 h 138429"/>
                <a:gd name="connsiteX631" fmla="*/ 3510276 w 4940931"/>
                <a:gd name="connsiteY631" fmla="*/ 82550 h 138429"/>
                <a:gd name="connsiteX632" fmla="*/ 3509006 w 4940931"/>
                <a:gd name="connsiteY632" fmla="*/ 69850 h 138429"/>
                <a:gd name="connsiteX633" fmla="*/ 3511546 w 4940931"/>
                <a:gd name="connsiteY633" fmla="*/ 52070 h 138429"/>
                <a:gd name="connsiteX634" fmla="*/ 3518531 w 4940931"/>
                <a:gd name="connsiteY634" fmla="*/ 39370 h 138429"/>
                <a:gd name="connsiteX635" fmla="*/ 3529326 w 4940931"/>
                <a:gd name="connsiteY635" fmla="*/ 31750 h 138429"/>
                <a:gd name="connsiteX636" fmla="*/ 3543296 w 4940931"/>
                <a:gd name="connsiteY636" fmla="*/ 29210 h 138429"/>
                <a:gd name="connsiteX637" fmla="*/ 3345176 w 4940931"/>
                <a:gd name="connsiteY637" fmla="*/ 29210 h 138429"/>
                <a:gd name="connsiteX638" fmla="*/ 3359781 w 4940931"/>
                <a:gd name="connsiteY638" fmla="*/ 32385 h 138429"/>
                <a:gd name="connsiteX639" fmla="*/ 3369941 w 4940931"/>
                <a:gd name="connsiteY639" fmla="*/ 40640 h 138429"/>
                <a:gd name="connsiteX640" fmla="*/ 3376291 w 4940931"/>
                <a:gd name="connsiteY640" fmla="*/ 53340 h 138429"/>
                <a:gd name="connsiteX641" fmla="*/ 3378196 w 4940931"/>
                <a:gd name="connsiteY641" fmla="*/ 68580 h 138429"/>
                <a:gd name="connsiteX642" fmla="*/ 3376926 w 4940931"/>
                <a:gd name="connsiteY642" fmla="*/ 68580 h 138429"/>
                <a:gd name="connsiteX643" fmla="*/ 3376926 w 4940931"/>
                <a:gd name="connsiteY643" fmla="*/ 72390 h 138429"/>
                <a:gd name="connsiteX644" fmla="*/ 3376926 w 4940931"/>
                <a:gd name="connsiteY644" fmla="*/ 75565 h 138429"/>
                <a:gd name="connsiteX645" fmla="*/ 3325491 w 4940931"/>
                <a:gd name="connsiteY645" fmla="*/ 75565 h 138429"/>
                <a:gd name="connsiteX646" fmla="*/ 3328031 w 4940931"/>
                <a:gd name="connsiteY646" fmla="*/ 85090 h 138429"/>
                <a:gd name="connsiteX647" fmla="*/ 3332476 w 4940931"/>
                <a:gd name="connsiteY647" fmla="*/ 91440 h 138429"/>
                <a:gd name="connsiteX648" fmla="*/ 3338191 w 4940931"/>
                <a:gd name="connsiteY648" fmla="*/ 95250 h 138429"/>
                <a:gd name="connsiteX649" fmla="*/ 3345176 w 4940931"/>
                <a:gd name="connsiteY649" fmla="*/ 96520 h 138429"/>
                <a:gd name="connsiteX650" fmla="*/ 3350256 w 4940931"/>
                <a:gd name="connsiteY650" fmla="*/ 96520 h 138429"/>
                <a:gd name="connsiteX651" fmla="*/ 3354701 w 4940931"/>
                <a:gd name="connsiteY651" fmla="*/ 95250 h 138429"/>
                <a:gd name="connsiteX652" fmla="*/ 3358511 w 4940931"/>
                <a:gd name="connsiteY652" fmla="*/ 93345 h 138429"/>
                <a:gd name="connsiteX653" fmla="*/ 3362956 w 4940931"/>
                <a:gd name="connsiteY653" fmla="*/ 90805 h 138429"/>
                <a:gd name="connsiteX654" fmla="*/ 3371846 w 4940931"/>
                <a:gd name="connsiteY654" fmla="*/ 100330 h 138429"/>
                <a:gd name="connsiteX655" fmla="*/ 3366131 w 4940931"/>
                <a:gd name="connsiteY655" fmla="*/ 104775 h 138429"/>
                <a:gd name="connsiteX656" fmla="*/ 3360416 w 4940931"/>
                <a:gd name="connsiteY656" fmla="*/ 107950 h 138429"/>
                <a:gd name="connsiteX657" fmla="*/ 3353431 w 4940931"/>
                <a:gd name="connsiteY657" fmla="*/ 109855 h 138429"/>
                <a:gd name="connsiteX658" fmla="*/ 3344541 w 4940931"/>
                <a:gd name="connsiteY658" fmla="*/ 110490 h 138429"/>
                <a:gd name="connsiteX659" fmla="*/ 3335016 w 4940931"/>
                <a:gd name="connsiteY659" fmla="*/ 109220 h 138429"/>
                <a:gd name="connsiteX660" fmla="*/ 3327396 w 4940931"/>
                <a:gd name="connsiteY660" fmla="*/ 105410 h 138429"/>
                <a:gd name="connsiteX661" fmla="*/ 3321046 w 4940931"/>
                <a:gd name="connsiteY661" fmla="*/ 100330 h 138429"/>
                <a:gd name="connsiteX662" fmla="*/ 3315966 w 4940931"/>
                <a:gd name="connsiteY662" fmla="*/ 92710 h 138429"/>
                <a:gd name="connsiteX663" fmla="*/ 3312156 w 4940931"/>
                <a:gd name="connsiteY663" fmla="*/ 82550 h 138429"/>
                <a:gd name="connsiteX664" fmla="*/ 3310886 w 4940931"/>
                <a:gd name="connsiteY664" fmla="*/ 69850 h 138429"/>
                <a:gd name="connsiteX665" fmla="*/ 3313426 w 4940931"/>
                <a:gd name="connsiteY665" fmla="*/ 52070 h 138429"/>
                <a:gd name="connsiteX666" fmla="*/ 3320411 w 4940931"/>
                <a:gd name="connsiteY666" fmla="*/ 39370 h 138429"/>
                <a:gd name="connsiteX667" fmla="*/ 3331206 w 4940931"/>
                <a:gd name="connsiteY667" fmla="*/ 31750 h 138429"/>
                <a:gd name="connsiteX668" fmla="*/ 3345176 w 4940931"/>
                <a:gd name="connsiteY668" fmla="*/ 29210 h 138429"/>
                <a:gd name="connsiteX669" fmla="*/ 3060696 w 4940931"/>
                <a:gd name="connsiteY669" fmla="*/ 29210 h 138429"/>
                <a:gd name="connsiteX670" fmla="*/ 3068316 w 4940931"/>
                <a:gd name="connsiteY670" fmla="*/ 29845 h 138429"/>
                <a:gd name="connsiteX671" fmla="*/ 3074031 w 4940931"/>
                <a:gd name="connsiteY671" fmla="*/ 32385 h 138429"/>
                <a:gd name="connsiteX672" fmla="*/ 3070221 w 4940931"/>
                <a:gd name="connsiteY672" fmla="*/ 46990 h 138429"/>
                <a:gd name="connsiteX673" fmla="*/ 3068951 w 4940931"/>
                <a:gd name="connsiteY673" fmla="*/ 46990 h 138429"/>
                <a:gd name="connsiteX674" fmla="*/ 3063871 w 4940931"/>
                <a:gd name="connsiteY674" fmla="*/ 45085 h 138429"/>
                <a:gd name="connsiteX675" fmla="*/ 3057521 w 4940931"/>
                <a:gd name="connsiteY675" fmla="*/ 44450 h 138429"/>
                <a:gd name="connsiteX676" fmla="*/ 3046091 w 4940931"/>
                <a:gd name="connsiteY676" fmla="*/ 49530 h 138429"/>
                <a:gd name="connsiteX677" fmla="*/ 3042281 w 4940931"/>
                <a:gd name="connsiteY677" fmla="*/ 64770 h 138429"/>
                <a:gd name="connsiteX678" fmla="*/ 3042281 w 4940931"/>
                <a:gd name="connsiteY678" fmla="*/ 109220 h 138429"/>
                <a:gd name="connsiteX679" fmla="*/ 3027041 w 4940931"/>
                <a:gd name="connsiteY679" fmla="*/ 109220 h 138429"/>
                <a:gd name="connsiteX680" fmla="*/ 3027041 w 4940931"/>
                <a:gd name="connsiteY680" fmla="*/ 31115 h 138429"/>
                <a:gd name="connsiteX681" fmla="*/ 3042281 w 4940931"/>
                <a:gd name="connsiteY681" fmla="*/ 31115 h 138429"/>
                <a:gd name="connsiteX682" fmla="*/ 3042281 w 4940931"/>
                <a:gd name="connsiteY682" fmla="*/ 38735 h 138429"/>
                <a:gd name="connsiteX683" fmla="*/ 3045456 w 4940931"/>
                <a:gd name="connsiteY683" fmla="*/ 34925 h 138429"/>
                <a:gd name="connsiteX684" fmla="*/ 3049901 w 4940931"/>
                <a:gd name="connsiteY684" fmla="*/ 31750 h 138429"/>
                <a:gd name="connsiteX685" fmla="*/ 3054981 w 4940931"/>
                <a:gd name="connsiteY685" fmla="*/ 29845 h 138429"/>
                <a:gd name="connsiteX686" fmla="*/ 3060696 w 4940931"/>
                <a:gd name="connsiteY686" fmla="*/ 29210 h 138429"/>
                <a:gd name="connsiteX687" fmla="*/ 2978781 w 4940931"/>
                <a:gd name="connsiteY687" fmla="*/ 29210 h 138429"/>
                <a:gd name="connsiteX688" fmla="*/ 2993386 w 4940931"/>
                <a:gd name="connsiteY688" fmla="*/ 32385 h 138429"/>
                <a:gd name="connsiteX689" fmla="*/ 3003546 w 4940931"/>
                <a:gd name="connsiteY689" fmla="*/ 40640 h 138429"/>
                <a:gd name="connsiteX690" fmla="*/ 3009896 w 4940931"/>
                <a:gd name="connsiteY690" fmla="*/ 53340 h 138429"/>
                <a:gd name="connsiteX691" fmla="*/ 3011801 w 4940931"/>
                <a:gd name="connsiteY691" fmla="*/ 68580 h 138429"/>
                <a:gd name="connsiteX692" fmla="*/ 3010531 w 4940931"/>
                <a:gd name="connsiteY692" fmla="*/ 68580 h 138429"/>
                <a:gd name="connsiteX693" fmla="*/ 3010531 w 4940931"/>
                <a:gd name="connsiteY693" fmla="*/ 72390 h 138429"/>
                <a:gd name="connsiteX694" fmla="*/ 3010531 w 4940931"/>
                <a:gd name="connsiteY694" fmla="*/ 75565 h 138429"/>
                <a:gd name="connsiteX695" fmla="*/ 2959096 w 4940931"/>
                <a:gd name="connsiteY695" fmla="*/ 75565 h 138429"/>
                <a:gd name="connsiteX696" fmla="*/ 2961636 w 4940931"/>
                <a:gd name="connsiteY696" fmla="*/ 85090 h 138429"/>
                <a:gd name="connsiteX697" fmla="*/ 2966081 w 4940931"/>
                <a:gd name="connsiteY697" fmla="*/ 91440 h 138429"/>
                <a:gd name="connsiteX698" fmla="*/ 2971796 w 4940931"/>
                <a:gd name="connsiteY698" fmla="*/ 95250 h 138429"/>
                <a:gd name="connsiteX699" fmla="*/ 2978781 w 4940931"/>
                <a:gd name="connsiteY699" fmla="*/ 96520 h 138429"/>
                <a:gd name="connsiteX700" fmla="*/ 2983861 w 4940931"/>
                <a:gd name="connsiteY700" fmla="*/ 96520 h 138429"/>
                <a:gd name="connsiteX701" fmla="*/ 2988306 w 4940931"/>
                <a:gd name="connsiteY701" fmla="*/ 95250 h 138429"/>
                <a:gd name="connsiteX702" fmla="*/ 2992116 w 4940931"/>
                <a:gd name="connsiteY702" fmla="*/ 93345 h 138429"/>
                <a:gd name="connsiteX703" fmla="*/ 2996561 w 4940931"/>
                <a:gd name="connsiteY703" fmla="*/ 90805 h 138429"/>
                <a:gd name="connsiteX704" fmla="*/ 3005451 w 4940931"/>
                <a:gd name="connsiteY704" fmla="*/ 100330 h 138429"/>
                <a:gd name="connsiteX705" fmla="*/ 2999736 w 4940931"/>
                <a:gd name="connsiteY705" fmla="*/ 104775 h 138429"/>
                <a:gd name="connsiteX706" fmla="*/ 2994021 w 4940931"/>
                <a:gd name="connsiteY706" fmla="*/ 107950 h 138429"/>
                <a:gd name="connsiteX707" fmla="*/ 2987036 w 4940931"/>
                <a:gd name="connsiteY707" fmla="*/ 109855 h 138429"/>
                <a:gd name="connsiteX708" fmla="*/ 2978146 w 4940931"/>
                <a:gd name="connsiteY708" fmla="*/ 110490 h 138429"/>
                <a:gd name="connsiteX709" fmla="*/ 2968621 w 4940931"/>
                <a:gd name="connsiteY709" fmla="*/ 109220 h 138429"/>
                <a:gd name="connsiteX710" fmla="*/ 2961001 w 4940931"/>
                <a:gd name="connsiteY710" fmla="*/ 105410 h 138429"/>
                <a:gd name="connsiteX711" fmla="*/ 2954651 w 4940931"/>
                <a:gd name="connsiteY711" fmla="*/ 100330 h 138429"/>
                <a:gd name="connsiteX712" fmla="*/ 2949571 w 4940931"/>
                <a:gd name="connsiteY712" fmla="*/ 92710 h 138429"/>
                <a:gd name="connsiteX713" fmla="*/ 2945761 w 4940931"/>
                <a:gd name="connsiteY713" fmla="*/ 82550 h 138429"/>
                <a:gd name="connsiteX714" fmla="*/ 2944491 w 4940931"/>
                <a:gd name="connsiteY714" fmla="*/ 69850 h 138429"/>
                <a:gd name="connsiteX715" fmla="*/ 2947031 w 4940931"/>
                <a:gd name="connsiteY715" fmla="*/ 52070 h 138429"/>
                <a:gd name="connsiteX716" fmla="*/ 2954016 w 4940931"/>
                <a:gd name="connsiteY716" fmla="*/ 39370 h 138429"/>
                <a:gd name="connsiteX717" fmla="*/ 2964811 w 4940931"/>
                <a:gd name="connsiteY717" fmla="*/ 31750 h 138429"/>
                <a:gd name="connsiteX718" fmla="*/ 2978781 w 4940931"/>
                <a:gd name="connsiteY718" fmla="*/ 29210 h 138429"/>
                <a:gd name="connsiteX719" fmla="*/ 2798440 w 4940931"/>
                <a:gd name="connsiteY719" fmla="*/ 29210 h 138429"/>
                <a:gd name="connsiteX720" fmla="*/ 2813045 w 4940931"/>
                <a:gd name="connsiteY720" fmla="*/ 31750 h 138429"/>
                <a:gd name="connsiteX721" fmla="*/ 2825110 w 4940931"/>
                <a:gd name="connsiteY721" fmla="*/ 38100 h 138429"/>
                <a:gd name="connsiteX722" fmla="*/ 2827015 w 4940931"/>
                <a:gd name="connsiteY722" fmla="*/ 38100 h 138429"/>
                <a:gd name="connsiteX723" fmla="*/ 2820030 w 4940931"/>
                <a:gd name="connsiteY723" fmla="*/ 50165 h 138429"/>
                <a:gd name="connsiteX724" fmla="*/ 2810505 w 4940931"/>
                <a:gd name="connsiteY724" fmla="*/ 45085 h 138429"/>
                <a:gd name="connsiteX725" fmla="*/ 2799710 w 4940931"/>
                <a:gd name="connsiteY725" fmla="*/ 43180 h 138429"/>
                <a:gd name="connsiteX726" fmla="*/ 2791455 w 4940931"/>
                <a:gd name="connsiteY726" fmla="*/ 45085 h 138429"/>
                <a:gd name="connsiteX727" fmla="*/ 2788915 w 4940931"/>
                <a:gd name="connsiteY727" fmla="*/ 50165 h 138429"/>
                <a:gd name="connsiteX728" fmla="*/ 2788915 w 4940931"/>
                <a:gd name="connsiteY728" fmla="*/ 52705 h 138429"/>
                <a:gd name="connsiteX729" fmla="*/ 2790820 w 4940931"/>
                <a:gd name="connsiteY729" fmla="*/ 55245 h 138429"/>
                <a:gd name="connsiteX730" fmla="*/ 2795265 w 4940931"/>
                <a:gd name="connsiteY730" fmla="*/ 57785 h 138429"/>
                <a:gd name="connsiteX731" fmla="*/ 2802250 w 4940931"/>
                <a:gd name="connsiteY731" fmla="*/ 60960 h 138429"/>
                <a:gd name="connsiteX732" fmla="*/ 2813680 w 4940931"/>
                <a:gd name="connsiteY732" fmla="*/ 66040 h 138429"/>
                <a:gd name="connsiteX733" fmla="*/ 2821935 w 4940931"/>
                <a:gd name="connsiteY733" fmla="*/ 71120 h 138429"/>
                <a:gd name="connsiteX734" fmla="*/ 2827015 w 4940931"/>
                <a:gd name="connsiteY734" fmla="*/ 78105 h 138429"/>
                <a:gd name="connsiteX735" fmla="*/ 2828920 w 4940931"/>
                <a:gd name="connsiteY735" fmla="*/ 87630 h 138429"/>
                <a:gd name="connsiteX736" fmla="*/ 2826380 w 4940931"/>
                <a:gd name="connsiteY736" fmla="*/ 98425 h 138429"/>
                <a:gd name="connsiteX737" fmla="*/ 2820030 w 4940931"/>
                <a:gd name="connsiteY737" fmla="*/ 105410 h 138429"/>
                <a:gd name="connsiteX738" fmla="*/ 2810505 w 4940931"/>
                <a:gd name="connsiteY738" fmla="*/ 109220 h 138429"/>
                <a:gd name="connsiteX739" fmla="*/ 2799710 w 4940931"/>
                <a:gd name="connsiteY739" fmla="*/ 110490 h 138429"/>
                <a:gd name="connsiteX740" fmla="*/ 2783835 w 4940931"/>
                <a:gd name="connsiteY740" fmla="*/ 107950 h 138429"/>
                <a:gd name="connsiteX741" fmla="*/ 2769230 w 4940931"/>
                <a:gd name="connsiteY741" fmla="*/ 100965 h 138429"/>
                <a:gd name="connsiteX742" fmla="*/ 2776215 w 4940931"/>
                <a:gd name="connsiteY742" fmla="*/ 89535 h 138429"/>
                <a:gd name="connsiteX743" fmla="*/ 2787645 w 4940931"/>
                <a:gd name="connsiteY743" fmla="*/ 95250 h 138429"/>
                <a:gd name="connsiteX744" fmla="*/ 2799075 w 4940931"/>
                <a:gd name="connsiteY744" fmla="*/ 97155 h 138429"/>
                <a:gd name="connsiteX745" fmla="*/ 2809870 w 4940931"/>
                <a:gd name="connsiteY745" fmla="*/ 94615 h 138429"/>
                <a:gd name="connsiteX746" fmla="*/ 2813045 w 4940931"/>
                <a:gd name="connsiteY746" fmla="*/ 88265 h 138429"/>
                <a:gd name="connsiteX747" fmla="*/ 2811775 w 4940931"/>
                <a:gd name="connsiteY747" fmla="*/ 84455 h 138429"/>
                <a:gd name="connsiteX748" fmla="*/ 2807965 w 4940931"/>
                <a:gd name="connsiteY748" fmla="*/ 81280 h 138429"/>
                <a:gd name="connsiteX749" fmla="*/ 2802250 w 4940931"/>
                <a:gd name="connsiteY749" fmla="*/ 78105 h 138429"/>
                <a:gd name="connsiteX750" fmla="*/ 2794630 w 4940931"/>
                <a:gd name="connsiteY750" fmla="*/ 74930 h 138429"/>
                <a:gd name="connsiteX751" fmla="*/ 2783835 w 4940931"/>
                <a:gd name="connsiteY751" fmla="*/ 69850 h 138429"/>
                <a:gd name="connsiteX752" fmla="*/ 2776850 w 4940931"/>
                <a:gd name="connsiteY752" fmla="*/ 64770 h 138429"/>
                <a:gd name="connsiteX753" fmla="*/ 2773040 w 4940931"/>
                <a:gd name="connsiteY753" fmla="*/ 58420 h 138429"/>
                <a:gd name="connsiteX754" fmla="*/ 2771770 w 4940931"/>
                <a:gd name="connsiteY754" fmla="*/ 50165 h 138429"/>
                <a:gd name="connsiteX755" fmla="*/ 2773675 w 4940931"/>
                <a:gd name="connsiteY755" fmla="*/ 40640 h 138429"/>
                <a:gd name="connsiteX756" fmla="*/ 2779390 w 4940931"/>
                <a:gd name="connsiteY756" fmla="*/ 34290 h 138429"/>
                <a:gd name="connsiteX757" fmla="*/ 2787645 w 4940931"/>
                <a:gd name="connsiteY757" fmla="*/ 30480 h 138429"/>
                <a:gd name="connsiteX758" fmla="*/ 2798440 w 4940931"/>
                <a:gd name="connsiteY758" fmla="*/ 29210 h 138429"/>
                <a:gd name="connsiteX759" fmla="*/ 2723510 w 4940931"/>
                <a:gd name="connsiteY759" fmla="*/ 29210 h 138429"/>
                <a:gd name="connsiteX760" fmla="*/ 2729225 w 4940931"/>
                <a:gd name="connsiteY760" fmla="*/ 29210 h 138429"/>
                <a:gd name="connsiteX761" fmla="*/ 2741290 w 4940931"/>
                <a:gd name="connsiteY761" fmla="*/ 31750 h 138429"/>
                <a:gd name="connsiteX762" fmla="*/ 2750180 w 4940931"/>
                <a:gd name="connsiteY762" fmla="*/ 38100 h 138429"/>
                <a:gd name="connsiteX763" fmla="*/ 2755260 w 4940931"/>
                <a:gd name="connsiteY763" fmla="*/ 48895 h 138429"/>
                <a:gd name="connsiteX764" fmla="*/ 2757165 w 4940931"/>
                <a:gd name="connsiteY764" fmla="*/ 64135 h 138429"/>
                <a:gd name="connsiteX765" fmla="*/ 2757165 w 4940931"/>
                <a:gd name="connsiteY765" fmla="*/ 108585 h 138429"/>
                <a:gd name="connsiteX766" fmla="*/ 2741925 w 4940931"/>
                <a:gd name="connsiteY766" fmla="*/ 108585 h 138429"/>
                <a:gd name="connsiteX767" fmla="*/ 2741290 w 4940931"/>
                <a:gd name="connsiteY767" fmla="*/ 108585 h 138429"/>
                <a:gd name="connsiteX768" fmla="*/ 2741290 w 4940931"/>
                <a:gd name="connsiteY768" fmla="*/ 64770 h 138429"/>
                <a:gd name="connsiteX769" fmla="*/ 2737480 w 4940931"/>
                <a:gd name="connsiteY769" fmla="*/ 48895 h 138429"/>
                <a:gd name="connsiteX770" fmla="*/ 2725415 w 4940931"/>
                <a:gd name="connsiteY770" fmla="*/ 43180 h 138429"/>
                <a:gd name="connsiteX771" fmla="*/ 2718430 w 4940931"/>
                <a:gd name="connsiteY771" fmla="*/ 44450 h 138429"/>
                <a:gd name="connsiteX772" fmla="*/ 2713350 w 4940931"/>
                <a:gd name="connsiteY772" fmla="*/ 48260 h 138429"/>
                <a:gd name="connsiteX773" fmla="*/ 2710175 w 4940931"/>
                <a:gd name="connsiteY773" fmla="*/ 54610 h 138429"/>
                <a:gd name="connsiteX774" fmla="*/ 2709540 w 4940931"/>
                <a:gd name="connsiteY774" fmla="*/ 62865 h 138429"/>
                <a:gd name="connsiteX775" fmla="*/ 2709540 w 4940931"/>
                <a:gd name="connsiteY775" fmla="*/ 108585 h 138429"/>
                <a:gd name="connsiteX776" fmla="*/ 2694300 w 4940931"/>
                <a:gd name="connsiteY776" fmla="*/ 108585 h 138429"/>
                <a:gd name="connsiteX777" fmla="*/ 2694300 w 4940931"/>
                <a:gd name="connsiteY777" fmla="*/ 30480 h 138429"/>
                <a:gd name="connsiteX778" fmla="*/ 2709540 w 4940931"/>
                <a:gd name="connsiteY778" fmla="*/ 30480 h 138429"/>
                <a:gd name="connsiteX779" fmla="*/ 2709540 w 4940931"/>
                <a:gd name="connsiteY779" fmla="*/ 38100 h 138429"/>
                <a:gd name="connsiteX780" fmla="*/ 2713350 w 4940931"/>
                <a:gd name="connsiteY780" fmla="*/ 34290 h 138429"/>
                <a:gd name="connsiteX781" fmla="*/ 2717795 w 4940931"/>
                <a:gd name="connsiteY781" fmla="*/ 31115 h 138429"/>
                <a:gd name="connsiteX782" fmla="*/ 2723510 w 4940931"/>
                <a:gd name="connsiteY782" fmla="*/ 29210 h 138429"/>
                <a:gd name="connsiteX783" fmla="*/ 2530470 w 4940931"/>
                <a:gd name="connsiteY783" fmla="*/ 29210 h 138429"/>
                <a:gd name="connsiteX784" fmla="*/ 2545075 w 4940931"/>
                <a:gd name="connsiteY784" fmla="*/ 32385 h 138429"/>
                <a:gd name="connsiteX785" fmla="*/ 2555235 w 4940931"/>
                <a:gd name="connsiteY785" fmla="*/ 40640 h 138429"/>
                <a:gd name="connsiteX786" fmla="*/ 2561585 w 4940931"/>
                <a:gd name="connsiteY786" fmla="*/ 53340 h 138429"/>
                <a:gd name="connsiteX787" fmla="*/ 2563490 w 4940931"/>
                <a:gd name="connsiteY787" fmla="*/ 68580 h 138429"/>
                <a:gd name="connsiteX788" fmla="*/ 2562220 w 4940931"/>
                <a:gd name="connsiteY788" fmla="*/ 68580 h 138429"/>
                <a:gd name="connsiteX789" fmla="*/ 2562220 w 4940931"/>
                <a:gd name="connsiteY789" fmla="*/ 72390 h 138429"/>
                <a:gd name="connsiteX790" fmla="*/ 2562220 w 4940931"/>
                <a:gd name="connsiteY790" fmla="*/ 75565 h 138429"/>
                <a:gd name="connsiteX791" fmla="*/ 2510785 w 4940931"/>
                <a:gd name="connsiteY791" fmla="*/ 75565 h 138429"/>
                <a:gd name="connsiteX792" fmla="*/ 2513325 w 4940931"/>
                <a:gd name="connsiteY792" fmla="*/ 85090 h 138429"/>
                <a:gd name="connsiteX793" fmla="*/ 2517770 w 4940931"/>
                <a:gd name="connsiteY793" fmla="*/ 91440 h 138429"/>
                <a:gd name="connsiteX794" fmla="*/ 2523485 w 4940931"/>
                <a:gd name="connsiteY794" fmla="*/ 95250 h 138429"/>
                <a:gd name="connsiteX795" fmla="*/ 2530470 w 4940931"/>
                <a:gd name="connsiteY795" fmla="*/ 96520 h 138429"/>
                <a:gd name="connsiteX796" fmla="*/ 2535550 w 4940931"/>
                <a:gd name="connsiteY796" fmla="*/ 96520 h 138429"/>
                <a:gd name="connsiteX797" fmla="*/ 2539995 w 4940931"/>
                <a:gd name="connsiteY797" fmla="*/ 95250 h 138429"/>
                <a:gd name="connsiteX798" fmla="*/ 2543805 w 4940931"/>
                <a:gd name="connsiteY798" fmla="*/ 93345 h 138429"/>
                <a:gd name="connsiteX799" fmla="*/ 2548250 w 4940931"/>
                <a:gd name="connsiteY799" fmla="*/ 90805 h 138429"/>
                <a:gd name="connsiteX800" fmla="*/ 2557140 w 4940931"/>
                <a:gd name="connsiteY800" fmla="*/ 100330 h 138429"/>
                <a:gd name="connsiteX801" fmla="*/ 2551425 w 4940931"/>
                <a:gd name="connsiteY801" fmla="*/ 104775 h 138429"/>
                <a:gd name="connsiteX802" fmla="*/ 2545710 w 4940931"/>
                <a:gd name="connsiteY802" fmla="*/ 107950 h 138429"/>
                <a:gd name="connsiteX803" fmla="*/ 2538725 w 4940931"/>
                <a:gd name="connsiteY803" fmla="*/ 109855 h 138429"/>
                <a:gd name="connsiteX804" fmla="*/ 2529835 w 4940931"/>
                <a:gd name="connsiteY804" fmla="*/ 110490 h 138429"/>
                <a:gd name="connsiteX805" fmla="*/ 2520310 w 4940931"/>
                <a:gd name="connsiteY805" fmla="*/ 109220 h 138429"/>
                <a:gd name="connsiteX806" fmla="*/ 2512690 w 4940931"/>
                <a:gd name="connsiteY806" fmla="*/ 105410 h 138429"/>
                <a:gd name="connsiteX807" fmla="*/ 2506340 w 4940931"/>
                <a:gd name="connsiteY807" fmla="*/ 100330 h 138429"/>
                <a:gd name="connsiteX808" fmla="*/ 2501260 w 4940931"/>
                <a:gd name="connsiteY808" fmla="*/ 92710 h 138429"/>
                <a:gd name="connsiteX809" fmla="*/ 2497450 w 4940931"/>
                <a:gd name="connsiteY809" fmla="*/ 82550 h 138429"/>
                <a:gd name="connsiteX810" fmla="*/ 2496180 w 4940931"/>
                <a:gd name="connsiteY810" fmla="*/ 69850 h 138429"/>
                <a:gd name="connsiteX811" fmla="*/ 2498720 w 4940931"/>
                <a:gd name="connsiteY811" fmla="*/ 52070 h 138429"/>
                <a:gd name="connsiteX812" fmla="*/ 2505705 w 4940931"/>
                <a:gd name="connsiteY812" fmla="*/ 39370 h 138429"/>
                <a:gd name="connsiteX813" fmla="*/ 2516500 w 4940931"/>
                <a:gd name="connsiteY813" fmla="*/ 31750 h 138429"/>
                <a:gd name="connsiteX814" fmla="*/ 2530470 w 4940931"/>
                <a:gd name="connsiteY814" fmla="*/ 29210 h 138429"/>
                <a:gd name="connsiteX815" fmla="*/ 2298061 w 4940931"/>
                <a:gd name="connsiteY815" fmla="*/ 29210 h 138429"/>
                <a:gd name="connsiteX816" fmla="*/ 2305681 w 4940931"/>
                <a:gd name="connsiteY816" fmla="*/ 29845 h 138429"/>
                <a:gd name="connsiteX817" fmla="*/ 2311396 w 4940931"/>
                <a:gd name="connsiteY817" fmla="*/ 32385 h 138429"/>
                <a:gd name="connsiteX818" fmla="*/ 2307586 w 4940931"/>
                <a:gd name="connsiteY818" fmla="*/ 46990 h 138429"/>
                <a:gd name="connsiteX819" fmla="*/ 2306316 w 4940931"/>
                <a:gd name="connsiteY819" fmla="*/ 46990 h 138429"/>
                <a:gd name="connsiteX820" fmla="*/ 2301236 w 4940931"/>
                <a:gd name="connsiteY820" fmla="*/ 45085 h 138429"/>
                <a:gd name="connsiteX821" fmla="*/ 2294886 w 4940931"/>
                <a:gd name="connsiteY821" fmla="*/ 44450 h 138429"/>
                <a:gd name="connsiteX822" fmla="*/ 2283456 w 4940931"/>
                <a:gd name="connsiteY822" fmla="*/ 49530 h 138429"/>
                <a:gd name="connsiteX823" fmla="*/ 2279646 w 4940931"/>
                <a:gd name="connsiteY823" fmla="*/ 64770 h 138429"/>
                <a:gd name="connsiteX824" fmla="*/ 2279646 w 4940931"/>
                <a:gd name="connsiteY824" fmla="*/ 109220 h 138429"/>
                <a:gd name="connsiteX825" fmla="*/ 2264406 w 4940931"/>
                <a:gd name="connsiteY825" fmla="*/ 109220 h 138429"/>
                <a:gd name="connsiteX826" fmla="*/ 2264406 w 4940931"/>
                <a:gd name="connsiteY826" fmla="*/ 31115 h 138429"/>
                <a:gd name="connsiteX827" fmla="*/ 2279646 w 4940931"/>
                <a:gd name="connsiteY827" fmla="*/ 31115 h 138429"/>
                <a:gd name="connsiteX828" fmla="*/ 2279646 w 4940931"/>
                <a:gd name="connsiteY828" fmla="*/ 38735 h 138429"/>
                <a:gd name="connsiteX829" fmla="*/ 2282821 w 4940931"/>
                <a:gd name="connsiteY829" fmla="*/ 34925 h 138429"/>
                <a:gd name="connsiteX830" fmla="*/ 2287266 w 4940931"/>
                <a:gd name="connsiteY830" fmla="*/ 31750 h 138429"/>
                <a:gd name="connsiteX831" fmla="*/ 2292346 w 4940931"/>
                <a:gd name="connsiteY831" fmla="*/ 29845 h 138429"/>
                <a:gd name="connsiteX832" fmla="*/ 2298061 w 4940931"/>
                <a:gd name="connsiteY832" fmla="*/ 29210 h 138429"/>
                <a:gd name="connsiteX833" fmla="*/ 2216145 w 4940931"/>
                <a:gd name="connsiteY833" fmla="*/ 29210 h 138429"/>
                <a:gd name="connsiteX834" fmla="*/ 2230750 w 4940931"/>
                <a:gd name="connsiteY834" fmla="*/ 32385 h 138429"/>
                <a:gd name="connsiteX835" fmla="*/ 2240910 w 4940931"/>
                <a:gd name="connsiteY835" fmla="*/ 40640 h 138429"/>
                <a:gd name="connsiteX836" fmla="*/ 2247260 w 4940931"/>
                <a:gd name="connsiteY836" fmla="*/ 53340 h 138429"/>
                <a:gd name="connsiteX837" fmla="*/ 2249165 w 4940931"/>
                <a:gd name="connsiteY837" fmla="*/ 68580 h 138429"/>
                <a:gd name="connsiteX838" fmla="*/ 2247895 w 4940931"/>
                <a:gd name="connsiteY838" fmla="*/ 68580 h 138429"/>
                <a:gd name="connsiteX839" fmla="*/ 2247895 w 4940931"/>
                <a:gd name="connsiteY839" fmla="*/ 72390 h 138429"/>
                <a:gd name="connsiteX840" fmla="*/ 2247895 w 4940931"/>
                <a:gd name="connsiteY840" fmla="*/ 75565 h 138429"/>
                <a:gd name="connsiteX841" fmla="*/ 2196460 w 4940931"/>
                <a:gd name="connsiteY841" fmla="*/ 75565 h 138429"/>
                <a:gd name="connsiteX842" fmla="*/ 2199000 w 4940931"/>
                <a:gd name="connsiteY842" fmla="*/ 85090 h 138429"/>
                <a:gd name="connsiteX843" fmla="*/ 2203445 w 4940931"/>
                <a:gd name="connsiteY843" fmla="*/ 91440 h 138429"/>
                <a:gd name="connsiteX844" fmla="*/ 2209160 w 4940931"/>
                <a:gd name="connsiteY844" fmla="*/ 95250 h 138429"/>
                <a:gd name="connsiteX845" fmla="*/ 2216145 w 4940931"/>
                <a:gd name="connsiteY845" fmla="*/ 96520 h 138429"/>
                <a:gd name="connsiteX846" fmla="*/ 2221225 w 4940931"/>
                <a:gd name="connsiteY846" fmla="*/ 96520 h 138429"/>
                <a:gd name="connsiteX847" fmla="*/ 2225670 w 4940931"/>
                <a:gd name="connsiteY847" fmla="*/ 95250 h 138429"/>
                <a:gd name="connsiteX848" fmla="*/ 2229480 w 4940931"/>
                <a:gd name="connsiteY848" fmla="*/ 93345 h 138429"/>
                <a:gd name="connsiteX849" fmla="*/ 2233925 w 4940931"/>
                <a:gd name="connsiteY849" fmla="*/ 90805 h 138429"/>
                <a:gd name="connsiteX850" fmla="*/ 2242815 w 4940931"/>
                <a:gd name="connsiteY850" fmla="*/ 100330 h 138429"/>
                <a:gd name="connsiteX851" fmla="*/ 2237100 w 4940931"/>
                <a:gd name="connsiteY851" fmla="*/ 104775 h 138429"/>
                <a:gd name="connsiteX852" fmla="*/ 2231385 w 4940931"/>
                <a:gd name="connsiteY852" fmla="*/ 107950 h 138429"/>
                <a:gd name="connsiteX853" fmla="*/ 2224400 w 4940931"/>
                <a:gd name="connsiteY853" fmla="*/ 109855 h 138429"/>
                <a:gd name="connsiteX854" fmla="*/ 2215510 w 4940931"/>
                <a:gd name="connsiteY854" fmla="*/ 110490 h 138429"/>
                <a:gd name="connsiteX855" fmla="*/ 2205985 w 4940931"/>
                <a:gd name="connsiteY855" fmla="*/ 109220 h 138429"/>
                <a:gd name="connsiteX856" fmla="*/ 2198365 w 4940931"/>
                <a:gd name="connsiteY856" fmla="*/ 105410 h 138429"/>
                <a:gd name="connsiteX857" fmla="*/ 2192015 w 4940931"/>
                <a:gd name="connsiteY857" fmla="*/ 100330 h 138429"/>
                <a:gd name="connsiteX858" fmla="*/ 2186935 w 4940931"/>
                <a:gd name="connsiteY858" fmla="*/ 92710 h 138429"/>
                <a:gd name="connsiteX859" fmla="*/ 2183125 w 4940931"/>
                <a:gd name="connsiteY859" fmla="*/ 82550 h 138429"/>
                <a:gd name="connsiteX860" fmla="*/ 2181855 w 4940931"/>
                <a:gd name="connsiteY860" fmla="*/ 69850 h 138429"/>
                <a:gd name="connsiteX861" fmla="*/ 2184395 w 4940931"/>
                <a:gd name="connsiteY861" fmla="*/ 52070 h 138429"/>
                <a:gd name="connsiteX862" fmla="*/ 2191380 w 4940931"/>
                <a:gd name="connsiteY862" fmla="*/ 39370 h 138429"/>
                <a:gd name="connsiteX863" fmla="*/ 2202175 w 4940931"/>
                <a:gd name="connsiteY863" fmla="*/ 31750 h 138429"/>
                <a:gd name="connsiteX864" fmla="*/ 2216145 w 4940931"/>
                <a:gd name="connsiteY864" fmla="*/ 29210 h 138429"/>
                <a:gd name="connsiteX865" fmla="*/ 2029456 w 4940931"/>
                <a:gd name="connsiteY865" fmla="*/ 29210 h 138429"/>
                <a:gd name="connsiteX866" fmla="*/ 2044061 w 4940931"/>
                <a:gd name="connsiteY866" fmla="*/ 32385 h 138429"/>
                <a:gd name="connsiteX867" fmla="*/ 2054221 w 4940931"/>
                <a:gd name="connsiteY867" fmla="*/ 40640 h 138429"/>
                <a:gd name="connsiteX868" fmla="*/ 2060571 w 4940931"/>
                <a:gd name="connsiteY868" fmla="*/ 53340 h 138429"/>
                <a:gd name="connsiteX869" fmla="*/ 2062476 w 4940931"/>
                <a:gd name="connsiteY869" fmla="*/ 68580 h 138429"/>
                <a:gd name="connsiteX870" fmla="*/ 2061206 w 4940931"/>
                <a:gd name="connsiteY870" fmla="*/ 68580 h 138429"/>
                <a:gd name="connsiteX871" fmla="*/ 2061206 w 4940931"/>
                <a:gd name="connsiteY871" fmla="*/ 72390 h 138429"/>
                <a:gd name="connsiteX872" fmla="*/ 2061206 w 4940931"/>
                <a:gd name="connsiteY872" fmla="*/ 75565 h 138429"/>
                <a:gd name="connsiteX873" fmla="*/ 2009771 w 4940931"/>
                <a:gd name="connsiteY873" fmla="*/ 75565 h 138429"/>
                <a:gd name="connsiteX874" fmla="*/ 2012311 w 4940931"/>
                <a:gd name="connsiteY874" fmla="*/ 85090 h 138429"/>
                <a:gd name="connsiteX875" fmla="*/ 2016756 w 4940931"/>
                <a:gd name="connsiteY875" fmla="*/ 91440 h 138429"/>
                <a:gd name="connsiteX876" fmla="*/ 2022471 w 4940931"/>
                <a:gd name="connsiteY876" fmla="*/ 95250 h 138429"/>
                <a:gd name="connsiteX877" fmla="*/ 2029456 w 4940931"/>
                <a:gd name="connsiteY877" fmla="*/ 96520 h 138429"/>
                <a:gd name="connsiteX878" fmla="*/ 2034536 w 4940931"/>
                <a:gd name="connsiteY878" fmla="*/ 96520 h 138429"/>
                <a:gd name="connsiteX879" fmla="*/ 2038981 w 4940931"/>
                <a:gd name="connsiteY879" fmla="*/ 95250 h 138429"/>
                <a:gd name="connsiteX880" fmla="*/ 2042791 w 4940931"/>
                <a:gd name="connsiteY880" fmla="*/ 93345 h 138429"/>
                <a:gd name="connsiteX881" fmla="*/ 2047236 w 4940931"/>
                <a:gd name="connsiteY881" fmla="*/ 90805 h 138429"/>
                <a:gd name="connsiteX882" fmla="*/ 2056126 w 4940931"/>
                <a:gd name="connsiteY882" fmla="*/ 100330 h 138429"/>
                <a:gd name="connsiteX883" fmla="*/ 2050411 w 4940931"/>
                <a:gd name="connsiteY883" fmla="*/ 104775 h 138429"/>
                <a:gd name="connsiteX884" fmla="*/ 2044696 w 4940931"/>
                <a:gd name="connsiteY884" fmla="*/ 107950 h 138429"/>
                <a:gd name="connsiteX885" fmla="*/ 2037711 w 4940931"/>
                <a:gd name="connsiteY885" fmla="*/ 109855 h 138429"/>
                <a:gd name="connsiteX886" fmla="*/ 2028821 w 4940931"/>
                <a:gd name="connsiteY886" fmla="*/ 110490 h 138429"/>
                <a:gd name="connsiteX887" fmla="*/ 2019296 w 4940931"/>
                <a:gd name="connsiteY887" fmla="*/ 109220 h 138429"/>
                <a:gd name="connsiteX888" fmla="*/ 2011676 w 4940931"/>
                <a:gd name="connsiteY888" fmla="*/ 105410 h 138429"/>
                <a:gd name="connsiteX889" fmla="*/ 2005326 w 4940931"/>
                <a:gd name="connsiteY889" fmla="*/ 100330 h 138429"/>
                <a:gd name="connsiteX890" fmla="*/ 2000246 w 4940931"/>
                <a:gd name="connsiteY890" fmla="*/ 92710 h 138429"/>
                <a:gd name="connsiteX891" fmla="*/ 1996436 w 4940931"/>
                <a:gd name="connsiteY891" fmla="*/ 82550 h 138429"/>
                <a:gd name="connsiteX892" fmla="*/ 1995166 w 4940931"/>
                <a:gd name="connsiteY892" fmla="*/ 69850 h 138429"/>
                <a:gd name="connsiteX893" fmla="*/ 1997706 w 4940931"/>
                <a:gd name="connsiteY893" fmla="*/ 52070 h 138429"/>
                <a:gd name="connsiteX894" fmla="*/ 2004691 w 4940931"/>
                <a:gd name="connsiteY894" fmla="*/ 39370 h 138429"/>
                <a:gd name="connsiteX895" fmla="*/ 2015486 w 4940931"/>
                <a:gd name="connsiteY895" fmla="*/ 31750 h 138429"/>
                <a:gd name="connsiteX896" fmla="*/ 2029456 w 4940931"/>
                <a:gd name="connsiteY896" fmla="*/ 29210 h 138429"/>
                <a:gd name="connsiteX897" fmla="*/ 1831336 w 4940931"/>
                <a:gd name="connsiteY897" fmla="*/ 29210 h 138429"/>
                <a:gd name="connsiteX898" fmla="*/ 1845941 w 4940931"/>
                <a:gd name="connsiteY898" fmla="*/ 32385 h 138429"/>
                <a:gd name="connsiteX899" fmla="*/ 1856101 w 4940931"/>
                <a:gd name="connsiteY899" fmla="*/ 40640 h 138429"/>
                <a:gd name="connsiteX900" fmla="*/ 1862451 w 4940931"/>
                <a:gd name="connsiteY900" fmla="*/ 53340 h 138429"/>
                <a:gd name="connsiteX901" fmla="*/ 1864356 w 4940931"/>
                <a:gd name="connsiteY901" fmla="*/ 68580 h 138429"/>
                <a:gd name="connsiteX902" fmla="*/ 1863086 w 4940931"/>
                <a:gd name="connsiteY902" fmla="*/ 68580 h 138429"/>
                <a:gd name="connsiteX903" fmla="*/ 1863086 w 4940931"/>
                <a:gd name="connsiteY903" fmla="*/ 72390 h 138429"/>
                <a:gd name="connsiteX904" fmla="*/ 1863086 w 4940931"/>
                <a:gd name="connsiteY904" fmla="*/ 75565 h 138429"/>
                <a:gd name="connsiteX905" fmla="*/ 1811651 w 4940931"/>
                <a:gd name="connsiteY905" fmla="*/ 75565 h 138429"/>
                <a:gd name="connsiteX906" fmla="*/ 1814191 w 4940931"/>
                <a:gd name="connsiteY906" fmla="*/ 85090 h 138429"/>
                <a:gd name="connsiteX907" fmla="*/ 1818636 w 4940931"/>
                <a:gd name="connsiteY907" fmla="*/ 91440 h 138429"/>
                <a:gd name="connsiteX908" fmla="*/ 1824351 w 4940931"/>
                <a:gd name="connsiteY908" fmla="*/ 95250 h 138429"/>
                <a:gd name="connsiteX909" fmla="*/ 1831336 w 4940931"/>
                <a:gd name="connsiteY909" fmla="*/ 96520 h 138429"/>
                <a:gd name="connsiteX910" fmla="*/ 1836416 w 4940931"/>
                <a:gd name="connsiteY910" fmla="*/ 96520 h 138429"/>
                <a:gd name="connsiteX911" fmla="*/ 1840861 w 4940931"/>
                <a:gd name="connsiteY911" fmla="*/ 95250 h 138429"/>
                <a:gd name="connsiteX912" fmla="*/ 1844671 w 4940931"/>
                <a:gd name="connsiteY912" fmla="*/ 93345 h 138429"/>
                <a:gd name="connsiteX913" fmla="*/ 1849116 w 4940931"/>
                <a:gd name="connsiteY913" fmla="*/ 90805 h 138429"/>
                <a:gd name="connsiteX914" fmla="*/ 1858006 w 4940931"/>
                <a:gd name="connsiteY914" fmla="*/ 100330 h 138429"/>
                <a:gd name="connsiteX915" fmla="*/ 1852291 w 4940931"/>
                <a:gd name="connsiteY915" fmla="*/ 104775 h 138429"/>
                <a:gd name="connsiteX916" fmla="*/ 1846576 w 4940931"/>
                <a:gd name="connsiteY916" fmla="*/ 107950 h 138429"/>
                <a:gd name="connsiteX917" fmla="*/ 1839591 w 4940931"/>
                <a:gd name="connsiteY917" fmla="*/ 109855 h 138429"/>
                <a:gd name="connsiteX918" fmla="*/ 1830701 w 4940931"/>
                <a:gd name="connsiteY918" fmla="*/ 110490 h 138429"/>
                <a:gd name="connsiteX919" fmla="*/ 1821176 w 4940931"/>
                <a:gd name="connsiteY919" fmla="*/ 109220 h 138429"/>
                <a:gd name="connsiteX920" fmla="*/ 1813556 w 4940931"/>
                <a:gd name="connsiteY920" fmla="*/ 105410 h 138429"/>
                <a:gd name="connsiteX921" fmla="*/ 1807206 w 4940931"/>
                <a:gd name="connsiteY921" fmla="*/ 100330 h 138429"/>
                <a:gd name="connsiteX922" fmla="*/ 1802126 w 4940931"/>
                <a:gd name="connsiteY922" fmla="*/ 92710 h 138429"/>
                <a:gd name="connsiteX923" fmla="*/ 1798316 w 4940931"/>
                <a:gd name="connsiteY923" fmla="*/ 82550 h 138429"/>
                <a:gd name="connsiteX924" fmla="*/ 1797046 w 4940931"/>
                <a:gd name="connsiteY924" fmla="*/ 69850 h 138429"/>
                <a:gd name="connsiteX925" fmla="*/ 1799586 w 4940931"/>
                <a:gd name="connsiteY925" fmla="*/ 52070 h 138429"/>
                <a:gd name="connsiteX926" fmla="*/ 1806571 w 4940931"/>
                <a:gd name="connsiteY926" fmla="*/ 39370 h 138429"/>
                <a:gd name="connsiteX927" fmla="*/ 1817366 w 4940931"/>
                <a:gd name="connsiteY927" fmla="*/ 31750 h 138429"/>
                <a:gd name="connsiteX928" fmla="*/ 1831336 w 4940931"/>
                <a:gd name="connsiteY928" fmla="*/ 29210 h 138429"/>
                <a:gd name="connsiteX929" fmla="*/ 1501140 w 4940931"/>
                <a:gd name="connsiteY929" fmla="*/ 29210 h 138429"/>
                <a:gd name="connsiteX930" fmla="*/ 1506856 w 4940931"/>
                <a:gd name="connsiteY930" fmla="*/ 29210 h 138429"/>
                <a:gd name="connsiteX931" fmla="*/ 1518920 w 4940931"/>
                <a:gd name="connsiteY931" fmla="*/ 31750 h 138429"/>
                <a:gd name="connsiteX932" fmla="*/ 1527811 w 4940931"/>
                <a:gd name="connsiteY932" fmla="*/ 38100 h 138429"/>
                <a:gd name="connsiteX933" fmla="*/ 1532891 w 4940931"/>
                <a:gd name="connsiteY933" fmla="*/ 48895 h 138429"/>
                <a:gd name="connsiteX934" fmla="*/ 1534796 w 4940931"/>
                <a:gd name="connsiteY934" fmla="*/ 64135 h 138429"/>
                <a:gd name="connsiteX935" fmla="*/ 1534796 w 4940931"/>
                <a:gd name="connsiteY935" fmla="*/ 108585 h 138429"/>
                <a:gd name="connsiteX936" fmla="*/ 1519556 w 4940931"/>
                <a:gd name="connsiteY936" fmla="*/ 108585 h 138429"/>
                <a:gd name="connsiteX937" fmla="*/ 1518920 w 4940931"/>
                <a:gd name="connsiteY937" fmla="*/ 108585 h 138429"/>
                <a:gd name="connsiteX938" fmla="*/ 1518920 w 4940931"/>
                <a:gd name="connsiteY938" fmla="*/ 64770 h 138429"/>
                <a:gd name="connsiteX939" fmla="*/ 1515111 w 4940931"/>
                <a:gd name="connsiteY939" fmla="*/ 48895 h 138429"/>
                <a:gd name="connsiteX940" fmla="*/ 1503046 w 4940931"/>
                <a:gd name="connsiteY940" fmla="*/ 43180 h 138429"/>
                <a:gd name="connsiteX941" fmla="*/ 1496061 w 4940931"/>
                <a:gd name="connsiteY941" fmla="*/ 44450 h 138429"/>
                <a:gd name="connsiteX942" fmla="*/ 1490981 w 4940931"/>
                <a:gd name="connsiteY942" fmla="*/ 48260 h 138429"/>
                <a:gd name="connsiteX943" fmla="*/ 1487806 w 4940931"/>
                <a:gd name="connsiteY943" fmla="*/ 54610 h 138429"/>
                <a:gd name="connsiteX944" fmla="*/ 1487170 w 4940931"/>
                <a:gd name="connsiteY944" fmla="*/ 62865 h 138429"/>
                <a:gd name="connsiteX945" fmla="*/ 1487170 w 4940931"/>
                <a:gd name="connsiteY945" fmla="*/ 108585 h 138429"/>
                <a:gd name="connsiteX946" fmla="*/ 1471931 w 4940931"/>
                <a:gd name="connsiteY946" fmla="*/ 108585 h 138429"/>
                <a:gd name="connsiteX947" fmla="*/ 1471931 w 4940931"/>
                <a:gd name="connsiteY947" fmla="*/ 30480 h 138429"/>
                <a:gd name="connsiteX948" fmla="*/ 1487170 w 4940931"/>
                <a:gd name="connsiteY948" fmla="*/ 30480 h 138429"/>
                <a:gd name="connsiteX949" fmla="*/ 1487170 w 4940931"/>
                <a:gd name="connsiteY949" fmla="*/ 38100 h 138429"/>
                <a:gd name="connsiteX950" fmla="*/ 1490981 w 4940931"/>
                <a:gd name="connsiteY950" fmla="*/ 34290 h 138429"/>
                <a:gd name="connsiteX951" fmla="*/ 1495426 w 4940931"/>
                <a:gd name="connsiteY951" fmla="*/ 31115 h 138429"/>
                <a:gd name="connsiteX952" fmla="*/ 1501140 w 4940931"/>
                <a:gd name="connsiteY952" fmla="*/ 29210 h 138429"/>
                <a:gd name="connsiteX953" fmla="*/ 1250316 w 4940931"/>
                <a:gd name="connsiteY953" fmla="*/ 29210 h 138429"/>
                <a:gd name="connsiteX954" fmla="*/ 1264286 w 4940931"/>
                <a:gd name="connsiteY954" fmla="*/ 31750 h 138429"/>
                <a:gd name="connsiteX955" fmla="*/ 1276350 w 4940931"/>
                <a:gd name="connsiteY955" fmla="*/ 38100 h 138429"/>
                <a:gd name="connsiteX956" fmla="*/ 1278256 w 4940931"/>
                <a:gd name="connsiteY956" fmla="*/ 38100 h 138429"/>
                <a:gd name="connsiteX957" fmla="*/ 1271271 w 4940931"/>
                <a:gd name="connsiteY957" fmla="*/ 50165 h 138429"/>
                <a:gd name="connsiteX958" fmla="*/ 1261746 w 4940931"/>
                <a:gd name="connsiteY958" fmla="*/ 45085 h 138429"/>
                <a:gd name="connsiteX959" fmla="*/ 1250951 w 4940931"/>
                <a:gd name="connsiteY959" fmla="*/ 43180 h 138429"/>
                <a:gd name="connsiteX960" fmla="*/ 1242696 w 4940931"/>
                <a:gd name="connsiteY960" fmla="*/ 45085 h 138429"/>
                <a:gd name="connsiteX961" fmla="*/ 1240156 w 4940931"/>
                <a:gd name="connsiteY961" fmla="*/ 50165 h 138429"/>
                <a:gd name="connsiteX962" fmla="*/ 1240156 w 4940931"/>
                <a:gd name="connsiteY962" fmla="*/ 52705 h 138429"/>
                <a:gd name="connsiteX963" fmla="*/ 1242061 w 4940931"/>
                <a:gd name="connsiteY963" fmla="*/ 55245 h 138429"/>
                <a:gd name="connsiteX964" fmla="*/ 1246506 w 4940931"/>
                <a:gd name="connsiteY964" fmla="*/ 57785 h 138429"/>
                <a:gd name="connsiteX965" fmla="*/ 1253491 w 4940931"/>
                <a:gd name="connsiteY965" fmla="*/ 60960 h 138429"/>
                <a:gd name="connsiteX966" fmla="*/ 1264921 w 4940931"/>
                <a:gd name="connsiteY966" fmla="*/ 66040 h 138429"/>
                <a:gd name="connsiteX967" fmla="*/ 1273176 w 4940931"/>
                <a:gd name="connsiteY967" fmla="*/ 71120 h 138429"/>
                <a:gd name="connsiteX968" fmla="*/ 1278256 w 4940931"/>
                <a:gd name="connsiteY968" fmla="*/ 78105 h 138429"/>
                <a:gd name="connsiteX969" fmla="*/ 1280161 w 4940931"/>
                <a:gd name="connsiteY969" fmla="*/ 87630 h 138429"/>
                <a:gd name="connsiteX970" fmla="*/ 1277621 w 4940931"/>
                <a:gd name="connsiteY970" fmla="*/ 98425 h 138429"/>
                <a:gd name="connsiteX971" fmla="*/ 1271271 w 4940931"/>
                <a:gd name="connsiteY971" fmla="*/ 105410 h 138429"/>
                <a:gd name="connsiteX972" fmla="*/ 1261746 w 4940931"/>
                <a:gd name="connsiteY972" fmla="*/ 109220 h 138429"/>
                <a:gd name="connsiteX973" fmla="*/ 1250951 w 4940931"/>
                <a:gd name="connsiteY973" fmla="*/ 110490 h 138429"/>
                <a:gd name="connsiteX974" fmla="*/ 1235711 w 4940931"/>
                <a:gd name="connsiteY974" fmla="*/ 107950 h 138429"/>
                <a:gd name="connsiteX975" fmla="*/ 1221106 w 4940931"/>
                <a:gd name="connsiteY975" fmla="*/ 100965 h 138429"/>
                <a:gd name="connsiteX976" fmla="*/ 1228091 w 4940931"/>
                <a:gd name="connsiteY976" fmla="*/ 89535 h 138429"/>
                <a:gd name="connsiteX977" fmla="*/ 1239521 w 4940931"/>
                <a:gd name="connsiteY977" fmla="*/ 95250 h 138429"/>
                <a:gd name="connsiteX978" fmla="*/ 1250951 w 4940931"/>
                <a:gd name="connsiteY978" fmla="*/ 97155 h 138429"/>
                <a:gd name="connsiteX979" fmla="*/ 1261746 w 4940931"/>
                <a:gd name="connsiteY979" fmla="*/ 94615 h 138429"/>
                <a:gd name="connsiteX980" fmla="*/ 1264921 w 4940931"/>
                <a:gd name="connsiteY980" fmla="*/ 88265 h 138429"/>
                <a:gd name="connsiteX981" fmla="*/ 1263650 w 4940931"/>
                <a:gd name="connsiteY981" fmla="*/ 84455 h 138429"/>
                <a:gd name="connsiteX982" fmla="*/ 1259841 w 4940931"/>
                <a:gd name="connsiteY982" fmla="*/ 81280 h 138429"/>
                <a:gd name="connsiteX983" fmla="*/ 1254125 w 4940931"/>
                <a:gd name="connsiteY983" fmla="*/ 78105 h 138429"/>
                <a:gd name="connsiteX984" fmla="*/ 1246506 w 4940931"/>
                <a:gd name="connsiteY984" fmla="*/ 74930 h 138429"/>
                <a:gd name="connsiteX985" fmla="*/ 1235711 w 4940931"/>
                <a:gd name="connsiteY985" fmla="*/ 69850 h 138429"/>
                <a:gd name="connsiteX986" fmla="*/ 1228726 w 4940931"/>
                <a:gd name="connsiteY986" fmla="*/ 64770 h 138429"/>
                <a:gd name="connsiteX987" fmla="*/ 1224916 w 4940931"/>
                <a:gd name="connsiteY987" fmla="*/ 58420 h 138429"/>
                <a:gd name="connsiteX988" fmla="*/ 1223646 w 4940931"/>
                <a:gd name="connsiteY988" fmla="*/ 50165 h 138429"/>
                <a:gd name="connsiteX989" fmla="*/ 1225551 w 4940931"/>
                <a:gd name="connsiteY989" fmla="*/ 40640 h 138429"/>
                <a:gd name="connsiteX990" fmla="*/ 1231266 w 4940931"/>
                <a:gd name="connsiteY990" fmla="*/ 34290 h 138429"/>
                <a:gd name="connsiteX991" fmla="*/ 1239521 w 4940931"/>
                <a:gd name="connsiteY991" fmla="*/ 30480 h 138429"/>
                <a:gd name="connsiteX992" fmla="*/ 1250316 w 4940931"/>
                <a:gd name="connsiteY992" fmla="*/ 29210 h 138429"/>
                <a:gd name="connsiteX993" fmla="*/ 1180466 w 4940931"/>
                <a:gd name="connsiteY993" fmla="*/ 29210 h 138429"/>
                <a:gd name="connsiteX994" fmla="*/ 1195071 w 4940931"/>
                <a:gd name="connsiteY994" fmla="*/ 32385 h 138429"/>
                <a:gd name="connsiteX995" fmla="*/ 1205231 w 4940931"/>
                <a:gd name="connsiteY995" fmla="*/ 40640 h 138429"/>
                <a:gd name="connsiteX996" fmla="*/ 1211581 w 4940931"/>
                <a:gd name="connsiteY996" fmla="*/ 53340 h 138429"/>
                <a:gd name="connsiteX997" fmla="*/ 1213486 w 4940931"/>
                <a:gd name="connsiteY997" fmla="*/ 68580 h 138429"/>
                <a:gd name="connsiteX998" fmla="*/ 1212216 w 4940931"/>
                <a:gd name="connsiteY998" fmla="*/ 68580 h 138429"/>
                <a:gd name="connsiteX999" fmla="*/ 1212216 w 4940931"/>
                <a:gd name="connsiteY999" fmla="*/ 72390 h 138429"/>
                <a:gd name="connsiteX1000" fmla="*/ 1212216 w 4940931"/>
                <a:gd name="connsiteY1000" fmla="*/ 75565 h 138429"/>
                <a:gd name="connsiteX1001" fmla="*/ 1160781 w 4940931"/>
                <a:gd name="connsiteY1001" fmla="*/ 75565 h 138429"/>
                <a:gd name="connsiteX1002" fmla="*/ 1163321 w 4940931"/>
                <a:gd name="connsiteY1002" fmla="*/ 85090 h 138429"/>
                <a:gd name="connsiteX1003" fmla="*/ 1167766 w 4940931"/>
                <a:gd name="connsiteY1003" fmla="*/ 91440 h 138429"/>
                <a:gd name="connsiteX1004" fmla="*/ 1173481 w 4940931"/>
                <a:gd name="connsiteY1004" fmla="*/ 95250 h 138429"/>
                <a:gd name="connsiteX1005" fmla="*/ 1180466 w 4940931"/>
                <a:gd name="connsiteY1005" fmla="*/ 96520 h 138429"/>
                <a:gd name="connsiteX1006" fmla="*/ 1185546 w 4940931"/>
                <a:gd name="connsiteY1006" fmla="*/ 96520 h 138429"/>
                <a:gd name="connsiteX1007" fmla="*/ 1189991 w 4940931"/>
                <a:gd name="connsiteY1007" fmla="*/ 95250 h 138429"/>
                <a:gd name="connsiteX1008" fmla="*/ 1193801 w 4940931"/>
                <a:gd name="connsiteY1008" fmla="*/ 93345 h 138429"/>
                <a:gd name="connsiteX1009" fmla="*/ 1198246 w 4940931"/>
                <a:gd name="connsiteY1009" fmla="*/ 90805 h 138429"/>
                <a:gd name="connsiteX1010" fmla="*/ 1207136 w 4940931"/>
                <a:gd name="connsiteY1010" fmla="*/ 100330 h 138429"/>
                <a:gd name="connsiteX1011" fmla="*/ 1201421 w 4940931"/>
                <a:gd name="connsiteY1011" fmla="*/ 104775 h 138429"/>
                <a:gd name="connsiteX1012" fmla="*/ 1195706 w 4940931"/>
                <a:gd name="connsiteY1012" fmla="*/ 107950 h 138429"/>
                <a:gd name="connsiteX1013" fmla="*/ 1188721 w 4940931"/>
                <a:gd name="connsiteY1013" fmla="*/ 109855 h 138429"/>
                <a:gd name="connsiteX1014" fmla="*/ 1179831 w 4940931"/>
                <a:gd name="connsiteY1014" fmla="*/ 110490 h 138429"/>
                <a:gd name="connsiteX1015" fmla="*/ 1170306 w 4940931"/>
                <a:gd name="connsiteY1015" fmla="*/ 109220 h 138429"/>
                <a:gd name="connsiteX1016" fmla="*/ 1162686 w 4940931"/>
                <a:gd name="connsiteY1016" fmla="*/ 105410 h 138429"/>
                <a:gd name="connsiteX1017" fmla="*/ 1156336 w 4940931"/>
                <a:gd name="connsiteY1017" fmla="*/ 100330 h 138429"/>
                <a:gd name="connsiteX1018" fmla="*/ 1151256 w 4940931"/>
                <a:gd name="connsiteY1018" fmla="*/ 92710 h 138429"/>
                <a:gd name="connsiteX1019" fmla="*/ 1147446 w 4940931"/>
                <a:gd name="connsiteY1019" fmla="*/ 82550 h 138429"/>
                <a:gd name="connsiteX1020" fmla="*/ 1146176 w 4940931"/>
                <a:gd name="connsiteY1020" fmla="*/ 69850 h 138429"/>
                <a:gd name="connsiteX1021" fmla="*/ 1148716 w 4940931"/>
                <a:gd name="connsiteY1021" fmla="*/ 52070 h 138429"/>
                <a:gd name="connsiteX1022" fmla="*/ 1155701 w 4940931"/>
                <a:gd name="connsiteY1022" fmla="*/ 39370 h 138429"/>
                <a:gd name="connsiteX1023" fmla="*/ 1166496 w 4940931"/>
                <a:gd name="connsiteY1023" fmla="*/ 31750 h 138429"/>
                <a:gd name="connsiteX1024" fmla="*/ 1180466 w 4940931"/>
                <a:gd name="connsiteY1024" fmla="*/ 29210 h 138429"/>
                <a:gd name="connsiteX1025" fmla="*/ 901065 w 4940931"/>
                <a:gd name="connsiteY1025" fmla="*/ 29210 h 138429"/>
                <a:gd name="connsiteX1026" fmla="*/ 915670 w 4940931"/>
                <a:gd name="connsiteY1026" fmla="*/ 32385 h 138429"/>
                <a:gd name="connsiteX1027" fmla="*/ 925830 w 4940931"/>
                <a:gd name="connsiteY1027" fmla="*/ 40640 h 138429"/>
                <a:gd name="connsiteX1028" fmla="*/ 932180 w 4940931"/>
                <a:gd name="connsiteY1028" fmla="*/ 53340 h 138429"/>
                <a:gd name="connsiteX1029" fmla="*/ 934085 w 4940931"/>
                <a:gd name="connsiteY1029" fmla="*/ 68580 h 138429"/>
                <a:gd name="connsiteX1030" fmla="*/ 932815 w 4940931"/>
                <a:gd name="connsiteY1030" fmla="*/ 68580 h 138429"/>
                <a:gd name="connsiteX1031" fmla="*/ 932815 w 4940931"/>
                <a:gd name="connsiteY1031" fmla="*/ 72390 h 138429"/>
                <a:gd name="connsiteX1032" fmla="*/ 932815 w 4940931"/>
                <a:gd name="connsiteY1032" fmla="*/ 75565 h 138429"/>
                <a:gd name="connsiteX1033" fmla="*/ 881380 w 4940931"/>
                <a:gd name="connsiteY1033" fmla="*/ 75565 h 138429"/>
                <a:gd name="connsiteX1034" fmla="*/ 883920 w 4940931"/>
                <a:gd name="connsiteY1034" fmla="*/ 85090 h 138429"/>
                <a:gd name="connsiteX1035" fmla="*/ 888365 w 4940931"/>
                <a:gd name="connsiteY1035" fmla="*/ 91440 h 138429"/>
                <a:gd name="connsiteX1036" fmla="*/ 894080 w 4940931"/>
                <a:gd name="connsiteY1036" fmla="*/ 95250 h 138429"/>
                <a:gd name="connsiteX1037" fmla="*/ 901065 w 4940931"/>
                <a:gd name="connsiteY1037" fmla="*/ 96520 h 138429"/>
                <a:gd name="connsiteX1038" fmla="*/ 906145 w 4940931"/>
                <a:gd name="connsiteY1038" fmla="*/ 96520 h 138429"/>
                <a:gd name="connsiteX1039" fmla="*/ 910590 w 4940931"/>
                <a:gd name="connsiteY1039" fmla="*/ 95250 h 138429"/>
                <a:gd name="connsiteX1040" fmla="*/ 914400 w 4940931"/>
                <a:gd name="connsiteY1040" fmla="*/ 93345 h 138429"/>
                <a:gd name="connsiteX1041" fmla="*/ 918845 w 4940931"/>
                <a:gd name="connsiteY1041" fmla="*/ 90805 h 138429"/>
                <a:gd name="connsiteX1042" fmla="*/ 927735 w 4940931"/>
                <a:gd name="connsiteY1042" fmla="*/ 100330 h 138429"/>
                <a:gd name="connsiteX1043" fmla="*/ 922020 w 4940931"/>
                <a:gd name="connsiteY1043" fmla="*/ 104775 h 138429"/>
                <a:gd name="connsiteX1044" fmla="*/ 916305 w 4940931"/>
                <a:gd name="connsiteY1044" fmla="*/ 107950 h 138429"/>
                <a:gd name="connsiteX1045" fmla="*/ 909320 w 4940931"/>
                <a:gd name="connsiteY1045" fmla="*/ 109855 h 138429"/>
                <a:gd name="connsiteX1046" fmla="*/ 900430 w 4940931"/>
                <a:gd name="connsiteY1046" fmla="*/ 110490 h 138429"/>
                <a:gd name="connsiteX1047" fmla="*/ 890905 w 4940931"/>
                <a:gd name="connsiteY1047" fmla="*/ 109220 h 138429"/>
                <a:gd name="connsiteX1048" fmla="*/ 883285 w 4940931"/>
                <a:gd name="connsiteY1048" fmla="*/ 105410 h 138429"/>
                <a:gd name="connsiteX1049" fmla="*/ 876935 w 4940931"/>
                <a:gd name="connsiteY1049" fmla="*/ 100330 h 138429"/>
                <a:gd name="connsiteX1050" fmla="*/ 871855 w 4940931"/>
                <a:gd name="connsiteY1050" fmla="*/ 92710 h 138429"/>
                <a:gd name="connsiteX1051" fmla="*/ 868045 w 4940931"/>
                <a:gd name="connsiteY1051" fmla="*/ 82550 h 138429"/>
                <a:gd name="connsiteX1052" fmla="*/ 866775 w 4940931"/>
                <a:gd name="connsiteY1052" fmla="*/ 69850 h 138429"/>
                <a:gd name="connsiteX1053" fmla="*/ 869315 w 4940931"/>
                <a:gd name="connsiteY1053" fmla="*/ 52070 h 138429"/>
                <a:gd name="connsiteX1054" fmla="*/ 876300 w 4940931"/>
                <a:gd name="connsiteY1054" fmla="*/ 39370 h 138429"/>
                <a:gd name="connsiteX1055" fmla="*/ 887095 w 4940931"/>
                <a:gd name="connsiteY1055" fmla="*/ 31750 h 138429"/>
                <a:gd name="connsiteX1056" fmla="*/ 901065 w 4940931"/>
                <a:gd name="connsiteY1056" fmla="*/ 29210 h 138429"/>
                <a:gd name="connsiteX1057" fmla="*/ 668656 w 4940931"/>
                <a:gd name="connsiteY1057" fmla="*/ 29210 h 138429"/>
                <a:gd name="connsiteX1058" fmla="*/ 676275 w 4940931"/>
                <a:gd name="connsiteY1058" fmla="*/ 29845 h 138429"/>
                <a:gd name="connsiteX1059" fmla="*/ 681991 w 4940931"/>
                <a:gd name="connsiteY1059" fmla="*/ 32385 h 138429"/>
                <a:gd name="connsiteX1060" fmla="*/ 678181 w 4940931"/>
                <a:gd name="connsiteY1060" fmla="*/ 46990 h 138429"/>
                <a:gd name="connsiteX1061" fmla="*/ 676910 w 4940931"/>
                <a:gd name="connsiteY1061" fmla="*/ 46990 h 138429"/>
                <a:gd name="connsiteX1062" fmla="*/ 671830 w 4940931"/>
                <a:gd name="connsiteY1062" fmla="*/ 45085 h 138429"/>
                <a:gd name="connsiteX1063" fmla="*/ 665480 w 4940931"/>
                <a:gd name="connsiteY1063" fmla="*/ 44450 h 138429"/>
                <a:gd name="connsiteX1064" fmla="*/ 654050 w 4940931"/>
                <a:gd name="connsiteY1064" fmla="*/ 49530 h 138429"/>
                <a:gd name="connsiteX1065" fmla="*/ 650240 w 4940931"/>
                <a:gd name="connsiteY1065" fmla="*/ 64770 h 138429"/>
                <a:gd name="connsiteX1066" fmla="*/ 650240 w 4940931"/>
                <a:gd name="connsiteY1066" fmla="*/ 109220 h 138429"/>
                <a:gd name="connsiteX1067" fmla="*/ 635000 w 4940931"/>
                <a:gd name="connsiteY1067" fmla="*/ 109220 h 138429"/>
                <a:gd name="connsiteX1068" fmla="*/ 635000 w 4940931"/>
                <a:gd name="connsiteY1068" fmla="*/ 31115 h 138429"/>
                <a:gd name="connsiteX1069" fmla="*/ 650240 w 4940931"/>
                <a:gd name="connsiteY1069" fmla="*/ 31115 h 138429"/>
                <a:gd name="connsiteX1070" fmla="*/ 650240 w 4940931"/>
                <a:gd name="connsiteY1070" fmla="*/ 38735 h 138429"/>
                <a:gd name="connsiteX1071" fmla="*/ 653416 w 4940931"/>
                <a:gd name="connsiteY1071" fmla="*/ 34925 h 138429"/>
                <a:gd name="connsiteX1072" fmla="*/ 657861 w 4940931"/>
                <a:gd name="connsiteY1072" fmla="*/ 31750 h 138429"/>
                <a:gd name="connsiteX1073" fmla="*/ 662940 w 4940931"/>
                <a:gd name="connsiteY1073" fmla="*/ 29845 h 138429"/>
                <a:gd name="connsiteX1074" fmla="*/ 668656 w 4940931"/>
                <a:gd name="connsiteY1074" fmla="*/ 29210 h 138429"/>
                <a:gd name="connsiteX1075" fmla="*/ 586739 w 4940931"/>
                <a:gd name="connsiteY1075" fmla="*/ 29210 h 138429"/>
                <a:gd name="connsiteX1076" fmla="*/ 601344 w 4940931"/>
                <a:gd name="connsiteY1076" fmla="*/ 32385 h 138429"/>
                <a:gd name="connsiteX1077" fmla="*/ 611504 w 4940931"/>
                <a:gd name="connsiteY1077" fmla="*/ 40640 h 138429"/>
                <a:gd name="connsiteX1078" fmla="*/ 617854 w 4940931"/>
                <a:gd name="connsiteY1078" fmla="*/ 53340 h 138429"/>
                <a:gd name="connsiteX1079" fmla="*/ 619759 w 4940931"/>
                <a:gd name="connsiteY1079" fmla="*/ 68580 h 138429"/>
                <a:gd name="connsiteX1080" fmla="*/ 618489 w 4940931"/>
                <a:gd name="connsiteY1080" fmla="*/ 68580 h 138429"/>
                <a:gd name="connsiteX1081" fmla="*/ 618489 w 4940931"/>
                <a:gd name="connsiteY1081" fmla="*/ 72390 h 138429"/>
                <a:gd name="connsiteX1082" fmla="*/ 618489 w 4940931"/>
                <a:gd name="connsiteY1082" fmla="*/ 75565 h 138429"/>
                <a:gd name="connsiteX1083" fmla="*/ 567054 w 4940931"/>
                <a:gd name="connsiteY1083" fmla="*/ 75565 h 138429"/>
                <a:gd name="connsiteX1084" fmla="*/ 569594 w 4940931"/>
                <a:gd name="connsiteY1084" fmla="*/ 85090 h 138429"/>
                <a:gd name="connsiteX1085" fmla="*/ 574039 w 4940931"/>
                <a:gd name="connsiteY1085" fmla="*/ 91440 h 138429"/>
                <a:gd name="connsiteX1086" fmla="*/ 579754 w 4940931"/>
                <a:gd name="connsiteY1086" fmla="*/ 95250 h 138429"/>
                <a:gd name="connsiteX1087" fmla="*/ 586739 w 4940931"/>
                <a:gd name="connsiteY1087" fmla="*/ 96520 h 138429"/>
                <a:gd name="connsiteX1088" fmla="*/ 591819 w 4940931"/>
                <a:gd name="connsiteY1088" fmla="*/ 96520 h 138429"/>
                <a:gd name="connsiteX1089" fmla="*/ 596264 w 4940931"/>
                <a:gd name="connsiteY1089" fmla="*/ 95250 h 138429"/>
                <a:gd name="connsiteX1090" fmla="*/ 600074 w 4940931"/>
                <a:gd name="connsiteY1090" fmla="*/ 93345 h 138429"/>
                <a:gd name="connsiteX1091" fmla="*/ 604519 w 4940931"/>
                <a:gd name="connsiteY1091" fmla="*/ 90805 h 138429"/>
                <a:gd name="connsiteX1092" fmla="*/ 613409 w 4940931"/>
                <a:gd name="connsiteY1092" fmla="*/ 100330 h 138429"/>
                <a:gd name="connsiteX1093" fmla="*/ 607694 w 4940931"/>
                <a:gd name="connsiteY1093" fmla="*/ 104775 h 138429"/>
                <a:gd name="connsiteX1094" fmla="*/ 601979 w 4940931"/>
                <a:gd name="connsiteY1094" fmla="*/ 107950 h 138429"/>
                <a:gd name="connsiteX1095" fmla="*/ 594994 w 4940931"/>
                <a:gd name="connsiteY1095" fmla="*/ 109855 h 138429"/>
                <a:gd name="connsiteX1096" fmla="*/ 586104 w 4940931"/>
                <a:gd name="connsiteY1096" fmla="*/ 110490 h 138429"/>
                <a:gd name="connsiteX1097" fmla="*/ 576579 w 4940931"/>
                <a:gd name="connsiteY1097" fmla="*/ 109220 h 138429"/>
                <a:gd name="connsiteX1098" fmla="*/ 568959 w 4940931"/>
                <a:gd name="connsiteY1098" fmla="*/ 105410 h 138429"/>
                <a:gd name="connsiteX1099" fmla="*/ 562609 w 4940931"/>
                <a:gd name="connsiteY1099" fmla="*/ 100330 h 138429"/>
                <a:gd name="connsiteX1100" fmla="*/ 557529 w 4940931"/>
                <a:gd name="connsiteY1100" fmla="*/ 92710 h 138429"/>
                <a:gd name="connsiteX1101" fmla="*/ 553719 w 4940931"/>
                <a:gd name="connsiteY1101" fmla="*/ 82550 h 138429"/>
                <a:gd name="connsiteX1102" fmla="*/ 552449 w 4940931"/>
                <a:gd name="connsiteY1102" fmla="*/ 69850 h 138429"/>
                <a:gd name="connsiteX1103" fmla="*/ 554989 w 4940931"/>
                <a:gd name="connsiteY1103" fmla="*/ 52070 h 138429"/>
                <a:gd name="connsiteX1104" fmla="*/ 561974 w 4940931"/>
                <a:gd name="connsiteY1104" fmla="*/ 39370 h 138429"/>
                <a:gd name="connsiteX1105" fmla="*/ 572769 w 4940931"/>
                <a:gd name="connsiteY1105" fmla="*/ 31750 h 138429"/>
                <a:gd name="connsiteX1106" fmla="*/ 586739 w 4940931"/>
                <a:gd name="connsiteY1106" fmla="*/ 29210 h 138429"/>
                <a:gd name="connsiteX1107" fmla="*/ 400050 w 4940931"/>
                <a:gd name="connsiteY1107" fmla="*/ 29210 h 138429"/>
                <a:gd name="connsiteX1108" fmla="*/ 414655 w 4940931"/>
                <a:gd name="connsiteY1108" fmla="*/ 32385 h 138429"/>
                <a:gd name="connsiteX1109" fmla="*/ 424815 w 4940931"/>
                <a:gd name="connsiteY1109" fmla="*/ 40640 h 138429"/>
                <a:gd name="connsiteX1110" fmla="*/ 431165 w 4940931"/>
                <a:gd name="connsiteY1110" fmla="*/ 53340 h 138429"/>
                <a:gd name="connsiteX1111" fmla="*/ 433070 w 4940931"/>
                <a:gd name="connsiteY1111" fmla="*/ 68580 h 138429"/>
                <a:gd name="connsiteX1112" fmla="*/ 431800 w 4940931"/>
                <a:gd name="connsiteY1112" fmla="*/ 68580 h 138429"/>
                <a:gd name="connsiteX1113" fmla="*/ 431800 w 4940931"/>
                <a:gd name="connsiteY1113" fmla="*/ 72390 h 138429"/>
                <a:gd name="connsiteX1114" fmla="*/ 431800 w 4940931"/>
                <a:gd name="connsiteY1114" fmla="*/ 75565 h 138429"/>
                <a:gd name="connsiteX1115" fmla="*/ 380365 w 4940931"/>
                <a:gd name="connsiteY1115" fmla="*/ 75565 h 138429"/>
                <a:gd name="connsiteX1116" fmla="*/ 382905 w 4940931"/>
                <a:gd name="connsiteY1116" fmla="*/ 85090 h 138429"/>
                <a:gd name="connsiteX1117" fmla="*/ 387350 w 4940931"/>
                <a:gd name="connsiteY1117" fmla="*/ 91440 h 138429"/>
                <a:gd name="connsiteX1118" fmla="*/ 393065 w 4940931"/>
                <a:gd name="connsiteY1118" fmla="*/ 95250 h 138429"/>
                <a:gd name="connsiteX1119" fmla="*/ 400050 w 4940931"/>
                <a:gd name="connsiteY1119" fmla="*/ 96520 h 138429"/>
                <a:gd name="connsiteX1120" fmla="*/ 405130 w 4940931"/>
                <a:gd name="connsiteY1120" fmla="*/ 96520 h 138429"/>
                <a:gd name="connsiteX1121" fmla="*/ 409575 w 4940931"/>
                <a:gd name="connsiteY1121" fmla="*/ 95250 h 138429"/>
                <a:gd name="connsiteX1122" fmla="*/ 413385 w 4940931"/>
                <a:gd name="connsiteY1122" fmla="*/ 93345 h 138429"/>
                <a:gd name="connsiteX1123" fmla="*/ 417830 w 4940931"/>
                <a:gd name="connsiteY1123" fmla="*/ 90805 h 138429"/>
                <a:gd name="connsiteX1124" fmla="*/ 426720 w 4940931"/>
                <a:gd name="connsiteY1124" fmla="*/ 100330 h 138429"/>
                <a:gd name="connsiteX1125" fmla="*/ 421005 w 4940931"/>
                <a:gd name="connsiteY1125" fmla="*/ 104775 h 138429"/>
                <a:gd name="connsiteX1126" fmla="*/ 415290 w 4940931"/>
                <a:gd name="connsiteY1126" fmla="*/ 107950 h 138429"/>
                <a:gd name="connsiteX1127" fmla="*/ 408305 w 4940931"/>
                <a:gd name="connsiteY1127" fmla="*/ 109855 h 138429"/>
                <a:gd name="connsiteX1128" fmla="*/ 399415 w 4940931"/>
                <a:gd name="connsiteY1128" fmla="*/ 110490 h 138429"/>
                <a:gd name="connsiteX1129" fmla="*/ 389890 w 4940931"/>
                <a:gd name="connsiteY1129" fmla="*/ 109220 h 138429"/>
                <a:gd name="connsiteX1130" fmla="*/ 382270 w 4940931"/>
                <a:gd name="connsiteY1130" fmla="*/ 105410 h 138429"/>
                <a:gd name="connsiteX1131" fmla="*/ 375920 w 4940931"/>
                <a:gd name="connsiteY1131" fmla="*/ 100330 h 138429"/>
                <a:gd name="connsiteX1132" fmla="*/ 370840 w 4940931"/>
                <a:gd name="connsiteY1132" fmla="*/ 92710 h 138429"/>
                <a:gd name="connsiteX1133" fmla="*/ 367030 w 4940931"/>
                <a:gd name="connsiteY1133" fmla="*/ 82550 h 138429"/>
                <a:gd name="connsiteX1134" fmla="*/ 365760 w 4940931"/>
                <a:gd name="connsiteY1134" fmla="*/ 69850 h 138429"/>
                <a:gd name="connsiteX1135" fmla="*/ 368300 w 4940931"/>
                <a:gd name="connsiteY1135" fmla="*/ 52070 h 138429"/>
                <a:gd name="connsiteX1136" fmla="*/ 375285 w 4940931"/>
                <a:gd name="connsiteY1136" fmla="*/ 39370 h 138429"/>
                <a:gd name="connsiteX1137" fmla="*/ 386080 w 4940931"/>
                <a:gd name="connsiteY1137" fmla="*/ 31750 h 138429"/>
                <a:gd name="connsiteX1138" fmla="*/ 400050 w 4940931"/>
                <a:gd name="connsiteY1138" fmla="*/ 29210 h 138429"/>
                <a:gd name="connsiteX1139" fmla="*/ 201930 w 4940931"/>
                <a:gd name="connsiteY1139" fmla="*/ 29210 h 138429"/>
                <a:gd name="connsiteX1140" fmla="*/ 216535 w 4940931"/>
                <a:gd name="connsiteY1140" fmla="*/ 32385 h 138429"/>
                <a:gd name="connsiteX1141" fmla="*/ 226695 w 4940931"/>
                <a:gd name="connsiteY1141" fmla="*/ 40640 h 138429"/>
                <a:gd name="connsiteX1142" fmla="*/ 233045 w 4940931"/>
                <a:gd name="connsiteY1142" fmla="*/ 53340 h 138429"/>
                <a:gd name="connsiteX1143" fmla="*/ 234950 w 4940931"/>
                <a:gd name="connsiteY1143" fmla="*/ 68580 h 138429"/>
                <a:gd name="connsiteX1144" fmla="*/ 233680 w 4940931"/>
                <a:gd name="connsiteY1144" fmla="*/ 68580 h 138429"/>
                <a:gd name="connsiteX1145" fmla="*/ 233680 w 4940931"/>
                <a:gd name="connsiteY1145" fmla="*/ 72390 h 138429"/>
                <a:gd name="connsiteX1146" fmla="*/ 233680 w 4940931"/>
                <a:gd name="connsiteY1146" fmla="*/ 75565 h 138429"/>
                <a:gd name="connsiteX1147" fmla="*/ 182245 w 4940931"/>
                <a:gd name="connsiteY1147" fmla="*/ 75565 h 138429"/>
                <a:gd name="connsiteX1148" fmla="*/ 184785 w 4940931"/>
                <a:gd name="connsiteY1148" fmla="*/ 85090 h 138429"/>
                <a:gd name="connsiteX1149" fmla="*/ 189230 w 4940931"/>
                <a:gd name="connsiteY1149" fmla="*/ 91440 h 138429"/>
                <a:gd name="connsiteX1150" fmla="*/ 194945 w 4940931"/>
                <a:gd name="connsiteY1150" fmla="*/ 95250 h 138429"/>
                <a:gd name="connsiteX1151" fmla="*/ 201930 w 4940931"/>
                <a:gd name="connsiteY1151" fmla="*/ 96520 h 138429"/>
                <a:gd name="connsiteX1152" fmla="*/ 207010 w 4940931"/>
                <a:gd name="connsiteY1152" fmla="*/ 96520 h 138429"/>
                <a:gd name="connsiteX1153" fmla="*/ 211455 w 4940931"/>
                <a:gd name="connsiteY1153" fmla="*/ 95250 h 138429"/>
                <a:gd name="connsiteX1154" fmla="*/ 215265 w 4940931"/>
                <a:gd name="connsiteY1154" fmla="*/ 93345 h 138429"/>
                <a:gd name="connsiteX1155" fmla="*/ 219710 w 4940931"/>
                <a:gd name="connsiteY1155" fmla="*/ 90805 h 138429"/>
                <a:gd name="connsiteX1156" fmla="*/ 228600 w 4940931"/>
                <a:gd name="connsiteY1156" fmla="*/ 100330 h 138429"/>
                <a:gd name="connsiteX1157" fmla="*/ 222885 w 4940931"/>
                <a:gd name="connsiteY1157" fmla="*/ 104775 h 138429"/>
                <a:gd name="connsiteX1158" fmla="*/ 217170 w 4940931"/>
                <a:gd name="connsiteY1158" fmla="*/ 107950 h 138429"/>
                <a:gd name="connsiteX1159" fmla="*/ 210185 w 4940931"/>
                <a:gd name="connsiteY1159" fmla="*/ 109855 h 138429"/>
                <a:gd name="connsiteX1160" fmla="*/ 201295 w 4940931"/>
                <a:gd name="connsiteY1160" fmla="*/ 110490 h 138429"/>
                <a:gd name="connsiteX1161" fmla="*/ 191770 w 4940931"/>
                <a:gd name="connsiteY1161" fmla="*/ 109220 h 138429"/>
                <a:gd name="connsiteX1162" fmla="*/ 184150 w 4940931"/>
                <a:gd name="connsiteY1162" fmla="*/ 105410 h 138429"/>
                <a:gd name="connsiteX1163" fmla="*/ 177800 w 4940931"/>
                <a:gd name="connsiteY1163" fmla="*/ 100330 h 138429"/>
                <a:gd name="connsiteX1164" fmla="*/ 172720 w 4940931"/>
                <a:gd name="connsiteY1164" fmla="*/ 92710 h 138429"/>
                <a:gd name="connsiteX1165" fmla="*/ 168910 w 4940931"/>
                <a:gd name="connsiteY1165" fmla="*/ 82550 h 138429"/>
                <a:gd name="connsiteX1166" fmla="*/ 167640 w 4940931"/>
                <a:gd name="connsiteY1166" fmla="*/ 69850 h 138429"/>
                <a:gd name="connsiteX1167" fmla="*/ 170180 w 4940931"/>
                <a:gd name="connsiteY1167" fmla="*/ 52070 h 138429"/>
                <a:gd name="connsiteX1168" fmla="*/ 177165 w 4940931"/>
                <a:gd name="connsiteY1168" fmla="*/ 39370 h 138429"/>
                <a:gd name="connsiteX1169" fmla="*/ 187960 w 4940931"/>
                <a:gd name="connsiteY1169" fmla="*/ 31750 h 138429"/>
                <a:gd name="connsiteX1170" fmla="*/ 201930 w 4940931"/>
                <a:gd name="connsiteY1170" fmla="*/ 29210 h 138429"/>
                <a:gd name="connsiteX1171" fmla="*/ 4664706 w 4940931"/>
                <a:gd name="connsiteY1171" fmla="*/ 28574 h 138429"/>
                <a:gd name="connsiteX1172" fmla="*/ 4678676 w 4940931"/>
                <a:gd name="connsiteY1172" fmla="*/ 31749 h 138429"/>
                <a:gd name="connsiteX1173" fmla="*/ 4689471 w 4940931"/>
                <a:gd name="connsiteY1173" fmla="*/ 40004 h 138429"/>
                <a:gd name="connsiteX1174" fmla="*/ 4696456 w 4940931"/>
                <a:gd name="connsiteY1174" fmla="*/ 52704 h 138429"/>
                <a:gd name="connsiteX1175" fmla="*/ 4698996 w 4940931"/>
                <a:gd name="connsiteY1175" fmla="*/ 69214 h 138429"/>
                <a:gd name="connsiteX1176" fmla="*/ 4699631 w 4940931"/>
                <a:gd name="connsiteY1176" fmla="*/ 69214 h 138429"/>
                <a:gd name="connsiteX1177" fmla="*/ 4697091 w 4940931"/>
                <a:gd name="connsiteY1177" fmla="*/ 86359 h 138429"/>
                <a:gd name="connsiteX1178" fmla="*/ 4689471 w 4940931"/>
                <a:gd name="connsiteY1178" fmla="*/ 99059 h 138429"/>
                <a:gd name="connsiteX1179" fmla="*/ 4678041 w 4940931"/>
                <a:gd name="connsiteY1179" fmla="*/ 107314 h 138429"/>
                <a:gd name="connsiteX1180" fmla="*/ 4664071 w 4940931"/>
                <a:gd name="connsiteY1180" fmla="*/ 109854 h 138429"/>
                <a:gd name="connsiteX1181" fmla="*/ 4650101 w 4940931"/>
                <a:gd name="connsiteY1181" fmla="*/ 106679 h 138429"/>
                <a:gd name="connsiteX1182" fmla="*/ 4639306 w 4940931"/>
                <a:gd name="connsiteY1182" fmla="*/ 98424 h 138429"/>
                <a:gd name="connsiteX1183" fmla="*/ 4632321 w 4940931"/>
                <a:gd name="connsiteY1183" fmla="*/ 85724 h 138429"/>
                <a:gd name="connsiteX1184" fmla="*/ 4629781 w 4940931"/>
                <a:gd name="connsiteY1184" fmla="*/ 69214 h 138429"/>
                <a:gd name="connsiteX1185" fmla="*/ 4632321 w 4940931"/>
                <a:gd name="connsiteY1185" fmla="*/ 52069 h 138429"/>
                <a:gd name="connsiteX1186" fmla="*/ 4639941 w 4940931"/>
                <a:gd name="connsiteY1186" fmla="*/ 39369 h 138429"/>
                <a:gd name="connsiteX1187" fmla="*/ 4650736 w 4940931"/>
                <a:gd name="connsiteY1187" fmla="*/ 31114 h 138429"/>
                <a:gd name="connsiteX1188" fmla="*/ 4664706 w 4940931"/>
                <a:gd name="connsiteY1188" fmla="*/ 28574 h 138429"/>
                <a:gd name="connsiteX1189" fmla="*/ 4264655 w 4940931"/>
                <a:gd name="connsiteY1189" fmla="*/ 28574 h 138429"/>
                <a:gd name="connsiteX1190" fmla="*/ 4278625 w 4940931"/>
                <a:gd name="connsiteY1190" fmla="*/ 31749 h 138429"/>
                <a:gd name="connsiteX1191" fmla="*/ 4289420 w 4940931"/>
                <a:gd name="connsiteY1191" fmla="*/ 40004 h 138429"/>
                <a:gd name="connsiteX1192" fmla="*/ 4296405 w 4940931"/>
                <a:gd name="connsiteY1192" fmla="*/ 52704 h 138429"/>
                <a:gd name="connsiteX1193" fmla="*/ 4298945 w 4940931"/>
                <a:gd name="connsiteY1193" fmla="*/ 69214 h 138429"/>
                <a:gd name="connsiteX1194" fmla="*/ 4299580 w 4940931"/>
                <a:gd name="connsiteY1194" fmla="*/ 69214 h 138429"/>
                <a:gd name="connsiteX1195" fmla="*/ 4297040 w 4940931"/>
                <a:gd name="connsiteY1195" fmla="*/ 86359 h 138429"/>
                <a:gd name="connsiteX1196" fmla="*/ 4289420 w 4940931"/>
                <a:gd name="connsiteY1196" fmla="*/ 99059 h 138429"/>
                <a:gd name="connsiteX1197" fmla="*/ 4277990 w 4940931"/>
                <a:gd name="connsiteY1197" fmla="*/ 107314 h 138429"/>
                <a:gd name="connsiteX1198" fmla="*/ 4264020 w 4940931"/>
                <a:gd name="connsiteY1198" fmla="*/ 109854 h 138429"/>
                <a:gd name="connsiteX1199" fmla="*/ 4250050 w 4940931"/>
                <a:gd name="connsiteY1199" fmla="*/ 106679 h 138429"/>
                <a:gd name="connsiteX1200" fmla="*/ 4239255 w 4940931"/>
                <a:gd name="connsiteY1200" fmla="*/ 98424 h 138429"/>
                <a:gd name="connsiteX1201" fmla="*/ 4232270 w 4940931"/>
                <a:gd name="connsiteY1201" fmla="*/ 85724 h 138429"/>
                <a:gd name="connsiteX1202" fmla="*/ 4229730 w 4940931"/>
                <a:gd name="connsiteY1202" fmla="*/ 69214 h 138429"/>
                <a:gd name="connsiteX1203" fmla="*/ 4232270 w 4940931"/>
                <a:gd name="connsiteY1203" fmla="*/ 52069 h 138429"/>
                <a:gd name="connsiteX1204" fmla="*/ 4239890 w 4940931"/>
                <a:gd name="connsiteY1204" fmla="*/ 39369 h 138429"/>
                <a:gd name="connsiteX1205" fmla="*/ 4250685 w 4940931"/>
                <a:gd name="connsiteY1205" fmla="*/ 31114 h 138429"/>
                <a:gd name="connsiteX1206" fmla="*/ 4264655 w 4940931"/>
                <a:gd name="connsiteY1206" fmla="*/ 28574 h 138429"/>
                <a:gd name="connsiteX1207" fmla="*/ 1420495 w 4940931"/>
                <a:gd name="connsiteY1207" fmla="*/ 28574 h 138429"/>
                <a:gd name="connsiteX1208" fmla="*/ 1434465 w 4940931"/>
                <a:gd name="connsiteY1208" fmla="*/ 31749 h 138429"/>
                <a:gd name="connsiteX1209" fmla="*/ 1445260 w 4940931"/>
                <a:gd name="connsiteY1209" fmla="*/ 40004 h 138429"/>
                <a:gd name="connsiteX1210" fmla="*/ 1452245 w 4940931"/>
                <a:gd name="connsiteY1210" fmla="*/ 52704 h 138429"/>
                <a:gd name="connsiteX1211" fmla="*/ 1454785 w 4940931"/>
                <a:gd name="connsiteY1211" fmla="*/ 69214 h 138429"/>
                <a:gd name="connsiteX1212" fmla="*/ 1455420 w 4940931"/>
                <a:gd name="connsiteY1212" fmla="*/ 69214 h 138429"/>
                <a:gd name="connsiteX1213" fmla="*/ 1452880 w 4940931"/>
                <a:gd name="connsiteY1213" fmla="*/ 86359 h 138429"/>
                <a:gd name="connsiteX1214" fmla="*/ 1445260 w 4940931"/>
                <a:gd name="connsiteY1214" fmla="*/ 99059 h 138429"/>
                <a:gd name="connsiteX1215" fmla="*/ 1433830 w 4940931"/>
                <a:gd name="connsiteY1215" fmla="*/ 107314 h 138429"/>
                <a:gd name="connsiteX1216" fmla="*/ 1419860 w 4940931"/>
                <a:gd name="connsiteY1216" fmla="*/ 109854 h 138429"/>
                <a:gd name="connsiteX1217" fmla="*/ 1405890 w 4940931"/>
                <a:gd name="connsiteY1217" fmla="*/ 106679 h 138429"/>
                <a:gd name="connsiteX1218" fmla="*/ 1395095 w 4940931"/>
                <a:gd name="connsiteY1218" fmla="*/ 98424 h 138429"/>
                <a:gd name="connsiteX1219" fmla="*/ 1388110 w 4940931"/>
                <a:gd name="connsiteY1219" fmla="*/ 85724 h 138429"/>
                <a:gd name="connsiteX1220" fmla="*/ 1385570 w 4940931"/>
                <a:gd name="connsiteY1220" fmla="*/ 69214 h 138429"/>
                <a:gd name="connsiteX1221" fmla="*/ 1388110 w 4940931"/>
                <a:gd name="connsiteY1221" fmla="*/ 52069 h 138429"/>
                <a:gd name="connsiteX1222" fmla="*/ 1395730 w 4940931"/>
                <a:gd name="connsiteY1222" fmla="*/ 39369 h 138429"/>
                <a:gd name="connsiteX1223" fmla="*/ 1406525 w 4940931"/>
                <a:gd name="connsiteY1223" fmla="*/ 31114 h 138429"/>
                <a:gd name="connsiteX1224" fmla="*/ 1420495 w 4940931"/>
                <a:gd name="connsiteY1224" fmla="*/ 28574 h 138429"/>
                <a:gd name="connsiteX1225" fmla="*/ 3143245 w 4940931"/>
                <a:gd name="connsiteY1225" fmla="*/ 5079 h 138429"/>
                <a:gd name="connsiteX1226" fmla="*/ 3219445 w 4940931"/>
                <a:gd name="connsiteY1226" fmla="*/ 5079 h 138429"/>
                <a:gd name="connsiteX1227" fmla="*/ 3219445 w 4940931"/>
                <a:gd name="connsiteY1227" fmla="*/ 20319 h 138429"/>
                <a:gd name="connsiteX1228" fmla="*/ 3188965 w 4940931"/>
                <a:gd name="connsiteY1228" fmla="*/ 20319 h 138429"/>
                <a:gd name="connsiteX1229" fmla="*/ 3188965 w 4940931"/>
                <a:gd name="connsiteY1229" fmla="*/ 108584 h 138429"/>
                <a:gd name="connsiteX1230" fmla="*/ 3173090 w 4940931"/>
                <a:gd name="connsiteY1230" fmla="*/ 108584 h 138429"/>
                <a:gd name="connsiteX1231" fmla="*/ 3173090 w 4940931"/>
                <a:gd name="connsiteY1231" fmla="*/ 20319 h 138429"/>
                <a:gd name="connsiteX1232" fmla="*/ 3143245 w 4940931"/>
                <a:gd name="connsiteY1232" fmla="*/ 20319 h 138429"/>
                <a:gd name="connsiteX1233" fmla="*/ 1628774 w 4940931"/>
                <a:gd name="connsiteY1233" fmla="*/ 5079 h 138429"/>
                <a:gd name="connsiteX1234" fmla="*/ 1704970 w 4940931"/>
                <a:gd name="connsiteY1234" fmla="*/ 5079 h 138429"/>
                <a:gd name="connsiteX1235" fmla="*/ 1704970 w 4940931"/>
                <a:gd name="connsiteY1235" fmla="*/ 20319 h 138429"/>
                <a:gd name="connsiteX1236" fmla="*/ 1675129 w 4940931"/>
                <a:gd name="connsiteY1236" fmla="*/ 20319 h 138429"/>
                <a:gd name="connsiteX1237" fmla="*/ 1675129 w 4940931"/>
                <a:gd name="connsiteY1237" fmla="*/ 108584 h 138429"/>
                <a:gd name="connsiteX1238" fmla="*/ 1659255 w 4940931"/>
                <a:gd name="connsiteY1238" fmla="*/ 108584 h 138429"/>
                <a:gd name="connsiteX1239" fmla="*/ 1659255 w 4940931"/>
                <a:gd name="connsiteY1239" fmla="*/ 20319 h 138429"/>
                <a:gd name="connsiteX1240" fmla="*/ 1628774 w 4940931"/>
                <a:gd name="connsiteY1240" fmla="*/ 20319 h 138429"/>
                <a:gd name="connsiteX1241" fmla="*/ 0 w 4940931"/>
                <a:gd name="connsiteY1241" fmla="*/ 5079 h 138429"/>
                <a:gd name="connsiteX1242" fmla="*/ 76200 w 4940931"/>
                <a:gd name="connsiteY1242" fmla="*/ 5079 h 138429"/>
                <a:gd name="connsiteX1243" fmla="*/ 76200 w 4940931"/>
                <a:gd name="connsiteY1243" fmla="*/ 20319 h 138429"/>
                <a:gd name="connsiteX1244" fmla="*/ 45720 w 4940931"/>
                <a:gd name="connsiteY1244" fmla="*/ 20319 h 138429"/>
                <a:gd name="connsiteX1245" fmla="*/ 45720 w 4940931"/>
                <a:gd name="connsiteY1245" fmla="*/ 108584 h 138429"/>
                <a:gd name="connsiteX1246" fmla="*/ 29845 w 4940931"/>
                <a:gd name="connsiteY1246" fmla="*/ 108584 h 138429"/>
                <a:gd name="connsiteX1247" fmla="*/ 29845 w 4940931"/>
                <a:gd name="connsiteY1247" fmla="*/ 20319 h 138429"/>
                <a:gd name="connsiteX1248" fmla="*/ 0 w 4940931"/>
                <a:gd name="connsiteY1248" fmla="*/ 20319 h 138429"/>
                <a:gd name="connsiteX1249" fmla="*/ 1362075 w 4940931"/>
                <a:gd name="connsiteY1249" fmla="*/ 1269 h 138429"/>
                <a:gd name="connsiteX1250" fmla="*/ 1365885 w 4940931"/>
                <a:gd name="connsiteY1250" fmla="*/ 1904 h 138429"/>
                <a:gd name="connsiteX1251" fmla="*/ 1369060 w 4940931"/>
                <a:gd name="connsiteY1251" fmla="*/ 3809 h 138429"/>
                <a:gd name="connsiteX1252" fmla="*/ 1370965 w 4940931"/>
                <a:gd name="connsiteY1252" fmla="*/ 6984 h 138429"/>
                <a:gd name="connsiteX1253" fmla="*/ 1371600 w 4940931"/>
                <a:gd name="connsiteY1253" fmla="*/ 10794 h 138429"/>
                <a:gd name="connsiteX1254" fmla="*/ 1370965 w 4940931"/>
                <a:gd name="connsiteY1254" fmla="*/ 14604 h 138429"/>
                <a:gd name="connsiteX1255" fmla="*/ 1369060 w 4940931"/>
                <a:gd name="connsiteY1255" fmla="*/ 17779 h 138429"/>
                <a:gd name="connsiteX1256" fmla="*/ 1365885 w 4940931"/>
                <a:gd name="connsiteY1256" fmla="*/ 19684 h 138429"/>
                <a:gd name="connsiteX1257" fmla="*/ 1362075 w 4940931"/>
                <a:gd name="connsiteY1257" fmla="*/ 20319 h 138429"/>
                <a:gd name="connsiteX1258" fmla="*/ 1358265 w 4940931"/>
                <a:gd name="connsiteY1258" fmla="*/ 19684 h 138429"/>
                <a:gd name="connsiteX1259" fmla="*/ 1355090 w 4940931"/>
                <a:gd name="connsiteY1259" fmla="*/ 17779 h 138429"/>
                <a:gd name="connsiteX1260" fmla="*/ 1353185 w 4940931"/>
                <a:gd name="connsiteY1260" fmla="*/ 14604 h 138429"/>
                <a:gd name="connsiteX1261" fmla="*/ 1352550 w 4940931"/>
                <a:gd name="connsiteY1261" fmla="*/ 10794 h 138429"/>
                <a:gd name="connsiteX1262" fmla="*/ 1353185 w 4940931"/>
                <a:gd name="connsiteY1262" fmla="*/ 6984 h 138429"/>
                <a:gd name="connsiteX1263" fmla="*/ 1355090 w 4940931"/>
                <a:gd name="connsiteY1263" fmla="*/ 3809 h 138429"/>
                <a:gd name="connsiteX1264" fmla="*/ 1358265 w 4940931"/>
                <a:gd name="connsiteY1264" fmla="*/ 1904 h 138429"/>
                <a:gd name="connsiteX1265" fmla="*/ 1362075 w 4940931"/>
                <a:gd name="connsiteY1265" fmla="*/ 1269 h 138429"/>
                <a:gd name="connsiteX1266" fmla="*/ 4789801 w 4940931"/>
                <a:gd name="connsiteY1266" fmla="*/ 634 h 138429"/>
                <a:gd name="connsiteX1267" fmla="*/ 4789801 w 4940931"/>
                <a:gd name="connsiteY1267" fmla="*/ 65404 h 138429"/>
                <a:gd name="connsiteX1268" fmla="*/ 4814566 w 4940931"/>
                <a:gd name="connsiteY1268" fmla="*/ 31114 h 138429"/>
                <a:gd name="connsiteX1269" fmla="*/ 4831711 w 4940931"/>
                <a:gd name="connsiteY1269" fmla="*/ 31114 h 138429"/>
                <a:gd name="connsiteX1270" fmla="*/ 4812026 w 4940931"/>
                <a:gd name="connsiteY1270" fmla="*/ 57149 h 138429"/>
                <a:gd name="connsiteX1271" fmla="*/ 4835521 w 4940931"/>
                <a:gd name="connsiteY1271" fmla="*/ 108584 h 138429"/>
                <a:gd name="connsiteX1272" fmla="*/ 4819011 w 4940931"/>
                <a:gd name="connsiteY1272" fmla="*/ 108584 h 138429"/>
                <a:gd name="connsiteX1273" fmla="*/ 4801866 w 4940931"/>
                <a:gd name="connsiteY1273" fmla="*/ 69849 h 138429"/>
                <a:gd name="connsiteX1274" fmla="*/ 4789801 w 4940931"/>
                <a:gd name="connsiteY1274" fmla="*/ 85724 h 138429"/>
                <a:gd name="connsiteX1275" fmla="*/ 4789801 w 4940931"/>
                <a:gd name="connsiteY1275" fmla="*/ 108584 h 138429"/>
                <a:gd name="connsiteX1276" fmla="*/ 4774561 w 4940931"/>
                <a:gd name="connsiteY1276" fmla="*/ 108584 h 138429"/>
                <a:gd name="connsiteX1277" fmla="*/ 4774561 w 4940931"/>
                <a:gd name="connsiteY1277" fmla="*/ 8889 h 138429"/>
                <a:gd name="connsiteX1278" fmla="*/ 4472301 w 4940931"/>
                <a:gd name="connsiteY1278" fmla="*/ 634 h 138429"/>
                <a:gd name="connsiteX1279" fmla="*/ 4472301 w 4940931"/>
                <a:gd name="connsiteY1279" fmla="*/ 109219 h 138429"/>
                <a:gd name="connsiteX1280" fmla="*/ 4457061 w 4940931"/>
                <a:gd name="connsiteY1280" fmla="*/ 109219 h 138429"/>
                <a:gd name="connsiteX1281" fmla="*/ 4457696 w 4940931"/>
                <a:gd name="connsiteY1281" fmla="*/ 108584 h 138429"/>
                <a:gd name="connsiteX1282" fmla="*/ 4457696 w 4940931"/>
                <a:gd name="connsiteY1282" fmla="*/ 100964 h 138429"/>
                <a:gd name="connsiteX1283" fmla="*/ 4453251 w 4940931"/>
                <a:gd name="connsiteY1283" fmla="*/ 104774 h 138429"/>
                <a:gd name="connsiteX1284" fmla="*/ 4448171 w 4940931"/>
                <a:gd name="connsiteY1284" fmla="*/ 107949 h 138429"/>
                <a:gd name="connsiteX1285" fmla="*/ 4443091 w 4940931"/>
                <a:gd name="connsiteY1285" fmla="*/ 109854 h 138429"/>
                <a:gd name="connsiteX1286" fmla="*/ 4437376 w 4940931"/>
                <a:gd name="connsiteY1286" fmla="*/ 109854 h 138429"/>
                <a:gd name="connsiteX1287" fmla="*/ 4425946 w 4940931"/>
                <a:gd name="connsiteY1287" fmla="*/ 107314 h 138429"/>
                <a:gd name="connsiteX1288" fmla="*/ 4416421 w 4940931"/>
                <a:gd name="connsiteY1288" fmla="*/ 99694 h 138429"/>
                <a:gd name="connsiteX1289" fmla="*/ 4410071 w 4940931"/>
                <a:gd name="connsiteY1289" fmla="*/ 86994 h 138429"/>
                <a:gd name="connsiteX1290" fmla="*/ 4407531 w 4940931"/>
                <a:gd name="connsiteY1290" fmla="*/ 67944 h 138429"/>
                <a:gd name="connsiteX1291" fmla="*/ 4410071 w 4940931"/>
                <a:gd name="connsiteY1291" fmla="*/ 50799 h 138429"/>
                <a:gd name="connsiteX1292" fmla="*/ 4417056 w 4940931"/>
                <a:gd name="connsiteY1292" fmla="*/ 38734 h 138429"/>
                <a:gd name="connsiteX1293" fmla="*/ 4426581 w 4940931"/>
                <a:gd name="connsiteY1293" fmla="*/ 31749 h 138429"/>
                <a:gd name="connsiteX1294" fmla="*/ 4438011 w 4940931"/>
                <a:gd name="connsiteY1294" fmla="*/ 29209 h 138429"/>
                <a:gd name="connsiteX1295" fmla="*/ 4443726 w 4940931"/>
                <a:gd name="connsiteY1295" fmla="*/ 29844 h 138429"/>
                <a:gd name="connsiteX1296" fmla="*/ 4448806 w 4940931"/>
                <a:gd name="connsiteY1296" fmla="*/ 31749 h 138429"/>
                <a:gd name="connsiteX1297" fmla="*/ 4453251 w 4940931"/>
                <a:gd name="connsiteY1297" fmla="*/ 34924 h 138429"/>
                <a:gd name="connsiteX1298" fmla="*/ 4457061 w 4940931"/>
                <a:gd name="connsiteY1298" fmla="*/ 38099 h 138429"/>
                <a:gd name="connsiteX1299" fmla="*/ 4457061 w 4940931"/>
                <a:gd name="connsiteY1299" fmla="*/ 8254 h 138429"/>
                <a:gd name="connsiteX1300" fmla="*/ 4390385 w 4940931"/>
                <a:gd name="connsiteY1300" fmla="*/ 634 h 138429"/>
                <a:gd name="connsiteX1301" fmla="*/ 4390385 w 4940931"/>
                <a:gd name="connsiteY1301" fmla="*/ 108584 h 138429"/>
                <a:gd name="connsiteX1302" fmla="*/ 4375145 w 4940931"/>
                <a:gd name="connsiteY1302" fmla="*/ 108584 h 138429"/>
                <a:gd name="connsiteX1303" fmla="*/ 4375145 w 4940931"/>
                <a:gd name="connsiteY1303" fmla="*/ 8889 h 138429"/>
                <a:gd name="connsiteX1304" fmla="*/ 3946521 w 4940931"/>
                <a:gd name="connsiteY1304" fmla="*/ 634 h 138429"/>
                <a:gd name="connsiteX1305" fmla="*/ 3946521 w 4940931"/>
                <a:gd name="connsiteY1305" fmla="*/ 38099 h 138429"/>
                <a:gd name="connsiteX1306" fmla="*/ 3950331 w 4940931"/>
                <a:gd name="connsiteY1306" fmla="*/ 34289 h 138429"/>
                <a:gd name="connsiteX1307" fmla="*/ 3954776 w 4940931"/>
                <a:gd name="connsiteY1307" fmla="*/ 31114 h 138429"/>
                <a:gd name="connsiteX1308" fmla="*/ 3960491 w 4940931"/>
                <a:gd name="connsiteY1308" fmla="*/ 29209 h 138429"/>
                <a:gd name="connsiteX1309" fmla="*/ 3966206 w 4940931"/>
                <a:gd name="connsiteY1309" fmla="*/ 29209 h 138429"/>
                <a:gd name="connsiteX1310" fmla="*/ 3978271 w 4940931"/>
                <a:gd name="connsiteY1310" fmla="*/ 31749 h 138429"/>
                <a:gd name="connsiteX1311" fmla="*/ 3987161 w 4940931"/>
                <a:gd name="connsiteY1311" fmla="*/ 38099 h 138429"/>
                <a:gd name="connsiteX1312" fmla="*/ 3992241 w 4940931"/>
                <a:gd name="connsiteY1312" fmla="*/ 49529 h 138429"/>
                <a:gd name="connsiteX1313" fmla="*/ 3994146 w 4940931"/>
                <a:gd name="connsiteY1313" fmla="*/ 64134 h 138429"/>
                <a:gd name="connsiteX1314" fmla="*/ 3994146 w 4940931"/>
                <a:gd name="connsiteY1314" fmla="*/ 108584 h 138429"/>
                <a:gd name="connsiteX1315" fmla="*/ 3978906 w 4940931"/>
                <a:gd name="connsiteY1315" fmla="*/ 108584 h 138429"/>
                <a:gd name="connsiteX1316" fmla="*/ 3978271 w 4940931"/>
                <a:gd name="connsiteY1316" fmla="*/ 108584 h 138429"/>
                <a:gd name="connsiteX1317" fmla="*/ 3978271 w 4940931"/>
                <a:gd name="connsiteY1317" fmla="*/ 64769 h 138429"/>
                <a:gd name="connsiteX1318" fmla="*/ 3974461 w 4940931"/>
                <a:gd name="connsiteY1318" fmla="*/ 48894 h 138429"/>
                <a:gd name="connsiteX1319" fmla="*/ 3962396 w 4940931"/>
                <a:gd name="connsiteY1319" fmla="*/ 43814 h 138429"/>
                <a:gd name="connsiteX1320" fmla="*/ 3956046 w 4940931"/>
                <a:gd name="connsiteY1320" fmla="*/ 45084 h 138429"/>
                <a:gd name="connsiteX1321" fmla="*/ 3950966 w 4940931"/>
                <a:gd name="connsiteY1321" fmla="*/ 48894 h 138429"/>
                <a:gd name="connsiteX1322" fmla="*/ 3947791 w 4940931"/>
                <a:gd name="connsiteY1322" fmla="*/ 55244 h 138429"/>
                <a:gd name="connsiteX1323" fmla="*/ 3946521 w 4940931"/>
                <a:gd name="connsiteY1323" fmla="*/ 63499 h 138429"/>
                <a:gd name="connsiteX1324" fmla="*/ 3946521 w 4940931"/>
                <a:gd name="connsiteY1324" fmla="*/ 109219 h 138429"/>
                <a:gd name="connsiteX1325" fmla="*/ 3931281 w 4940931"/>
                <a:gd name="connsiteY1325" fmla="*/ 109219 h 138429"/>
                <a:gd name="connsiteX1326" fmla="*/ 3931281 w 4940931"/>
                <a:gd name="connsiteY1326" fmla="*/ 8889 h 138429"/>
                <a:gd name="connsiteX1327" fmla="*/ 3248021 w 4940931"/>
                <a:gd name="connsiteY1327" fmla="*/ 634 h 138429"/>
                <a:gd name="connsiteX1328" fmla="*/ 3248021 w 4940931"/>
                <a:gd name="connsiteY1328" fmla="*/ 38099 h 138429"/>
                <a:gd name="connsiteX1329" fmla="*/ 3251831 w 4940931"/>
                <a:gd name="connsiteY1329" fmla="*/ 34289 h 138429"/>
                <a:gd name="connsiteX1330" fmla="*/ 3256276 w 4940931"/>
                <a:gd name="connsiteY1330" fmla="*/ 31114 h 138429"/>
                <a:gd name="connsiteX1331" fmla="*/ 3261991 w 4940931"/>
                <a:gd name="connsiteY1331" fmla="*/ 29209 h 138429"/>
                <a:gd name="connsiteX1332" fmla="*/ 3267706 w 4940931"/>
                <a:gd name="connsiteY1332" fmla="*/ 29209 h 138429"/>
                <a:gd name="connsiteX1333" fmla="*/ 3279771 w 4940931"/>
                <a:gd name="connsiteY1333" fmla="*/ 31749 h 138429"/>
                <a:gd name="connsiteX1334" fmla="*/ 3288661 w 4940931"/>
                <a:gd name="connsiteY1334" fmla="*/ 38099 h 138429"/>
                <a:gd name="connsiteX1335" fmla="*/ 3293741 w 4940931"/>
                <a:gd name="connsiteY1335" fmla="*/ 49529 h 138429"/>
                <a:gd name="connsiteX1336" fmla="*/ 3295646 w 4940931"/>
                <a:gd name="connsiteY1336" fmla="*/ 64134 h 138429"/>
                <a:gd name="connsiteX1337" fmla="*/ 3295646 w 4940931"/>
                <a:gd name="connsiteY1337" fmla="*/ 108584 h 138429"/>
                <a:gd name="connsiteX1338" fmla="*/ 3280406 w 4940931"/>
                <a:gd name="connsiteY1338" fmla="*/ 108584 h 138429"/>
                <a:gd name="connsiteX1339" fmla="*/ 3279771 w 4940931"/>
                <a:gd name="connsiteY1339" fmla="*/ 108584 h 138429"/>
                <a:gd name="connsiteX1340" fmla="*/ 3279771 w 4940931"/>
                <a:gd name="connsiteY1340" fmla="*/ 64769 h 138429"/>
                <a:gd name="connsiteX1341" fmla="*/ 3275961 w 4940931"/>
                <a:gd name="connsiteY1341" fmla="*/ 48894 h 138429"/>
                <a:gd name="connsiteX1342" fmla="*/ 3263896 w 4940931"/>
                <a:gd name="connsiteY1342" fmla="*/ 43814 h 138429"/>
                <a:gd name="connsiteX1343" fmla="*/ 3257546 w 4940931"/>
                <a:gd name="connsiteY1343" fmla="*/ 45084 h 138429"/>
                <a:gd name="connsiteX1344" fmla="*/ 3252466 w 4940931"/>
                <a:gd name="connsiteY1344" fmla="*/ 48894 h 138429"/>
                <a:gd name="connsiteX1345" fmla="*/ 3249291 w 4940931"/>
                <a:gd name="connsiteY1345" fmla="*/ 55244 h 138429"/>
                <a:gd name="connsiteX1346" fmla="*/ 3248021 w 4940931"/>
                <a:gd name="connsiteY1346" fmla="*/ 63499 h 138429"/>
                <a:gd name="connsiteX1347" fmla="*/ 3248021 w 4940931"/>
                <a:gd name="connsiteY1347" fmla="*/ 109219 h 138429"/>
                <a:gd name="connsiteX1348" fmla="*/ 3232781 w 4940931"/>
                <a:gd name="connsiteY1348" fmla="*/ 109219 h 138429"/>
                <a:gd name="connsiteX1349" fmla="*/ 3232781 w 4940931"/>
                <a:gd name="connsiteY1349" fmla="*/ 8889 h 138429"/>
                <a:gd name="connsiteX1350" fmla="*/ 2432681 w 4940931"/>
                <a:gd name="connsiteY1350" fmla="*/ 634 h 138429"/>
                <a:gd name="connsiteX1351" fmla="*/ 2432681 w 4940931"/>
                <a:gd name="connsiteY1351" fmla="*/ 38099 h 138429"/>
                <a:gd name="connsiteX1352" fmla="*/ 2436491 w 4940931"/>
                <a:gd name="connsiteY1352" fmla="*/ 34289 h 138429"/>
                <a:gd name="connsiteX1353" fmla="*/ 2440936 w 4940931"/>
                <a:gd name="connsiteY1353" fmla="*/ 31114 h 138429"/>
                <a:gd name="connsiteX1354" fmla="*/ 2446651 w 4940931"/>
                <a:gd name="connsiteY1354" fmla="*/ 29209 h 138429"/>
                <a:gd name="connsiteX1355" fmla="*/ 2452366 w 4940931"/>
                <a:gd name="connsiteY1355" fmla="*/ 29209 h 138429"/>
                <a:gd name="connsiteX1356" fmla="*/ 2464431 w 4940931"/>
                <a:gd name="connsiteY1356" fmla="*/ 31749 h 138429"/>
                <a:gd name="connsiteX1357" fmla="*/ 2473321 w 4940931"/>
                <a:gd name="connsiteY1357" fmla="*/ 38099 h 138429"/>
                <a:gd name="connsiteX1358" fmla="*/ 2478401 w 4940931"/>
                <a:gd name="connsiteY1358" fmla="*/ 49529 h 138429"/>
                <a:gd name="connsiteX1359" fmla="*/ 2480306 w 4940931"/>
                <a:gd name="connsiteY1359" fmla="*/ 64134 h 138429"/>
                <a:gd name="connsiteX1360" fmla="*/ 2480306 w 4940931"/>
                <a:gd name="connsiteY1360" fmla="*/ 108584 h 138429"/>
                <a:gd name="connsiteX1361" fmla="*/ 2465066 w 4940931"/>
                <a:gd name="connsiteY1361" fmla="*/ 108584 h 138429"/>
                <a:gd name="connsiteX1362" fmla="*/ 2464431 w 4940931"/>
                <a:gd name="connsiteY1362" fmla="*/ 108584 h 138429"/>
                <a:gd name="connsiteX1363" fmla="*/ 2464431 w 4940931"/>
                <a:gd name="connsiteY1363" fmla="*/ 64769 h 138429"/>
                <a:gd name="connsiteX1364" fmla="*/ 2460621 w 4940931"/>
                <a:gd name="connsiteY1364" fmla="*/ 48894 h 138429"/>
                <a:gd name="connsiteX1365" fmla="*/ 2448556 w 4940931"/>
                <a:gd name="connsiteY1365" fmla="*/ 43814 h 138429"/>
                <a:gd name="connsiteX1366" fmla="*/ 2442206 w 4940931"/>
                <a:gd name="connsiteY1366" fmla="*/ 45084 h 138429"/>
                <a:gd name="connsiteX1367" fmla="*/ 2437126 w 4940931"/>
                <a:gd name="connsiteY1367" fmla="*/ 48894 h 138429"/>
                <a:gd name="connsiteX1368" fmla="*/ 2433951 w 4940931"/>
                <a:gd name="connsiteY1368" fmla="*/ 55244 h 138429"/>
                <a:gd name="connsiteX1369" fmla="*/ 2432681 w 4940931"/>
                <a:gd name="connsiteY1369" fmla="*/ 63499 h 138429"/>
                <a:gd name="connsiteX1370" fmla="*/ 2432681 w 4940931"/>
                <a:gd name="connsiteY1370" fmla="*/ 109219 h 138429"/>
                <a:gd name="connsiteX1371" fmla="*/ 2417441 w 4940931"/>
                <a:gd name="connsiteY1371" fmla="*/ 109219 h 138429"/>
                <a:gd name="connsiteX1372" fmla="*/ 2417441 w 4940931"/>
                <a:gd name="connsiteY1372" fmla="*/ 8889 h 138429"/>
                <a:gd name="connsiteX1373" fmla="*/ 1734181 w 4940931"/>
                <a:gd name="connsiteY1373" fmla="*/ 634 h 138429"/>
                <a:gd name="connsiteX1374" fmla="*/ 1734181 w 4940931"/>
                <a:gd name="connsiteY1374" fmla="*/ 38099 h 138429"/>
                <a:gd name="connsiteX1375" fmla="*/ 1737991 w 4940931"/>
                <a:gd name="connsiteY1375" fmla="*/ 34289 h 138429"/>
                <a:gd name="connsiteX1376" fmla="*/ 1742436 w 4940931"/>
                <a:gd name="connsiteY1376" fmla="*/ 31114 h 138429"/>
                <a:gd name="connsiteX1377" fmla="*/ 1748151 w 4940931"/>
                <a:gd name="connsiteY1377" fmla="*/ 29209 h 138429"/>
                <a:gd name="connsiteX1378" fmla="*/ 1753866 w 4940931"/>
                <a:gd name="connsiteY1378" fmla="*/ 29209 h 138429"/>
                <a:gd name="connsiteX1379" fmla="*/ 1765931 w 4940931"/>
                <a:gd name="connsiteY1379" fmla="*/ 31749 h 138429"/>
                <a:gd name="connsiteX1380" fmla="*/ 1774821 w 4940931"/>
                <a:gd name="connsiteY1380" fmla="*/ 38099 h 138429"/>
                <a:gd name="connsiteX1381" fmla="*/ 1779901 w 4940931"/>
                <a:gd name="connsiteY1381" fmla="*/ 49529 h 138429"/>
                <a:gd name="connsiteX1382" fmla="*/ 1781806 w 4940931"/>
                <a:gd name="connsiteY1382" fmla="*/ 64134 h 138429"/>
                <a:gd name="connsiteX1383" fmla="*/ 1781806 w 4940931"/>
                <a:gd name="connsiteY1383" fmla="*/ 108584 h 138429"/>
                <a:gd name="connsiteX1384" fmla="*/ 1766566 w 4940931"/>
                <a:gd name="connsiteY1384" fmla="*/ 108584 h 138429"/>
                <a:gd name="connsiteX1385" fmla="*/ 1765931 w 4940931"/>
                <a:gd name="connsiteY1385" fmla="*/ 108584 h 138429"/>
                <a:gd name="connsiteX1386" fmla="*/ 1765931 w 4940931"/>
                <a:gd name="connsiteY1386" fmla="*/ 64769 h 138429"/>
                <a:gd name="connsiteX1387" fmla="*/ 1762121 w 4940931"/>
                <a:gd name="connsiteY1387" fmla="*/ 48894 h 138429"/>
                <a:gd name="connsiteX1388" fmla="*/ 1750056 w 4940931"/>
                <a:gd name="connsiteY1388" fmla="*/ 43814 h 138429"/>
                <a:gd name="connsiteX1389" fmla="*/ 1743706 w 4940931"/>
                <a:gd name="connsiteY1389" fmla="*/ 45084 h 138429"/>
                <a:gd name="connsiteX1390" fmla="*/ 1738626 w 4940931"/>
                <a:gd name="connsiteY1390" fmla="*/ 48894 h 138429"/>
                <a:gd name="connsiteX1391" fmla="*/ 1735451 w 4940931"/>
                <a:gd name="connsiteY1391" fmla="*/ 55244 h 138429"/>
                <a:gd name="connsiteX1392" fmla="*/ 1734181 w 4940931"/>
                <a:gd name="connsiteY1392" fmla="*/ 63499 h 138429"/>
                <a:gd name="connsiteX1393" fmla="*/ 1734181 w 4940931"/>
                <a:gd name="connsiteY1393" fmla="*/ 109219 h 138429"/>
                <a:gd name="connsiteX1394" fmla="*/ 1718941 w 4940931"/>
                <a:gd name="connsiteY1394" fmla="*/ 109219 h 138429"/>
                <a:gd name="connsiteX1395" fmla="*/ 1718941 w 4940931"/>
                <a:gd name="connsiteY1395" fmla="*/ 8889 h 138429"/>
                <a:gd name="connsiteX1396" fmla="*/ 803275 w 4940931"/>
                <a:gd name="connsiteY1396" fmla="*/ 634 h 138429"/>
                <a:gd name="connsiteX1397" fmla="*/ 803275 w 4940931"/>
                <a:gd name="connsiteY1397" fmla="*/ 38099 h 138429"/>
                <a:gd name="connsiteX1398" fmla="*/ 807085 w 4940931"/>
                <a:gd name="connsiteY1398" fmla="*/ 34289 h 138429"/>
                <a:gd name="connsiteX1399" fmla="*/ 811530 w 4940931"/>
                <a:gd name="connsiteY1399" fmla="*/ 31114 h 138429"/>
                <a:gd name="connsiteX1400" fmla="*/ 817245 w 4940931"/>
                <a:gd name="connsiteY1400" fmla="*/ 29209 h 138429"/>
                <a:gd name="connsiteX1401" fmla="*/ 822960 w 4940931"/>
                <a:gd name="connsiteY1401" fmla="*/ 29209 h 138429"/>
                <a:gd name="connsiteX1402" fmla="*/ 835025 w 4940931"/>
                <a:gd name="connsiteY1402" fmla="*/ 31749 h 138429"/>
                <a:gd name="connsiteX1403" fmla="*/ 843915 w 4940931"/>
                <a:gd name="connsiteY1403" fmla="*/ 38099 h 138429"/>
                <a:gd name="connsiteX1404" fmla="*/ 848995 w 4940931"/>
                <a:gd name="connsiteY1404" fmla="*/ 49529 h 138429"/>
                <a:gd name="connsiteX1405" fmla="*/ 850900 w 4940931"/>
                <a:gd name="connsiteY1405" fmla="*/ 64134 h 138429"/>
                <a:gd name="connsiteX1406" fmla="*/ 850900 w 4940931"/>
                <a:gd name="connsiteY1406" fmla="*/ 108584 h 138429"/>
                <a:gd name="connsiteX1407" fmla="*/ 835660 w 4940931"/>
                <a:gd name="connsiteY1407" fmla="*/ 108584 h 138429"/>
                <a:gd name="connsiteX1408" fmla="*/ 835025 w 4940931"/>
                <a:gd name="connsiteY1408" fmla="*/ 108584 h 138429"/>
                <a:gd name="connsiteX1409" fmla="*/ 835025 w 4940931"/>
                <a:gd name="connsiteY1409" fmla="*/ 64769 h 138429"/>
                <a:gd name="connsiteX1410" fmla="*/ 831215 w 4940931"/>
                <a:gd name="connsiteY1410" fmla="*/ 48894 h 138429"/>
                <a:gd name="connsiteX1411" fmla="*/ 819150 w 4940931"/>
                <a:gd name="connsiteY1411" fmla="*/ 43814 h 138429"/>
                <a:gd name="connsiteX1412" fmla="*/ 812800 w 4940931"/>
                <a:gd name="connsiteY1412" fmla="*/ 45084 h 138429"/>
                <a:gd name="connsiteX1413" fmla="*/ 807720 w 4940931"/>
                <a:gd name="connsiteY1413" fmla="*/ 48894 h 138429"/>
                <a:gd name="connsiteX1414" fmla="*/ 804545 w 4940931"/>
                <a:gd name="connsiteY1414" fmla="*/ 55244 h 138429"/>
                <a:gd name="connsiteX1415" fmla="*/ 803275 w 4940931"/>
                <a:gd name="connsiteY1415" fmla="*/ 63499 h 138429"/>
                <a:gd name="connsiteX1416" fmla="*/ 803275 w 4940931"/>
                <a:gd name="connsiteY1416" fmla="*/ 109219 h 138429"/>
                <a:gd name="connsiteX1417" fmla="*/ 788035 w 4940931"/>
                <a:gd name="connsiteY1417" fmla="*/ 109219 h 138429"/>
                <a:gd name="connsiteX1418" fmla="*/ 788035 w 4940931"/>
                <a:gd name="connsiteY1418" fmla="*/ 8889 h 138429"/>
                <a:gd name="connsiteX1419" fmla="*/ 104774 w 4940931"/>
                <a:gd name="connsiteY1419" fmla="*/ 634 h 138429"/>
                <a:gd name="connsiteX1420" fmla="*/ 104774 w 4940931"/>
                <a:gd name="connsiteY1420" fmla="*/ 38099 h 138429"/>
                <a:gd name="connsiteX1421" fmla="*/ 108584 w 4940931"/>
                <a:gd name="connsiteY1421" fmla="*/ 34289 h 138429"/>
                <a:gd name="connsiteX1422" fmla="*/ 113029 w 4940931"/>
                <a:gd name="connsiteY1422" fmla="*/ 31114 h 138429"/>
                <a:gd name="connsiteX1423" fmla="*/ 118744 w 4940931"/>
                <a:gd name="connsiteY1423" fmla="*/ 29209 h 138429"/>
                <a:gd name="connsiteX1424" fmla="*/ 124459 w 4940931"/>
                <a:gd name="connsiteY1424" fmla="*/ 29209 h 138429"/>
                <a:gd name="connsiteX1425" fmla="*/ 136524 w 4940931"/>
                <a:gd name="connsiteY1425" fmla="*/ 31749 h 138429"/>
                <a:gd name="connsiteX1426" fmla="*/ 145414 w 4940931"/>
                <a:gd name="connsiteY1426" fmla="*/ 38099 h 138429"/>
                <a:gd name="connsiteX1427" fmla="*/ 150494 w 4940931"/>
                <a:gd name="connsiteY1427" fmla="*/ 49529 h 138429"/>
                <a:gd name="connsiteX1428" fmla="*/ 152399 w 4940931"/>
                <a:gd name="connsiteY1428" fmla="*/ 64134 h 138429"/>
                <a:gd name="connsiteX1429" fmla="*/ 152399 w 4940931"/>
                <a:gd name="connsiteY1429" fmla="*/ 108584 h 138429"/>
                <a:gd name="connsiteX1430" fmla="*/ 137159 w 4940931"/>
                <a:gd name="connsiteY1430" fmla="*/ 108584 h 138429"/>
                <a:gd name="connsiteX1431" fmla="*/ 136524 w 4940931"/>
                <a:gd name="connsiteY1431" fmla="*/ 108584 h 138429"/>
                <a:gd name="connsiteX1432" fmla="*/ 136524 w 4940931"/>
                <a:gd name="connsiteY1432" fmla="*/ 64769 h 138429"/>
                <a:gd name="connsiteX1433" fmla="*/ 132714 w 4940931"/>
                <a:gd name="connsiteY1433" fmla="*/ 48894 h 138429"/>
                <a:gd name="connsiteX1434" fmla="*/ 120649 w 4940931"/>
                <a:gd name="connsiteY1434" fmla="*/ 43814 h 138429"/>
                <a:gd name="connsiteX1435" fmla="*/ 114299 w 4940931"/>
                <a:gd name="connsiteY1435" fmla="*/ 45084 h 138429"/>
                <a:gd name="connsiteX1436" fmla="*/ 109219 w 4940931"/>
                <a:gd name="connsiteY1436" fmla="*/ 48894 h 138429"/>
                <a:gd name="connsiteX1437" fmla="*/ 106044 w 4940931"/>
                <a:gd name="connsiteY1437" fmla="*/ 55244 h 138429"/>
                <a:gd name="connsiteX1438" fmla="*/ 104774 w 4940931"/>
                <a:gd name="connsiteY1438" fmla="*/ 63499 h 138429"/>
                <a:gd name="connsiteX1439" fmla="*/ 104774 w 4940931"/>
                <a:gd name="connsiteY1439" fmla="*/ 109219 h 138429"/>
                <a:gd name="connsiteX1440" fmla="*/ 89534 w 4940931"/>
                <a:gd name="connsiteY1440" fmla="*/ 109219 h 138429"/>
                <a:gd name="connsiteX1441" fmla="*/ 89534 w 4940931"/>
                <a:gd name="connsiteY1441" fmla="*/ 8889 h 138429"/>
                <a:gd name="connsiteX1442" fmla="*/ 3894450 w 4940931"/>
                <a:gd name="connsiteY1442" fmla="*/ 0 h 138429"/>
                <a:gd name="connsiteX1443" fmla="*/ 3894450 w 4940931"/>
                <a:gd name="connsiteY1443" fmla="*/ 30480 h 138429"/>
                <a:gd name="connsiteX1444" fmla="*/ 3913500 w 4940931"/>
                <a:gd name="connsiteY1444" fmla="*/ 30480 h 138429"/>
                <a:gd name="connsiteX1445" fmla="*/ 3913500 w 4940931"/>
                <a:gd name="connsiteY1445" fmla="*/ 44450 h 138429"/>
                <a:gd name="connsiteX1446" fmla="*/ 3894450 w 4940931"/>
                <a:gd name="connsiteY1446" fmla="*/ 44450 h 138429"/>
                <a:gd name="connsiteX1447" fmla="*/ 3894450 w 4940931"/>
                <a:gd name="connsiteY1447" fmla="*/ 86995 h 138429"/>
                <a:gd name="connsiteX1448" fmla="*/ 3894450 w 4940931"/>
                <a:gd name="connsiteY1448" fmla="*/ 91440 h 138429"/>
                <a:gd name="connsiteX1449" fmla="*/ 3895720 w 4940931"/>
                <a:gd name="connsiteY1449" fmla="*/ 94615 h 138429"/>
                <a:gd name="connsiteX1450" fmla="*/ 3898260 w 4940931"/>
                <a:gd name="connsiteY1450" fmla="*/ 95885 h 138429"/>
                <a:gd name="connsiteX1451" fmla="*/ 3902070 w 4940931"/>
                <a:gd name="connsiteY1451" fmla="*/ 95885 h 138429"/>
                <a:gd name="connsiteX1452" fmla="*/ 3908420 w 4940931"/>
                <a:gd name="connsiteY1452" fmla="*/ 95250 h 138429"/>
                <a:gd name="connsiteX1453" fmla="*/ 3913500 w 4940931"/>
                <a:gd name="connsiteY1453" fmla="*/ 93345 h 138429"/>
                <a:gd name="connsiteX1454" fmla="*/ 3911595 w 4940931"/>
                <a:gd name="connsiteY1454" fmla="*/ 106680 h 138429"/>
                <a:gd name="connsiteX1455" fmla="*/ 3905245 w 4940931"/>
                <a:gd name="connsiteY1455" fmla="*/ 109220 h 138429"/>
                <a:gd name="connsiteX1456" fmla="*/ 3896990 w 4940931"/>
                <a:gd name="connsiteY1456" fmla="*/ 110490 h 138429"/>
                <a:gd name="connsiteX1457" fmla="*/ 3890005 w 4940931"/>
                <a:gd name="connsiteY1457" fmla="*/ 109220 h 138429"/>
                <a:gd name="connsiteX1458" fmla="*/ 3884290 w 4940931"/>
                <a:gd name="connsiteY1458" fmla="*/ 105410 h 138429"/>
                <a:gd name="connsiteX1459" fmla="*/ 3880480 w 4940931"/>
                <a:gd name="connsiteY1459" fmla="*/ 99060 h 138429"/>
                <a:gd name="connsiteX1460" fmla="*/ 3879210 w 4940931"/>
                <a:gd name="connsiteY1460" fmla="*/ 89535 h 138429"/>
                <a:gd name="connsiteX1461" fmla="*/ 3879210 w 4940931"/>
                <a:gd name="connsiteY1461" fmla="*/ 44450 h 138429"/>
                <a:gd name="connsiteX1462" fmla="*/ 3868415 w 4940931"/>
                <a:gd name="connsiteY1462" fmla="*/ 44450 h 138429"/>
                <a:gd name="connsiteX1463" fmla="*/ 3868415 w 4940931"/>
                <a:gd name="connsiteY1463" fmla="*/ 30480 h 138429"/>
                <a:gd name="connsiteX1464" fmla="*/ 3879210 w 4940931"/>
                <a:gd name="connsiteY1464" fmla="*/ 30480 h 138429"/>
                <a:gd name="connsiteX1465" fmla="*/ 3879210 w 4940931"/>
                <a:gd name="connsiteY1465" fmla="*/ 8255 h 138429"/>
                <a:gd name="connsiteX1466" fmla="*/ 3664581 w 4940931"/>
                <a:gd name="connsiteY1466" fmla="*/ 0 h 138429"/>
                <a:gd name="connsiteX1467" fmla="*/ 3664581 w 4940931"/>
                <a:gd name="connsiteY1467" fmla="*/ 30480 h 138429"/>
                <a:gd name="connsiteX1468" fmla="*/ 3683631 w 4940931"/>
                <a:gd name="connsiteY1468" fmla="*/ 30480 h 138429"/>
                <a:gd name="connsiteX1469" fmla="*/ 3683631 w 4940931"/>
                <a:gd name="connsiteY1469" fmla="*/ 44450 h 138429"/>
                <a:gd name="connsiteX1470" fmla="*/ 3664581 w 4940931"/>
                <a:gd name="connsiteY1470" fmla="*/ 44450 h 138429"/>
                <a:gd name="connsiteX1471" fmla="*/ 3664581 w 4940931"/>
                <a:gd name="connsiteY1471" fmla="*/ 86995 h 138429"/>
                <a:gd name="connsiteX1472" fmla="*/ 3664581 w 4940931"/>
                <a:gd name="connsiteY1472" fmla="*/ 91440 h 138429"/>
                <a:gd name="connsiteX1473" fmla="*/ 3665851 w 4940931"/>
                <a:gd name="connsiteY1473" fmla="*/ 94615 h 138429"/>
                <a:gd name="connsiteX1474" fmla="*/ 3668391 w 4940931"/>
                <a:gd name="connsiteY1474" fmla="*/ 95885 h 138429"/>
                <a:gd name="connsiteX1475" fmla="*/ 3672201 w 4940931"/>
                <a:gd name="connsiteY1475" fmla="*/ 95885 h 138429"/>
                <a:gd name="connsiteX1476" fmla="*/ 3678551 w 4940931"/>
                <a:gd name="connsiteY1476" fmla="*/ 95250 h 138429"/>
                <a:gd name="connsiteX1477" fmla="*/ 3683631 w 4940931"/>
                <a:gd name="connsiteY1477" fmla="*/ 93345 h 138429"/>
                <a:gd name="connsiteX1478" fmla="*/ 3681726 w 4940931"/>
                <a:gd name="connsiteY1478" fmla="*/ 106680 h 138429"/>
                <a:gd name="connsiteX1479" fmla="*/ 3675376 w 4940931"/>
                <a:gd name="connsiteY1479" fmla="*/ 109220 h 138429"/>
                <a:gd name="connsiteX1480" fmla="*/ 3667121 w 4940931"/>
                <a:gd name="connsiteY1480" fmla="*/ 110490 h 138429"/>
                <a:gd name="connsiteX1481" fmla="*/ 3660136 w 4940931"/>
                <a:gd name="connsiteY1481" fmla="*/ 109220 h 138429"/>
                <a:gd name="connsiteX1482" fmla="*/ 3654421 w 4940931"/>
                <a:gd name="connsiteY1482" fmla="*/ 105410 h 138429"/>
                <a:gd name="connsiteX1483" fmla="*/ 3650611 w 4940931"/>
                <a:gd name="connsiteY1483" fmla="*/ 99060 h 138429"/>
                <a:gd name="connsiteX1484" fmla="*/ 3649341 w 4940931"/>
                <a:gd name="connsiteY1484" fmla="*/ 89535 h 138429"/>
                <a:gd name="connsiteX1485" fmla="*/ 3649341 w 4940931"/>
                <a:gd name="connsiteY1485" fmla="*/ 44450 h 138429"/>
                <a:gd name="connsiteX1486" fmla="*/ 3638546 w 4940931"/>
                <a:gd name="connsiteY1486" fmla="*/ 44450 h 138429"/>
                <a:gd name="connsiteX1487" fmla="*/ 3638546 w 4940931"/>
                <a:gd name="connsiteY1487" fmla="*/ 30480 h 138429"/>
                <a:gd name="connsiteX1488" fmla="*/ 3649341 w 4940931"/>
                <a:gd name="connsiteY1488" fmla="*/ 30480 h 138429"/>
                <a:gd name="connsiteX1489" fmla="*/ 3649341 w 4940931"/>
                <a:gd name="connsiteY1489" fmla="*/ 8255 h 138429"/>
                <a:gd name="connsiteX1490" fmla="*/ 3610605 w 4940931"/>
                <a:gd name="connsiteY1490" fmla="*/ 0 h 138429"/>
                <a:gd name="connsiteX1491" fmla="*/ 3610605 w 4940931"/>
                <a:gd name="connsiteY1491" fmla="*/ 30480 h 138429"/>
                <a:gd name="connsiteX1492" fmla="*/ 3629655 w 4940931"/>
                <a:gd name="connsiteY1492" fmla="*/ 30480 h 138429"/>
                <a:gd name="connsiteX1493" fmla="*/ 3629655 w 4940931"/>
                <a:gd name="connsiteY1493" fmla="*/ 44450 h 138429"/>
                <a:gd name="connsiteX1494" fmla="*/ 3610605 w 4940931"/>
                <a:gd name="connsiteY1494" fmla="*/ 44450 h 138429"/>
                <a:gd name="connsiteX1495" fmla="*/ 3610605 w 4940931"/>
                <a:gd name="connsiteY1495" fmla="*/ 86995 h 138429"/>
                <a:gd name="connsiteX1496" fmla="*/ 3610605 w 4940931"/>
                <a:gd name="connsiteY1496" fmla="*/ 91440 h 138429"/>
                <a:gd name="connsiteX1497" fmla="*/ 3611875 w 4940931"/>
                <a:gd name="connsiteY1497" fmla="*/ 94615 h 138429"/>
                <a:gd name="connsiteX1498" fmla="*/ 3614415 w 4940931"/>
                <a:gd name="connsiteY1498" fmla="*/ 95885 h 138429"/>
                <a:gd name="connsiteX1499" fmla="*/ 3618225 w 4940931"/>
                <a:gd name="connsiteY1499" fmla="*/ 95885 h 138429"/>
                <a:gd name="connsiteX1500" fmla="*/ 3624575 w 4940931"/>
                <a:gd name="connsiteY1500" fmla="*/ 95250 h 138429"/>
                <a:gd name="connsiteX1501" fmla="*/ 3629655 w 4940931"/>
                <a:gd name="connsiteY1501" fmla="*/ 93345 h 138429"/>
                <a:gd name="connsiteX1502" fmla="*/ 3627750 w 4940931"/>
                <a:gd name="connsiteY1502" fmla="*/ 106680 h 138429"/>
                <a:gd name="connsiteX1503" fmla="*/ 3621400 w 4940931"/>
                <a:gd name="connsiteY1503" fmla="*/ 109220 h 138429"/>
                <a:gd name="connsiteX1504" fmla="*/ 3613145 w 4940931"/>
                <a:gd name="connsiteY1504" fmla="*/ 110490 h 138429"/>
                <a:gd name="connsiteX1505" fmla="*/ 3606160 w 4940931"/>
                <a:gd name="connsiteY1505" fmla="*/ 109220 h 138429"/>
                <a:gd name="connsiteX1506" fmla="*/ 3600445 w 4940931"/>
                <a:gd name="connsiteY1506" fmla="*/ 105410 h 138429"/>
                <a:gd name="connsiteX1507" fmla="*/ 3596635 w 4940931"/>
                <a:gd name="connsiteY1507" fmla="*/ 99060 h 138429"/>
                <a:gd name="connsiteX1508" fmla="*/ 3595365 w 4940931"/>
                <a:gd name="connsiteY1508" fmla="*/ 89535 h 138429"/>
                <a:gd name="connsiteX1509" fmla="*/ 3595365 w 4940931"/>
                <a:gd name="connsiteY1509" fmla="*/ 44450 h 138429"/>
                <a:gd name="connsiteX1510" fmla="*/ 3584570 w 4940931"/>
                <a:gd name="connsiteY1510" fmla="*/ 44450 h 138429"/>
                <a:gd name="connsiteX1511" fmla="*/ 3584570 w 4940931"/>
                <a:gd name="connsiteY1511" fmla="*/ 30480 h 138429"/>
                <a:gd name="connsiteX1512" fmla="*/ 3595365 w 4940931"/>
                <a:gd name="connsiteY1512" fmla="*/ 30480 h 138429"/>
                <a:gd name="connsiteX1513" fmla="*/ 3595365 w 4940931"/>
                <a:gd name="connsiteY1513" fmla="*/ 8255 h 138429"/>
                <a:gd name="connsiteX1514" fmla="*/ 3445505 w 4940931"/>
                <a:gd name="connsiteY1514" fmla="*/ 0 h 138429"/>
                <a:gd name="connsiteX1515" fmla="*/ 3445505 w 4940931"/>
                <a:gd name="connsiteY1515" fmla="*/ 37465 h 138429"/>
                <a:gd name="connsiteX1516" fmla="*/ 3449950 w 4940931"/>
                <a:gd name="connsiteY1516" fmla="*/ 33655 h 138429"/>
                <a:gd name="connsiteX1517" fmla="*/ 3453760 w 4940931"/>
                <a:gd name="connsiteY1517" fmla="*/ 31115 h 138429"/>
                <a:gd name="connsiteX1518" fmla="*/ 3458840 w 4940931"/>
                <a:gd name="connsiteY1518" fmla="*/ 29210 h 138429"/>
                <a:gd name="connsiteX1519" fmla="*/ 3465825 w 4940931"/>
                <a:gd name="connsiteY1519" fmla="*/ 28575 h 138429"/>
                <a:gd name="connsiteX1520" fmla="*/ 3477890 w 4940931"/>
                <a:gd name="connsiteY1520" fmla="*/ 31115 h 138429"/>
                <a:gd name="connsiteX1521" fmla="*/ 3487415 w 4940931"/>
                <a:gd name="connsiteY1521" fmla="*/ 38735 h 138429"/>
                <a:gd name="connsiteX1522" fmla="*/ 3493765 w 4940931"/>
                <a:gd name="connsiteY1522" fmla="*/ 51435 h 138429"/>
                <a:gd name="connsiteX1523" fmla="*/ 3496305 w 4940931"/>
                <a:gd name="connsiteY1523" fmla="*/ 70485 h 138429"/>
                <a:gd name="connsiteX1524" fmla="*/ 3495670 w 4940931"/>
                <a:gd name="connsiteY1524" fmla="*/ 71120 h 138429"/>
                <a:gd name="connsiteX1525" fmla="*/ 3493130 w 4940931"/>
                <a:gd name="connsiteY1525" fmla="*/ 88265 h 138429"/>
                <a:gd name="connsiteX1526" fmla="*/ 3486145 w 4940931"/>
                <a:gd name="connsiteY1526" fmla="*/ 100330 h 138429"/>
                <a:gd name="connsiteX1527" fmla="*/ 3476620 w 4940931"/>
                <a:gd name="connsiteY1527" fmla="*/ 107315 h 138429"/>
                <a:gd name="connsiteX1528" fmla="*/ 3465190 w 4940931"/>
                <a:gd name="connsiteY1528" fmla="*/ 109855 h 138429"/>
                <a:gd name="connsiteX1529" fmla="*/ 3454395 w 4940931"/>
                <a:gd name="connsiteY1529" fmla="*/ 107315 h 138429"/>
                <a:gd name="connsiteX1530" fmla="*/ 3445505 w 4940931"/>
                <a:gd name="connsiteY1530" fmla="*/ 100965 h 138429"/>
                <a:gd name="connsiteX1531" fmla="*/ 3445505 w 4940931"/>
                <a:gd name="connsiteY1531" fmla="*/ 107950 h 138429"/>
                <a:gd name="connsiteX1532" fmla="*/ 3430265 w 4940931"/>
                <a:gd name="connsiteY1532" fmla="*/ 107950 h 138429"/>
                <a:gd name="connsiteX1533" fmla="*/ 3430265 w 4940931"/>
                <a:gd name="connsiteY1533" fmla="*/ 7620 h 138429"/>
                <a:gd name="connsiteX1534" fmla="*/ 2380611 w 4940931"/>
                <a:gd name="connsiteY1534" fmla="*/ 0 h 138429"/>
                <a:gd name="connsiteX1535" fmla="*/ 2380611 w 4940931"/>
                <a:gd name="connsiteY1535" fmla="*/ 30480 h 138429"/>
                <a:gd name="connsiteX1536" fmla="*/ 2399661 w 4940931"/>
                <a:gd name="connsiteY1536" fmla="*/ 30480 h 138429"/>
                <a:gd name="connsiteX1537" fmla="*/ 2399661 w 4940931"/>
                <a:gd name="connsiteY1537" fmla="*/ 44450 h 138429"/>
                <a:gd name="connsiteX1538" fmla="*/ 2380611 w 4940931"/>
                <a:gd name="connsiteY1538" fmla="*/ 44450 h 138429"/>
                <a:gd name="connsiteX1539" fmla="*/ 2380611 w 4940931"/>
                <a:gd name="connsiteY1539" fmla="*/ 86995 h 138429"/>
                <a:gd name="connsiteX1540" fmla="*/ 2380611 w 4940931"/>
                <a:gd name="connsiteY1540" fmla="*/ 91440 h 138429"/>
                <a:gd name="connsiteX1541" fmla="*/ 2381881 w 4940931"/>
                <a:gd name="connsiteY1541" fmla="*/ 94615 h 138429"/>
                <a:gd name="connsiteX1542" fmla="*/ 2384421 w 4940931"/>
                <a:gd name="connsiteY1542" fmla="*/ 95885 h 138429"/>
                <a:gd name="connsiteX1543" fmla="*/ 2388231 w 4940931"/>
                <a:gd name="connsiteY1543" fmla="*/ 95885 h 138429"/>
                <a:gd name="connsiteX1544" fmla="*/ 2394581 w 4940931"/>
                <a:gd name="connsiteY1544" fmla="*/ 95250 h 138429"/>
                <a:gd name="connsiteX1545" fmla="*/ 2399661 w 4940931"/>
                <a:gd name="connsiteY1545" fmla="*/ 93345 h 138429"/>
                <a:gd name="connsiteX1546" fmla="*/ 2397756 w 4940931"/>
                <a:gd name="connsiteY1546" fmla="*/ 106680 h 138429"/>
                <a:gd name="connsiteX1547" fmla="*/ 2391406 w 4940931"/>
                <a:gd name="connsiteY1547" fmla="*/ 109220 h 138429"/>
                <a:gd name="connsiteX1548" fmla="*/ 2383151 w 4940931"/>
                <a:gd name="connsiteY1548" fmla="*/ 110490 h 138429"/>
                <a:gd name="connsiteX1549" fmla="*/ 2376166 w 4940931"/>
                <a:gd name="connsiteY1549" fmla="*/ 109220 h 138429"/>
                <a:gd name="connsiteX1550" fmla="*/ 2370451 w 4940931"/>
                <a:gd name="connsiteY1550" fmla="*/ 105410 h 138429"/>
                <a:gd name="connsiteX1551" fmla="*/ 2366641 w 4940931"/>
                <a:gd name="connsiteY1551" fmla="*/ 99060 h 138429"/>
                <a:gd name="connsiteX1552" fmla="*/ 2365371 w 4940931"/>
                <a:gd name="connsiteY1552" fmla="*/ 89535 h 138429"/>
                <a:gd name="connsiteX1553" fmla="*/ 2365371 w 4940931"/>
                <a:gd name="connsiteY1553" fmla="*/ 44450 h 138429"/>
                <a:gd name="connsiteX1554" fmla="*/ 2354576 w 4940931"/>
                <a:gd name="connsiteY1554" fmla="*/ 44450 h 138429"/>
                <a:gd name="connsiteX1555" fmla="*/ 2354576 w 4940931"/>
                <a:gd name="connsiteY1555" fmla="*/ 30480 h 138429"/>
                <a:gd name="connsiteX1556" fmla="*/ 2365371 w 4940931"/>
                <a:gd name="connsiteY1556" fmla="*/ 30480 h 138429"/>
                <a:gd name="connsiteX1557" fmla="*/ 2365371 w 4940931"/>
                <a:gd name="connsiteY1557" fmla="*/ 8255 h 138429"/>
                <a:gd name="connsiteX1558" fmla="*/ 2150741 w 4940931"/>
                <a:gd name="connsiteY1558" fmla="*/ 0 h 138429"/>
                <a:gd name="connsiteX1559" fmla="*/ 2150741 w 4940931"/>
                <a:gd name="connsiteY1559" fmla="*/ 30480 h 138429"/>
                <a:gd name="connsiteX1560" fmla="*/ 2169791 w 4940931"/>
                <a:gd name="connsiteY1560" fmla="*/ 30480 h 138429"/>
                <a:gd name="connsiteX1561" fmla="*/ 2169791 w 4940931"/>
                <a:gd name="connsiteY1561" fmla="*/ 44450 h 138429"/>
                <a:gd name="connsiteX1562" fmla="*/ 2150741 w 4940931"/>
                <a:gd name="connsiteY1562" fmla="*/ 44450 h 138429"/>
                <a:gd name="connsiteX1563" fmla="*/ 2150741 w 4940931"/>
                <a:gd name="connsiteY1563" fmla="*/ 86995 h 138429"/>
                <a:gd name="connsiteX1564" fmla="*/ 2150741 w 4940931"/>
                <a:gd name="connsiteY1564" fmla="*/ 91440 h 138429"/>
                <a:gd name="connsiteX1565" fmla="*/ 2152011 w 4940931"/>
                <a:gd name="connsiteY1565" fmla="*/ 94615 h 138429"/>
                <a:gd name="connsiteX1566" fmla="*/ 2154551 w 4940931"/>
                <a:gd name="connsiteY1566" fmla="*/ 95885 h 138429"/>
                <a:gd name="connsiteX1567" fmla="*/ 2158361 w 4940931"/>
                <a:gd name="connsiteY1567" fmla="*/ 95885 h 138429"/>
                <a:gd name="connsiteX1568" fmla="*/ 2164711 w 4940931"/>
                <a:gd name="connsiteY1568" fmla="*/ 95250 h 138429"/>
                <a:gd name="connsiteX1569" fmla="*/ 2169791 w 4940931"/>
                <a:gd name="connsiteY1569" fmla="*/ 93345 h 138429"/>
                <a:gd name="connsiteX1570" fmla="*/ 2167886 w 4940931"/>
                <a:gd name="connsiteY1570" fmla="*/ 106680 h 138429"/>
                <a:gd name="connsiteX1571" fmla="*/ 2161536 w 4940931"/>
                <a:gd name="connsiteY1571" fmla="*/ 109220 h 138429"/>
                <a:gd name="connsiteX1572" fmla="*/ 2153281 w 4940931"/>
                <a:gd name="connsiteY1572" fmla="*/ 110490 h 138429"/>
                <a:gd name="connsiteX1573" fmla="*/ 2146296 w 4940931"/>
                <a:gd name="connsiteY1573" fmla="*/ 109220 h 138429"/>
                <a:gd name="connsiteX1574" fmla="*/ 2140581 w 4940931"/>
                <a:gd name="connsiteY1574" fmla="*/ 105410 h 138429"/>
                <a:gd name="connsiteX1575" fmla="*/ 2136771 w 4940931"/>
                <a:gd name="connsiteY1575" fmla="*/ 99060 h 138429"/>
                <a:gd name="connsiteX1576" fmla="*/ 2135501 w 4940931"/>
                <a:gd name="connsiteY1576" fmla="*/ 89535 h 138429"/>
                <a:gd name="connsiteX1577" fmla="*/ 2135501 w 4940931"/>
                <a:gd name="connsiteY1577" fmla="*/ 44450 h 138429"/>
                <a:gd name="connsiteX1578" fmla="*/ 2124706 w 4940931"/>
                <a:gd name="connsiteY1578" fmla="*/ 44450 h 138429"/>
                <a:gd name="connsiteX1579" fmla="*/ 2124706 w 4940931"/>
                <a:gd name="connsiteY1579" fmla="*/ 30480 h 138429"/>
                <a:gd name="connsiteX1580" fmla="*/ 2135501 w 4940931"/>
                <a:gd name="connsiteY1580" fmla="*/ 30480 h 138429"/>
                <a:gd name="connsiteX1581" fmla="*/ 2135501 w 4940931"/>
                <a:gd name="connsiteY1581" fmla="*/ 8255 h 138429"/>
                <a:gd name="connsiteX1582" fmla="*/ 2096131 w 4940931"/>
                <a:gd name="connsiteY1582" fmla="*/ 0 h 138429"/>
                <a:gd name="connsiteX1583" fmla="*/ 2096131 w 4940931"/>
                <a:gd name="connsiteY1583" fmla="*/ 30480 h 138429"/>
                <a:gd name="connsiteX1584" fmla="*/ 2115181 w 4940931"/>
                <a:gd name="connsiteY1584" fmla="*/ 30480 h 138429"/>
                <a:gd name="connsiteX1585" fmla="*/ 2115181 w 4940931"/>
                <a:gd name="connsiteY1585" fmla="*/ 44450 h 138429"/>
                <a:gd name="connsiteX1586" fmla="*/ 2096131 w 4940931"/>
                <a:gd name="connsiteY1586" fmla="*/ 44450 h 138429"/>
                <a:gd name="connsiteX1587" fmla="*/ 2096131 w 4940931"/>
                <a:gd name="connsiteY1587" fmla="*/ 86995 h 138429"/>
                <a:gd name="connsiteX1588" fmla="*/ 2096131 w 4940931"/>
                <a:gd name="connsiteY1588" fmla="*/ 91440 h 138429"/>
                <a:gd name="connsiteX1589" fmla="*/ 2097401 w 4940931"/>
                <a:gd name="connsiteY1589" fmla="*/ 94615 h 138429"/>
                <a:gd name="connsiteX1590" fmla="*/ 2099941 w 4940931"/>
                <a:gd name="connsiteY1590" fmla="*/ 95885 h 138429"/>
                <a:gd name="connsiteX1591" fmla="*/ 2103751 w 4940931"/>
                <a:gd name="connsiteY1591" fmla="*/ 95885 h 138429"/>
                <a:gd name="connsiteX1592" fmla="*/ 2110101 w 4940931"/>
                <a:gd name="connsiteY1592" fmla="*/ 95250 h 138429"/>
                <a:gd name="connsiteX1593" fmla="*/ 2115181 w 4940931"/>
                <a:gd name="connsiteY1593" fmla="*/ 93345 h 138429"/>
                <a:gd name="connsiteX1594" fmla="*/ 2113276 w 4940931"/>
                <a:gd name="connsiteY1594" fmla="*/ 106680 h 138429"/>
                <a:gd name="connsiteX1595" fmla="*/ 2106926 w 4940931"/>
                <a:gd name="connsiteY1595" fmla="*/ 109220 h 138429"/>
                <a:gd name="connsiteX1596" fmla="*/ 2098671 w 4940931"/>
                <a:gd name="connsiteY1596" fmla="*/ 110490 h 138429"/>
                <a:gd name="connsiteX1597" fmla="*/ 2091686 w 4940931"/>
                <a:gd name="connsiteY1597" fmla="*/ 109220 h 138429"/>
                <a:gd name="connsiteX1598" fmla="*/ 2085971 w 4940931"/>
                <a:gd name="connsiteY1598" fmla="*/ 105410 h 138429"/>
                <a:gd name="connsiteX1599" fmla="*/ 2082161 w 4940931"/>
                <a:gd name="connsiteY1599" fmla="*/ 99060 h 138429"/>
                <a:gd name="connsiteX1600" fmla="*/ 2080891 w 4940931"/>
                <a:gd name="connsiteY1600" fmla="*/ 89535 h 138429"/>
                <a:gd name="connsiteX1601" fmla="*/ 2080891 w 4940931"/>
                <a:gd name="connsiteY1601" fmla="*/ 44450 h 138429"/>
                <a:gd name="connsiteX1602" fmla="*/ 2070096 w 4940931"/>
                <a:gd name="connsiteY1602" fmla="*/ 44450 h 138429"/>
                <a:gd name="connsiteX1603" fmla="*/ 2070096 w 4940931"/>
                <a:gd name="connsiteY1603" fmla="*/ 30480 h 138429"/>
                <a:gd name="connsiteX1604" fmla="*/ 2080891 w 4940931"/>
                <a:gd name="connsiteY1604" fmla="*/ 30480 h 138429"/>
                <a:gd name="connsiteX1605" fmla="*/ 2080891 w 4940931"/>
                <a:gd name="connsiteY1605" fmla="*/ 8255 h 138429"/>
                <a:gd name="connsiteX1606" fmla="*/ 1931665 w 4940931"/>
                <a:gd name="connsiteY1606" fmla="*/ 0 h 138429"/>
                <a:gd name="connsiteX1607" fmla="*/ 1931665 w 4940931"/>
                <a:gd name="connsiteY1607" fmla="*/ 37465 h 138429"/>
                <a:gd name="connsiteX1608" fmla="*/ 1936110 w 4940931"/>
                <a:gd name="connsiteY1608" fmla="*/ 33655 h 138429"/>
                <a:gd name="connsiteX1609" fmla="*/ 1939920 w 4940931"/>
                <a:gd name="connsiteY1609" fmla="*/ 31115 h 138429"/>
                <a:gd name="connsiteX1610" fmla="*/ 1945000 w 4940931"/>
                <a:gd name="connsiteY1610" fmla="*/ 29210 h 138429"/>
                <a:gd name="connsiteX1611" fmla="*/ 1951985 w 4940931"/>
                <a:gd name="connsiteY1611" fmla="*/ 28575 h 138429"/>
                <a:gd name="connsiteX1612" fmla="*/ 1964050 w 4940931"/>
                <a:gd name="connsiteY1612" fmla="*/ 31115 h 138429"/>
                <a:gd name="connsiteX1613" fmla="*/ 1973575 w 4940931"/>
                <a:gd name="connsiteY1613" fmla="*/ 38735 h 138429"/>
                <a:gd name="connsiteX1614" fmla="*/ 1979925 w 4940931"/>
                <a:gd name="connsiteY1614" fmla="*/ 51435 h 138429"/>
                <a:gd name="connsiteX1615" fmla="*/ 1982465 w 4940931"/>
                <a:gd name="connsiteY1615" fmla="*/ 70485 h 138429"/>
                <a:gd name="connsiteX1616" fmla="*/ 1981830 w 4940931"/>
                <a:gd name="connsiteY1616" fmla="*/ 71120 h 138429"/>
                <a:gd name="connsiteX1617" fmla="*/ 1979290 w 4940931"/>
                <a:gd name="connsiteY1617" fmla="*/ 88265 h 138429"/>
                <a:gd name="connsiteX1618" fmla="*/ 1972305 w 4940931"/>
                <a:gd name="connsiteY1618" fmla="*/ 100330 h 138429"/>
                <a:gd name="connsiteX1619" fmla="*/ 1962780 w 4940931"/>
                <a:gd name="connsiteY1619" fmla="*/ 107315 h 138429"/>
                <a:gd name="connsiteX1620" fmla="*/ 1951350 w 4940931"/>
                <a:gd name="connsiteY1620" fmla="*/ 109855 h 138429"/>
                <a:gd name="connsiteX1621" fmla="*/ 1940555 w 4940931"/>
                <a:gd name="connsiteY1621" fmla="*/ 107315 h 138429"/>
                <a:gd name="connsiteX1622" fmla="*/ 1931665 w 4940931"/>
                <a:gd name="connsiteY1622" fmla="*/ 100965 h 138429"/>
                <a:gd name="connsiteX1623" fmla="*/ 1931665 w 4940931"/>
                <a:gd name="connsiteY1623" fmla="*/ 107950 h 138429"/>
                <a:gd name="connsiteX1624" fmla="*/ 1916425 w 4940931"/>
                <a:gd name="connsiteY1624" fmla="*/ 107950 h 138429"/>
                <a:gd name="connsiteX1625" fmla="*/ 1916425 w 4940931"/>
                <a:gd name="connsiteY1625" fmla="*/ 7620 h 138429"/>
                <a:gd name="connsiteX1626" fmla="*/ 1316991 w 4940931"/>
                <a:gd name="connsiteY1626" fmla="*/ 0 h 138429"/>
                <a:gd name="connsiteX1627" fmla="*/ 1316991 w 4940931"/>
                <a:gd name="connsiteY1627" fmla="*/ 30480 h 138429"/>
                <a:gd name="connsiteX1628" fmla="*/ 1336041 w 4940931"/>
                <a:gd name="connsiteY1628" fmla="*/ 30480 h 138429"/>
                <a:gd name="connsiteX1629" fmla="*/ 1336041 w 4940931"/>
                <a:gd name="connsiteY1629" fmla="*/ 44450 h 138429"/>
                <a:gd name="connsiteX1630" fmla="*/ 1316991 w 4940931"/>
                <a:gd name="connsiteY1630" fmla="*/ 44450 h 138429"/>
                <a:gd name="connsiteX1631" fmla="*/ 1316991 w 4940931"/>
                <a:gd name="connsiteY1631" fmla="*/ 86995 h 138429"/>
                <a:gd name="connsiteX1632" fmla="*/ 1316991 w 4940931"/>
                <a:gd name="connsiteY1632" fmla="*/ 91440 h 138429"/>
                <a:gd name="connsiteX1633" fmla="*/ 1318261 w 4940931"/>
                <a:gd name="connsiteY1633" fmla="*/ 94615 h 138429"/>
                <a:gd name="connsiteX1634" fmla="*/ 1320801 w 4940931"/>
                <a:gd name="connsiteY1634" fmla="*/ 95885 h 138429"/>
                <a:gd name="connsiteX1635" fmla="*/ 1324611 w 4940931"/>
                <a:gd name="connsiteY1635" fmla="*/ 95885 h 138429"/>
                <a:gd name="connsiteX1636" fmla="*/ 1330961 w 4940931"/>
                <a:gd name="connsiteY1636" fmla="*/ 95250 h 138429"/>
                <a:gd name="connsiteX1637" fmla="*/ 1336041 w 4940931"/>
                <a:gd name="connsiteY1637" fmla="*/ 93345 h 138429"/>
                <a:gd name="connsiteX1638" fmla="*/ 1334136 w 4940931"/>
                <a:gd name="connsiteY1638" fmla="*/ 106680 h 138429"/>
                <a:gd name="connsiteX1639" fmla="*/ 1327786 w 4940931"/>
                <a:gd name="connsiteY1639" fmla="*/ 109220 h 138429"/>
                <a:gd name="connsiteX1640" fmla="*/ 1319531 w 4940931"/>
                <a:gd name="connsiteY1640" fmla="*/ 110490 h 138429"/>
                <a:gd name="connsiteX1641" fmla="*/ 1312546 w 4940931"/>
                <a:gd name="connsiteY1641" fmla="*/ 109220 h 138429"/>
                <a:gd name="connsiteX1642" fmla="*/ 1306831 w 4940931"/>
                <a:gd name="connsiteY1642" fmla="*/ 105410 h 138429"/>
                <a:gd name="connsiteX1643" fmla="*/ 1303021 w 4940931"/>
                <a:gd name="connsiteY1643" fmla="*/ 99060 h 138429"/>
                <a:gd name="connsiteX1644" fmla="*/ 1301751 w 4940931"/>
                <a:gd name="connsiteY1644" fmla="*/ 89535 h 138429"/>
                <a:gd name="connsiteX1645" fmla="*/ 1301751 w 4940931"/>
                <a:gd name="connsiteY1645" fmla="*/ 44450 h 138429"/>
                <a:gd name="connsiteX1646" fmla="*/ 1290956 w 4940931"/>
                <a:gd name="connsiteY1646" fmla="*/ 44450 h 138429"/>
                <a:gd name="connsiteX1647" fmla="*/ 1290956 w 4940931"/>
                <a:gd name="connsiteY1647" fmla="*/ 30480 h 138429"/>
                <a:gd name="connsiteX1648" fmla="*/ 1301751 w 4940931"/>
                <a:gd name="connsiteY1648" fmla="*/ 30480 h 138429"/>
                <a:gd name="connsiteX1649" fmla="*/ 1301751 w 4940931"/>
                <a:gd name="connsiteY1649" fmla="*/ 8255 h 138429"/>
                <a:gd name="connsiteX1650" fmla="*/ 751206 w 4940931"/>
                <a:gd name="connsiteY1650" fmla="*/ 0 h 138429"/>
                <a:gd name="connsiteX1651" fmla="*/ 751206 w 4940931"/>
                <a:gd name="connsiteY1651" fmla="*/ 30480 h 138429"/>
                <a:gd name="connsiteX1652" fmla="*/ 770256 w 4940931"/>
                <a:gd name="connsiteY1652" fmla="*/ 30480 h 138429"/>
                <a:gd name="connsiteX1653" fmla="*/ 770256 w 4940931"/>
                <a:gd name="connsiteY1653" fmla="*/ 44450 h 138429"/>
                <a:gd name="connsiteX1654" fmla="*/ 751206 w 4940931"/>
                <a:gd name="connsiteY1654" fmla="*/ 44450 h 138429"/>
                <a:gd name="connsiteX1655" fmla="*/ 751206 w 4940931"/>
                <a:gd name="connsiteY1655" fmla="*/ 86995 h 138429"/>
                <a:gd name="connsiteX1656" fmla="*/ 751206 w 4940931"/>
                <a:gd name="connsiteY1656" fmla="*/ 91440 h 138429"/>
                <a:gd name="connsiteX1657" fmla="*/ 752476 w 4940931"/>
                <a:gd name="connsiteY1657" fmla="*/ 94615 h 138429"/>
                <a:gd name="connsiteX1658" fmla="*/ 755016 w 4940931"/>
                <a:gd name="connsiteY1658" fmla="*/ 95885 h 138429"/>
                <a:gd name="connsiteX1659" fmla="*/ 758826 w 4940931"/>
                <a:gd name="connsiteY1659" fmla="*/ 95885 h 138429"/>
                <a:gd name="connsiteX1660" fmla="*/ 765176 w 4940931"/>
                <a:gd name="connsiteY1660" fmla="*/ 95250 h 138429"/>
                <a:gd name="connsiteX1661" fmla="*/ 770256 w 4940931"/>
                <a:gd name="connsiteY1661" fmla="*/ 93345 h 138429"/>
                <a:gd name="connsiteX1662" fmla="*/ 768351 w 4940931"/>
                <a:gd name="connsiteY1662" fmla="*/ 106680 h 138429"/>
                <a:gd name="connsiteX1663" fmla="*/ 762001 w 4940931"/>
                <a:gd name="connsiteY1663" fmla="*/ 109220 h 138429"/>
                <a:gd name="connsiteX1664" fmla="*/ 753746 w 4940931"/>
                <a:gd name="connsiteY1664" fmla="*/ 110490 h 138429"/>
                <a:gd name="connsiteX1665" fmla="*/ 746761 w 4940931"/>
                <a:gd name="connsiteY1665" fmla="*/ 109220 h 138429"/>
                <a:gd name="connsiteX1666" fmla="*/ 741045 w 4940931"/>
                <a:gd name="connsiteY1666" fmla="*/ 105410 h 138429"/>
                <a:gd name="connsiteX1667" fmla="*/ 737236 w 4940931"/>
                <a:gd name="connsiteY1667" fmla="*/ 99060 h 138429"/>
                <a:gd name="connsiteX1668" fmla="*/ 735966 w 4940931"/>
                <a:gd name="connsiteY1668" fmla="*/ 89535 h 138429"/>
                <a:gd name="connsiteX1669" fmla="*/ 735966 w 4940931"/>
                <a:gd name="connsiteY1669" fmla="*/ 44450 h 138429"/>
                <a:gd name="connsiteX1670" fmla="*/ 725171 w 4940931"/>
                <a:gd name="connsiteY1670" fmla="*/ 44450 h 138429"/>
                <a:gd name="connsiteX1671" fmla="*/ 725171 w 4940931"/>
                <a:gd name="connsiteY1671" fmla="*/ 30480 h 138429"/>
                <a:gd name="connsiteX1672" fmla="*/ 735966 w 4940931"/>
                <a:gd name="connsiteY1672" fmla="*/ 30480 h 138429"/>
                <a:gd name="connsiteX1673" fmla="*/ 735966 w 4940931"/>
                <a:gd name="connsiteY1673" fmla="*/ 8255 h 138429"/>
                <a:gd name="connsiteX1674" fmla="*/ 521335 w 4940931"/>
                <a:gd name="connsiteY1674" fmla="*/ 0 h 138429"/>
                <a:gd name="connsiteX1675" fmla="*/ 521335 w 4940931"/>
                <a:gd name="connsiteY1675" fmla="*/ 30480 h 138429"/>
                <a:gd name="connsiteX1676" fmla="*/ 540385 w 4940931"/>
                <a:gd name="connsiteY1676" fmla="*/ 30480 h 138429"/>
                <a:gd name="connsiteX1677" fmla="*/ 540385 w 4940931"/>
                <a:gd name="connsiteY1677" fmla="*/ 44450 h 138429"/>
                <a:gd name="connsiteX1678" fmla="*/ 521335 w 4940931"/>
                <a:gd name="connsiteY1678" fmla="*/ 44450 h 138429"/>
                <a:gd name="connsiteX1679" fmla="*/ 521335 w 4940931"/>
                <a:gd name="connsiteY1679" fmla="*/ 86995 h 138429"/>
                <a:gd name="connsiteX1680" fmla="*/ 521335 w 4940931"/>
                <a:gd name="connsiteY1680" fmla="*/ 91440 h 138429"/>
                <a:gd name="connsiteX1681" fmla="*/ 522605 w 4940931"/>
                <a:gd name="connsiteY1681" fmla="*/ 94615 h 138429"/>
                <a:gd name="connsiteX1682" fmla="*/ 525145 w 4940931"/>
                <a:gd name="connsiteY1682" fmla="*/ 95885 h 138429"/>
                <a:gd name="connsiteX1683" fmla="*/ 528955 w 4940931"/>
                <a:gd name="connsiteY1683" fmla="*/ 95885 h 138429"/>
                <a:gd name="connsiteX1684" fmla="*/ 535305 w 4940931"/>
                <a:gd name="connsiteY1684" fmla="*/ 95250 h 138429"/>
                <a:gd name="connsiteX1685" fmla="*/ 540385 w 4940931"/>
                <a:gd name="connsiteY1685" fmla="*/ 93345 h 138429"/>
                <a:gd name="connsiteX1686" fmla="*/ 538480 w 4940931"/>
                <a:gd name="connsiteY1686" fmla="*/ 106680 h 138429"/>
                <a:gd name="connsiteX1687" fmla="*/ 532130 w 4940931"/>
                <a:gd name="connsiteY1687" fmla="*/ 109220 h 138429"/>
                <a:gd name="connsiteX1688" fmla="*/ 523875 w 4940931"/>
                <a:gd name="connsiteY1688" fmla="*/ 110490 h 138429"/>
                <a:gd name="connsiteX1689" fmla="*/ 516890 w 4940931"/>
                <a:gd name="connsiteY1689" fmla="*/ 109220 h 138429"/>
                <a:gd name="connsiteX1690" fmla="*/ 511175 w 4940931"/>
                <a:gd name="connsiteY1690" fmla="*/ 105410 h 138429"/>
                <a:gd name="connsiteX1691" fmla="*/ 507365 w 4940931"/>
                <a:gd name="connsiteY1691" fmla="*/ 99060 h 138429"/>
                <a:gd name="connsiteX1692" fmla="*/ 506095 w 4940931"/>
                <a:gd name="connsiteY1692" fmla="*/ 89535 h 138429"/>
                <a:gd name="connsiteX1693" fmla="*/ 506095 w 4940931"/>
                <a:gd name="connsiteY1693" fmla="*/ 44450 h 138429"/>
                <a:gd name="connsiteX1694" fmla="*/ 495300 w 4940931"/>
                <a:gd name="connsiteY1694" fmla="*/ 44450 h 138429"/>
                <a:gd name="connsiteX1695" fmla="*/ 495300 w 4940931"/>
                <a:gd name="connsiteY1695" fmla="*/ 30480 h 138429"/>
                <a:gd name="connsiteX1696" fmla="*/ 506095 w 4940931"/>
                <a:gd name="connsiteY1696" fmla="*/ 30480 h 138429"/>
                <a:gd name="connsiteX1697" fmla="*/ 506095 w 4940931"/>
                <a:gd name="connsiteY1697" fmla="*/ 8255 h 138429"/>
                <a:gd name="connsiteX1698" fmla="*/ 466724 w 4940931"/>
                <a:gd name="connsiteY1698" fmla="*/ 0 h 138429"/>
                <a:gd name="connsiteX1699" fmla="*/ 466724 w 4940931"/>
                <a:gd name="connsiteY1699" fmla="*/ 30480 h 138429"/>
                <a:gd name="connsiteX1700" fmla="*/ 485774 w 4940931"/>
                <a:gd name="connsiteY1700" fmla="*/ 30480 h 138429"/>
                <a:gd name="connsiteX1701" fmla="*/ 485774 w 4940931"/>
                <a:gd name="connsiteY1701" fmla="*/ 44450 h 138429"/>
                <a:gd name="connsiteX1702" fmla="*/ 466724 w 4940931"/>
                <a:gd name="connsiteY1702" fmla="*/ 44450 h 138429"/>
                <a:gd name="connsiteX1703" fmla="*/ 466724 w 4940931"/>
                <a:gd name="connsiteY1703" fmla="*/ 86995 h 138429"/>
                <a:gd name="connsiteX1704" fmla="*/ 466724 w 4940931"/>
                <a:gd name="connsiteY1704" fmla="*/ 91440 h 138429"/>
                <a:gd name="connsiteX1705" fmla="*/ 467994 w 4940931"/>
                <a:gd name="connsiteY1705" fmla="*/ 94615 h 138429"/>
                <a:gd name="connsiteX1706" fmla="*/ 470534 w 4940931"/>
                <a:gd name="connsiteY1706" fmla="*/ 95885 h 138429"/>
                <a:gd name="connsiteX1707" fmla="*/ 474344 w 4940931"/>
                <a:gd name="connsiteY1707" fmla="*/ 95885 h 138429"/>
                <a:gd name="connsiteX1708" fmla="*/ 480694 w 4940931"/>
                <a:gd name="connsiteY1708" fmla="*/ 95250 h 138429"/>
                <a:gd name="connsiteX1709" fmla="*/ 485774 w 4940931"/>
                <a:gd name="connsiteY1709" fmla="*/ 93345 h 138429"/>
                <a:gd name="connsiteX1710" fmla="*/ 483869 w 4940931"/>
                <a:gd name="connsiteY1710" fmla="*/ 106680 h 138429"/>
                <a:gd name="connsiteX1711" fmla="*/ 477519 w 4940931"/>
                <a:gd name="connsiteY1711" fmla="*/ 109220 h 138429"/>
                <a:gd name="connsiteX1712" fmla="*/ 469264 w 4940931"/>
                <a:gd name="connsiteY1712" fmla="*/ 110490 h 138429"/>
                <a:gd name="connsiteX1713" fmla="*/ 462279 w 4940931"/>
                <a:gd name="connsiteY1713" fmla="*/ 109220 h 138429"/>
                <a:gd name="connsiteX1714" fmla="*/ 456564 w 4940931"/>
                <a:gd name="connsiteY1714" fmla="*/ 105410 h 138429"/>
                <a:gd name="connsiteX1715" fmla="*/ 452754 w 4940931"/>
                <a:gd name="connsiteY1715" fmla="*/ 99060 h 138429"/>
                <a:gd name="connsiteX1716" fmla="*/ 451484 w 4940931"/>
                <a:gd name="connsiteY1716" fmla="*/ 89535 h 138429"/>
                <a:gd name="connsiteX1717" fmla="*/ 451484 w 4940931"/>
                <a:gd name="connsiteY1717" fmla="*/ 44450 h 138429"/>
                <a:gd name="connsiteX1718" fmla="*/ 440689 w 4940931"/>
                <a:gd name="connsiteY1718" fmla="*/ 44450 h 138429"/>
                <a:gd name="connsiteX1719" fmla="*/ 440689 w 4940931"/>
                <a:gd name="connsiteY1719" fmla="*/ 30480 h 138429"/>
                <a:gd name="connsiteX1720" fmla="*/ 451484 w 4940931"/>
                <a:gd name="connsiteY1720" fmla="*/ 30480 h 138429"/>
                <a:gd name="connsiteX1721" fmla="*/ 451484 w 4940931"/>
                <a:gd name="connsiteY1721" fmla="*/ 8255 h 138429"/>
                <a:gd name="connsiteX1722" fmla="*/ 302259 w 4940931"/>
                <a:gd name="connsiteY1722" fmla="*/ 0 h 138429"/>
                <a:gd name="connsiteX1723" fmla="*/ 302259 w 4940931"/>
                <a:gd name="connsiteY1723" fmla="*/ 37465 h 138429"/>
                <a:gd name="connsiteX1724" fmla="*/ 306704 w 4940931"/>
                <a:gd name="connsiteY1724" fmla="*/ 33655 h 138429"/>
                <a:gd name="connsiteX1725" fmla="*/ 310514 w 4940931"/>
                <a:gd name="connsiteY1725" fmla="*/ 31115 h 138429"/>
                <a:gd name="connsiteX1726" fmla="*/ 315594 w 4940931"/>
                <a:gd name="connsiteY1726" fmla="*/ 29210 h 138429"/>
                <a:gd name="connsiteX1727" fmla="*/ 322579 w 4940931"/>
                <a:gd name="connsiteY1727" fmla="*/ 28575 h 138429"/>
                <a:gd name="connsiteX1728" fmla="*/ 334644 w 4940931"/>
                <a:gd name="connsiteY1728" fmla="*/ 31115 h 138429"/>
                <a:gd name="connsiteX1729" fmla="*/ 344169 w 4940931"/>
                <a:gd name="connsiteY1729" fmla="*/ 38735 h 138429"/>
                <a:gd name="connsiteX1730" fmla="*/ 350519 w 4940931"/>
                <a:gd name="connsiteY1730" fmla="*/ 51435 h 138429"/>
                <a:gd name="connsiteX1731" fmla="*/ 353059 w 4940931"/>
                <a:gd name="connsiteY1731" fmla="*/ 70485 h 138429"/>
                <a:gd name="connsiteX1732" fmla="*/ 352424 w 4940931"/>
                <a:gd name="connsiteY1732" fmla="*/ 71120 h 138429"/>
                <a:gd name="connsiteX1733" fmla="*/ 349884 w 4940931"/>
                <a:gd name="connsiteY1733" fmla="*/ 88265 h 138429"/>
                <a:gd name="connsiteX1734" fmla="*/ 342899 w 4940931"/>
                <a:gd name="connsiteY1734" fmla="*/ 100330 h 138429"/>
                <a:gd name="connsiteX1735" fmla="*/ 333374 w 4940931"/>
                <a:gd name="connsiteY1735" fmla="*/ 107315 h 138429"/>
                <a:gd name="connsiteX1736" fmla="*/ 321944 w 4940931"/>
                <a:gd name="connsiteY1736" fmla="*/ 109855 h 138429"/>
                <a:gd name="connsiteX1737" fmla="*/ 311149 w 4940931"/>
                <a:gd name="connsiteY1737" fmla="*/ 107315 h 138429"/>
                <a:gd name="connsiteX1738" fmla="*/ 302259 w 4940931"/>
                <a:gd name="connsiteY1738" fmla="*/ 100965 h 138429"/>
                <a:gd name="connsiteX1739" fmla="*/ 302259 w 4940931"/>
                <a:gd name="connsiteY1739" fmla="*/ 107950 h 138429"/>
                <a:gd name="connsiteX1740" fmla="*/ 287019 w 4940931"/>
                <a:gd name="connsiteY1740" fmla="*/ 107950 h 138429"/>
                <a:gd name="connsiteX1741" fmla="*/ 287019 w 4940931"/>
                <a:gd name="connsiteY1741" fmla="*/ 7620 h 138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  <a:cxn ang="0">
                  <a:pos x="connsiteX1535" y="connsiteY1535"/>
                </a:cxn>
                <a:cxn ang="0">
                  <a:pos x="connsiteX1536" y="connsiteY1536"/>
                </a:cxn>
                <a:cxn ang="0">
                  <a:pos x="connsiteX1537" y="connsiteY1537"/>
                </a:cxn>
                <a:cxn ang="0">
                  <a:pos x="connsiteX1538" y="connsiteY1538"/>
                </a:cxn>
                <a:cxn ang="0">
                  <a:pos x="connsiteX1539" y="connsiteY1539"/>
                </a:cxn>
                <a:cxn ang="0">
                  <a:pos x="connsiteX1540" y="connsiteY1540"/>
                </a:cxn>
                <a:cxn ang="0">
                  <a:pos x="connsiteX1541" y="connsiteY1541"/>
                </a:cxn>
                <a:cxn ang="0">
                  <a:pos x="connsiteX1542" y="connsiteY1542"/>
                </a:cxn>
                <a:cxn ang="0">
                  <a:pos x="connsiteX1543" y="connsiteY1543"/>
                </a:cxn>
                <a:cxn ang="0">
                  <a:pos x="connsiteX1544" y="connsiteY1544"/>
                </a:cxn>
                <a:cxn ang="0">
                  <a:pos x="connsiteX1545" y="connsiteY1545"/>
                </a:cxn>
                <a:cxn ang="0">
                  <a:pos x="connsiteX1546" y="connsiteY1546"/>
                </a:cxn>
                <a:cxn ang="0">
                  <a:pos x="connsiteX1547" y="connsiteY1547"/>
                </a:cxn>
                <a:cxn ang="0">
                  <a:pos x="connsiteX1548" y="connsiteY1548"/>
                </a:cxn>
                <a:cxn ang="0">
                  <a:pos x="connsiteX1549" y="connsiteY1549"/>
                </a:cxn>
                <a:cxn ang="0">
                  <a:pos x="connsiteX1550" y="connsiteY1550"/>
                </a:cxn>
                <a:cxn ang="0">
                  <a:pos x="connsiteX1551" y="connsiteY1551"/>
                </a:cxn>
                <a:cxn ang="0">
                  <a:pos x="connsiteX1552" y="connsiteY1552"/>
                </a:cxn>
                <a:cxn ang="0">
                  <a:pos x="connsiteX1553" y="connsiteY1553"/>
                </a:cxn>
                <a:cxn ang="0">
                  <a:pos x="connsiteX1554" y="connsiteY1554"/>
                </a:cxn>
                <a:cxn ang="0">
                  <a:pos x="connsiteX1555" y="connsiteY1555"/>
                </a:cxn>
                <a:cxn ang="0">
                  <a:pos x="connsiteX1556" y="connsiteY1556"/>
                </a:cxn>
                <a:cxn ang="0">
                  <a:pos x="connsiteX1557" y="connsiteY1557"/>
                </a:cxn>
                <a:cxn ang="0">
                  <a:pos x="connsiteX1558" y="connsiteY1558"/>
                </a:cxn>
                <a:cxn ang="0">
                  <a:pos x="connsiteX1559" y="connsiteY1559"/>
                </a:cxn>
                <a:cxn ang="0">
                  <a:pos x="connsiteX1560" y="connsiteY1560"/>
                </a:cxn>
                <a:cxn ang="0">
                  <a:pos x="connsiteX1561" y="connsiteY1561"/>
                </a:cxn>
                <a:cxn ang="0">
                  <a:pos x="connsiteX1562" y="connsiteY1562"/>
                </a:cxn>
                <a:cxn ang="0">
                  <a:pos x="connsiteX1563" y="connsiteY1563"/>
                </a:cxn>
                <a:cxn ang="0">
                  <a:pos x="connsiteX1564" y="connsiteY1564"/>
                </a:cxn>
                <a:cxn ang="0">
                  <a:pos x="connsiteX1565" y="connsiteY1565"/>
                </a:cxn>
                <a:cxn ang="0">
                  <a:pos x="connsiteX1566" y="connsiteY1566"/>
                </a:cxn>
                <a:cxn ang="0">
                  <a:pos x="connsiteX1567" y="connsiteY1567"/>
                </a:cxn>
                <a:cxn ang="0">
                  <a:pos x="connsiteX1568" y="connsiteY1568"/>
                </a:cxn>
                <a:cxn ang="0">
                  <a:pos x="connsiteX1569" y="connsiteY1569"/>
                </a:cxn>
                <a:cxn ang="0">
                  <a:pos x="connsiteX1570" y="connsiteY1570"/>
                </a:cxn>
                <a:cxn ang="0">
                  <a:pos x="connsiteX1571" y="connsiteY1571"/>
                </a:cxn>
                <a:cxn ang="0">
                  <a:pos x="connsiteX1572" y="connsiteY1572"/>
                </a:cxn>
                <a:cxn ang="0">
                  <a:pos x="connsiteX1573" y="connsiteY1573"/>
                </a:cxn>
                <a:cxn ang="0">
                  <a:pos x="connsiteX1574" y="connsiteY1574"/>
                </a:cxn>
                <a:cxn ang="0">
                  <a:pos x="connsiteX1575" y="connsiteY1575"/>
                </a:cxn>
                <a:cxn ang="0">
                  <a:pos x="connsiteX1576" y="connsiteY1576"/>
                </a:cxn>
                <a:cxn ang="0">
                  <a:pos x="connsiteX1577" y="connsiteY1577"/>
                </a:cxn>
                <a:cxn ang="0">
                  <a:pos x="connsiteX1578" y="connsiteY1578"/>
                </a:cxn>
                <a:cxn ang="0">
                  <a:pos x="connsiteX1579" y="connsiteY1579"/>
                </a:cxn>
                <a:cxn ang="0">
                  <a:pos x="connsiteX1580" y="connsiteY1580"/>
                </a:cxn>
                <a:cxn ang="0">
                  <a:pos x="connsiteX1581" y="connsiteY1581"/>
                </a:cxn>
                <a:cxn ang="0">
                  <a:pos x="connsiteX1582" y="connsiteY1582"/>
                </a:cxn>
                <a:cxn ang="0">
                  <a:pos x="connsiteX1583" y="connsiteY1583"/>
                </a:cxn>
                <a:cxn ang="0">
                  <a:pos x="connsiteX1584" y="connsiteY1584"/>
                </a:cxn>
                <a:cxn ang="0">
                  <a:pos x="connsiteX1585" y="connsiteY1585"/>
                </a:cxn>
                <a:cxn ang="0">
                  <a:pos x="connsiteX1586" y="connsiteY1586"/>
                </a:cxn>
                <a:cxn ang="0">
                  <a:pos x="connsiteX1587" y="connsiteY1587"/>
                </a:cxn>
                <a:cxn ang="0">
                  <a:pos x="connsiteX1588" y="connsiteY1588"/>
                </a:cxn>
                <a:cxn ang="0">
                  <a:pos x="connsiteX1589" y="connsiteY1589"/>
                </a:cxn>
                <a:cxn ang="0">
                  <a:pos x="connsiteX1590" y="connsiteY1590"/>
                </a:cxn>
                <a:cxn ang="0">
                  <a:pos x="connsiteX1591" y="connsiteY1591"/>
                </a:cxn>
                <a:cxn ang="0">
                  <a:pos x="connsiteX1592" y="connsiteY1592"/>
                </a:cxn>
                <a:cxn ang="0">
                  <a:pos x="connsiteX1593" y="connsiteY1593"/>
                </a:cxn>
                <a:cxn ang="0">
                  <a:pos x="connsiteX1594" y="connsiteY1594"/>
                </a:cxn>
                <a:cxn ang="0">
                  <a:pos x="connsiteX1595" y="connsiteY1595"/>
                </a:cxn>
                <a:cxn ang="0">
                  <a:pos x="connsiteX1596" y="connsiteY1596"/>
                </a:cxn>
                <a:cxn ang="0">
                  <a:pos x="connsiteX1597" y="connsiteY1597"/>
                </a:cxn>
                <a:cxn ang="0">
                  <a:pos x="connsiteX1598" y="connsiteY1598"/>
                </a:cxn>
                <a:cxn ang="0">
                  <a:pos x="connsiteX1599" y="connsiteY1599"/>
                </a:cxn>
                <a:cxn ang="0">
                  <a:pos x="connsiteX1600" y="connsiteY1600"/>
                </a:cxn>
                <a:cxn ang="0">
                  <a:pos x="connsiteX1601" y="connsiteY1601"/>
                </a:cxn>
                <a:cxn ang="0">
                  <a:pos x="connsiteX1602" y="connsiteY1602"/>
                </a:cxn>
                <a:cxn ang="0">
                  <a:pos x="connsiteX1603" y="connsiteY1603"/>
                </a:cxn>
                <a:cxn ang="0">
                  <a:pos x="connsiteX1604" y="connsiteY1604"/>
                </a:cxn>
                <a:cxn ang="0">
                  <a:pos x="connsiteX1605" y="connsiteY1605"/>
                </a:cxn>
                <a:cxn ang="0">
                  <a:pos x="connsiteX1606" y="connsiteY1606"/>
                </a:cxn>
                <a:cxn ang="0">
                  <a:pos x="connsiteX1607" y="connsiteY1607"/>
                </a:cxn>
                <a:cxn ang="0">
                  <a:pos x="connsiteX1608" y="connsiteY1608"/>
                </a:cxn>
                <a:cxn ang="0">
                  <a:pos x="connsiteX1609" y="connsiteY1609"/>
                </a:cxn>
                <a:cxn ang="0">
                  <a:pos x="connsiteX1610" y="connsiteY1610"/>
                </a:cxn>
                <a:cxn ang="0">
                  <a:pos x="connsiteX1611" y="connsiteY1611"/>
                </a:cxn>
                <a:cxn ang="0">
                  <a:pos x="connsiteX1612" y="connsiteY1612"/>
                </a:cxn>
                <a:cxn ang="0">
                  <a:pos x="connsiteX1613" y="connsiteY1613"/>
                </a:cxn>
                <a:cxn ang="0">
                  <a:pos x="connsiteX1614" y="connsiteY1614"/>
                </a:cxn>
                <a:cxn ang="0">
                  <a:pos x="connsiteX1615" y="connsiteY1615"/>
                </a:cxn>
                <a:cxn ang="0">
                  <a:pos x="connsiteX1616" y="connsiteY1616"/>
                </a:cxn>
                <a:cxn ang="0">
                  <a:pos x="connsiteX1617" y="connsiteY1617"/>
                </a:cxn>
                <a:cxn ang="0">
                  <a:pos x="connsiteX1618" y="connsiteY1618"/>
                </a:cxn>
                <a:cxn ang="0">
                  <a:pos x="connsiteX1619" y="connsiteY1619"/>
                </a:cxn>
                <a:cxn ang="0">
                  <a:pos x="connsiteX1620" y="connsiteY1620"/>
                </a:cxn>
                <a:cxn ang="0">
                  <a:pos x="connsiteX1621" y="connsiteY1621"/>
                </a:cxn>
                <a:cxn ang="0">
                  <a:pos x="connsiteX1622" y="connsiteY1622"/>
                </a:cxn>
                <a:cxn ang="0">
                  <a:pos x="connsiteX1623" y="connsiteY1623"/>
                </a:cxn>
                <a:cxn ang="0">
                  <a:pos x="connsiteX1624" y="connsiteY1624"/>
                </a:cxn>
                <a:cxn ang="0">
                  <a:pos x="connsiteX1625" y="connsiteY1625"/>
                </a:cxn>
                <a:cxn ang="0">
                  <a:pos x="connsiteX1626" y="connsiteY1626"/>
                </a:cxn>
                <a:cxn ang="0">
                  <a:pos x="connsiteX1627" y="connsiteY1627"/>
                </a:cxn>
                <a:cxn ang="0">
                  <a:pos x="connsiteX1628" y="connsiteY1628"/>
                </a:cxn>
                <a:cxn ang="0">
                  <a:pos x="connsiteX1629" y="connsiteY1629"/>
                </a:cxn>
                <a:cxn ang="0">
                  <a:pos x="connsiteX1630" y="connsiteY1630"/>
                </a:cxn>
                <a:cxn ang="0">
                  <a:pos x="connsiteX1631" y="connsiteY1631"/>
                </a:cxn>
                <a:cxn ang="0">
                  <a:pos x="connsiteX1632" y="connsiteY1632"/>
                </a:cxn>
                <a:cxn ang="0">
                  <a:pos x="connsiteX1633" y="connsiteY1633"/>
                </a:cxn>
                <a:cxn ang="0">
                  <a:pos x="connsiteX1634" y="connsiteY1634"/>
                </a:cxn>
                <a:cxn ang="0">
                  <a:pos x="connsiteX1635" y="connsiteY1635"/>
                </a:cxn>
                <a:cxn ang="0">
                  <a:pos x="connsiteX1636" y="connsiteY1636"/>
                </a:cxn>
                <a:cxn ang="0">
                  <a:pos x="connsiteX1637" y="connsiteY1637"/>
                </a:cxn>
                <a:cxn ang="0">
                  <a:pos x="connsiteX1638" y="connsiteY1638"/>
                </a:cxn>
                <a:cxn ang="0">
                  <a:pos x="connsiteX1639" y="connsiteY1639"/>
                </a:cxn>
                <a:cxn ang="0">
                  <a:pos x="connsiteX1640" y="connsiteY1640"/>
                </a:cxn>
                <a:cxn ang="0">
                  <a:pos x="connsiteX1641" y="connsiteY1641"/>
                </a:cxn>
                <a:cxn ang="0">
                  <a:pos x="connsiteX1642" y="connsiteY1642"/>
                </a:cxn>
                <a:cxn ang="0">
                  <a:pos x="connsiteX1643" y="connsiteY1643"/>
                </a:cxn>
                <a:cxn ang="0">
                  <a:pos x="connsiteX1644" y="connsiteY1644"/>
                </a:cxn>
                <a:cxn ang="0">
                  <a:pos x="connsiteX1645" y="connsiteY1645"/>
                </a:cxn>
                <a:cxn ang="0">
                  <a:pos x="connsiteX1646" y="connsiteY1646"/>
                </a:cxn>
                <a:cxn ang="0">
                  <a:pos x="connsiteX1647" y="connsiteY1647"/>
                </a:cxn>
                <a:cxn ang="0">
                  <a:pos x="connsiteX1648" y="connsiteY1648"/>
                </a:cxn>
                <a:cxn ang="0">
                  <a:pos x="connsiteX1649" y="connsiteY1649"/>
                </a:cxn>
                <a:cxn ang="0">
                  <a:pos x="connsiteX1650" y="connsiteY1650"/>
                </a:cxn>
                <a:cxn ang="0">
                  <a:pos x="connsiteX1651" y="connsiteY1651"/>
                </a:cxn>
                <a:cxn ang="0">
                  <a:pos x="connsiteX1652" y="connsiteY1652"/>
                </a:cxn>
                <a:cxn ang="0">
                  <a:pos x="connsiteX1653" y="connsiteY1653"/>
                </a:cxn>
                <a:cxn ang="0">
                  <a:pos x="connsiteX1654" y="connsiteY1654"/>
                </a:cxn>
                <a:cxn ang="0">
                  <a:pos x="connsiteX1655" y="connsiteY1655"/>
                </a:cxn>
                <a:cxn ang="0">
                  <a:pos x="connsiteX1656" y="connsiteY1656"/>
                </a:cxn>
                <a:cxn ang="0">
                  <a:pos x="connsiteX1657" y="connsiteY1657"/>
                </a:cxn>
                <a:cxn ang="0">
                  <a:pos x="connsiteX1658" y="connsiteY1658"/>
                </a:cxn>
                <a:cxn ang="0">
                  <a:pos x="connsiteX1659" y="connsiteY1659"/>
                </a:cxn>
                <a:cxn ang="0">
                  <a:pos x="connsiteX1660" y="connsiteY1660"/>
                </a:cxn>
                <a:cxn ang="0">
                  <a:pos x="connsiteX1661" y="connsiteY1661"/>
                </a:cxn>
                <a:cxn ang="0">
                  <a:pos x="connsiteX1662" y="connsiteY1662"/>
                </a:cxn>
                <a:cxn ang="0">
                  <a:pos x="connsiteX1663" y="connsiteY1663"/>
                </a:cxn>
                <a:cxn ang="0">
                  <a:pos x="connsiteX1664" y="connsiteY1664"/>
                </a:cxn>
                <a:cxn ang="0">
                  <a:pos x="connsiteX1665" y="connsiteY1665"/>
                </a:cxn>
                <a:cxn ang="0">
                  <a:pos x="connsiteX1666" y="connsiteY1666"/>
                </a:cxn>
                <a:cxn ang="0">
                  <a:pos x="connsiteX1667" y="connsiteY1667"/>
                </a:cxn>
                <a:cxn ang="0">
                  <a:pos x="connsiteX1668" y="connsiteY1668"/>
                </a:cxn>
                <a:cxn ang="0">
                  <a:pos x="connsiteX1669" y="connsiteY1669"/>
                </a:cxn>
                <a:cxn ang="0">
                  <a:pos x="connsiteX1670" y="connsiteY1670"/>
                </a:cxn>
                <a:cxn ang="0">
                  <a:pos x="connsiteX1671" y="connsiteY1671"/>
                </a:cxn>
                <a:cxn ang="0">
                  <a:pos x="connsiteX1672" y="connsiteY1672"/>
                </a:cxn>
                <a:cxn ang="0">
                  <a:pos x="connsiteX1673" y="connsiteY1673"/>
                </a:cxn>
                <a:cxn ang="0">
                  <a:pos x="connsiteX1674" y="connsiteY1674"/>
                </a:cxn>
                <a:cxn ang="0">
                  <a:pos x="connsiteX1675" y="connsiteY1675"/>
                </a:cxn>
                <a:cxn ang="0">
                  <a:pos x="connsiteX1676" y="connsiteY1676"/>
                </a:cxn>
                <a:cxn ang="0">
                  <a:pos x="connsiteX1677" y="connsiteY1677"/>
                </a:cxn>
                <a:cxn ang="0">
                  <a:pos x="connsiteX1678" y="connsiteY1678"/>
                </a:cxn>
                <a:cxn ang="0">
                  <a:pos x="connsiteX1679" y="connsiteY1679"/>
                </a:cxn>
                <a:cxn ang="0">
                  <a:pos x="connsiteX1680" y="connsiteY1680"/>
                </a:cxn>
                <a:cxn ang="0">
                  <a:pos x="connsiteX1681" y="connsiteY1681"/>
                </a:cxn>
                <a:cxn ang="0">
                  <a:pos x="connsiteX1682" y="connsiteY1682"/>
                </a:cxn>
                <a:cxn ang="0">
                  <a:pos x="connsiteX1683" y="connsiteY1683"/>
                </a:cxn>
                <a:cxn ang="0">
                  <a:pos x="connsiteX1684" y="connsiteY1684"/>
                </a:cxn>
                <a:cxn ang="0">
                  <a:pos x="connsiteX1685" y="connsiteY1685"/>
                </a:cxn>
                <a:cxn ang="0">
                  <a:pos x="connsiteX1686" y="connsiteY1686"/>
                </a:cxn>
                <a:cxn ang="0">
                  <a:pos x="connsiteX1687" y="connsiteY1687"/>
                </a:cxn>
                <a:cxn ang="0">
                  <a:pos x="connsiteX1688" y="connsiteY1688"/>
                </a:cxn>
                <a:cxn ang="0">
                  <a:pos x="connsiteX1689" y="connsiteY1689"/>
                </a:cxn>
                <a:cxn ang="0">
                  <a:pos x="connsiteX1690" y="connsiteY1690"/>
                </a:cxn>
                <a:cxn ang="0">
                  <a:pos x="connsiteX1691" y="connsiteY1691"/>
                </a:cxn>
                <a:cxn ang="0">
                  <a:pos x="connsiteX1692" y="connsiteY1692"/>
                </a:cxn>
                <a:cxn ang="0">
                  <a:pos x="connsiteX1693" y="connsiteY1693"/>
                </a:cxn>
                <a:cxn ang="0">
                  <a:pos x="connsiteX1694" y="connsiteY1694"/>
                </a:cxn>
                <a:cxn ang="0">
                  <a:pos x="connsiteX1695" y="connsiteY1695"/>
                </a:cxn>
                <a:cxn ang="0">
                  <a:pos x="connsiteX1696" y="connsiteY1696"/>
                </a:cxn>
                <a:cxn ang="0">
                  <a:pos x="connsiteX1697" y="connsiteY1697"/>
                </a:cxn>
                <a:cxn ang="0">
                  <a:pos x="connsiteX1698" y="connsiteY1698"/>
                </a:cxn>
                <a:cxn ang="0">
                  <a:pos x="connsiteX1699" y="connsiteY1699"/>
                </a:cxn>
                <a:cxn ang="0">
                  <a:pos x="connsiteX1700" y="connsiteY1700"/>
                </a:cxn>
                <a:cxn ang="0">
                  <a:pos x="connsiteX1701" y="connsiteY1701"/>
                </a:cxn>
                <a:cxn ang="0">
                  <a:pos x="connsiteX1702" y="connsiteY1702"/>
                </a:cxn>
                <a:cxn ang="0">
                  <a:pos x="connsiteX1703" y="connsiteY1703"/>
                </a:cxn>
                <a:cxn ang="0">
                  <a:pos x="connsiteX1704" y="connsiteY1704"/>
                </a:cxn>
                <a:cxn ang="0">
                  <a:pos x="connsiteX1705" y="connsiteY1705"/>
                </a:cxn>
                <a:cxn ang="0">
                  <a:pos x="connsiteX1706" y="connsiteY1706"/>
                </a:cxn>
                <a:cxn ang="0">
                  <a:pos x="connsiteX1707" y="connsiteY1707"/>
                </a:cxn>
                <a:cxn ang="0">
                  <a:pos x="connsiteX1708" y="connsiteY1708"/>
                </a:cxn>
                <a:cxn ang="0">
                  <a:pos x="connsiteX1709" y="connsiteY1709"/>
                </a:cxn>
                <a:cxn ang="0">
                  <a:pos x="connsiteX1710" y="connsiteY1710"/>
                </a:cxn>
                <a:cxn ang="0">
                  <a:pos x="connsiteX1711" y="connsiteY1711"/>
                </a:cxn>
                <a:cxn ang="0">
                  <a:pos x="connsiteX1712" y="connsiteY1712"/>
                </a:cxn>
                <a:cxn ang="0">
                  <a:pos x="connsiteX1713" y="connsiteY1713"/>
                </a:cxn>
                <a:cxn ang="0">
                  <a:pos x="connsiteX1714" y="connsiteY1714"/>
                </a:cxn>
                <a:cxn ang="0">
                  <a:pos x="connsiteX1715" y="connsiteY1715"/>
                </a:cxn>
                <a:cxn ang="0">
                  <a:pos x="connsiteX1716" y="connsiteY1716"/>
                </a:cxn>
                <a:cxn ang="0">
                  <a:pos x="connsiteX1717" y="connsiteY1717"/>
                </a:cxn>
                <a:cxn ang="0">
                  <a:pos x="connsiteX1718" y="connsiteY1718"/>
                </a:cxn>
                <a:cxn ang="0">
                  <a:pos x="connsiteX1719" y="connsiteY1719"/>
                </a:cxn>
                <a:cxn ang="0">
                  <a:pos x="connsiteX1720" y="connsiteY1720"/>
                </a:cxn>
                <a:cxn ang="0">
                  <a:pos x="connsiteX1721" y="connsiteY1721"/>
                </a:cxn>
                <a:cxn ang="0">
                  <a:pos x="connsiteX1722" y="connsiteY1722"/>
                </a:cxn>
                <a:cxn ang="0">
                  <a:pos x="connsiteX1723" y="connsiteY1723"/>
                </a:cxn>
                <a:cxn ang="0">
                  <a:pos x="connsiteX1724" y="connsiteY1724"/>
                </a:cxn>
                <a:cxn ang="0">
                  <a:pos x="connsiteX1725" y="connsiteY1725"/>
                </a:cxn>
                <a:cxn ang="0">
                  <a:pos x="connsiteX1726" y="connsiteY1726"/>
                </a:cxn>
                <a:cxn ang="0">
                  <a:pos x="connsiteX1727" y="connsiteY1727"/>
                </a:cxn>
                <a:cxn ang="0">
                  <a:pos x="connsiteX1728" y="connsiteY1728"/>
                </a:cxn>
                <a:cxn ang="0">
                  <a:pos x="connsiteX1729" y="connsiteY1729"/>
                </a:cxn>
                <a:cxn ang="0">
                  <a:pos x="connsiteX1730" y="connsiteY1730"/>
                </a:cxn>
                <a:cxn ang="0">
                  <a:pos x="connsiteX1731" y="connsiteY1731"/>
                </a:cxn>
                <a:cxn ang="0">
                  <a:pos x="connsiteX1732" y="connsiteY1732"/>
                </a:cxn>
                <a:cxn ang="0">
                  <a:pos x="connsiteX1733" y="connsiteY1733"/>
                </a:cxn>
                <a:cxn ang="0">
                  <a:pos x="connsiteX1734" y="connsiteY1734"/>
                </a:cxn>
                <a:cxn ang="0">
                  <a:pos x="connsiteX1735" y="connsiteY1735"/>
                </a:cxn>
                <a:cxn ang="0">
                  <a:pos x="connsiteX1736" y="connsiteY1736"/>
                </a:cxn>
                <a:cxn ang="0">
                  <a:pos x="connsiteX1737" y="connsiteY1737"/>
                </a:cxn>
                <a:cxn ang="0">
                  <a:pos x="connsiteX1738" y="connsiteY1738"/>
                </a:cxn>
                <a:cxn ang="0">
                  <a:pos x="connsiteX1739" y="connsiteY1739"/>
                </a:cxn>
                <a:cxn ang="0">
                  <a:pos x="connsiteX1740" y="connsiteY1740"/>
                </a:cxn>
                <a:cxn ang="0">
                  <a:pos x="connsiteX1741" y="connsiteY1741"/>
                </a:cxn>
              </a:cxnLst>
              <a:rect l="l" t="t" r="r" b="b"/>
              <a:pathLst>
                <a:path w="4940931" h="138429">
                  <a:moveTo>
                    <a:pt x="1032512" y="137477"/>
                  </a:moveTo>
                  <a:lnTo>
                    <a:pt x="1032512" y="137794"/>
                  </a:lnTo>
                  <a:lnTo>
                    <a:pt x="1030607" y="138429"/>
                  </a:lnTo>
                  <a:close/>
                  <a:moveTo>
                    <a:pt x="4929501" y="87629"/>
                  </a:moveTo>
                  <a:cubicBezTo>
                    <a:pt x="4930771" y="87629"/>
                    <a:pt x="4932676" y="87629"/>
                    <a:pt x="4933946" y="88264"/>
                  </a:cubicBezTo>
                  <a:cubicBezTo>
                    <a:pt x="4935216" y="88264"/>
                    <a:pt x="4936486" y="89534"/>
                    <a:pt x="4937756" y="90804"/>
                  </a:cubicBezTo>
                  <a:cubicBezTo>
                    <a:pt x="4939026" y="92074"/>
                    <a:pt x="4939661" y="93344"/>
                    <a:pt x="4940296" y="94614"/>
                  </a:cubicBezTo>
                  <a:cubicBezTo>
                    <a:pt x="4940296" y="95884"/>
                    <a:pt x="4940931" y="97789"/>
                    <a:pt x="4940931" y="99059"/>
                  </a:cubicBezTo>
                  <a:cubicBezTo>
                    <a:pt x="4940931" y="99059"/>
                    <a:pt x="4940931" y="102234"/>
                    <a:pt x="4940296" y="103504"/>
                  </a:cubicBezTo>
                  <a:cubicBezTo>
                    <a:pt x="4940296" y="104774"/>
                    <a:pt x="4939026" y="106044"/>
                    <a:pt x="4937756" y="107314"/>
                  </a:cubicBezTo>
                  <a:cubicBezTo>
                    <a:pt x="4936486" y="108584"/>
                    <a:pt x="4935216" y="109219"/>
                    <a:pt x="4933946" y="109854"/>
                  </a:cubicBezTo>
                  <a:cubicBezTo>
                    <a:pt x="4932676" y="109854"/>
                    <a:pt x="4930771" y="110489"/>
                    <a:pt x="4929501" y="110489"/>
                  </a:cubicBezTo>
                  <a:cubicBezTo>
                    <a:pt x="4928231" y="110489"/>
                    <a:pt x="4926326" y="110489"/>
                    <a:pt x="4925056" y="109854"/>
                  </a:cubicBezTo>
                  <a:cubicBezTo>
                    <a:pt x="4923786" y="109854"/>
                    <a:pt x="4922516" y="108584"/>
                    <a:pt x="4921246" y="107314"/>
                  </a:cubicBezTo>
                  <a:cubicBezTo>
                    <a:pt x="4919976" y="106044"/>
                    <a:pt x="4919341" y="104774"/>
                    <a:pt x="4918706" y="103504"/>
                  </a:cubicBezTo>
                  <a:cubicBezTo>
                    <a:pt x="4918706" y="102234"/>
                    <a:pt x="4918071" y="100329"/>
                    <a:pt x="4918071" y="99059"/>
                  </a:cubicBezTo>
                  <a:cubicBezTo>
                    <a:pt x="4918071" y="97789"/>
                    <a:pt x="4918071" y="95884"/>
                    <a:pt x="4918706" y="94614"/>
                  </a:cubicBezTo>
                  <a:cubicBezTo>
                    <a:pt x="4918706" y="93344"/>
                    <a:pt x="4919976" y="92074"/>
                    <a:pt x="4921246" y="90804"/>
                  </a:cubicBezTo>
                  <a:cubicBezTo>
                    <a:pt x="4922516" y="89534"/>
                    <a:pt x="4923786" y="88899"/>
                    <a:pt x="4925056" y="88264"/>
                  </a:cubicBezTo>
                  <a:cubicBezTo>
                    <a:pt x="4926326" y="88264"/>
                    <a:pt x="4928231" y="87629"/>
                    <a:pt x="4929501" y="87629"/>
                  </a:cubicBezTo>
                  <a:close/>
                  <a:moveTo>
                    <a:pt x="3079110" y="87629"/>
                  </a:moveTo>
                  <a:cubicBezTo>
                    <a:pt x="3080380" y="87629"/>
                    <a:pt x="3082285" y="87629"/>
                    <a:pt x="3083555" y="88264"/>
                  </a:cubicBezTo>
                  <a:cubicBezTo>
                    <a:pt x="3084825" y="88264"/>
                    <a:pt x="3086095" y="89534"/>
                    <a:pt x="3087365" y="90804"/>
                  </a:cubicBezTo>
                  <a:cubicBezTo>
                    <a:pt x="3088635" y="92074"/>
                    <a:pt x="3089270" y="93344"/>
                    <a:pt x="3089905" y="94614"/>
                  </a:cubicBezTo>
                  <a:cubicBezTo>
                    <a:pt x="3089905" y="95884"/>
                    <a:pt x="3090540" y="97789"/>
                    <a:pt x="3090540" y="99059"/>
                  </a:cubicBezTo>
                  <a:cubicBezTo>
                    <a:pt x="3090540" y="99059"/>
                    <a:pt x="3090540" y="102234"/>
                    <a:pt x="3089905" y="103504"/>
                  </a:cubicBezTo>
                  <a:cubicBezTo>
                    <a:pt x="3089905" y="104774"/>
                    <a:pt x="3088635" y="106044"/>
                    <a:pt x="3087365" y="107314"/>
                  </a:cubicBezTo>
                  <a:cubicBezTo>
                    <a:pt x="3086095" y="108584"/>
                    <a:pt x="3084825" y="109219"/>
                    <a:pt x="3083555" y="109854"/>
                  </a:cubicBezTo>
                  <a:cubicBezTo>
                    <a:pt x="3082285" y="109854"/>
                    <a:pt x="3080380" y="110489"/>
                    <a:pt x="3079110" y="110489"/>
                  </a:cubicBezTo>
                  <a:cubicBezTo>
                    <a:pt x="3077840" y="110489"/>
                    <a:pt x="3075935" y="110489"/>
                    <a:pt x="3074665" y="109854"/>
                  </a:cubicBezTo>
                  <a:cubicBezTo>
                    <a:pt x="3073395" y="109854"/>
                    <a:pt x="3072125" y="108584"/>
                    <a:pt x="3070855" y="107314"/>
                  </a:cubicBezTo>
                  <a:cubicBezTo>
                    <a:pt x="3069585" y="106044"/>
                    <a:pt x="3068950" y="104774"/>
                    <a:pt x="3068315" y="103504"/>
                  </a:cubicBezTo>
                  <a:cubicBezTo>
                    <a:pt x="3068315" y="102234"/>
                    <a:pt x="3067680" y="100329"/>
                    <a:pt x="3067680" y="99059"/>
                  </a:cubicBezTo>
                  <a:cubicBezTo>
                    <a:pt x="3067680" y="97789"/>
                    <a:pt x="3067680" y="95884"/>
                    <a:pt x="3068315" y="94614"/>
                  </a:cubicBezTo>
                  <a:cubicBezTo>
                    <a:pt x="3068315" y="93344"/>
                    <a:pt x="3069585" y="92074"/>
                    <a:pt x="3070855" y="90804"/>
                  </a:cubicBezTo>
                  <a:cubicBezTo>
                    <a:pt x="3072125" y="89534"/>
                    <a:pt x="3073395" y="88899"/>
                    <a:pt x="3074665" y="88264"/>
                  </a:cubicBezTo>
                  <a:cubicBezTo>
                    <a:pt x="3075935" y="88264"/>
                    <a:pt x="3077840" y="87629"/>
                    <a:pt x="3079110" y="87629"/>
                  </a:cubicBezTo>
                  <a:close/>
                  <a:moveTo>
                    <a:pt x="1565275" y="87629"/>
                  </a:moveTo>
                  <a:cubicBezTo>
                    <a:pt x="1566545" y="87629"/>
                    <a:pt x="1568450" y="87629"/>
                    <a:pt x="1569720" y="88264"/>
                  </a:cubicBezTo>
                  <a:cubicBezTo>
                    <a:pt x="1570990" y="88264"/>
                    <a:pt x="1572260" y="89534"/>
                    <a:pt x="1573529" y="90804"/>
                  </a:cubicBezTo>
                  <a:cubicBezTo>
                    <a:pt x="1574800" y="92074"/>
                    <a:pt x="1575435" y="93344"/>
                    <a:pt x="1576069" y="94614"/>
                  </a:cubicBezTo>
                  <a:cubicBezTo>
                    <a:pt x="1576069" y="95884"/>
                    <a:pt x="1576705" y="97789"/>
                    <a:pt x="1576705" y="99059"/>
                  </a:cubicBezTo>
                  <a:cubicBezTo>
                    <a:pt x="1576705" y="99059"/>
                    <a:pt x="1576705" y="102234"/>
                    <a:pt x="1576069" y="103504"/>
                  </a:cubicBezTo>
                  <a:cubicBezTo>
                    <a:pt x="1576069" y="104774"/>
                    <a:pt x="1574800" y="106044"/>
                    <a:pt x="1573529" y="107314"/>
                  </a:cubicBezTo>
                  <a:cubicBezTo>
                    <a:pt x="1572260" y="108584"/>
                    <a:pt x="1570990" y="109219"/>
                    <a:pt x="1569720" y="109854"/>
                  </a:cubicBezTo>
                  <a:cubicBezTo>
                    <a:pt x="1568450" y="109854"/>
                    <a:pt x="1566545" y="110489"/>
                    <a:pt x="1565275" y="110489"/>
                  </a:cubicBezTo>
                  <a:cubicBezTo>
                    <a:pt x="1564005" y="110489"/>
                    <a:pt x="1562099" y="110489"/>
                    <a:pt x="1560830" y="109854"/>
                  </a:cubicBezTo>
                  <a:cubicBezTo>
                    <a:pt x="1559559" y="109854"/>
                    <a:pt x="1558289" y="108584"/>
                    <a:pt x="1557020" y="107314"/>
                  </a:cubicBezTo>
                  <a:cubicBezTo>
                    <a:pt x="1555750" y="106044"/>
                    <a:pt x="1555114" y="104774"/>
                    <a:pt x="1554479" y="103504"/>
                  </a:cubicBezTo>
                  <a:cubicBezTo>
                    <a:pt x="1554479" y="102234"/>
                    <a:pt x="1553844" y="100329"/>
                    <a:pt x="1553844" y="99059"/>
                  </a:cubicBezTo>
                  <a:cubicBezTo>
                    <a:pt x="1553844" y="97789"/>
                    <a:pt x="1553844" y="95884"/>
                    <a:pt x="1554479" y="94614"/>
                  </a:cubicBezTo>
                  <a:cubicBezTo>
                    <a:pt x="1554479" y="93344"/>
                    <a:pt x="1555750" y="92074"/>
                    <a:pt x="1557020" y="90804"/>
                  </a:cubicBezTo>
                  <a:cubicBezTo>
                    <a:pt x="1558289" y="89534"/>
                    <a:pt x="1559559" y="88899"/>
                    <a:pt x="1560830" y="88264"/>
                  </a:cubicBezTo>
                  <a:cubicBezTo>
                    <a:pt x="1562099" y="88264"/>
                    <a:pt x="1564005" y="87629"/>
                    <a:pt x="1565275" y="87629"/>
                  </a:cubicBezTo>
                  <a:close/>
                  <a:moveTo>
                    <a:pt x="2642230" y="73024"/>
                  </a:moveTo>
                  <a:cubicBezTo>
                    <a:pt x="2637150" y="73024"/>
                    <a:pt x="2633340" y="74294"/>
                    <a:pt x="2630800" y="76199"/>
                  </a:cubicBezTo>
                  <a:cubicBezTo>
                    <a:pt x="2627625" y="78104"/>
                    <a:pt x="2626355" y="81279"/>
                    <a:pt x="2626355" y="84454"/>
                  </a:cubicBezTo>
                  <a:cubicBezTo>
                    <a:pt x="2626355" y="86994"/>
                    <a:pt x="2626355" y="88899"/>
                    <a:pt x="2627625" y="90169"/>
                  </a:cubicBezTo>
                  <a:cubicBezTo>
                    <a:pt x="2628260" y="92074"/>
                    <a:pt x="2629530" y="93344"/>
                    <a:pt x="2630800" y="93979"/>
                  </a:cubicBezTo>
                  <a:cubicBezTo>
                    <a:pt x="2632070" y="95249"/>
                    <a:pt x="2633340" y="95884"/>
                    <a:pt x="2635245" y="96519"/>
                  </a:cubicBezTo>
                  <a:cubicBezTo>
                    <a:pt x="2637150" y="96519"/>
                    <a:pt x="2639055" y="97154"/>
                    <a:pt x="2641595" y="97154"/>
                  </a:cubicBezTo>
                  <a:cubicBezTo>
                    <a:pt x="2643500" y="97154"/>
                    <a:pt x="2645405" y="97154"/>
                    <a:pt x="2647310" y="96519"/>
                  </a:cubicBezTo>
                  <a:cubicBezTo>
                    <a:pt x="2649215" y="96519"/>
                    <a:pt x="2651120" y="95249"/>
                    <a:pt x="2652390" y="93979"/>
                  </a:cubicBezTo>
                  <a:cubicBezTo>
                    <a:pt x="2654295" y="93344"/>
                    <a:pt x="2655565" y="92074"/>
                    <a:pt x="2656835" y="90804"/>
                  </a:cubicBezTo>
                  <a:cubicBezTo>
                    <a:pt x="2658105" y="89534"/>
                    <a:pt x="2659375" y="88264"/>
                    <a:pt x="2660010" y="86994"/>
                  </a:cubicBezTo>
                  <a:lnTo>
                    <a:pt x="2660010" y="75564"/>
                  </a:lnTo>
                  <a:cubicBezTo>
                    <a:pt x="2660010" y="75564"/>
                    <a:pt x="2657470" y="74294"/>
                    <a:pt x="2656200" y="74294"/>
                  </a:cubicBezTo>
                  <a:cubicBezTo>
                    <a:pt x="2654930" y="74294"/>
                    <a:pt x="2653660" y="73659"/>
                    <a:pt x="2652390" y="73659"/>
                  </a:cubicBezTo>
                  <a:cubicBezTo>
                    <a:pt x="2651120" y="73659"/>
                    <a:pt x="2649850" y="73659"/>
                    <a:pt x="2647945" y="73024"/>
                  </a:cubicBezTo>
                  <a:cubicBezTo>
                    <a:pt x="2646040" y="73024"/>
                    <a:pt x="2644135" y="73024"/>
                    <a:pt x="2642230" y="73024"/>
                  </a:cubicBezTo>
                  <a:close/>
                  <a:moveTo>
                    <a:pt x="4664706" y="43814"/>
                  </a:moveTo>
                  <a:cubicBezTo>
                    <a:pt x="4661531" y="43814"/>
                    <a:pt x="4658991" y="43814"/>
                    <a:pt x="4657086" y="45719"/>
                  </a:cubicBezTo>
                  <a:cubicBezTo>
                    <a:pt x="4654546" y="46989"/>
                    <a:pt x="4652641" y="48894"/>
                    <a:pt x="4651371" y="50799"/>
                  </a:cubicBezTo>
                  <a:cubicBezTo>
                    <a:pt x="4649466" y="53339"/>
                    <a:pt x="4648831" y="55879"/>
                    <a:pt x="4647561" y="59054"/>
                  </a:cubicBezTo>
                  <a:cubicBezTo>
                    <a:pt x="4646926" y="62229"/>
                    <a:pt x="4646291" y="65404"/>
                    <a:pt x="4646291" y="69849"/>
                  </a:cubicBezTo>
                  <a:cubicBezTo>
                    <a:pt x="4646291" y="74294"/>
                    <a:pt x="4646291" y="78104"/>
                    <a:pt x="4647561" y="81279"/>
                  </a:cubicBezTo>
                  <a:cubicBezTo>
                    <a:pt x="4648196" y="84454"/>
                    <a:pt x="4650101" y="87629"/>
                    <a:pt x="4651371" y="89534"/>
                  </a:cubicBezTo>
                  <a:cubicBezTo>
                    <a:pt x="4653276" y="92074"/>
                    <a:pt x="4655181" y="93344"/>
                    <a:pt x="4657721" y="94614"/>
                  </a:cubicBezTo>
                  <a:cubicBezTo>
                    <a:pt x="4660261" y="95884"/>
                    <a:pt x="4662801" y="96519"/>
                    <a:pt x="4665341" y="96519"/>
                  </a:cubicBezTo>
                  <a:cubicBezTo>
                    <a:pt x="4667881" y="96519"/>
                    <a:pt x="4671056" y="95884"/>
                    <a:pt x="4672961" y="94614"/>
                  </a:cubicBezTo>
                  <a:cubicBezTo>
                    <a:pt x="4675501" y="93344"/>
                    <a:pt x="4677406" y="91439"/>
                    <a:pt x="4678676" y="88899"/>
                  </a:cubicBezTo>
                  <a:cubicBezTo>
                    <a:pt x="4680581" y="86359"/>
                    <a:pt x="4681851" y="83819"/>
                    <a:pt x="4682486" y="80644"/>
                  </a:cubicBezTo>
                  <a:cubicBezTo>
                    <a:pt x="4683121" y="77469"/>
                    <a:pt x="4683756" y="74294"/>
                    <a:pt x="4683756" y="70484"/>
                  </a:cubicBezTo>
                  <a:lnTo>
                    <a:pt x="4684391" y="69849"/>
                  </a:lnTo>
                  <a:cubicBezTo>
                    <a:pt x="4684391" y="66039"/>
                    <a:pt x="4684391" y="62229"/>
                    <a:pt x="4683121" y="59054"/>
                  </a:cubicBezTo>
                  <a:cubicBezTo>
                    <a:pt x="4682486" y="55879"/>
                    <a:pt x="4680581" y="53339"/>
                    <a:pt x="4679311" y="50799"/>
                  </a:cubicBezTo>
                  <a:cubicBezTo>
                    <a:pt x="4677406" y="48259"/>
                    <a:pt x="4675501" y="46989"/>
                    <a:pt x="4672961" y="45719"/>
                  </a:cubicBezTo>
                  <a:cubicBezTo>
                    <a:pt x="4670421" y="44449"/>
                    <a:pt x="4667881" y="43814"/>
                    <a:pt x="4664706" y="43814"/>
                  </a:cubicBezTo>
                  <a:close/>
                  <a:moveTo>
                    <a:pt x="4264020" y="43814"/>
                  </a:moveTo>
                  <a:cubicBezTo>
                    <a:pt x="4260845" y="43814"/>
                    <a:pt x="4258305" y="43814"/>
                    <a:pt x="4256400" y="45719"/>
                  </a:cubicBezTo>
                  <a:cubicBezTo>
                    <a:pt x="4253860" y="46989"/>
                    <a:pt x="4251955" y="48894"/>
                    <a:pt x="4250685" y="50799"/>
                  </a:cubicBezTo>
                  <a:cubicBezTo>
                    <a:pt x="4248780" y="53339"/>
                    <a:pt x="4247510" y="55879"/>
                    <a:pt x="4246875" y="59054"/>
                  </a:cubicBezTo>
                  <a:cubicBezTo>
                    <a:pt x="4246240" y="62229"/>
                    <a:pt x="4245605" y="65404"/>
                    <a:pt x="4245605" y="69849"/>
                  </a:cubicBezTo>
                  <a:cubicBezTo>
                    <a:pt x="4245605" y="74294"/>
                    <a:pt x="4245605" y="78104"/>
                    <a:pt x="4246875" y="81279"/>
                  </a:cubicBezTo>
                  <a:cubicBezTo>
                    <a:pt x="4247510" y="84454"/>
                    <a:pt x="4249415" y="87629"/>
                    <a:pt x="4250685" y="89534"/>
                  </a:cubicBezTo>
                  <a:cubicBezTo>
                    <a:pt x="4252590" y="92074"/>
                    <a:pt x="4254495" y="93344"/>
                    <a:pt x="4257035" y="94614"/>
                  </a:cubicBezTo>
                  <a:cubicBezTo>
                    <a:pt x="4259575" y="95884"/>
                    <a:pt x="4262115" y="96519"/>
                    <a:pt x="4264655" y="96519"/>
                  </a:cubicBezTo>
                  <a:cubicBezTo>
                    <a:pt x="4267195" y="96519"/>
                    <a:pt x="4270370" y="95884"/>
                    <a:pt x="4272275" y="94614"/>
                  </a:cubicBezTo>
                  <a:cubicBezTo>
                    <a:pt x="4274815" y="93344"/>
                    <a:pt x="4276720" y="91439"/>
                    <a:pt x="4277990" y="88899"/>
                  </a:cubicBezTo>
                  <a:cubicBezTo>
                    <a:pt x="4279895" y="86359"/>
                    <a:pt x="4281165" y="83819"/>
                    <a:pt x="4281800" y="80644"/>
                  </a:cubicBezTo>
                  <a:cubicBezTo>
                    <a:pt x="4282435" y="77469"/>
                    <a:pt x="4283070" y="74294"/>
                    <a:pt x="4283070" y="70484"/>
                  </a:cubicBezTo>
                  <a:lnTo>
                    <a:pt x="4283705" y="69849"/>
                  </a:lnTo>
                  <a:cubicBezTo>
                    <a:pt x="4283705" y="66039"/>
                    <a:pt x="4283705" y="62229"/>
                    <a:pt x="4282435" y="59054"/>
                  </a:cubicBezTo>
                  <a:cubicBezTo>
                    <a:pt x="4281800" y="55879"/>
                    <a:pt x="4279895" y="53339"/>
                    <a:pt x="4278625" y="50799"/>
                  </a:cubicBezTo>
                  <a:cubicBezTo>
                    <a:pt x="4276720" y="48259"/>
                    <a:pt x="4274815" y="46989"/>
                    <a:pt x="4272275" y="45719"/>
                  </a:cubicBezTo>
                  <a:cubicBezTo>
                    <a:pt x="4269735" y="44449"/>
                    <a:pt x="4267195" y="43814"/>
                    <a:pt x="4264020" y="43814"/>
                  </a:cubicBezTo>
                  <a:close/>
                  <a:moveTo>
                    <a:pt x="1420495" y="43814"/>
                  </a:moveTo>
                  <a:cubicBezTo>
                    <a:pt x="1417320" y="43814"/>
                    <a:pt x="1414780" y="43814"/>
                    <a:pt x="1412875" y="45719"/>
                  </a:cubicBezTo>
                  <a:cubicBezTo>
                    <a:pt x="1410335" y="46989"/>
                    <a:pt x="1408430" y="48894"/>
                    <a:pt x="1407160" y="50799"/>
                  </a:cubicBezTo>
                  <a:cubicBezTo>
                    <a:pt x="1405255" y="53339"/>
                    <a:pt x="1403985" y="55879"/>
                    <a:pt x="1403350" y="59054"/>
                  </a:cubicBezTo>
                  <a:cubicBezTo>
                    <a:pt x="1402715" y="62229"/>
                    <a:pt x="1402080" y="65404"/>
                    <a:pt x="1402080" y="69849"/>
                  </a:cubicBezTo>
                  <a:cubicBezTo>
                    <a:pt x="1402080" y="74294"/>
                    <a:pt x="1402080" y="78104"/>
                    <a:pt x="1403350" y="81279"/>
                  </a:cubicBezTo>
                  <a:cubicBezTo>
                    <a:pt x="1403985" y="84454"/>
                    <a:pt x="1405890" y="87629"/>
                    <a:pt x="1407160" y="89534"/>
                  </a:cubicBezTo>
                  <a:cubicBezTo>
                    <a:pt x="1409065" y="92074"/>
                    <a:pt x="1410970" y="93344"/>
                    <a:pt x="1413510" y="94614"/>
                  </a:cubicBezTo>
                  <a:cubicBezTo>
                    <a:pt x="1416050" y="95884"/>
                    <a:pt x="1418590" y="96519"/>
                    <a:pt x="1421130" y="96519"/>
                  </a:cubicBezTo>
                  <a:cubicBezTo>
                    <a:pt x="1423670" y="96519"/>
                    <a:pt x="1426845" y="95884"/>
                    <a:pt x="1428750" y="94614"/>
                  </a:cubicBezTo>
                  <a:cubicBezTo>
                    <a:pt x="1431290" y="93344"/>
                    <a:pt x="1433195" y="91439"/>
                    <a:pt x="1434465" y="88899"/>
                  </a:cubicBezTo>
                  <a:cubicBezTo>
                    <a:pt x="1436370" y="86359"/>
                    <a:pt x="1437640" y="83819"/>
                    <a:pt x="1438275" y="80644"/>
                  </a:cubicBezTo>
                  <a:cubicBezTo>
                    <a:pt x="1438910" y="77469"/>
                    <a:pt x="1439545" y="74294"/>
                    <a:pt x="1439545" y="70484"/>
                  </a:cubicBezTo>
                  <a:lnTo>
                    <a:pt x="1440180" y="69849"/>
                  </a:lnTo>
                  <a:cubicBezTo>
                    <a:pt x="1440180" y="66039"/>
                    <a:pt x="1440180" y="62229"/>
                    <a:pt x="1438910" y="59054"/>
                  </a:cubicBezTo>
                  <a:cubicBezTo>
                    <a:pt x="1438275" y="55879"/>
                    <a:pt x="1436370" y="53339"/>
                    <a:pt x="1435100" y="50799"/>
                  </a:cubicBezTo>
                  <a:cubicBezTo>
                    <a:pt x="1433195" y="48259"/>
                    <a:pt x="1431290" y="46989"/>
                    <a:pt x="1428750" y="45719"/>
                  </a:cubicBezTo>
                  <a:cubicBezTo>
                    <a:pt x="1426210" y="44449"/>
                    <a:pt x="1423670" y="43814"/>
                    <a:pt x="1420495" y="43814"/>
                  </a:cubicBezTo>
                  <a:close/>
                  <a:moveTo>
                    <a:pt x="4041770" y="43180"/>
                  </a:moveTo>
                  <a:cubicBezTo>
                    <a:pt x="4039230" y="43180"/>
                    <a:pt x="4036690" y="43180"/>
                    <a:pt x="4034785" y="44450"/>
                  </a:cubicBezTo>
                  <a:cubicBezTo>
                    <a:pt x="4032880" y="45085"/>
                    <a:pt x="4030975" y="46355"/>
                    <a:pt x="4029705" y="48260"/>
                  </a:cubicBezTo>
                  <a:cubicBezTo>
                    <a:pt x="4028435" y="50165"/>
                    <a:pt x="4027165" y="52070"/>
                    <a:pt x="4025895" y="54610"/>
                  </a:cubicBezTo>
                  <a:cubicBezTo>
                    <a:pt x="4025260" y="57150"/>
                    <a:pt x="4023990" y="59690"/>
                    <a:pt x="4023990" y="62865"/>
                  </a:cubicBezTo>
                  <a:lnTo>
                    <a:pt x="4060185" y="62865"/>
                  </a:lnTo>
                  <a:cubicBezTo>
                    <a:pt x="4060185" y="62865"/>
                    <a:pt x="4059550" y="57785"/>
                    <a:pt x="4058915" y="55245"/>
                  </a:cubicBezTo>
                  <a:cubicBezTo>
                    <a:pt x="4058280" y="52705"/>
                    <a:pt x="4057010" y="50800"/>
                    <a:pt x="4055740" y="48895"/>
                  </a:cubicBezTo>
                  <a:cubicBezTo>
                    <a:pt x="4054470" y="46990"/>
                    <a:pt x="4052565" y="45720"/>
                    <a:pt x="4050025" y="44450"/>
                  </a:cubicBezTo>
                  <a:cubicBezTo>
                    <a:pt x="4047485" y="43180"/>
                    <a:pt x="4044945" y="43180"/>
                    <a:pt x="4041770" y="43180"/>
                  </a:cubicBezTo>
                  <a:close/>
                  <a:moveTo>
                    <a:pt x="3728081" y="43180"/>
                  </a:moveTo>
                  <a:cubicBezTo>
                    <a:pt x="3725541" y="43180"/>
                    <a:pt x="3723001" y="43180"/>
                    <a:pt x="3721096" y="44450"/>
                  </a:cubicBezTo>
                  <a:cubicBezTo>
                    <a:pt x="3719191" y="45085"/>
                    <a:pt x="3717286" y="46355"/>
                    <a:pt x="3716016" y="48260"/>
                  </a:cubicBezTo>
                  <a:cubicBezTo>
                    <a:pt x="3714746" y="50165"/>
                    <a:pt x="3713476" y="52070"/>
                    <a:pt x="3712206" y="54610"/>
                  </a:cubicBezTo>
                  <a:cubicBezTo>
                    <a:pt x="3711571" y="57150"/>
                    <a:pt x="3710301" y="59690"/>
                    <a:pt x="3710301" y="62865"/>
                  </a:cubicBezTo>
                  <a:lnTo>
                    <a:pt x="3746496" y="62865"/>
                  </a:lnTo>
                  <a:cubicBezTo>
                    <a:pt x="3746496" y="62865"/>
                    <a:pt x="3745861" y="57785"/>
                    <a:pt x="3745226" y="55245"/>
                  </a:cubicBezTo>
                  <a:cubicBezTo>
                    <a:pt x="3744591" y="52705"/>
                    <a:pt x="3743321" y="50800"/>
                    <a:pt x="3742051" y="48895"/>
                  </a:cubicBezTo>
                  <a:cubicBezTo>
                    <a:pt x="3740781" y="46990"/>
                    <a:pt x="3738876" y="45720"/>
                    <a:pt x="3736336" y="44450"/>
                  </a:cubicBezTo>
                  <a:cubicBezTo>
                    <a:pt x="3733796" y="43180"/>
                    <a:pt x="3731256" y="43180"/>
                    <a:pt x="3728081" y="43180"/>
                  </a:cubicBezTo>
                  <a:close/>
                  <a:moveTo>
                    <a:pt x="3541391" y="43180"/>
                  </a:moveTo>
                  <a:cubicBezTo>
                    <a:pt x="3538851" y="43180"/>
                    <a:pt x="3536311" y="43180"/>
                    <a:pt x="3534406" y="44450"/>
                  </a:cubicBezTo>
                  <a:cubicBezTo>
                    <a:pt x="3532501" y="45085"/>
                    <a:pt x="3530596" y="46355"/>
                    <a:pt x="3529326" y="48260"/>
                  </a:cubicBezTo>
                  <a:cubicBezTo>
                    <a:pt x="3528056" y="50165"/>
                    <a:pt x="3526786" y="52070"/>
                    <a:pt x="3525516" y="54610"/>
                  </a:cubicBezTo>
                  <a:cubicBezTo>
                    <a:pt x="3524881" y="57150"/>
                    <a:pt x="3524246" y="59690"/>
                    <a:pt x="3523611" y="62865"/>
                  </a:cubicBezTo>
                  <a:lnTo>
                    <a:pt x="3559806" y="62865"/>
                  </a:lnTo>
                  <a:cubicBezTo>
                    <a:pt x="3559806" y="62865"/>
                    <a:pt x="3559171" y="57785"/>
                    <a:pt x="3558536" y="55245"/>
                  </a:cubicBezTo>
                  <a:cubicBezTo>
                    <a:pt x="3557901" y="52705"/>
                    <a:pt x="3556631" y="50800"/>
                    <a:pt x="3555361" y="48895"/>
                  </a:cubicBezTo>
                  <a:cubicBezTo>
                    <a:pt x="3554091" y="46990"/>
                    <a:pt x="3552186" y="45720"/>
                    <a:pt x="3549646" y="44450"/>
                  </a:cubicBezTo>
                  <a:cubicBezTo>
                    <a:pt x="3547106" y="43180"/>
                    <a:pt x="3544566" y="43180"/>
                    <a:pt x="3541391" y="43180"/>
                  </a:cubicBezTo>
                  <a:close/>
                  <a:moveTo>
                    <a:pt x="3463285" y="43180"/>
                  </a:moveTo>
                  <a:cubicBezTo>
                    <a:pt x="3461380" y="43180"/>
                    <a:pt x="3459475" y="43180"/>
                    <a:pt x="3458205" y="43815"/>
                  </a:cubicBezTo>
                  <a:cubicBezTo>
                    <a:pt x="3456300" y="43815"/>
                    <a:pt x="3455030" y="45085"/>
                    <a:pt x="3453125" y="45720"/>
                  </a:cubicBezTo>
                  <a:cubicBezTo>
                    <a:pt x="3451855" y="46355"/>
                    <a:pt x="3449950" y="47625"/>
                    <a:pt x="3448680" y="48895"/>
                  </a:cubicBezTo>
                  <a:cubicBezTo>
                    <a:pt x="3447410" y="50165"/>
                    <a:pt x="3446140" y="51435"/>
                    <a:pt x="3445505" y="52705"/>
                  </a:cubicBezTo>
                  <a:lnTo>
                    <a:pt x="3445505" y="85725"/>
                  </a:lnTo>
                  <a:cubicBezTo>
                    <a:pt x="3445505" y="85725"/>
                    <a:pt x="3447410" y="88265"/>
                    <a:pt x="3448680" y="89535"/>
                  </a:cubicBezTo>
                  <a:cubicBezTo>
                    <a:pt x="3449950" y="90805"/>
                    <a:pt x="3451220" y="92075"/>
                    <a:pt x="3453125" y="92710"/>
                  </a:cubicBezTo>
                  <a:cubicBezTo>
                    <a:pt x="3455030" y="93980"/>
                    <a:pt x="3456300" y="94615"/>
                    <a:pt x="3458205" y="95250"/>
                  </a:cubicBezTo>
                  <a:cubicBezTo>
                    <a:pt x="3460110" y="95250"/>
                    <a:pt x="3462015" y="95885"/>
                    <a:pt x="3463920" y="95885"/>
                  </a:cubicBezTo>
                  <a:cubicBezTo>
                    <a:pt x="3469635" y="95885"/>
                    <a:pt x="3473445" y="93980"/>
                    <a:pt x="3476620" y="89535"/>
                  </a:cubicBezTo>
                  <a:cubicBezTo>
                    <a:pt x="3479795" y="85090"/>
                    <a:pt x="3481065" y="79375"/>
                    <a:pt x="3481065" y="71120"/>
                  </a:cubicBezTo>
                  <a:lnTo>
                    <a:pt x="3480430" y="71755"/>
                  </a:lnTo>
                  <a:cubicBezTo>
                    <a:pt x="3480430" y="62230"/>
                    <a:pt x="3479160" y="54610"/>
                    <a:pt x="3475985" y="50165"/>
                  </a:cubicBezTo>
                  <a:cubicBezTo>
                    <a:pt x="3472810" y="45720"/>
                    <a:pt x="3468365" y="43180"/>
                    <a:pt x="3463285" y="43180"/>
                  </a:cubicBezTo>
                  <a:close/>
                  <a:moveTo>
                    <a:pt x="3343271" y="43180"/>
                  </a:moveTo>
                  <a:cubicBezTo>
                    <a:pt x="3340731" y="43180"/>
                    <a:pt x="3338191" y="43180"/>
                    <a:pt x="3336286" y="44450"/>
                  </a:cubicBezTo>
                  <a:cubicBezTo>
                    <a:pt x="3334381" y="45085"/>
                    <a:pt x="3332476" y="46355"/>
                    <a:pt x="3331206" y="48260"/>
                  </a:cubicBezTo>
                  <a:cubicBezTo>
                    <a:pt x="3329936" y="50165"/>
                    <a:pt x="3328666" y="52070"/>
                    <a:pt x="3327396" y="54610"/>
                  </a:cubicBezTo>
                  <a:cubicBezTo>
                    <a:pt x="3326761" y="57150"/>
                    <a:pt x="3326126" y="59690"/>
                    <a:pt x="3325491" y="62865"/>
                  </a:cubicBezTo>
                  <a:lnTo>
                    <a:pt x="3361686" y="62865"/>
                  </a:lnTo>
                  <a:cubicBezTo>
                    <a:pt x="3361686" y="62865"/>
                    <a:pt x="3361051" y="57785"/>
                    <a:pt x="3360416" y="55245"/>
                  </a:cubicBezTo>
                  <a:cubicBezTo>
                    <a:pt x="3359781" y="52705"/>
                    <a:pt x="3358511" y="50800"/>
                    <a:pt x="3357241" y="48895"/>
                  </a:cubicBezTo>
                  <a:cubicBezTo>
                    <a:pt x="3355971" y="46990"/>
                    <a:pt x="3354066" y="45720"/>
                    <a:pt x="3351526" y="44450"/>
                  </a:cubicBezTo>
                  <a:cubicBezTo>
                    <a:pt x="3348986" y="43180"/>
                    <a:pt x="3346446" y="43180"/>
                    <a:pt x="3343271" y="43180"/>
                  </a:cubicBezTo>
                  <a:close/>
                  <a:moveTo>
                    <a:pt x="2976876" y="43180"/>
                  </a:moveTo>
                  <a:cubicBezTo>
                    <a:pt x="2974336" y="43180"/>
                    <a:pt x="2971796" y="43180"/>
                    <a:pt x="2969891" y="44450"/>
                  </a:cubicBezTo>
                  <a:cubicBezTo>
                    <a:pt x="2967986" y="45085"/>
                    <a:pt x="2966081" y="46355"/>
                    <a:pt x="2964811" y="48260"/>
                  </a:cubicBezTo>
                  <a:cubicBezTo>
                    <a:pt x="2963541" y="50165"/>
                    <a:pt x="2962271" y="52070"/>
                    <a:pt x="2961001" y="54610"/>
                  </a:cubicBezTo>
                  <a:cubicBezTo>
                    <a:pt x="2960366" y="57150"/>
                    <a:pt x="2959731" y="59690"/>
                    <a:pt x="2959096" y="62865"/>
                  </a:cubicBezTo>
                  <a:lnTo>
                    <a:pt x="2995291" y="62865"/>
                  </a:lnTo>
                  <a:cubicBezTo>
                    <a:pt x="2995291" y="62865"/>
                    <a:pt x="2994656" y="57785"/>
                    <a:pt x="2994021" y="55245"/>
                  </a:cubicBezTo>
                  <a:cubicBezTo>
                    <a:pt x="2993386" y="52705"/>
                    <a:pt x="2992116" y="50800"/>
                    <a:pt x="2990846" y="48895"/>
                  </a:cubicBezTo>
                  <a:cubicBezTo>
                    <a:pt x="2989576" y="46990"/>
                    <a:pt x="2987671" y="45720"/>
                    <a:pt x="2985131" y="44450"/>
                  </a:cubicBezTo>
                  <a:cubicBezTo>
                    <a:pt x="2982591" y="43180"/>
                    <a:pt x="2980051" y="43180"/>
                    <a:pt x="2976876" y="43180"/>
                  </a:cubicBezTo>
                  <a:close/>
                  <a:moveTo>
                    <a:pt x="2527930" y="43180"/>
                  </a:moveTo>
                  <a:cubicBezTo>
                    <a:pt x="2525390" y="43180"/>
                    <a:pt x="2522850" y="43180"/>
                    <a:pt x="2520945" y="44450"/>
                  </a:cubicBezTo>
                  <a:cubicBezTo>
                    <a:pt x="2519040" y="45085"/>
                    <a:pt x="2517135" y="46355"/>
                    <a:pt x="2515865" y="48260"/>
                  </a:cubicBezTo>
                  <a:cubicBezTo>
                    <a:pt x="2514595" y="50165"/>
                    <a:pt x="2513325" y="52070"/>
                    <a:pt x="2512055" y="54610"/>
                  </a:cubicBezTo>
                  <a:cubicBezTo>
                    <a:pt x="2511420" y="57150"/>
                    <a:pt x="2510150" y="59690"/>
                    <a:pt x="2510150" y="62865"/>
                  </a:cubicBezTo>
                  <a:lnTo>
                    <a:pt x="2546345" y="62865"/>
                  </a:lnTo>
                  <a:cubicBezTo>
                    <a:pt x="2546345" y="62865"/>
                    <a:pt x="2545710" y="57785"/>
                    <a:pt x="2545075" y="55245"/>
                  </a:cubicBezTo>
                  <a:cubicBezTo>
                    <a:pt x="2544440" y="52705"/>
                    <a:pt x="2543170" y="50800"/>
                    <a:pt x="2541900" y="48895"/>
                  </a:cubicBezTo>
                  <a:cubicBezTo>
                    <a:pt x="2540630" y="46990"/>
                    <a:pt x="2538725" y="45720"/>
                    <a:pt x="2536185" y="44450"/>
                  </a:cubicBezTo>
                  <a:cubicBezTo>
                    <a:pt x="2533645" y="43180"/>
                    <a:pt x="2531105" y="43180"/>
                    <a:pt x="2527930" y="43180"/>
                  </a:cubicBezTo>
                  <a:close/>
                  <a:moveTo>
                    <a:pt x="2214240" y="43180"/>
                  </a:moveTo>
                  <a:cubicBezTo>
                    <a:pt x="2211700" y="43180"/>
                    <a:pt x="2209160" y="43180"/>
                    <a:pt x="2207255" y="44450"/>
                  </a:cubicBezTo>
                  <a:cubicBezTo>
                    <a:pt x="2205350" y="45085"/>
                    <a:pt x="2203445" y="46355"/>
                    <a:pt x="2202175" y="48260"/>
                  </a:cubicBezTo>
                  <a:cubicBezTo>
                    <a:pt x="2200905" y="50165"/>
                    <a:pt x="2199635" y="52070"/>
                    <a:pt x="2198365" y="54610"/>
                  </a:cubicBezTo>
                  <a:cubicBezTo>
                    <a:pt x="2197730" y="57150"/>
                    <a:pt x="2196460" y="59690"/>
                    <a:pt x="2196460" y="62865"/>
                  </a:cubicBezTo>
                  <a:lnTo>
                    <a:pt x="2232655" y="62865"/>
                  </a:lnTo>
                  <a:cubicBezTo>
                    <a:pt x="2232655" y="62865"/>
                    <a:pt x="2232020" y="57785"/>
                    <a:pt x="2231385" y="55245"/>
                  </a:cubicBezTo>
                  <a:cubicBezTo>
                    <a:pt x="2230750" y="52705"/>
                    <a:pt x="2229480" y="50800"/>
                    <a:pt x="2228210" y="48895"/>
                  </a:cubicBezTo>
                  <a:cubicBezTo>
                    <a:pt x="2226940" y="46990"/>
                    <a:pt x="2225035" y="45720"/>
                    <a:pt x="2222495" y="44450"/>
                  </a:cubicBezTo>
                  <a:cubicBezTo>
                    <a:pt x="2219955" y="43180"/>
                    <a:pt x="2217415" y="43180"/>
                    <a:pt x="2214240" y="43180"/>
                  </a:cubicBezTo>
                  <a:close/>
                  <a:moveTo>
                    <a:pt x="2027551" y="43180"/>
                  </a:moveTo>
                  <a:cubicBezTo>
                    <a:pt x="2025011" y="43180"/>
                    <a:pt x="2022471" y="43180"/>
                    <a:pt x="2020566" y="44450"/>
                  </a:cubicBezTo>
                  <a:cubicBezTo>
                    <a:pt x="2018661" y="45085"/>
                    <a:pt x="2016756" y="46355"/>
                    <a:pt x="2015486" y="48260"/>
                  </a:cubicBezTo>
                  <a:cubicBezTo>
                    <a:pt x="2014216" y="50165"/>
                    <a:pt x="2012946" y="52070"/>
                    <a:pt x="2011676" y="54610"/>
                  </a:cubicBezTo>
                  <a:cubicBezTo>
                    <a:pt x="2011041" y="57150"/>
                    <a:pt x="2010406" y="59690"/>
                    <a:pt x="2009771" y="62865"/>
                  </a:cubicBezTo>
                  <a:lnTo>
                    <a:pt x="2045966" y="62865"/>
                  </a:lnTo>
                  <a:cubicBezTo>
                    <a:pt x="2045966" y="62865"/>
                    <a:pt x="2045331" y="57785"/>
                    <a:pt x="2044696" y="55245"/>
                  </a:cubicBezTo>
                  <a:cubicBezTo>
                    <a:pt x="2044061" y="52705"/>
                    <a:pt x="2042791" y="50800"/>
                    <a:pt x="2041521" y="48895"/>
                  </a:cubicBezTo>
                  <a:cubicBezTo>
                    <a:pt x="2040251" y="46990"/>
                    <a:pt x="2038346" y="45720"/>
                    <a:pt x="2035806" y="44450"/>
                  </a:cubicBezTo>
                  <a:cubicBezTo>
                    <a:pt x="2033266" y="43180"/>
                    <a:pt x="2030726" y="43180"/>
                    <a:pt x="2027551" y="43180"/>
                  </a:cubicBezTo>
                  <a:close/>
                  <a:moveTo>
                    <a:pt x="1949445" y="43180"/>
                  </a:moveTo>
                  <a:cubicBezTo>
                    <a:pt x="1947540" y="43180"/>
                    <a:pt x="1945635" y="43180"/>
                    <a:pt x="1944365" y="43815"/>
                  </a:cubicBezTo>
                  <a:cubicBezTo>
                    <a:pt x="1942460" y="43815"/>
                    <a:pt x="1941190" y="45085"/>
                    <a:pt x="1939285" y="45720"/>
                  </a:cubicBezTo>
                  <a:cubicBezTo>
                    <a:pt x="1938015" y="46355"/>
                    <a:pt x="1936110" y="47625"/>
                    <a:pt x="1934840" y="48895"/>
                  </a:cubicBezTo>
                  <a:cubicBezTo>
                    <a:pt x="1933570" y="50165"/>
                    <a:pt x="1932300" y="51435"/>
                    <a:pt x="1931665" y="52705"/>
                  </a:cubicBezTo>
                  <a:lnTo>
                    <a:pt x="1931665" y="85725"/>
                  </a:lnTo>
                  <a:cubicBezTo>
                    <a:pt x="1931665" y="85725"/>
                    <a:pt x="1933570" y="88265"/>
                    <a:pt x="1934840" y="89535"/>
                  </a:cubicBezTo>
                  <a:cubicBezTo>
                    <a:pt x="1936110" y="90805"/>
                    <a:pt x="1937380" y="92075"/>
                    <a:pt x="1939285" y="92710"/>
                  </a:cubicBezTo>
                  <a:cubicBezTo>
                    <a:pt x="1941190" y="93980"/>
                    <a:pt x="1942460" y="94615"/>
                    <a:pt x="1944365" y="95250"/>
                  </a:cubicBezTo>
                  <a:cubicBezTo>
                    <a:pt x="1946270" y="95250"/>
                    <a:pt x="1948175" y="95885"/>
                    <a:pt x="1950080" y="95885"/>
                  </a:cubicBezTo>
                  <a:cubicBezTo>
                    <a:pt x="1955795" y="95885"/>
                    <a:pt x="1959605" y="93980"/>
                    <a:pt x="1962780" y="89535"/>
                  </a:cubicBezTo>
                  <a:cubicBezTo>
                    <a:pt x="1965955" y="85090"/>
                    <a:pt x="1967225" y="79375"/>
                    <a:pt x="1967225" y="71120"/>
                  </a:cubicBezTo>
                  <a:lnTo>
                    <a:pt x="1966590" y="71755"/>
                  </a:lnTo>
                  <a:cubicBezTo>
                    <a:pt x="1966590" y="62230"/>
                    <a:pt x="1965320" y="54610"/>
                    <a:pt x="1962145" y="50165"/>
                  </a:cubicBezTo>
                  <a:cubicBezTo>
                    <a:pt x="1958970" y="45720"/>
                    <a:pt x="1954525" y="43180"/>
                    <a:pt x="1949445" y="43180"/>
                  </a:cubicBezTo>
                  <a:close/>
                  <a:moveTo>
                    <a:pt x="1829431" y="43180"/>
                  </a:moveTo>
                  <a:cubicBezTo>
                    <a:pt x="1826891" y="43180"/>
                    <a:pt x="1824351" y="43180"/>
                    <a:pt x="1822446" y="44450"/>
                  </a:cubicBezTo>
                  <a:cubicBezTo>
                    <a:pt x="1820541" y="45085"/>
                    <a:pt x="1818636" y="46355"/>
                    <a:pt x="1817366" y="48260"/>
                  </a:cubicBezTo>
                  <a:cubicBezTo>
                    <a:pt x="1816096" y="50165"/>
                    <a:pt x="1814826" y="52070"/>
                    <a:pt x="1813556" y="54610"/>
                  </a:cubicBezTo>
                  <a:cubicBezTo>
                    <a:pt x="1812921" y="57150"/>
                    <a:pt x="1811651" y="59690"/>
                    <a:pt x="1811651" y="62865"/>
                  </a:cubicBezTo>
                  <a:lnTo>
                    <a:pt x="1847846" y="62865"/>
                  </a:lnTo>
                  <a:cubicBezTo>
                    <a:pt x="1847846" y="62865"/>
                    <a:pt x="1847211" y="57785"/>
                    <a:pt x="1846576" y="55245"/>
                  </a:cubicBezTo>
                  <a:cubicBezTo>
                    <a:pt x="1845941" y="52705"/>
                    <a:pt x="1844671" y="50800"/>
                    <a:pt x="1843401" y="48895"/>
                  </a:cubicBezTo>
                  <a:cubicBezTo>
                    <a:pt x="1842131" y="46990"/>
                    <a:pt x="1840226" y="45720"/>
                    <a:pt x="1837686" y="44450"/>
                  </a:cubicBezTo>
                  <a:cubicBezTo>
                    <a:pt x="1835146" y="43180"/>
                    <a:pt x="1832606" y="43180"/>
                    <a:pt x="1829431" y="43180"/>
                  </a:cubicBezTo>
                  <a:close/>
                  <a:moveTo>
                    <a:pt x="1178561" y="43180"/>
                  </a:moveTo>
                  <a:cubicBezTo>
                    <a:pt x="1176021" y="43180"/>
                    <a:pt x="1173481" y="43180"/>
                    <a:pt x="1171576" y="44450"/>
                  </a:cubicBezTo>
                  <a:cubicBezTo>
                    <a:pt x="1169671" y="45085"/>
                    <a:pt x="1167766" y="46355"/>
                    <a:pt x="1166496" y="48260"/>
                  </a:cubicBezTo>
                  <a:cubicBezTo>
                    <a:pt x="1165226" y="50165"/>
                    <a:pt x="1163956" y="52070"/>
                    <a:pt x="1162686" y="54610"/>
                  </a:cubicBezTo>
                  <a:cubicBezTo>
                    <a:pt x="1162051" y="57150"/>
                    <a:pt x="1160781" y="59690"/>
                    <a:pt x="1160781" y="62865"/>
                  </a:cubicBezTo>
                  <a:lnTo>
                    <a:pt x="1196976" y="62865"/>
                  </a:lnTo>
                  <a:cubicBezTo>
                    <a:pt x="1196976" y="62865"/>
                    <a:pt x="1196341" y="57785"/>
                    <a:pt x="1195706" y="55245"/>
                  </a:cubicBezTo>
                  <a:cubicBezTo>
                    <a:pt x="1195071" y="52705"/>
                    <a:pt x="1193801" y="50800"/>
                    <a:pt x="1192531" y="48895"/>
                  </a:cubicBezTo>
                  <a:cubicBezTo>
                    <a:pt x="1191261" y="46990"/>
                    <a:pt x="1189356" y="45720"/>
                    <a:pt x="1186816" y="44450"/>
                  </a:cubicBezTo>
                  <a:cubicBezTo>
                    <a:pt x="1184276" y="43180"/>
                    <a:pt x="1181736" y="43180"/>
                    <a:pt x="1178561" y="43180"/>
                  </a:cubicBezTo>
                  <a:close/>
                  <a:moveTo>
                    <a:pt x="898525" y="43180"/>
                  </a:moveTo>
                  <a:cubicBezTo>
                    <a:pt x="895985" y="43180"/>
                    <a:pt x="893445" y="43180"/>
                    <a:pt x="891540" y="44450"/>
                  </a:cubicBezTo>
                  <a:cubicBezTo>
                    <a:pt x="889635" y="45085"/>
                    <a:pt x="887730" y="46355"/>
                    <a:pt x="886460" y="48260"/>
                  </a:cubicBezTo>
                  <a:cubicBezTo>
                    <a:pt x="885190" y="50165"/>
                    <a:pt x="883920" y="52070"/>
                    <a:pt x="882650" y="54610"/>
                  </a:cubicBezTo>
                  <a:cubicBezTo>
                    <a:pt x="882015" y="57150"/>
                    <a:pt x="881380" y="59690"/>
                    <a:pt x="880745" y="62865"/>
                  </a:cubicBezTo>
                  <a:lnTo>
                    <a:pt x="916940" y="62865"/>
                  </a:lnTo>
                  <a:cubicBezTo>
                    <a:pt x="916940" y="62865"/>
                    <a:pt x="916305" y="57785"/>
                    <a:pt x="915670" y="55245"/>
                  </a:cubicBezTo>
                  <a:cubicBezTo>
                    <a:pt x="915035" y="52705"/>
                    <a:pt x="913765" y="50800"/>
                    <a:pt x="912495" y="48895"/>
                  </a:cubicBezTo>
                  <a:cubicBezTo>
                    <a:pt x="911225" y="46990"/>
                    <a:pt x="909320" y="45720"/>
                    <a:pt x="906780" y="44450"/>
                  </a:cubicBezTo>
                  <a:cubicBezTo>
                    <a:pt x="904240" y="43180"/>
                    <a:pt x="901700" y="43180"/>
                    <a:pt x="898525" y="43180"/>
                  </a:cubicBezTo>
                  <a:close/>
                  <a:moveTo>
                    <a:pt x="584834" y="43180"/>
                  </a:moveTo>
                  <a:cubicBezTo>
                    <a:pt x="582294" y="43180"/>
                    <a:pt x="579754" y="43180"/>
                    <a:pt x="577849" y="44450"/>
                  </a:cubicBezTo>
                  <a:cubicBezTo>
                    <a:pt x="575944" y="45085"/>
                    <a:pt x="574039" y="46355"/>
                    <a:pt x="572769" y="48260"/>
                  </a:cubicBezTo>
                  <a:cubicBezTo>
                    <a:pt x="571499" y="50165"/>
                    <a:pt x="570229" y="52070"/>
                    <a:pt x="568959" y="54610"/>
                  </a:cubicBezTo>
                  <a:cubicBezTo>
                    <a:pt x="568324" y="57150"/>
                    <a:pt x="567689" y="59690"/>
                    <a:pt x="567054" y="62865"/>
                  </a:cubicBezTo>
                  <a:lnTo>
                    <a:pt x="603249" y="62865"/>
                  </a:lnTo>
                  <a:cubicBezTo>
                    <a:pt x="603249" y="62865"/>
                    <a:pt x="602614" y="57785"/>
                    <a:pt x="601979" y="55245"/>
                  </a:cubicBezTo>
                  <a:cubicBezTo>
                    <a:pt x="601344" y="52705"/>
                    <a:pt x="600074" y="50800"/>
                    <a:pt x="598804" y="48895"/>
                  </a:cubicBezTo>
                  <a:cubicBezTo>
                    <a:pt x="597534" y="46990"/>
                    <a:pt x="595629" y="45720"/>
                    <a:pt x="593089" y="44450"/>
                  </a:cubicBezTo>
                  <a:cubicBezTo>
                    <a:pt x="590549" y="43180"/>
                    <a:pt x="588009" y="43180"/>
                    <a:pt x="584834" y="43180"/>
                  </a:cubicBezTo>
                  <a:close/>
                  <a:moveTo>
                    <a:pt x="398145" y="43180"/>
                  </a:moveTo>
                  <a:cubicBezTo>
                    <a:pt x="395605" y="43180"/>
                    <a:pt x="393065" y="43180"/>
                    <a:pt x="391160" y="44450"/>
                  </a:cubicBezTo>
                  <a:cubicBezTo>
                    <a:pt x="389255" y="45085"/>
                    <a:pt x="387350" y="46355"/>
                    <a:pt x="386080" y="48260"/>
                  </a:cubicBezTo>
                  <a:cubicBezTo>
                    <a:pt x="384810" y="50165"/>
                    <a:pt x="383540" y="52070"/>
                    <a:pt x="382270" y="54610"/>
                  </a:cubicBezTo>
                  <a:cubicBezTo>
                    <a:pt x="381635" y="57150"/>
                    <a:pt x="380365" y="59690"/>
                    <a:pt x="380365" y="62865"/>
                  </a:cubicBezTo>
                  <a:lnTo>
                    <a:pt x="416560" y="62865"/>
                  </a:lnTo>
                  <a:cubicBezTo>
                    <a:pt x="416560" y="62865"/>
                    <a:pt x="415925" y="57785"/>
                    <a:pt x="415290" y="55245"/>
                  </a:cubicBezTo>
                  <a:cubicBezTo>
                    <a:pt x="414655" y="52705"/>
                    <a:pt x="413385" y="50800"/>
                    <a:pt x="412115" y="48895"/>
                  </a:cubicBezTo>
                  <a:cubicBezTo>
                    <a:pt x="410845" y="46990"/>
                    <a:pt x="408940" y="45720"/>
                    <a:pt x="406400" y="44450"/>
                  </a:cubicBezTo>
                  <a:cubicBezTo>
                    <a:pt x="403860" y="43180"/>
                    <a:pt x="401320" y="43180"/>
                    <a:pt x="398145" y="43180"/>
                  </a:cubicBezTo>
                  <a:close/>
                  <a:moveTo>
                    <a:pt x="320039" y="43180"/>
                  </a:moveTo>
                  <a:cubicBezTo>
                    <a:pt x="318134" y="43180"/>
                    <a:pt x="316229" y="43180"/>
                    <a:pt x="314959" y="43815"/>
                  </a:cubicBezTo>
                  <a:cubicBezTo>
                    <a:pt x="313054" y="43815"/>
                    <a:pt x="311784" y="45085"/>
                    <a:pt x="309879" y="45720"/>
                  </a:cubicBezTo>
                  <a:cubicBezTo>
                    <a:pt x="308609" y="46355"/>
                    <a:pt x="306704" y="47625"/>
                    <a:pt x="305434" y="48895"/>
                  </a:cubicBezTo>
                  <a:cubicBezTo>
                    <a:pt x="304164" y="50165"/>
                    <a:pt x="302894" y="51435"/>
                    <a:pt x="302259" y="52705"/>
                  </a:cubicBezTo>
                  <a:lnTo>
                    <a:pt x="302259" y="85725"/>
                  </a:lnTo>
                  <a:cubicBezTo>
                    <a:pt x="302259" y="85725"/>
                    <a:pt x="304164" y="88265"/>
                    <a:pt x="305434" y="89535"/>
                  </a:cubicBezTo>
                  <a:cubicBezTo>
                    <a:pt x="306704" y="90805"/>
                    <a:pt x="307974" y="92075"/>
                    <a:pt x="309879" y="92710"/>
                  </a:cubicBezTo>
                  <a:cubicBezTo>
                    <a:pt x="311784" y="93980"/>
                    <a:pt x="313054" y="94615"/>
                    <a:pt x="314959" y="95250"/>
                  </a:cubicBezTo>
                  <a:cubicBezTo>
                    <a:pt x="316864" y="95250"/>
                    <a:pt x="318769" y="95885"/>
                    <a:pt x="320674" y="95885"/>
                  </a:cubicBezTo>
                  <a:cubicBezTo>
                    <a:pt x="326389" y="95885"/>
                    <a:pt x="330199" y="93980"/>
                    <a:pt x="333374" y="89535"/>
                  </a:cubicBezTo>
                  <a:cubicBezTo>
                    <a:pt x="336549" y="85090"/>
                    <a:pt x="337819" y="79375"/>
                    <a:pt x="337819" y="71120"/>
                  </a:cubicBezTo>
                  <a:lnTo>
                    <a:pt x="337184" y="71755"/>
                  </a:lnTo>
                  <a:cubicBezTo>
                    <a:pt x="337184" y="62230"/>
                    <a:pt x="335914" y="54610"/>
                    <a:pt x="332739" y="50165"/>
                  </a:cubicBezTo>
                  <a:cubicBezTo>
                    <a:pt x="329564" y="45720"/>
                    <a:pt x="325119" y="43180"/>
                    <a:pt x="320039" y="43180"/>
                  </a:cubicBezTo>
                  <a:close/>
                  <a:moveTo>
                    <a:pt x="200025" y="43180"/>
                  </a:moveTo>
                  <a:cubicBezTo>
                    <a:pt x="197485" y="43180"/>
                    <a:pt x="194945" y="43180"/>
                    <a:pt x="193040" y="44450"/>
                  </a:cubicBezTo>
                  <a:cubicBezTo>
                    <a:pt x="191135" y="45085"/>
                    <a:pt x="189230" y="46355"/>
                    <a:pt x="187960" y="48260"/>
                  </a:cubicBezTo>
                  <a:cubicBezTo>
                    <a:pt x="186690" y="50165"/>
                    <a:pt x="185420" y="52070"/>
                    <a:pt x="184150" y="54610"/>
                  </a:cubicBezTo>
                  <a:cubicBezTo>
                    <a:pt x="183515" y="57150"/>
                    <a:pt x="182880" y="59690"/>
                    <a:pt x="182245" y="62865"/>
                  </a:cubicBezTo>
                  <a:lnTo>
                    <a:pt x="218440" y="62865"/>
                  </a:lnTo>
                  <a:cubicBezTo>
                    <a:pt x="218440" y="62865"/>
                    <a:pt x="217805" y="57785"/>
                    <a:pt x="217170" y="55245"/>
                  </a:cubicBezTo>
                  <a:cubicBezTo>
                    <a:pt x="216535" y="52705"/>
                    <a:pt x="215265" y="50800"/>
                    <a:pt x="213995" y="48895"/>
                  </a:cubicBezTo>
                  <a:cubicBezTo>
                    <a:pt x="212725" y="46990"/>
                    <a:pt x="210820" y="45720"/>
                    <a:pt x="208280" y="44450"/>
                  </a:cubicBezTo>
                  <a:cubicBezTo>
                    <a:pt x="205740" y="43180"/>
                    <a:pt x="203200" y="43180"/>
                    <a:pt x="200025" y="43180"/>
                  </a:cubicBezTo>
                  <a:close/>
                  <a:moveTo>
                    <a:pt x="4439281" y="43179"/>
                  </a:moveTo>
                  <a:cubicBezTo>
                    <a:pt x="4433566" y="43179"/>
                    <a:pt x="4429756" y="45084"/>
                    <a:pt x="4426581" y="49529"/>
                  </a:cubicBezTo>
                  <a:cubicBezTo>
                    <a:pt x="4423406" y="53974"/>
                    <a:pt x="4422136" y="59689"/>
                    <a:pt x="4422136" y="67944"/>
                  </a:cubicBezTo>
                  <a:cubicBezTo>
                    <a:pt x="4422136" y="73024"/>
                    <a:pt x="4422136" y="76834"/>
                    <a:pt x="4423406" y="80644"/>
                  </a:cubicBezTo>
                  <a:cubicBezTo>
                    <a:pt x="4424041" y="84454"/>
                    <a:pt x="4425311" y="86994"/>
                    <a:pt x="4426581" y="89534"/>
                  </a:cubicBezTo>
                  <a:cubicBezTo>
                    <a:pt x="4427851" y="92074"/>
                    <a:pt x="4429756" y="93344"/>
                    <a:pt x="4432296" y="94614"/>
                  </a:cubicBezTo>
                  <a:cubicBezTo>
                    <a:pt x="4434201" y="95884"/>
                    <a:pt x="4436741" y="96519"/>
                    <a:pt x="4439916" y="96519"/>
                  </a:cubicBezTo>
                  <a:cubicBezTo>
                    <a:pt x="4441821" y="96519"/>
                    <a:pt x="4443726" y="96519"/>
                    <a:pt x="4444996" y="95884"/>
                  </a:cubicBezTo>
                  <a:cubicBezTo>
                    <a:pt x="4446901" y="95884"/>
                    <a:pt x="4448171" y="94614"/>
                    <a:pt x="4450076" y="93344"/>
                  </a:cubicBezTo>
                  <a:cubicBezTo>
                    <a:pt x="4451346" y="92709"/>
                    <a:pt x="4453251" y="91439"/>
                    <a:pt x="4454521" y="90169"/>
                  </a:cubicBezTo>
                  <a:cubicBezTo>
                    <a:pt x="4455791" y="88899"/>
                    <a:pt x="4457061" y="87629"/>
                    <a:pt x="4457696" y="86359"/>
                  </a:cubicBezTo>
                  <a:lnTo>
                    <a:pt x="4457696" y="53339"/>
                  </a:lnTo>
                  <a:cubicBezTo>
                    <a:pt x="4457696" y="53339"/>
                    <a:pt x="4455791" y="50799"/>
                    <a:pt x="4454521" y="49529"/>
                  </a:cubicBezTo>
                  <a:cubicBezTo>
                    <a:pt x="4453251" y="48259"/>
                    <a:pt x="4451981" y="46989"/>
                    <a:pt x="4450076" y="46354"/>
                  </a:cubicBezTo>
                  <a:cubicBezTo>
                    <a:pt x="4448806" y="45084"/>
                    <a:pt x="4446901" y="44449"/>
                    <a:pt x="4444996" y="43814"/>
                  </a:cubicBezTo>
                  <a:cubicBezTo>
                    <a:pt x="4443091" y="43814"/>
                    <a:pt x="4441186" y="43179"/>
                    <a:pt x="4439281" y="43179"/>
                  </a:cubicBezTo>
                  <a:close/>
                  <a:moveTo>
                    <a:pt x="1014731" y="43179"/>
                  </a:moveTo>
                  <a:cubicBezTo>
                    <a:pt x="1009016" y="43179"/>
                    <a:pt x="1005206" y="45084"/>
                    <a:pt x="1002032" y="49529"/>
                  </a:cubicBezTo>
                  <a:cubicBezTo>
                    <a:pt x="998856" y="53974"/>
                    <a:pt x="997587" y="59689"/>
                    <a:pt x="997587" y="67944"/>
                  </a:cubicBezTo>
                  <a:cubicBezTo>
                    <a:pt x="997587" y="77469"/>
                    <a:pt x="998856" y="84454"/>
                    <a:pt x="1002032" y="88899"/>
                  </a:cubicBezTo>
                  <a:cubicBezTo>
                    <a:pt x="1005206" y="93979"/>
                    <a:pt x="1009016" y="95884"/>
                    <a:pt x="1015367" y="95884"/>
                  </a:cubicBezTo>
                  <a:cubicBezTo>
                    <a:pt x="1018541" y="95884"/>
                    <a:pt x="1022352" y="95249"/>
                    <a:pt x="1024891" y="93344"/>
                  </a:cubicBezTo>
                  <a:cubicBezTo>
                    <a:pt x="1028067" y="91439"/>
                    <a:pt x="1030607" y="88899"/>
                    <a:pt x="1033147" y="86359"/>
                  </a:cubicBezTo>
                  <a:lnTo>
                    <a:pt x="1033147" y="53339"/>
                  </a:lnTo>
                  <a:cubicBezTo>
                    <a:pt x="1033147" y="53339"/>
                    <a:pt x="1031242" y="50799"/>
                    <a:pt x="1029971" y="49529"/>
                  </a:cubicBezTo>
                  <a:cubicBezTo>
                    <a:pt x="1028702" y="48259"/>
                    <a:pt x="1027431" y="46989"/>
                    <a:pt x="1025526" y="46354"/>
                  </a:cubicBezTo>
                  <a:cubicBezTo>
                    <a:pt x="1023621" y="45084"/>
                    <a:pt x="1022352" y="44449"/>
                    <a:pt x="1020446" y="43814"/>
                  </a:cubicBezTo>
                  <a:cubicBezTo>
                    <a:pt x="1018541" y="43179"/>
                    <a:pt x="1016636" y="43179"/>
                    <a:pt x="1014731" y="43179"/>
                  </a:cubicBezTo>
                  <a:close/>
                  <a:moveTo>
                    <a:pt x="4524370" y="31114"/>
                  </a:moveTo>
                  <a:lnTo>
                    <a:pt x="4538975" y="31114"/>
                  </a:lnTo>
                  <a:lnTo>
                    <a:pt x="4552310" y="84454"/>
                  </a:lnTo>
                  <a:lnTo>
                    <a:pt x="4566915" y="31114"/>
                  </a:lnTo>
                  <a:lnTo>
                    <a:pt x="4579615" y="31114"/>
                  </a:lnTo>
                  <a:lnTo>
                    <a:pt x="4594220" y="84454"/>
                  </a:lnTo>
                  <a:lnTo>
                    <a:pt x="4606920" y="31114"/>
                  </a:lnTo>
                  <a:lnTo>
                    <a:pt x="4622160" y="31114"/>
                  </a:lnTo>
                  <a:lnTo>
                    <a:pt x="4600570" y="108584"/>
                  </a:lnTo>
                  <a:lnTo>
                    <a:pt x="4587235" y="108584"/>
                  </a:lnTo>
                  <a:lnTo>
                    <a:pt x="4572630" y="54609"/>
                  </a:lnTo>
                  <a:lnTo>
                    <a:pt x="4558660" y="108584"/>
                  </a:lnTo>
                  <a:lnTo>
                    <a:pt x="4545325" y="108584"/>
                  </a:lnTo>
                  <a:close/>
                  <a:moveTo>
                    <a:pt x="4123686" y="31114"/>
                  </a:moveTo>
                  <a:lnTo>
                    <a:pt x="4138926" y="31114"/>
                  </a:lnTo>
                  <a:lnTo>
                    <a:pt x="4152261" y="84454"/>
                  </a:lnTo>
                  <a:lnTo>
                    <a:pt x="4166866" y="31114"/>
                  </a:lnTo>
                  <a:lnTo>
                    <a:pt x="4178931" y="31114"/>
                  </a:lnTo>
                  <a:lnTo>
                    <a:pt x="4193536" y="84454"/>
                  </a:lnTo>
                  <a:lnTo>
                    <a:pt x="4206871" y="31114"/>
                  </a:lnTo>
                  <a:lnTo>
                    <a:pt x="4222111" y="31114"/>
                  </a:lnTo>
                  <a:lnTo>
                    <a:pt x="4200521" y="108584"/>
                  </a:lnTo>
                  <a:lnTo>
                    <a:pt x="4187186" y="108584"/>
                  </a:lnTo>
                  <a:lnTo>
                    <a:pt x="4172581" y="54609"/>
                  </a:lnTo>
                  <a:lnTo>
                    <a:pt x="4157976" y="108584"/>
                  </a:lnTo>
                  <a:lnTo>
                    <a:pt x="4145276" y="108584"/>
                  </a:lnTo>
                  <a:close/>
                  <a:moveTo>
                    <a:pt x="2837811" y="31114"/>
                  </a:moveTo>
                  <a:lnTo>
                    <a:pt x="2852416" y="31114"/>
                  </a:lnTo>
                  <a:lnTo>
                    <a:pt x="2865751" y="84454"/>
                  </a:lnTo>
                  <a:lnTo>
                    <a:pt x="2880356" y="31114"/>
                  </a:lnTo>
                  <a:lnTo>
                    <a:pt x="2893056" y="31114"/>
                  </a:lnTo>
                  <a:lnTo>
                    <a:pt x="2907661" y="84454"/>
                  </a:lnTo>
                  <a:lnTo>
                    <a:pt x="2920361" y="31114"/>
                  </a:lnTo>
                  <a:lnTo>
                    <a:pt x="2935601" y="31114"/>
                  </a:lnTo>
                  <a:lnTo>
                    <a:pt x="2914011" y="108584"/>
                  </a:lnTo>
                  <a:lnTo>
                    <a:pt x="2900676" y="108584"/>
                  </a:lnTo>
                  <a:lnTo>
                    <a:pt x="2886706" y="54609"/>
                  </a:lnTo>
                  <a:lnTo>
                    <a:pt x="2872101" y="108584"/>
                  </a:lnTo>
                  <a:lnTo>
                    <a:pt x="2858766" y="108584"/>
                  </a:lnTo>
                  <a:close/>
                  <a:moveTo>
                    <a:pt x="1354455" y="31114"/>
                  </a:moveTo>
                  <a:lnTo>
                    <a:pt x="1369695" y="31114"/>
                  </a:lnTo>
                  <a:lnTo>
                    <a:pt x="1369695" y="109219"/>
                  </a:lnTo>
                  <a:lnTo>
                    <a:pt x="1354455" y="109219"/>
                  </a:lnTo>
                  <a:close/>
                  <a:moveTo>
                    <a:pt x="2646040" y="29844"/>
                  </a:moveTo>
                  <a:cubicBezTo>
                    <a:pt x="2650485" y="29844"/>
                    <a:pt x="2654295" y="29844"/>
                    <a:pt x="2658105" y="31749"/>
                  </a:cubicBezTo>
                  <a:cubicBezTo>
                    <a:pt x="2661915" y="33019"/>
                    <a:pt x="2665090" y="34289"/>
                    <a:pt x="2667630" y="36829"/>
                  </a:cubicBezTo>
                  <a:cubicBezTo>
                    <a:pt x="2670170" y="38734"/>
                    <a:pt x="2672075" y="41909"/>
                    <a:pt x="2673345" y="45084"/>
                  </a:cubicBezTo>
                  <a:cubicBezTo>
                    <a:pt x="2674615" y="48259"/>
                    <a:pt x="2675250" y="52069"/>
                    <a:pt x="2675250" y="56514"/>
                  </a:cubicBezTo>
                  <a:lnTo>
                    <a:pt x="2675250" y="109854"/>
                  </a:lnTo>
                  <a:lnTo>
                    <a:pt x="2660010" y="109854"/>
                  </a:lnTo>
                  <a:lnTo>
                    <a:pt x="2660010" y="108584"/>
                  </a:lnTo>
                  <a:lnTo>
                    <a:pt x="2660010" y="100964"/>
                  </a:lnTo>
                  <a:cubicBezTo>
                    <a:pt x="2660010" y="100964"/>
                    <a:pt x="2656200" y="104139"/>
                    <a:pt x="2654930" y="104774"/>
                  </a:cubicBezTo>
                  <a:cubicBezTo>
                    <a:pt x="2653660" y="105409"/>
                    <a:pt x="2652390" y="106679"/>
                    <a:pt x="2651120" y="107314"/>
                  </a:cubicBezTo>
                  <a:cubicBezTo>
                    <a:pt x="2649850" y="107949"/>
                    <a:pt x="2647945" y="108584"/>
                    <a:pt x="2646040" y="109219"/>
                  </a:cubicBezTo>
                  <a:cubicBezTo>
                    <a:pt x="2644135" y="109219"/>
                    <a:pt x="2641595" y="109854"/>
                    <a:pt x="2639055" y="109854"/>
                  </a:cubicBezTo>
                  <a:cubicBezTo>
                    <a:pt x="2635880" y="109854"/>
                    <a:pt x="2632705" y="109854"/>
                    <a:pt x="2629530" y="108584"/>
                  </a:cubicBezTo>
                  <a:cubicBezTo>
                    <a:pt x="2626355" y="107949"/>
                    <a:pt x="2623180" y="106044"/>
                    <a:pt x="2620640" y="104139"/>
                  </a:cubicBezTo>
                  <a:cubicBezTo>
                    <a:pt x="2618100" y="102234"/>
                    <a:pt x="2616195" y="99059"/>
                    <a:pt x="2614290" y="95884"/>
                  </a:cubicBezTo>
                  <a:cubicBezTo>
                    <a:pt x="2612385" y="92709"/>
                    <a:pt x="2611750" y="88264"/>
                    <a:pt x="2611750" y="83819"/>
                  </a:cubicBezTo>
                  <a:cubicBezTo>
                    <a:pt x="2611750" y="79374"/>
                    <a:pt x="2612385" y="75564"/>
                    <a:pt x="2614290" y="72389"/>
                  </a:cubicBezTo>
                  <a:cubicBezTo>
                    <a:pt x="2615560" y="69214"/>
                    <a:pt x="2618100" y="66674"/>
                    <a:pt x="2620640" y="64769"/>
                  </a:cubicBezTo>
                  <a:cubicBezTo>
                    <a:pt x="2623180" y="62864"/>
                    <a:pt x="2626990" y="60959"/>
                    <a:pt x="2630800" y="60324"/>
                  </a:cubicBezTo>
                  <a:cubicBezTo>
                    <a:pt x="2634610" y="59054"/>
                    <a:pt x="2638420" y="59054"/>
                    <a:pt x="2642865" y="59054"/>
                  </a:cubicBezTo>
                  <a:cubicBezTo>
                    <a:pt x="2646675" y="59054"/>
                    <a:pt x="2650485" y="59054"/>
                    <a:pt x="2653025" y="59689"/>
                  </a:cubicBezTo>
                  <a:cubicBezTo>
                    <a:pt x="2655565" y="59689"/>
                    <a:pt x="2658105" y="60959"/>
                    <a:pt x="2660010" y="61594"/>
                  </a:cubicBezTo>
                  <a:lnTo>
                    <a:pt x="2660010" y="55879"/>
                  </a:lnTo>
                  <a:cubicBezTo>
                    <a:pt x="2660010" y="51434"/>
                    <a:pt x="2658740" y="48259"/>
                    <a:pt x="2656200" y="46354"/>
                  </a:cubicBezTo>
                  <a:cubicBezTo>
                    <a:pt x="2653660" y="43814"/>
                    <a:pt x="2649850" y="43179"/>
                    <a:pt x="2645405" y="43179"/>
                  </a:cubicBezTo>
                  <a:cubicBezTo>
                    <a:pt x="2641595" y="43179"/>
                    <a:pt x="2637785" y="43179"/>
                    <a:pt x="2634610" y="44449"/>
                  </a:cubicBezTo>
                  <a:cubicBezTo>
                    <a:pt x="2631435" y="45084"/>
                    <a:pt x="2628260" y="46354"/>
                    <a:pt x="2625085" y="48259"/>
                  </a:cubicBezTo>
                  <a:lnTo>
                    <a:pt x="2619370" y="36829"/>
                  </a:lnTo>
                  <a:cubicBezTo>
                    <a:pt x="2623180" y="34289"/>
                    <a:pt x="2626990" y="33019"/>
                    <a:pt x="2631435" y="31749"/>
                  </a:cubicBezTo>
                  <a:cubicBezTo>
                    <a:pt x="2635880" y="30479"/>
                    <a:pt x="2640325" y="29844"/>
                    <a:pt x="2646040" y="29844"/>
                  </a:cubicBezTo>
                  <a:close/>
                  <a:moveTo>
                    <a:pt x="1114426" y="29844"/>
                  </a:moveTo>
                  <a:lnTo>
                    <a:pt x="1129666" y="29844"/>
                  </a:lnTo>
                  <a:lnTo>
                    <a:pt x="1129666" y="107949"/>
                  </a:lnTo>
                  <a:lnTo>
                    <a:pt x="1114426" y="107949"/>
                  </a:lnTo>
                  <a:lnTo>
                    <a:pt x="1114426" y="100964"/>
                  </a:lnTo>
                  <a:cubicBezTo>
                    <a:pt x="1114426" y="100964"/>
                    <a:pt x="1109981" y="106044"/>
                    <a:pt x="1106171" y="107314"/>
                  </a:cubicBezTo>
                  <a:cubicBezTo>
                    <a:pt x="1102996" y="109219"/>
                    <a:pt x="1098551" y="109854"/>
                    <a:pt x="1094741" y="109854"/>
                  </a:cubicBezTo>
                  <a:cubicBezTo>
                    <a:pt x="1085851" y="109854"/>
                    <a:pt x="1078866" y="106679"/>
                    <a:pt x="1073786" y="100964"/>
                  </a:cubicBezTo>
                  <a:cubicBezTo>
                    <a:pt x="1069341" y="95249"/>
                    <a:pt x="1066800" y="86359"/>
                    <a:pt x="1066800" y="74929"/>
                  </a:cubicBezTo>
                  <a:lnTo>
                    <a:pt x="1066800" y="30479"/>
                  </a:lnTo>
                  <a:lnTo>
                    <a:pt x="1082040" y="30479"/>
                  </a:lnTo>
                  <a:lnTo>
                    <a:pt x="1082040" y="74294"/>
                  </a:lnTo>
                  <a:cubicBezTo>
                    <a:pt x="1082040" y="81279"/>
                    <a:pt x="1083311" y="86994"/>
                    <a:pt x="1085851" y="90169"/>
                  </a:cubicBezTo>
                  <a:cubicBezTo>
                    <a:pt x="1088390" y="93979"/>
                    <a:pt x="1092201" y="95249"/>
                    <a:pt x="1097916" y="95249"/>
                  </a:cubicBezTo>
                  <a:cubicBezTo>
                    <a:pt x="1102996" y="95249"/>
                    <a:pt x="1106806" y="93344"/>
                    <a:pt x="1109981" y="90169"/>
                  </a:cubicBezTo>
                  <a:cubicBezTo>
                    <a:pt x="1112521" y="86994"/>
                    <a:pt x="1114426" y="81914"/>
                    <a:pt x="1114426" y="75564"/>
                  </a:cubicBezTo>
                  <a:close/>
                  <a:moveTo>
                    <a:pt x="1011556" y="29844"/>
                  </a:moveTo>
                  <a:cubicBezTo>
                    <a:pt x="1013461" y="29844"/>
                    <a:pt x="1015367" y="29844"/>
                    <a:pt x="1017272" y="30479"/>
                  </a:cubicBezTo>
                  <a:cubicBezTo>
                    <a:pt x="1019176" y="30479"/>
                    <a:pt x="1021081" y="31749"/>
                    <a:pt x="1022352" y="32384"/>
                  </a:cubicBezTo>
                  <a:cubicBezTo>
                    <a:pt x="1024257" y="33019"/>
                    <a:pt x="1025526" y="34289"/>
                    <a:pt x="1026797" y="35559"/>
                  </a:cubicBezTo>
                  <a:cubicBezTo>
                    <a:pt x="1028067" y="36829"/>
                    <a:pt x="1029336" y="37464"/>
                    <a:pt x="1030607" y="38734"/>
                  </a:cubicBezTo>
                  <a:lnTo>
                    <a:pt x="1030607" y="31749"/>
                  </a:lnTo>
                  <a:lnTo>
                    <a:pt x="1045847" y="31749"/>
                  </a:lnTo>
                  <a:lnTo>
                    <a:pt x="1045847" y="130809"/>
                  </a:lnTo>
                  <a:lnTo>
                    <a:pt x="1032512" y="137477"/>
                  </a:lnTo>
                  <a:lnTo>
                    <a:pt x="1032512" y="101599"/>
                  </a:lnTo>
                  <a:cubicBezTo>
                    <a:pt x="1032512" y="101599"/>
                    <a:pt x="1026797" y="106679"/>
                    <a:pt x="1022986" y="107949"/>
                  </a:cubicBezTo>
                  <a:cubicBezTo>
                    <a:pt x="1019812" y="109854"/>
                    <a:pt x="1016001" y="110489"/>
                    <a:pt x="1011556" y="110489"/>
                  </a:cubicBezTo>
                  <a:cubicBezTo>
                    <a:pt x="1007111" y="110489"/>
                    <a:pt x="1003301" y="109854"/>
                    <a:pt x="999491" y="107949"/>
                  </a:cubicBezTo>
                  <a:cubicBezTo>
                    <a:pt x="995681" y="106679"/>
                    <a:pt x="992506" y="104139"/>
                    <a:pt x="989966" y="100329"/>
                  </a:cubicBezTo>
                  <a:cubicBezTo>
                    <a:pt x="987426" y="97154"/>
                    <a:pt x="984886" y="92709"/>
                    <a:pt x="983616" y="87629"/>
                  </a:cubicBezTo>
                  <a:cubicBezTo>
                    <a:pt x="982346" y="82549"/>
                    <a:pt x="981076" y="76199"/>
                    <a:pt x="981076" y="68579"/>
                  </a:cubicBezTo>
                  <a:cubicBezTo>
                    <a:pt x="981076" y="61594"/>
                    <a:pt x="981711" y="55879"/>
                    <a:pt x="983616" y="51434"/>
                  </a:cubicBezTo>
                  <a:cubicBezTo>
                    <a:pt x="985521" y="46354"/>
                    <a:pt x="987426" y="42544"/>
                    <a:pt x="990601" y="39369"/>
                  </a:cubicBezTo>
                  <a:cubicBezTo>
                    <a:pt x="993142" y="36194"/>
                    <a:pt x="996951" y="33654"/>
                    <a:pt x="1000126" y="32384"/>
                  </a:cubicBezTo>
                  <a:cubicBezTo>
                    <a:pt x="1003937" y="31114"/>
                    <a:pt x="1007746" y="29844"/>
                    <a:pt x="1011556" y="29844"/>
                  </a:cubicBezTo>
                  <a:close/>
                  <a:moveTo>
                    <a:pt x="4871716" y="29210"/>
                  </a:moveTo>
                  <a:cubicBezTo>
                    <a:pt x="4876796" y="29210"/>
                    <a:pt x="4881241" y="29845"/>
                    <a:pt x="4885686" y="31750"/>
                  </a:cubicBezTo>
                  <a:cubicBezTo>
                    <a:pt x="4890131" y="33655"/>
                    <a:pt x="4894576" y="35560"/>
                    <a:pt x="4897751" y="38100"/>
                  </a:cubicBezTo>
                  <a:lnTo>
                    <a:pt x="4899021" y="38100"/>
                  </a:lnTo>
                  <a:lnTo>
                    <a:pt x="4892036" y="50165"/>
                  </a:lnTo>
                  <a:cubicBezTo>
                    <a:pt x="4888861" y="47625"/>
                    <a:pt x="4885686" y="46355"/>
                    <a:pt x="4882511" y="45085"/>
                  </a:cubicBezTo>
                  <a:cubicBezTo>
                    <a:pt x="4879336" y="43815"/>
                    <a:pt x="4875526" y="43180"/>
                    <a:pt x="4872351" y="43180"/>
                  </a:cubicBezTo>
                  <a:cubicBezTo>
                    <a:pt x="4869176" y="43180"/>
                    <a:pt x="4866001" y="43815"/>
                    <a:pt x="4864096" y="45085"/>
                  </a:cubicBezTo>
                  <a:cubicBezTo>
                    <a:pt x="4862191" y="46355"/>
                    <a:pt x="4861556" y="48260"/>
                    <a:pt x="4861556" y="50165"/>
                  </a:cubicBezTo>
                  <a:cubicBezTo>
                    <a:pt x="4861556" y="51435"/>
                    <a:pt x="4861556" y="52070"/>
                    <a:pt x="4861556" y="52705"/>
                  </a:cubicBezTo>
                  <a:cubicBezTo>
                    <a:pt x="4861556" y="53340"/>
                    <a:pt x="4862826" y="54610"/>
                    <a:pt x="4863461" y="55245"/>
                  </a:cubicBezTo>
                  <a:cubicBezTo>
                    <a:pt x="4864731" y="55880"/>
                    <a:pt x="4866001" y="57150"/>
                    <a:pt x="4867906" y="57785"/>
                  </a:cubicBezTo>
                  <a:cubicBezTo>
                    <a:pt x="4869811" y="59055"/>
                    <a:pt x="4872351" y="59690"/>
                    <a:pt x="4874891" y="60960"/>
                  </a:cubicBezTo>
                  <a:cubicBezTo>
                    <a:pt x="4879336" y="62865"/>
                    <a:pt x="4883146" y="64135"/>
                    <a:pt x="4886321" y="66040"/>
                  </a:cubicBezTo>
                  <a:cubicBezTo>
                    <a:pt x="4889496" y="67310"/>
                    <a:pt x="4892036" y="69215"/>
                    <a:pt x="4894576" y="71120"/>
                  </a:cubicBezTo>
                  <a:cubicBezTo>
                    <a:pt x="4896481" y="73025"/>
                    <a:pt x="4898386" y="75565"/>
                    <a:pt x="4899656" y="78105"/>
                  </a:cubicBezTo>
                  <a:cubicBezTo>
                    <a:pt x="4900926" y="80645"/>
                    <a:pt x="4901561" y="83820"/>
                    <a:pt x="4901561" y="87630"/>
                  </a:cubicBezTo>
                  <a:cubicBezTo>
                    <a:pt x="4901561" y="92075"/>
                    <a:pt x="4900926" y="95250"/>
                    <a:pt x="4899021" y="98425"/>
                  </a:cubicBezTo>
                  <a:cubicBezTo>
                    <a:pt x="4897116" y="101600"/>
                    <a:pt x="4895211" y="103505"/>
                    <a:pt x="4892671" y="105410"/>
                  </a:cubicBezTo>
                  <a:cubicBezTo>
                    <a:pt x="4890131" y="107315"/>
                    <a:pt x="4886956" y="108585"/>
                    <a:pt x="4883146" y="109220"/>
                  </a:cubicBezTo>
                  <a:cubicBezTo>
                    <a:pt x="4879336" y="109855"/>
                    <a:pt x="4876161" y="110490"/>
                    <a:pt x="4872351" y="110490"/>
                  </a:cubicBezTo>
                  <a:cubicBezTo>
                    <a:pt x="4867271" y="110490"/>
                    <a:pt x="4862191" y="109855"/>
                    <a:pt x="4857111" y="107950"/>
                  </a:cubicBezTo>
                  <a:cubicBezTo>
                    <a:pt x="4851396" y="106045"/>
                    <a:pt x="4846951" y="103505"/>
                    <a:pt x="4842506" y="100965"/>
                  </a:cubicBezTo>
                  <a:lnTo>
                    <a:pt x="4849491" y="89535"/>
                  </a:lnTo>
                  <a:cubicBezTo>
                    <a:pt x="4853301" y="92075"/>
                    <a:pt x="4857111" y="93980"/>
                    <a:pt x="4860921" y="95250"/>
                  </a:cubicBezTo>
                  <a:cubicBezTo>
                    <a:pt x="4864731" y="96520"/>
                    <a:pt x="4868541" y="97155"/>
                    <a:pt x="4872351" y="97155"/>
                  </a:cubicBezTo>
                  <a:cubicBezTo>
                    <a:pt x="4877431" y="97155"/>
                    <a:pt x="4880606" y="96520"/>
                    <a:pt x="4883146" y="94615"/>
                  </a:cubicBezTo>
                  <a:cubicBezTo>
                    <a:pt x="4885686" y="93345"/>
                    <a:pt x="4886321" y="90805"/>
                    <a:pt x="4886321" y="88265"/>
                  </a:cubicBezTo>
                  <a:cubicBezTo>
                    <a:pt x="4886321" y="86995"/>
                    <a:pt x="4886321" y="85725"/>
                    <a:pt x="4885051" y="84455"/>
                  </a:cubicBezTo>
                  <a:cubicBezTo>
                    <a:pt x="4884416" y="83185"/>
                    <a:pt x="4883146" y="82550"/>
                    <a:pt x="4881241" y="81280"/>
                  </a:cubicBezTo>
                  <a:cubicBezTo>
                    <a:pt x="4879971" y="80010"/>
                    <a:pt x="4878066" y="79375"/>
                    <a:pt x="4875526" y="78105"/>
                  </a:cubicBezTo>
                  <a:cubicBezTo>
                    <a:pt x="4872986" y="77470"/>
                    <a:pt x="4871081" y="76200"/>
                    <a:pt x="4867906" y="74930"/>
                  </a:cubicBezTo>
                  <a:cubicBezTo>
                    <a:pt x="4863461" y="73025"/>
                    <a:pt x="4860286" y="71755"/>
                    <a:pt x="4857111" y="69850"/>
                  </a:cubicBezTo>
                  <a:cubicBezTo>
                    <a:pt x="4853936" y="67945"/>
                    <a:pt x="4852031" y="66675"/>
                    <a:pt x="4850126" y="64770"/>
                  </a:cubicBezTo>
                  <a:cubicBezTo>
                    <a:pt x="4848221" y="62865"/>
                    <a:pt x="4846951" y="60960"/>
                    <a:pt x="4846316" y="58420"/>
                  </a:cubicBezTo>
                  <a:cubicBezTo>
                    <a:pt x="4845681" y="55880"/>
                    <a:pt x="4845046" y="53340"/>
                    <a:pt x="4845046" y="50165"/>
                  </a:cubicBezTo>
                  <a:cubicBezTo>
                    <a:pt x="4845046" y="46990"/>
                    <a:pt x="4845681" y="43815"/>
                    <a:pt x="4846951" y="40640"/>
                  </a:cubicBezTo>
                  <a:cubicBezTo>
                    <a:pt x="4848221" y="38100"/>
                    <a:pt x="4850126" y="35560"/>
                    <a:pt x="4852666" y="34290"/>
                  </a:cubicBezTo>
                  <a:cubicBezTo>
                    <a:pt x="4855206" y="32385"/>
                    <a:pt x="4857746" y="31115"/>
                    <a:pt x="4860921" y="30480"/>
                  </a:cubicBezTo>
                  <a:cubicBezTo>
                    <a:pt x="4864096" y="29845"/>
                    <a:pt x="4867906" y="29210"/>
                    <a:pt x="4871716" y="29210"/>
                  </a:cubicBezTo>
                  <a:close/>
                  <a:moveTo>
                    <a:pt x="4749796" y="29210"/>
                  </a:moveTo>
                  <a:cubicBezTo>
                    <a:pt x="4752971" y="29210"/>
                    <a:pt x="4755511" y="29210"/>
                    <a:pt x="4757416" y="29845"/>
                  </a:cubicBezTo>
                  <a:cubicBezTo>
                    <a:pt x="4759321" y="30480"/>
                    <a:pt x="4761226" y="31115"/>
                    <a:pt x="4763131" y="32385"/>
                  </a:cubicBezTo>
                  <a:lnTo>
                    <a:pt x="4759321" y="46990"/>
                  </a:lnTo>
                  <a:lnTo>
                    <a:pt x="4758051" y="46990"/>
                  </a:lnTo>
                  <a:cubicBezTo>
                    <a:pt x="4758051" y="46990"/>
                    <a:pt x="4754876" y="45085"/>
                    <a:pt x="4752971" y="45085"/>
                  </a:cubicBezTo>
                  <a:cubicBezTo>
                    <a:pt x="4751066" y="45085"/>
                    <a:pt x="4749161" y="44450"/>
                    <a:pt x="4746621" y="44450"/>
                  </a:cubicBezTo>
                  <a:cubicBezTo>
                    <a:pt x="4741541" y="44450"/>
                    <a:pt x="4737731" y="46355"/>
                    <a:pt x="4735191" y="49530"/>
                  </a:cubicBezTo>
                  <a:cubicBezTo>
                    <a:pt x="4732651" y="52705"/>
                    <a:pt x="4731381" y="57785"/>
                    <a:pt x="4731381" y="64770"/>
                  </a:cubicBezTo>
                  <a:lnTo>
                    <a:pt x="4731381" y="109220"/>
                  </a:lnTo>
                  <a:lnTo>
                    <a:pt x="4716141" y="109220"/>
                  </a:lnTo>
                  <a:lnTo>
                    <a:pt x="4716141" y="31115"/>
                  </a:lnTo>
                  <a:lnTo>
                    <a:pt x="4731381" y="31115"/>
                  </a:lnTo>
                  <a:lnTo>
                    <a:pt x="4731381" y="38735"/>
                  </a:lnTo>
                  <a:cubicBezTo>
                    <a:pt x="4731381" y="38735"/>
                    <a:pt x="4733286" y="36195"/>
                    <a:pt x="4734556" y="34925"/>
                  </a:cubicBezTo>
                  <a:cubicBezTo>
                    <a:pt x="4735826" y="33655"/>
                    <a:pt x="4737096" y="33020"/>
                    <a:pt x="4739001" y="31750"/>
                  </a:cubicBezTo>
                  <a:cubicBezTo>
                    <a:pt x="4740271" y="31115"/>
                    <a:pt x="4742176" y="30480"/>
                    <a:pt x="4744081" y="29845"/>
                  </a:cubicBezTo>
                  <a:cubicBezTo>
                    <a:pt x="4745986" y="29845"/>
                    <a:pt x="4747891" y="29210"/>
                    <a:pt x="4749796" y="29210"/>
                  </a:cubicBezTo>
                  <a:close/>
                  <a:moveTo>
                    <a:pt x="4349110" y="29210"/>
                  </a:moveTo>
                  <a:cubicBezTo>
                    <a:pt x="4352285" y="29210"/>
                    <a:pt x="4354825" y="29210"/>
                    <a:pt x="4356730" y="29845"/>
                  </a:cubicBezTo>
                  <a:cubicBezTo>
                    <a:pt x="4358635" y="29845"/>
                    <a:pt x="4360540" y="31115"/>
                    <a:pt x="4362445" y="32385"/>
                  </a:cubicBezTo>
                  <a:lnTo>
                    <a:pt x="4358635" y="46990"/>
                  </a:lnTo>
                  <a:lnTo>
                    <a:pt x="4357365" y="46990"/>
                  </a:lnTo>
                  <a:cubicBezTo>
                    <a:pt x="4357365" y="46990"/>
                    <a:pt x="4354190" y="45085"/>
                    <a:pt x="4352285" y="45085"/>
                  </a:cubicBezTo>
                  <a:cubicBezTo>
                    <a:pt x="4350380" y="45085"/>
                    <a:pt x="4348475" y="44450"/>
                    <a:pt x="4345935" y="44450"/>
                  </a:cubicBezTo>
                  <a:cubicBezTo>
                    <a:pt x="4340855" y="44450"/>
                    <a:pt x="4337045" y="46355"/>
                    <a:pt x="4334505" y="49530"/>
                  </a:cubicBezTo>
                  <a:cubicBezTo>
                    <a:pt x="4331965" y="52705"/>
                    <a:pt x="4330695" y="57785"/>
                    <a:pt x="4330695" y="64770"/>
                  </a:cubicBezTo>
                  <a:lnTo>
                    <a:pt x="4330695" y="109220"/>
                  </a:lnTo>
                  <a:lnTo>
                    <a:pt x="4315455" y="109220"/>
                  </a:lnTo>
                  <a:lnTo>
                    <a:pt x="4315455" y="31115"/>
                  </a:lnTo>
                  <a:lnTo>
                    <a:pt x="4330695" y="31115"/>
                  </a:lnTo>
                  <a:lnTo>
                    <a:pt x="4330695" y="38735"/>
                  </a:lnTo>
                  <a:cubicBezTo>
                    <a:pt x="4330695" y="38735"/>
                    <a:pt x="4332600" y="36195"/>
                    <a:pt x="4333870" y="34925"/>
                  </a:cubicBezTo>
                  <a:cubicBezTo>
                    <a:pt x="4335140" y="33655"/>
                    <a:pt x="4336410" y="33020"/>
                    <a:pt x="4338315" y="31750"/>
                  </a:cubicBezTo>
                  <a:cubicBezTo>
                    <a:pt x="4339585" y="31115"/>
                    <a:pt x="4341490" y="30480"/>
                    <a:pt x="4343395" y="29845"/>
                  </a:cubicBezTo>
                  <a:cubicBezTo>
                    <a:pt x="4345300" y="29845"/>
                    <a:pt x="4347205" y="29210"/>
                    <a:pt x="4349110" y="29210"/>
                  </a:cubicBezTo>
                  <a:close/>
                  <a:moveTo>
                    <a:pt x="4044310" y="29210"/>
                  </a:moveTo>
                  <a:cubicBezTo>
                    <a:pt x="4050025" y="29210"/>
                    <a:pt x="4054470" y="30480"/>
                    <a:pt x="4058915" y="32385"/>
                  </a:cubicBezTo>
                  <a:cubicBezTo>
                    <a:pt x="4062725" y="34290"/>
                    <a:pt x="4066535" y="37465"/>
                    <a:pt x="4069075" y="40640"/>
                  </a:cubicBezTo>
                  <a:cubicBezTo>
                    <a:pt x="4071615" y="44450"/>
                    <a:pt x="4073520" y="48260"/>
                    <a:pt x="4075425" y="53340"/>
                  </a:cubicBezTo>
                  <a:cubicBezTo>
                    <a:pt x="4076695" y="57785"/>
                    <a:pt x="4077330" y="62865"/>
                    <a:pt x="4077330" y="68580"/>
                  </a:cubicBezTo>
                  <a:lnTo>
                    <a:pt x="4076060" y="68580"/>
                  </a:lnTo>
                  <a:cubicBezTo>
                    <a:pt x="4076060" y="68580"/>
                    <a:pt x="4076060" y="71120"/>
                    <a:pt x="4076060" y="72390"/>
                  </a:cubicBezTo>
                  <a:cubicBezTo>
                    <a:pt x="4076060" y="73660"/>
                    <a:pt x="4076060" y="74295"/>
                    <a:pt x="4076060" y="75565"/>
                  </a:cubicBezTo>
                  <a:lnTo>
                    <a:pt x="4024625" y="75565"/>
                  </a:lnTo>
                  <a:cubicBezTo>
                    <a:pt x="4024625" y="79375"/>
                    <a:pt x="4025895" y="82550"/>
                    <a:pt x="4027165" y="85090"/>
                  </a:cubicBezTo>
                  <a:cubicBezTo>
                    <a:pt x="4028435" y="87630"/>
                    <a:pt x="4029705" y="90170"/>
                    <a:pt x="4031610" y="91440"/>
                  </a:cubicBezTo>
                  <a:cubicBezTo>
                    <a:pt x="4033515" y="93345"/>
                    <a:pt x="4035420" y="94615"/>
                    <a:pt x="4037325" y="95250"/>
                  </a:cubicBezTo>
                  <a:cubicBezTo>
                    <a:pt x="4039230" y="95885"/>
                    <a:pt x="4041770" y="96520"/>
                    <a:pt x="4044310" y="96520"/>
                  </a:cubicBezTo>
                  <a:cubicBezTo>
                    <a:pt x="4046215" y="96520"/>
                    <a:pt x="4047485" y="96520"/>
                    <a:pt x="4049390" y="96520"/>
                  </a:cubicBezTo>
                  <a:cubicBezTo>
                    <a:pt x="4050660" y="96520"/>
                    <a:pt x="4052565" y="95885"/>
                    <a:pt x="4053835" y="95250"/>
                  </a:cubicBezTo>
                  <a:cubicBezTo>
                    <a:pt x="4055105" y="95250"/>
                    <a:pt x="4056375" y="93980"/>
                    <a:pt x="4057645" y="93345"/>
                  </a:cubicBezTo>
                  <a:cubicBezTo>
                    <a:pt x="4058915" y="93345"/>
                    <a:pt x="4060185" y="92075"/>
                    <a:pt x="4062090" y="90805"/>
                  </a:cubicBezTo>
                  <a:lnTo>
                    <a:pt x="4070980" y="100330"/>
                  </a:lnTo>
                  <a:cubicBezTo>
                    <a:pt x="4070980" y="100330"/>
                    <a:pt x="4067170" y="103505"/>
                    <a:pt x="4065265" y="104775"/>
                  </a:cubicBezTo>
                  <a:cubicBezTo>
                    <a:pt x="4063360" y="106045"/>
                    <a:pt x="4061455" y="106680"/>
                    <a:pt x="4059550" y="107950"/>
                  </a:cubicBezTo>
                  <a:cubicBezTo>
                    <a:pt x="4057645" y="108585"/>
                    <a:pt x="4055105" y="109855"/>
                    <a:pt x="4052565" y="109855"/>
                  </a:cubicBezTo>
                  <a:cubicBezTo>
                    <a:pt x="4050025" y="109855"/>
                    <a:pt x="4046850" y="110490"/>
                    <a:pt x="4043675" y="110490"/>
                  </a:cubicBezTo>
                  <a:cubicBezTo>
                    <a:pt x="4040500" y="110490"/>
                    <a:pt x="4037325" y="110490"/>
                    <a:pt x="4034150" y="109220"/>
                  </a:cubicBezTo>
                  <a:cubicBezTo>
                    <a:pt x="4030975" y="108585"/>
                    <a:pt x="4028435" y="107315"/>
                    <a:pt x="4026530" y="105410"/>
                  </a:cubicBezTo>
                  <a:cubicBezTo>
                    <a:pt x="4023990" y="104140"/>
                    <a:pt x="4022085" y="102235"/>
                    <a:pt x="4020180" y="100330"/>
                  </a:cubicBezTo>
                  <a:cubicBezTo>
                    <a:pt x="4018275" y="98425"/>
                    <a:pt x="4016370" y="95885"/>
                    <a:pt x="4015100" y="92710"/>
                  </a:cubicBezTo>
                  <a:cubicBezTo>
                    <a:pt x="4013195" y="89535"/>
                    <a:pt x="4011925" y="86360"/>
                    <a:pt x="4011290" y="82550"/>
                  </a:cubicBezTo>
                  <a:cubicBezTo>
                    <a:pt x="4010655" y="78740"/>
                    <a:pt x="4010020" y="74295"/>
                    <a:pt x="4010020" y="69850"/>
                  </a:cubicBezTo>
                  <a:cubicBezTo>
                    <a:pt x="4010020" y="63500"/>
                    <a:pt x="4010655" y="57150"/>
                    <a:pt x="4012560" y="52070"/>
                  </a:cubicBezTo>
                  <a:cubicBezTo>
                    <a:pt x="4014465" y="46990"/>
                    <a:pt x="4016370" y="42545"/>
                    <a:pt x="4019545" y="39370"/>
                  </a:cubicBezTo>
                  <a:cubicBezTo>
                    <a:pt x="4022720" y="36195"/>
                    <a:pt x="4025895" y="33020"/>
                    <a:pt x="4030340" y="31750"/>
                  </a:cubicBezTo>
                  <a:cubicBezTo>
                    <a:pt x="4034785" y="29845"/>
                    <a:pt x="4039230" y="29210"/>
                    <a:pt x="4044310" y="29210"/>
                  </a:cubicBezTo>
                  <a:close/>
                  <a:moveTo>
                    <a:pt x="3811900" y="29210"/>
                  </a:moveTo>
                  <a:cubicBezTo>
                    <a:pt x="3815075" y="29210"/>
                    <a:pt x="3817615" y="29210"/>
                    <a:pt x="3819520" y="29845"/>
                  </a:cubicBezTo>
                  <a:cubicBezTo>
                    <a:pt x="3821425" y="29845"/>
                    <a:pt x="3823330" y="31115"/>
                    <a:pt x="3825235" y="32385"/>
                  </a:cubicBezTo>
                  <a:lnTo>
                    <a:pt x="3821425" y="46990"/>
                  </a:lnTo>
                  <a:lnTo>
                    <a:pt x="3820155" y="46990"/>
                  </a:lnTo>
                  <a:cubicBezTo>
                    <a:pt x="3820155" y="46990"/>
                    <a:pt x="3816980" y="45085"/>
                    <a:pt x="3815075" y="45085"/>
                  </a:cubicBezTo>
                  <a:cubicBezTo>
                    <a:pt x="3813170" y="45085"/>
                    <a:pt x="3811265" y="44450"/>
                    <a:pt x="3808725" y="44450"/>
                  </a:cubicBezTo>
                  <a:cubicBezTo>
                    <a:pt x="3803645" y="44450"/>
                    <a:pt x="3799835" y="46355"/>
                    <a:pt x="3797295" y="49530"/>
                  </a:cubicBezTo>
                  <a:cubicBezTo>
                    <a:pt x="3794755" y="52705"/>
                    <a:pt x="3793485" y="57785"/>
                    <a:pt x="3793485" y="64770"/>
                  </a:cubicBezTo>
                  <a:lnTo>
                    <a:pt x="3793485" y="109220"/>
                  </a:lnTo>
                  <a:lnTo>
                    <a:pt x="3778245" y="109220"/>
                  </a:lnTo>
                  <a:lnTo>
                    <a:pt x="3778245" y="31115"/>
                  </a:lnTo>
                  <a:lnTo>
                    <a:pt x="3793485" y="31115"/>
                  </a:lnTo>
                  <a:lnTo>
                    <a:pt x="3793485" y="38735"/>
                  </a:lnTo>
                  <a:cubicBezTo>
                    <a:pt x="3793485" y="38735"/>
                    <a:pt x="3795390" y="36195"/>
                    <a:pt x="3796660" y="34925"/>
                  </a:cubicBezTo>
                  <a:cubicBezTo>
                    <a:pt x="3797930" y="33655"/>
                    <a:pt x="3799200" y="33020"/>
                    <a:pt x="3801105" y="31750"/>
                  </a:cubicBezTo>
                  <a:cubicBezTo>
                    <a:pt x="3802375" y="31115"/>
                    <a:pt x="3804280" y="30480"/>
                    <a:pt x="3806185" y="29845"/>
                  </a:cubicBezTo>
                  <a:cubicBezTo>
                    <a:pt x="3808090" y="29845"/>
                    <a:pt x="3809995" y="29210"/>
                    <a:pt x="3811900" y="29210"/>
                  </a:cubicBezTo>
                  <a:close/>
                  <a:moveTo>
                    <a:pt x="3729986" y="29210"/>
                  </a:moveTo>
                  <a:cubicBezTo>
                    <a:pt x="3735701" y="29210"/>
                    <a:pt x="3740146" y="30480"/>
                    <a:pt x="3744591" y="32385"/>
                  </a:cubicBezTo>
                  <a:cubicBezTo>
                    <a:pt x="3748401" y="34290"/>
                    <a:pt x="3752211" y="37465"/>
                    <a:pt x="3754751" y="40640"/>
                  </a:cubicBezTo>
                  <a:cubicBezTo>
                    <a:pt x="3757291" y="44450"/>
                    <a:pt x="3759196" y="48260"/>
                    <a:pt x="3761101" y="53340"/>
                  </a:cubicBezTo>
                  <a:cubicBezTo>
                    <a:pt x="3762371" y="57785"/>
                    <a:pt x="3763006" y="62865"/>
                    <a:pt x="3763006" y="68580"/>
                  </a:cubicBezTo>
                  <a:lnTo>
                    <a:pt x="3761736" y="68580"/>
                  </a:lnTo>
                  <a:cubicBezTo>
                    <a:pt x="3761736" y="68580"/>
                    <a:pt x="3761736" y="71120"/>
                    <a:pt x="3761736" y="72390"/>
                  </a:cubicBezTo>
                  <a:cubicBezTo>
                    <a:pt x="3761736" y="73660"/>
                    <a:pt x="3761736" y="74295"/>
                    <a:pt x="3761736" y="75565"/>
                  </a:cubicBezTo>
                  <a:lnTo>
                    <a:pt x="3710301" y="75565"/>
                  </a:lnTo>
                  <a:cubicBezTo>
                    <a:pt x="3710301" y="79375"/>
                    <a:pt x="3711571" y="82550"/>
                    <a:pt x="3712841" y="85090"/>
                  </a:cubicBezTo>
                  <a:cubicBezTo>
                    <a:pt x="3714111" y="87630"/>
                    <a:pt x="3715381" y="90170"/>
                    <a:pt x="3717286" y="91440"/>
                  </a:cubicBezTo>
                  <a:cubicBezTo>
                    <a:pt x="3719191" y="93345"/>
                    <a:pt x="3721096" y="94615"/>
                    <a:pt x="3723001" y="95250"/>
                  </a:cubicBezTo>
                  <a:cubicBezTo>
                    <a:pt x="3724906" y="95885"/>
                    <a:pt x="3727446" y="96520"/>
                    <a:pt x="3729986" y="96520"/>
                  </a:cubicBezTo>
                  <a:cubicBezTo>
                    <a:pt x="3731891" y="96520"/>
                    <a:pt x="3733161" y="96520"/>
                    <a:pt x="3735066" y="96520"/>
                  </a:cubicBezTo>
                  <a:cubicBezTo>
                    <a:pt x="3736336" y="96520"/>
                    <a:pt x="3738241" y="95885"/>
                    <a:pt x="3739511" y="95250"/>
                  </a:cubicBezTo>
                  <a:cubicBezTo>
                    <a:pt x="3740781" y="95250"/>
                    <a:pt x="3742051" y="93980"/>
                    <a:pt x="3743321" y="93345"/>
                  </a:cubicBezTo>
                  <a:cubicBezTo>
                    <a:pt x="3744591" y="93345"/>
                    <a:pt x="3745861" y="92075"/>
                    <a:pt x="3747766" y="90805"/>
                  </a:cubicBezTo>
                  <a:lnTo>
                    <a:pt x="3756656" y="100330"/>
                  </a:lnTo>
                  <a:cubicBezTo>
                    <a:pt x="3756656" y="100330"/>
                    <a:pt x="3752846" y="103505"/>
                    <a:pt x="3750941" y="104775"/>
                  </a:cubicBezTo>
                  <a:cubicBezTo>
                    <a:pt x="3749036" y="106045"/>
                    <a:pt x="3747131" y="106680"/>
                    <a:pt x="3745226" y="107950"/>
                  </a:cubicBezTo>
                  <a:cubicBezTo>
                    <a:pt x="3743321" y="108585"/>
                    <a:pt x="3740781" y="109855"/>
                    <a:pt x="3738241" y="109855"/>
                  </a:cubicBezTo>
                  <a:cubicBezTo>
                    <a:pt x="3735701" y="109855"/>
                    <a:pt x="3732526" y="110490"/>
                    <a:pt x="3729351" y="110490"/>
                  </a:cubicBezTo>
                  <a:cubicBezTo>
                    <a:pt x="3726176" y="110490"/>
                    <a:pt x="3723001" y="110490"/>
                    <a:pt x="3719826" y="109220"/>
                  </a:cubicBezTo>
                  <a:cubicBezTo>
                    <a:pt x="3716651" y="108585"/>
                    <a:pt x="3714111" y="107315"/>
                    <a:pt x="3712206" y="105410"/>
                  </a:cubicBezTo>
                  <a:cubicBezTo>
                    <a:pt x="3709666" y="104140"/>
                    <a:pt x="3707761" y="102235"/>
                    <a:pt x="3705856" y="100330"/>
                  </a:cubicBezTo>
                  <a:cubicBezTo>
                    <a:pt x="3703951" y="98425"/>
                    <a:pt x="3702046" y="95885"/>
                    <a:pt x="3700776" y="92710"/>
                  </a:cubicBezTo>
                  <a:cubicBezTo>
                    <a:pt x="3698871" y="89535"/>
                    <a:pt x="3697601" y="86360"/>
                    <a:pt x="3696966" y="82550"/>
                  </a:cubicBezTo>
                  <a:cubicBezTo>
                    <a:pt x="3696331" y="78740"/>
                    <a:pt x="3695696" y="74295"/>
                    <a:pt x="3695696" y="69850"/>
                  </a:cubicBezTo>
                  <a:cubicBezTo>
                    <a:pt x="3695696" y="63500"/>
                    <a:pt x="3696331" y="57150"/>
                    <a:pt x="3698236" y="52070"/>
                  </a:cubicBezTo>
                  <a:cubicBezTo>
                    <a:pt x="3700141" y="46990"/>
                    <a:pt x="3702046" y="42545"/>
                    <a:pt x="3705221" y="39370"/>
                  </a:cubicBezTo>
                  <a:cubicBezTo>
                    <a:pt x="3708396" y="36195"/>
                    <a:pt x="3711571" y="33020"/>
                    <a:pt x="3716016" y="31750"/>
                  </a:cubicBezTo>
                  <a:cubicBezTo>
                    <a:pt x="3720461" y="29845"/>
                    <a:pt x="3724906" y="29210"/>
                    <a:pt x="3729986" y="29210"/>
                  </a:cubicBezTo>
                  <a:close/>
                  <a:moveTo>
                    <a:pt x="3543296" y="29210"/>
                  </a:moveTo>
                  <a:cubicBezTo>
                    <a:pt x="3549011" y="29210"/>
                    <a:pt x="3553456" y="30480"/>
                    <a:pt x="3557901" y="32385"/>
                  </a:cubicBezTo>
                  <a:cubicBezTo>
                    <a:pt x="3561711" y="34290"/>
                    <a:pt x="3565521" y="37465"/>
                    <a:pt x="3568061" y="40640"/>
                  </a:cubicBezTo>
                  <a:cubicBezTo>
                    <a:pt x="3570601" y="44450"/>
                    <a:pt x="3572506" y="48260"/>
                    <a:pt x="3574411" y="53340"/>
                  </a:cubicBezTo>
                  <a:cubicBezTo>
                    <a:pt x="3575681" y="57785"/>
                    <a:pt x="3576316" y="62865"/>
                    <a:pt x="3576316" y="68580"/>
                  </a:cubicBezTo>
                  <a:lnTo>
                    <a:pt x="3575046" y="68580"/>
                  </a:lnTo>
                  <a:cubicBezTo>
                    <a:pt x="3575046" y="68580"/>
                    <a:pt x="3575046" y="71120"/>
                    <a:pt x="3575046" y="72390"/>
                  </a:cubicBezTo>
                  <a:cubicBezTo>
                    <a:pt x="3575046" y="73660"/>
                    <a:pt x="3575046" y="74295"/>
                    <a:pt x="3575046" y="75565"/>
                  </a:cubicBezTo>
                  <a:lnTo>
                    <a:pt x="3523611" y="75565"/>
                  </a:lnTo>
                  <a:cubicBezTo>
                    <a:pt x="3523611" y="79375"/>
                    <a:pt x="3524881" y="82550"/>
                    <a:pt x="3526151" y="85090"/>
                  </a:cubicBezTo>
                  <a:cubicBezTo>
                    <a:pt x="3527421" y="87630"/>
                    <a:pt x="3528691" y="90170"/>
                    <a:pt x="3530596" y="91440"/>
                  </a:cubicBezTo>
                  <a:cubicBezTo>
                    <a:pt x="3532501" y="93345"/>
                    <a:pt x="3534406" y="94615"/>
                    <a:pt x="3536311" y="95250"/>
                  </a:cubicBezTo>
                  <a:cubicBezTo>
                    <a:pt x="3538216" y="95885"/>
                    <a:pt x="3540756" y="96520"/>
                    <a:pt x="3543296" y="96520"/>
                  </a:cubicBezTo>
                  <a:cubicBezTo>
                    <a:pt x="3545201" y="96520"/>
                    <a:pt x="3546471" y="96520"/>
                    <a:pt x="3548376" y="96520"/>
                  </a:cubicBezTo>
                  <a:cubicBezTo>
                    <a:pt x="3549646" y="96520"/>
                    <a:pt x="3551551" y="95885"/>
                    <a:pt x="3552821" y="95250"/>
                  </a:cubicBezTo>
                  <a:cubicBezTo>
                    <a:pt x="3554091" y="95250"/>
                    <a:pt x="3555361" y="93980"/>
                    <a:pt x="3556631" y="93345"/>
                  </a:cubicBezTo>
                  <a:cubicBezTo>
                    <a:pt x="3557901" y="93345"/>
                    <a:pt x="3559171" y="92075"/>
                    <a:pt x="3561076" y="90805"/>
                  </a:cubicBezTo>
                  <a:lnTo>
                    <a:pt x="3569966" y="100330"/>
                  </a:lnTo>
                  <a:cubicBezTo>
                    <a:pt x="3569966" y="100330"/>
                    <a:pt x="3566156" y="103505"/>
                    <a:pt x="3564251" y="104775"/>
                  </a:cubicBezTo>
                  <a:cubicBezTo>
                    <a:pt x="3562346" y="106045"/>
                    <a:pt x="3560441" y="106680"/>
                    <a:pt x="3558536" y="107950"/>
                  </a:cubicBezTo>
                  <a:cubicBezTo>
                    <a:pt x="3556631" y="108585"/>
                    <a:pt x="3554091" y="109855"/>
                    <a:pt x="3551551" y="109855"/>
                  </a:cubicBezTo>
                  <a:cubicBezTo>
                    <a:pt x="3549011" y="109855"/>
                    <a:pt x="3545836" y="110490"/>
                    <a:pt x="3542661" y="110490"/>
                  </a:cubicBezTo>
                  <a:cubicBezTo>
                    <a:pt x="3539486" y="110490"/>
                    <a:pt x="3536311" y="110490"/>
                    <a:pt x="3533136" y="109220"/>
                  </a:cubicBezTo>
                  <a:cubicBezTo>
                    <a:pt x="3529961" y="108585"/>
                    <a:pt x="3527421" y="107315"/>
                    <a:pt x="3525516" y="105410"/>
                  </a:cubicBezTo>
                  <a:cubicBezTo>
                    <a:pt x="3522976" y="104140"/>
                    <a:pt x="3521071" y="102235"/>
                    <a:pt x="3519166" y="100330"/>
                  </a:cubicBezTo>
                  <a:cubicBezTo>
                    <a:pt x="3517261" y="98425"/>
                    <a:pt x="3515356" y="95885"/>
                    <a:pt x="3514086" y="92710"/>
                  </a:cubicBezTo>
                  <a:cubicBezTo>
                    <a:pt x="3512181" y="89535"/>
                    <a:pt x="3510911" y="86360"/>
                    <a:pt x="3510276" y="82550"/>
                  </a:cubicBezTo>
                  <a:cubicBezTo>
                    <a:pt x="3509641" y="78740"/>
                    <a:pt x="3509006" y="74295"/>
                    <a:pt x="3509006" y="69850"/>
                  </a:cubicBezTo>
                  <a:cubicBezTo>
                    <a:pt x="3509006" y="63500"/>
                    <a:pt x="3509641" y="57150"/>
                    <a:pt x="3511546" y="52070"/>
                  </a:cubicBezTo>
                  <a:cubicBezTo>
                    <a:pt x="3513451" y="46990"/>
                    <a:pt x="3515356" y="42545"/>
                    <a:pt x="3518531" y="39370"/>
                  </a:cubicBezTo>
                  <a:cubicBezTo>
                    <a:pt x="3521706" y="36195"/>
                    <a:pt x="3524881" y="33020"/>
                    <a:pt x="3529326" y="31750"/>
                  </a:cubicBezTo>
                  <a:cubicBezTo>
                    <a:pt x="3533771" y="29845"/>
                    <a:pt x="3538216" y="29210"/>
                    <a:pt x="3543296" y="29210"/>
                  </a:cubicBezTo>
                  <a:close/>
                  <a:moveTo>
                    <a:pt x="3345176" y="29210"/>
                  </a:moveTo>
                  <a:cubicBezTo>
                    <a:pt x="3350891" y="29210"/>
                    <a:pt x="3355336" y="30480"/>
                    <a:pt x="3359781" y="32385"/>
                  </a:cubicBezTo>
                  <a:cubicBezTo>
                    <a:pt x="3363591" y="34290"/>
                    <a:pt x="3367401" y="37465"/>
                    <a:pt x="3369941" y="40640"/>
                  </a:cubicBezTo>
                  <a:cubicBezTo>
                    <a:pt x="3372481" y="44450"/>
                    <a:pt x="3374386" y="48260"/>
                    <a:pt x="3376291" y="53340"/>
                  </a:cubicBezTo>
                  <a:cubicBezTo>
                    <a:pt x="3377561" y="57785"/>
                    <a:pt x="3378196" y="62865"/>
                    <a:pt x="3378196" y="68580"/>
                  </a:cubicBezTo>
                  <a:lnTo>
                    <a:pt x="3376926" y="68580"/>
                  </a:lnTo>
                  <a:cubicBezTo>
                    <a:pt x="3376926" y="68580"/>
                    <a:pt x="3376926" y="71120"/>
                    <a:pt x="3376926" y="72390"/>
                  </a:cubicBezTo>
                  <a:cubicBezTo>
                    <a:pt x="3376926" y="73660"/>
                    <a:pt x="3376926" y="74295"/>
                    <a:pt x="3376926" y="75565"/>
                  </a:cubicBezTo>
                  <a:lnTo>
                    <a:pt x="3325491" y="75565"/>
                  </a:lnTo>
                  <a:cubicBezTo>
                    <a:pt x="3325491" y="79375"/>
                    <a:pt x="3326761" y="82550"/>
                    <a:pt x="3328031" y="85090"/>
                  </a:cubicBezTo>
                  <a:cubicBezTo>
                    <a:pt x="3329301" y="87630"/>
                    <a:pt x="3330571" y="90170"/>
                    <a:pt x="3332476" y="91440"/>
                  </a:cubicBezTo>
                  <a:cubicBezTo>
                    <a:pt x="3334381" y="93345"/>
                    <a:pt x="3336286" y="94615"/>
                    <a:pt x="3338191" y="95250"/>
                  </a:cubicBezTo>
                  <a:cubicBezTo>
                    <a:pt x="3340096" y="95885"/>
                    <a:pt x="3342636" y="96520"/>
                    <a:pt x="3345176" y="96520"/>
                  </a:cubicBezTo>
                  <a:cubicBezTo>
                    <a:pt x="3347081" y="96520"/>
                    <a:pt x="3348351" y="96520"/>
                    <a:pt x="3350256" y="96520"/>
                  </a:cubicBezTo>
                  <a:cubicBezTo>
                    <a:pt x="3351526" y="96520"/>
                    <a:pt x="3353431" y="95885"/>
                    <a:pt x="3354701" y="95250"/>
                  </a:cubicBezTo>
                  <a:cubicBezTo>
                    <a:pt x="3355971" y="95250"/>
                    <a:pt x="3357241" y="93980"/>
                    <a:pt x="3358511" y="93345"/>
                  </a:cubicBezTo>
                  <a:cubicBezTo>
                    <a:pt x="3359781" y="93345"/>
                    <a:pt x="3361051" y="92075"/>
                    <a:pt x="3362956" y="90805"/>
                  </a:cubicBezTo>
                  <a:lnTo>
                    <a:pt x="3371846" y="100330"/>
                  </a:lnTo>
                  <a:cubicBezTo>
                    <a:pt x="3371846" y="100330"/>
                    <a:pt x="3368036" y="103505"/>
                    <a:pt x="3366131" y="104775"/>
                  </a:cubicBezTo>
                  <a:cubicBezTo>
                    <a:pt x="3364226" y="106045"/>
                    <a:pt x="3362321" y="106680"/>
                    <a:pt x="3360416" y="107950"/>
                  </a:cubicBezTo>
                  <a:cubicBezTo>
                    <a:pt x="3358511" y="108585"/>
                    <a:pt x="3355971" y="109855"/>
                    <a:pt x="3353431" y="109855"/>
                  </a:cubicBezTo>
                  <a:cubicBezTo>
                    <a:pt x="3350891" y="109855"/>
                    <a:pt x="3347716" y="110490"/>
                    <a:pt x="3344541" y="110490"/>
                  </a:cubicBezTo>
                  <a:cubicBezTo>
                    <a:pt x="3341366" y="110490"/>
                    <a:pt x="3338191" y="110490"/>
                    <a:pt x="3335016" y="109220"/>
                  </a:cubicBezTo>
                  <a:cubicBezTo>
                    <a:pt x="3331841" y="108585"/>
                    <a:pt x="3329301" y="107315"/>
                    <a:pt x="3327396" y="105410"/>
                  </a:cubicBezTo>
                  <a:cubicBezTo>
                    <a:pt x="3324856" y="104140"/>
                    <a:pt x="3322951" y="102235"/>
                    <a:pt x="3321046" y="100330"/>
                  </a:cubicBezTo>
                  <a:cubicBezTo>
                    <a:pt x="3319141" y="98425"/>
                    <a:pt x="3317236" y="95885"/>
                    <a:pt x="3315966" y="92710"/>
                  </a:cubicBezTo>
                  <a:cubicBezTo>
                    <a:pt x="3314061" y="89535"/>
                    <a:pt x="3312791" y="86360"/>
                    <a:pt x="3312156" y="82550"/>
                  </a:cubicBezTo>
                  <a:cubicBezTo>
                    <a:pt x="3311521" y="78740"/>
                    <a:pt x="3310886" y="74295"/>
                    <a:pt x="3310886" y="69850"/>
                  </a:cubicBezTo>
                  <a:cubicBezTo>
                    <a:pt x="3310886" y="63500"/>
                    <a:pt x="3311521" y="57150"/>
                    <a:pt x="3313426" y="52070"/>
                  </a:cubicBezTo>
                  <a:cubicBezTo>
                    <a:pt x="3315331" y="46990"/>
                    <a:pt x="3317236" y="42545"/>
                    <a:pt x="3320411" y="39370"/>
                  </a:cubicBezTo>
                  <a:cubicBezTo>
                    <a:pt x="3323586" y="36195"/>
                    <a:pt x="3326761" y="33020"/>
                    <a:pt x="3331206" y="31750"/>
                  </a:cubicBezTo>
                  <a:cubicBezTo>
                    <a:pt x="3335651" y="29845"/>
                    <a:pt x="3340096" y="29210"/>
                    <a:pt x="3345176" y="29210"/>
                  </a:cubicBezTo>
                  <a:close/>
                  <a:moveTo>
                    <a:pt x="3060696" y="29210"/>
                  </a:moveTo>
                  <a:cubicBezTo>
                    <a:pt x="3063871" y="29210"/>
                    <a:pt x="3066411" y="29210"/>
                    <a:pt x="3068316" y="29845"/>
                  </a:cubicBezTo>
                  <a:cubicBezTo>
                    <a:pt x="3070221" y="29845"/>
                    <a:pt x="3072126" y="31115"/>
                    <a:pt x="3074031" y="32385"/>
                  </a:cubicBezTo>
                  <a:lnTo>
                    <a:pt x="3070221" y="46990"/>
                  </a:lnTo>
                  <a:lnTo>
                    <a:pt x="3068951" y="46990"/>
                  </a:lnTo>
                  <a:cubicBezTo>
                    <a:pt x="3068951" y="46990"/>
                    <a:pt x="3065776" y="45085"/>
                    <a:pt x="3063871" y="45085"/>
                  </a:cubicBezTo>
                  <a:cubicBezTo>
                    <a:pt x="3061966" y="45085"/>
                    <a:pt x="3060061" y="44450"/>
                    <a:pt x="3057521" y="44450"/>
                  </a:cubicBezTo>
                  <a:cubicBezTo>
                    <a:pt x="3052441" y="44450"/>
                    <a:pt x="3048631" y="46355"/>
                    <a:pt x="3046091" y="49530"/>
                  </a:cubicBezTo>
                  <a:cubicBezTo>
                    <a:pt x="3043551" y="52705"/>
                    <a:pt x="3042281" y="57785"/>
                    <a:pt x="3042281" y="64770"/>
                  </a:cubicBezTo>
                  <a:lnTo>
                    <a:pt x="3042281" y="109220"/>
                  </a:lnTo>
                  <a:lnTo>
                    <a:pt x="3027041" y="109220"/>
                  </a:lnTo>
                  <a:lnTo>
                    <a:pt x="3027041" y="31115"/>
                  </a:lnTo>
                  <a:lnTo>
                    <a:pt x="3042281" y="31115"/>
                  </a:lnTo>
                  <a:lnTo>
                    <a:pt x="3042281" y="38735"/>
                  </a:lnTo>
                  <a:cubicBezTo>
                    <a:pt x="3042281" y="38735"/>
                    <a:pt x="3044186" y="36195"/>
                    <a:pt x="3045456" y="34925"/>
                  </a:cubicBezTo>
                  <a:cubicBezTo>
                    <a:pt x="3046726" y="33655"/>
                    <a:pt x="3047996" y="33020"/>
                    <a:pt x="3049901" y="31750"/>
                  </a:cubicBezTo>
                  <a:cubicBezTo>
                    <a:pt x="3051171" y="31115"/>
                    <a:pt x="3053076" y="30480"/>
                    <a:pt x="3054981" y="29845"/>
                  </a:cubicBezTo>
                  <a:cubicBezTo>
                    <a:pt x="3056886" y="29845"/>
                    <a:pt x="3058791" y="29210"/>
                    <a:pt x="3060696" y="29210"/>
                  </a:cubicBezTo>
                  <a:close/>
                  <a:moveTo>
                    <a:pt x="2978781" y="29210"/>
                  </a:moveTo>
                  <a:cubicBezTo>
                    <a:pt x="2984496" y="29210"/>
                    <a:pt x="2988941" y="30480"/>
                    <a:pt x="2993386" y="32385"/>
                  </a:cubicBezTo>
                  <a:cubicBezTo>
                    <a:pt x="2997196" y="34290"/>
                    <a:pt x="3001006" y="37465"/>
                    <a:pt x="3003546" y="40640"/>
                  </a:cubicBezTo>
                  <a:cubicBezTo>
                    <a:pt x="3006086" y="44450"/>
                    <a:pt x="3007991" y="48260"/>
                    <a:pt x="3009896" y="53340"/>
                  </a:cubicBezTo>
                  <a:cubicBezTo>
                    <a:pt x="3011166" y="57785"/>
                    <a:pt x="3011801" y="62865"/>
                    <a:pt x="3011801" y="68580"/>
                  </a:cubicBezTo>
                  <a:lnTo>
                    <a:pt x="3010531" y="68580"/>
                  </a:lnTo>
                  <a:cubicBezTo>
                    <a:pt x="3010531" y="68580"/>
                    <a:pt x="3010531" y="71120"/>
                    <a:pt x="3010531" y="72390"/>
                  </a:cubicBezTo>
                  <a:cubicBezTo>
                    <a:pt x="3010531" y="73660"/>
                    <a:pt x="3010531" y="74295"/>
                    <a:pt x="3010531" y="75565"/>
                  </a:cubicBezTo>
                  <a:lnTo>
                    <a:pt x="2959096" y="75565"/>
                  </a:lnTo>
                  <a:cubicBezTo>
                    <a:pt x="2959096" y="79375"/>
                    <a:pt x="2960366" y="82550"/>
                    <a:pt x="2961636" y="85090"/>
                  </a:cubicBezTo>
                  <a:cubicBezTo>
                    <a:pt x="2962906" y="87630"/>
                    <a:pt x="2964176" y="90170"/>
                    <a:pt x="2966081" y="91440"/>
                  </a:cubicBezTo>
                  <a:cubicBezTo>
                    <a:pt x="2967986" y="93345"/>
                    <a:pt x="2969891" y="94615"/>
                    <a:pt x="2971796" y="95250"/>
                  </a:cubicBezTo>
                  <a:cubicBezTo>
                    <a:pt x="2974336" y="95885"/>
                    <a:pt x="2976241" y="96520"/>
                    <a:pt x="2978781" y="96520"/>
                  </a:cubicBezTo>
                  <a:cubicBezTo>
                    <a:pt x="2980686" y="96520"/>
                    <a:pt x="2981956" y="96520"/>
                    <a:pt x="2983861" y="96520"/>
                  </a:cubicBezTo>
                  <a:cubicBezTo>
                    <a:pt x="2985131" y="96520"/>
                    <a:pt x="2987036" y="95885"/>
                    <a:pt x="2988306" y="95250"/>
                  </a:cubicBezTo>
                  <a:cubicBezTo>
                    <a:pt x="2989576" y="95250"/>
                    <a:pt x="2990846" y="93980"/>
                    <a:pt x="2992116" y="93345"/>
                  </a:cubicBezTo>
                  <a:cubicBezTo>
                    <a:pt x="2993386" y="93345"/>
                    <a:pt x="2994656" y="92075"/>
                    <a:pt x="2996561" y="90805"/>
                  </a:cubicBezTo>
                  <a:lnTo>
                    <a:pt x="3005451" y="100330"/>
                  </a:lnTo>
                  <a:cubicBezTo>
                    <a:pt x="3005451" y="100330"/>
                    <a:pt x="3001641" y="103505"/>
                    <a:pt x="2999736" y="104775"/>
                  </a:cubicBezTo>
                  <a:cubicBezTo>
                    <a:pt x="2997831" y="106045"/>
                    <a:pt x="2995926" y="106680"/>
                    <a:pt x="2994021" y="107950"/>
                  </a:cubicBezTo>
                  <a:cubicBezTo>
                    <a:pt x="2992116" y="108585"/>
                    <a:pt x="2989576" y="109855"/>
                    <a:pt x="2987036" y="109855"/>
                  </a:cubicBezTo>
                  <a:cubicBezTo>
                    <a:pt x="2984496" y="109855"/>
                    <a:pt x="2981321" y="110490"/>
                    <a:pt x="2978146" y="110490"/>
                  </a:cubicBezTo>
                  <a:cubicBezTo>
                    <a:pt x="2974971" y="110490"/>
                    <a:pt x="2971796" y="110490"/>
                    <a:pt x="2968621" y="109220"/>
                  </a:cubicBezTo>
                  <a:cubicBezTo>
                    <a:pt x="2965446" y="108585"/>
                    <a:pt x="2962906" y="107315"/>
                    <a:pt x="2961001" y="105410"/>
                  </a:cubicBezTo>
                  <a:cubicBezTo>
                    <a:pt x="2958461" y="104140"/>
                    <a:pt x="2956556" y="102235"/>
                    <a:pt x="2954651" y="100330"/>
                  </a:cubicBezTo>
                  <a:cubicBezTo>
                    <a:pt x="2952746" y="98425"/>
                    <a:pt x="2950841" y="95885"/>
                    <a:pt x="2949571" y="92710"/>
                  </a:cubicBezTo>
                  <a:cubicBezTo>
                    <a:pt x="2947666" y="89535"/>
                    <a:pt x="2946396" y="86360"/>
                    <a:pt x="2945761" y="82550"/>
                  </a:cubicBezTo>
                  <a:cubicBezTo>
                    <a:pt x="2945126" y="78740"/>
                    <a:pt x="2944491" y="74295"/>
                    <a:pt x="2944491" y="69850"/>
                  </a:cubicBezTo>
                  <a:cubicBezTo>
                    <a:pt x="2944491" y="63500"/>
                    <a:pt x="2945126" y="57150"/>
                    <a:pt x="2947031" y="52070"/>
                  </a:cubicBezTo>
                  <a:cubicBezTo>
                    <a:pt x="2948936" y="46990"/>
                    <a:pt x="2950841" y="42545"/>
                    <a:pt x="2954016" y="39370"/>
                  </a:cubicBezTo>
                  <a:cubicBezTo>
                    <a:pt x="2957191" y="36195"/>
                    <a:pt x="2960366" y="33020"/>
                    <a:pt x="2964811" y="31750"/>
                  </a:cubicBezTo>
                  <a:cubicBezTo>
                    <a:pt x="2969256" y="29845"/>
                    <a:pt x="2973701" y="29210"/>
                    <a:pt x="2978781" y="29210"/>
                  </a:cubicBezTo>
                  <a:close/>
                  <a:moveTo>
                    <a:pt x="2798440" y="29210"/>
                  </a:moveTo>
                  <a:cubicBezTo>
                    <a:pt x="2803520" y="29210"/>
                    <a:pt x="2807965" y="29845"/>
                    <a:pt x="2813045" y="31750"/>
                  </a:cubicBezTo>
                  <a:cubicBezTo>
                    <a:pt x="2817490" y="33655"/>
                    <a:pt x="2821935" y="35560"/>
                    <a:pt x="2825110" y="38100"/>
                  </a:cubicBezTo>
                  <a:lnTo>
                    <a:pt x="2827015" y="38100"/>
                  </a:lnTo>
                  <a:lnTo>
                    <a:pt x="2820030" y="50165"/>
                  </a:lnTo>
                  <a:cubicBezTo>
                    <a:pt x="2816855" y="47625"/>
                    <a:pt x="2813680" y="46355"/>
                    <a:pt x="2810505" y="45085"/>
                  </a:cubicBezTo>
                  <a:cubicBezTo>
                    <a:pt x="2807330" y="43815"/>
                    <a:pt x="2803520" y="43180"/>
                    <a:pt x="2799710" y="43180"/>
                  </a:cubicBezTo>
                  <a:cubicBezTo>
                    <a:pt x="2795900" y="43180"/>
                    <a:pt x="2793360" y="43815"/>
                    <a:pt x="2791455" y="45085"/>
                  </a:cubicBezTo>
                  <a:cubicBezTo>
                    <a:pt x="2789550" y="46355"/>
                    <a:pt x="2788915" y="48260"/>
                    <a:pt x="2788915" y="50165"/>
                  </a:cubicBezTo>
                  <a:cubicBezTo>
                    <a:pt x="2788915" y="51435"/>
                    <a:pt x="2788915" y="52070"/>
                    <a:pt x="2788915" y="52705"/>
                  </a:cubicBezTo>
                  <a:cubicBezTo>
                    <a:pt x="2788915" y="53340"/>
                    <a:pt x="2790185" y="54610"/>
                    <a:pt x="2790820" y="55245"/>
                  </a:cubicBezTo>
                  <a:cubicBezTo>
                    <a:pt x="2792090" y="55880"/>
                    <a:pt x="2793360" y="57150"/>
                    <a:pt x="2795265" y="57785"/>
                  </a:cubicBezTo>
                  <a:cubicBezTo>
                    <a:pt x="2797170" y="59055"/>
                    <a:pt x="2799710" y="59690"/>
                    <a:pt x="2802250" y="60960"/>
                  </a:cubicBezTo>
                  <a:cubicBezTo>
                    <a:pt x="2806695" y="62865"/>
                    <a:pt x="2810505" y="64135"/>
                    <a:pt x="2813680" y="66040"/>
                  </a:cubicBezTo>
                  <a:cubicBezTo>
                    <a:pt x="2816855" y="67310"/>
                    <a:pt x="2819395" y="69215"/>
                    <a:pt x="2821935" y="71120"/>
                  </a:cubicBezTo>
                  <a:cubicBezTo>
                    <a:pt x="2823840" y="73025"/>
                    <a:pt x="2825745" y="75565"/>
                    <a:pt x="2827015" y="78105"/>
                  </a:cubicBezTo>
                  <a:cubicBezTo>
                    <a:pt x="2828285" y="80645"/>
                    <a:pt x="2828920" y="83820"/>
                    <a:pt x="2828920" y="87630"/>
                  </a:cubicBezTo>
                  <a:cubicBezTo>
                    <a:pt x="2828920" y="92075"/>
                    <a:pt x="2828285" y="95250"/>
                    <a:pt x="2826380" y="98425"/>
                  </a:cubicBezTo>
                  <a:cubicBezTo>
                    <a:pt x="2824475" y="101600"/>
                    <a:pt x="2822570" y="103505"/>
                    <a:pt x="2820030" y="105410"/>
                  </a:cubicBezTo>
                  <a:cubicBezTo>
                    <a:pt x="2817490" y="107315"/>
                    <a:pt x="2814315" y="108585"/>
                    <a:pt x="2810505" y="109220"/>
                  </a:cubicBezTo>
                  <a:cubicBezTo>
                    <a:pt x="2806695" y="109855"/>
                    <a:pt x="2803520" y="110490"/>
                    <a:pt x="2799710" y="110490"/>
                  </a:cubicBezTo>
                  <a:cubicBezTo>
                    <a:pt x="2794630" y="110490"/>
                    <a:pt x="2789550" y="109855"/>
                    <a:pt x="2783835" y="107950"/>
                  </a:cubicBezTo>
                  <a:cubicBezTo>
                    <a:pt x="2778120" y="106045"/>
                    <a:pt x="2773675" y="103505"/>
                    <a:pt x="2769230" y="100965"/>
                  </a:cubicBezTo>
                  <a:lnTo>
                    <a:pt x="2776215" y="89535"/>
                  </a:lnTo>
                  <a:cubicBezTo>
                    <a:pt x="2780025" y="92075"/>
                    <a:pt x="2783835" y="93980"/>
                    <a:pt x="2787645" y="95250"/>
                  </a:cubicBezTo>
                  <a:cubicBezTo>
                    <a:pt x="2791455" y="96520"/>
                    <a:pt x="2795265" y="97155"/>
                    <a:pt x="2799075" y="97155"/>
                  </a:cubicBezTo>
                  <a:cubicBezTo>
                    <a:pt x="2804155" y="97155"/>
                    <a:pt x="2807330" y="96520"/>
                    <a:pt x="2809870" y="94615"/>
                  </a:cubicBezTo>
                  <a:cubicBezTo>
                    <a:pt x="2812410" y="93345"/>
                    <a:pt x="2813045" y="90805"/>
                    <a:pt x="2813045" y="88265"/>
                  </a:cubicBezTo>
                  <a:cubicBezTo>
                    <a:pt x="2813045" y="86995"/>
                    <a:pt x="2813045" y="85725"/>
                    <a:pt x="2811775" y="84455"/>
                  </a:cubicBezTo>
                  <a:cubicBezTo>
                    <a:pt x="2811140" y="83185"/>
                    <a:pt x="2809870" y="82550"/>
                    <a:pt x="2807965" y="81280"/>
                  </a:cubicBezTo>
                  <a:cubicBezTo>
                    <a:pt x="2806695" y="80010"/>
                    <a:pt x="2804790" y="79375"/>
                    <a:pt x="2802250" y="78105"/>
                  </a:cubicBezTo>
                  <a:cubicBezTo>
                    <a:pt x="2800345" y="77470"/>
                    <a:pt x="2797805" y="76200"/>
                    <a:pt x="2794630" y="74930"/>
                  </a:cubicBezTo>
                  <a:cubicBezTo>
                    <a:pt x="2790185" y="73025"/>
                    <a:pt x="2787010" y="71755"/>
                    <a:pt x="2783835" y="69850"/>
                  </a:cubicBezTo>
                  <a:cubicBezTo>
                    <a:pt x="2780660" y="67945"/>
                    <a:pt x="2778755" y="66675"/>
                    <a:pt x="2776850" y="64770"/>
                  </a:cubicBezTo>
                  <a:cubicBezTo>
                    <a:pt x="2774945" y="62865"/>
                    <a:pt x="2773675" y="60960"/>
                    <a:pt x="2773040" y="58420"/>
                  </a:cubicBezTo>
                  <a:cubicBezTo>
                    <a:pt x="2772405" y="55880"/>
                    <a:pt x="2771770" y="53340"/>
                    <a:pt x="2771770" y="50165"/>
                  </a:cubicBezTo>
                  <a:cubicBezTo>
                    <a:pt x="2771770" y="46990"/>
                    <a:pt x="2772405" y="43815"/>
                    <a:pt x="2773675" y="40640"/>
                  </a:cubicBezTo>
                  <a:cubicBezTo>
                    <a:pt x="2774945" y="38100"/>
                    <a:pt x="2776850" y="35560"/>
                    <a:pt x="2779390" y="34290"/>
                  </a:cubicBezTo>
                  <a:cubicBezTo>
                    <a:pt x="2781930" y="32385"/>
                    <a:pt x="2784470" y="31115"/>
                    <a:pt x="2787645" y="30480"/>
                  </a:cubicBezTo>
                  <a:cubicBezTo>
                    <a:pt x="2790820" y="29845"/>
                    <a:pt x="2794630" y="29210"/>
                    <a:pt x="2798440" y="29210"/>
                  </a:cubicBezTo>
                  <a:close/>
                  <a:moveTo>
                    <a:pt x="2723510" y="29210"/>
                  </a:moveTo>
                  <a:cubicBezTo>
                    <a:pt x="2725415" y="29210"/>
                    <a:pt x="2727320" y="29210"/>
                    <a:pt x="2729225" y="29210"/>
                  </a:cubicBezTo>
                  <a:cubicBezTo>
                    <a:pt x="2733670" y="29210"/>
                    <a:pt x="2738115" y="29845"/>
                    <a:pt x="2741290" y="31750"/>
                  </a:cubicBezTo>
                  <a:cubicBezTo>
                    <a:pt x="2744465" y="33020"/>
                    <a:pt x="2747640" y="35560"/>
                    <a:pt x="2750180" y="38100"/>
                  </a:cubicBezTo>
                  <a:cubicBezTo>
                    <a:pt x="2752720" y="41275"/>
                    <a:pt x="2753990" y="44450"/>
                    <a:pt x="2755260" y="48895"/>
                  </a:cubicBezTo>
                  <a:cubicBezTo>
                    <a:pt x="2756530" y="53340"/>
                    <a:pt x="2757165" y="58420"/>
                    <a:pt x="2757165" y="64135"/>
                  </a:cubicBezTo>
                  <a:lnTo>
                    <a:pt x="2757165" y="108585"/>
                  </a:lnTo>
                  <a:lnTo>
                    <a:pt x="2741925" y="108585"/>
                  </a:lnTo>
                  <a:lnTo>
                    <a:pt x="2741290" y="108585"/>
                  </a:lnTo>
                  <a:lnTo>
                    <a:pt x="2741290" y="64770"/>
                  </a:lnTo>
                  <a:cubicBezTo>
                    <a:pt x="2741290" y="57785"/>
                    <a:pt x="2740020" y="52070"/>
                    <a:pt x="2737480" y="48895"/>
                  </a:cubicBezTo>
                  <a:cubicBezTo>
                    <a:pt x="2734940" y="45085"/>
                    <a:pt x="2731130" y="43180"/>
                    <a:pt x="2725415" y="43180"/>
                  </a:cubicBezTo>
                  <a:cubicBezTo>
                    <a:pt x="2722875" y="43180"/>
                    <a:pt x="2720970" y="43180"/>
                    <a:pt x="2718430" y="44450"/>
                  </a:cubicBezTo>
                  <a:cubicBezTo>
                    <a:pt x="2716525" y="45085"/>
                    <a:pt x="2714620" y="46990"/>
                    <a:pt x="2713350" y="48260"/>
                  </a:cubicBezTo>
                  <a:cubicBezTo>
                    <a:pt x="2712080" y="50165"/>
                    <a:pt x="2710810" y="52070"/>
                    <a:pt x="2710175" y="54610"/>
                  </a:cubicBezTo>
                  <a:cubicBezTo>
                    <a:pt x="2710175" y="57150"/>
                    <a:pt x="2709540" y="59690"/>
                    <a:pt x="2709540" y="62865"/>
                  </a:cubicBezTo>
                  <a:lnTo>
                    <a:pt x="2709540" y="108585"/>
                  </a:lnTo>
                  <a:lnTo>
                    <a:pt x="2694300" y="108585"/>
                  </a:lnTo>
                  <a:lnTo>
                    <a:pt x="2694300" y="30480"/>
                  </a:lnTo>
                  <a:lnTo>
                    <a:pt x="2709540" y="30480"/>
                  </a:lnTo>
                  <a:lnTo>
                    <a:pt x="2709540" y="38100"/>
                  </a:lnTo>
                  <a:cubicBezTo>
                    <a:pt x="2709540" y="38100"/>
                    <a:pt x="2711445" y="35560"/>
                    <a:pt x="2713350" y="34290"/>
                  </a:cubicBezTo>
                  <a:cubicBezTo>
                    <a:pt x="2714620" y="33020"/>
                    <a:pt x="2716525" y="32385"/>
                    <a:pt x="2717795" y="31115"/>
                  </a:cubicBezTo>
                  <a:cubicBezTo>
                    <a:pt x="2719700" y="30480"/>
                    <a:pt x="2721605" y="29845"/>
                    <a:pt x="2723510" y="29210"/>
                  </a:cubicBezTo>
                  <a:close/>
                  <a:moveTo>
                    <a:pt x="2530470" y="29210"/>
                  </a:moveTo>
                  <a:cubicBezTo>
                    <a:pt x="2536185" y="29210"/>
                    <a:pt x="2540630" y="30480"/>
                    <a:pt x="2545075" y="32385"/>
                  </a:cubicBezTo>
                  <a:cubicBezTo>
                    <a:pt x="2548885" y="34290"/>
                    <a:pt x="2552695" y="37465"/>
                    <a:pt x="2555235" y="40640"/>
                  </a:cubicBezTo>
                  <a:cubicBezTo>
                    <a:pt x="2557775" y="44450"/>
                    <a:pt x="2559680" y="48260"/>
                    <a:pt x="2561585" y="53340"/>
                  </a:cubicBezTo>
                  <a:cubicBezTo>
                    <a:pt x="2562855" y="57785"/>
                    <a:pt x="2563490" y="62865"/>
                    <a:pt x="2563490" y="68580"/>
                  </a:cubicBezTo>
                  <a:lnTo>
                    <a:pt x="2562220" y="68580"/>
                  </a:lnTo>
                  <a:cubicBezTo>
                    <a:pt x="2562220" y="68580"/>
                    <a:pt x="2562220" y="71120"/>
                    <a:pt x="2562220" y="72390"/>
                  </a:cubicBezTo>
                  <a:cubicBezTo>
                    <a:pt x="2562220" y="73660"/>
                    <a:pt x="2562220" y="74295"/>
                    <a:pt x="2562220" y="75565"/>
                  </a:cubicBezTo>
                  <a:lnTo>
                    <a:pt x="2510785" y="75565"/>
                  </a:lnTo>
                  <a:cubicBezTo>
                    <a:pt x="2510785" y="79375"/>
                    <a:pt x="2512055" y="82550"/>
                    <a:pt x="2513325" y="85090"/>
                  </a:cubicBezTo>
                  <a:cubicBezTo>
                    <a:pt x="2514595" y="87630"/>
                    <a:pt x="2515865" y="90170"/>
                    <a:pt x="2517770" y="91440"/>
                  </a:cubicBezTo>
                  <a:cubicBezTo>
                    <a:pt x="2519675" y="93345"/>
                    <a:pt x="2521580" y="94615"/>
                    <a:pt x="2523485" y="95250"/>
                  </a:cubicBezTo>
                  <a:cubicBezTo>
                    <a:pt x="2525390" y="95885"/>
                    <a:pt x="2527930" y="96520"/>
                    <a:pt x="2530470" y="96520"/>
                  </a:cubicBezTo>
                  <a:cubicBezTo>
                    <a:pt x="2532375" y="96520"/>
                    <a:pt x="2533645" y="96520"/>
                    <a:pt x="2535550" y="96520"/>
                  </a:cubicBezTo>
                  <a:cubicBezTo>
                    <a:pt x="2536820" y="96520"/>
                    <a:pt x="2538725" y="95885"/>
                    <a:pt x="2539995" y="95250"/>
                  </a:cubicBezTo>
                  <a:cubicBezTo>
                    <a:pt x="2541265" y="95250"/>
                    <a:pt x="2542535" y="93980"/>
                    <a:pt x="2543805" y="93345"/>
                  </a:cubicBezTo>
                  <a:cubicBezTo>
                    <a:pt x="2545075" y="93345"/>
                    <a:pt x="2546345" y="92075"/>
                    <a:pt x="2548250" y="90805"/>
                  </a:cubicBezTo>
                  <a:lnTo>
                    <a:pt x="2557140" y="100330"/>
                  </a:lnTo>
                  <a:cubicBezTo>
                    <a:pt x="2557140" y="100330"/>
                    <a:pt x="2553330" y="103505"/>
                    <a:pt x="2551425" y="104775"/>
                  </a:cubicBezTo>
                  <a:cubicBezTo>
                    <a:pt x="2549520" y="106045"/>
                    <a:pt x="2547615" y="106680"/>
                    <a:pt x="2545710" y="107950"/>
                  </a:cubicBezTo>
                  <a:cubicBezTo>
                    <a:pt x="2543805" y="108585"/>
                    <a:pt x="2541265" y="109855"/>
                    <a:pt x="2538725" y="109855"/>
                  </a:cubicBezTo>
                  <a:cubicBezTo>
                    <a:pt x="2536185" y="109855"/>
                    <a:pt x="2533010" y="110490"/>
                    <a:pt x="2529835" y="110490"/>
                  </a:cubicBezTo>
                  <a:cubicBezTo>
                    <a:pt x="2526660" y="110490"/>
                    <a:pt x="2523485" y="110490"/>
                    <a:pt x="2520310" y="109220"/>
                  </a:cubicBezTo>
                  <a:cubicBezTo>
                    <a:pt x="2517135" y="108585"/>
                    <a:pt x="2514595" y="107315"/>
                    <a:pt x="2512690" y="105410"/>
                  </a:cubicBezTo>
                  <a:cubicBezTo>
                    <a:pt x="2510785" y="103505"/>
                    <a:pt x="2508245" y="102235"/>
                    <a:pt x="2506340" y="100330"/>
                  </a:cubicBezTo>
                  <a:cubicBezTo>
                    <a:pt x="2504435" y="98425"/>
                    <a:pt x="2502530" y="95885"/>
                    <a:pt x="2501260" y="92710"/>
                  </a:cubicBezTo>
                  <a:cubicBezTo>
                    <a:pt x="2499355" y="89535"/>
                    <a:pt x="2498085" y="86360"/>
                    <a:pt x="2497450" y="82550"/>
                  </a:cubicBezTo>
                  <a:cubicBezTo>
                    <a:pt x="2496815" y="78740"/>
                    <a:pt x="2496180" y="74295"/>
                    <a:pt x="2496180" y="69850"/>
                  </a:cubicBezTo>
                  <a:cubicBezTo>
                    <a:pt x="2496180" y="63500"/>
                    <a:pt x="2496815" y="57150"/>
                    <a:pt x="2498720" y="52070"/>
                  </a:cubicBezTo>
                  <a:cubicBezTo>
                    <a:pt x="2500625" y="46990"/>
                    <a:pt x="2502530" y="42545"/>
                    <a:pt x="2505705" y="39370"/>
                  </a:cubicBezTo>
                  <a:cubicBezTo>
                    <a:pt x="2508880" y="36195"/>
                    <a:pt x="2512055" y="33020"/>
                    <a:pt x="2516500" y="31750"/>
                  </a:cubicBezTo>
                  <a:cubicBezTo>
                    <a:pt x="2520945" y="29845"/>
                    <a:pt x="2525390" y="29210"/>
                    <a:pt x="2530470" y="29210"/>
                  </a:cubicBezTo>
                  <a:close/>
                  <a:moveTo>
                    <a:pt x="2298061" y="29210"/>
                  </a:moveTo>
                  <a:cubicBezTo>
                    <a:pt x="2301236" y="29210"/>
                    <a:pt x="2303776" y="29210"/>
                    <a:pt x="2305681" y="29845"/>
                  </a:cubicBezTo>
                  <a:cubicBezTo>
                    <a:pt x="2307586" y="29845"/>
                    <a:pt x="2309491" y="31115"/>
                    <a:pt x="2311396" y="32385"/>
                  </a:cubicBezTo>
                  <a:lnTo>
                    <a:pt x="2307586" y="46990"/>
                  </a:lnTo>
                  <a:lnTo>
                    <a:pt x="2306316" y="46990"/>
                  </a:lnTo>
                  <a:cubicBezTo>
                    <a:pt x="2306316" y="46990"/>
                    <a:pt x="2303141" y="45085"/>
                    <a:pt x="2301236" y="45085"/>
                  </a:cubicBezTo>
                  <a:cubicBezTo>
                    <a:pt x="2299331" y="45085"/>
                    <a:pt x="2297426" y="44450"/>
                    <a:pt x="2294886" y="44450"/>
                  </a:cubicBezTo>
                  <a:cubicBezTo>
                    <a:pt x="2289806" y="44450"/>
                    <a:pt x="2285996" y="46355"/>
                    <a:pt x="2283456" y="49530"/>
                  </a:cubicBezTo>
                  <a:cubicBezTo>
                    <a:pt x="2280916" y="52705"/>
                    <a:pt x="2279646" y="57785"/>
                    <a:pt x="2279646" y="64770"/>
                  </a:cubicBezTo>
                  <a:lnTo>
                    <a:pt x="2279646" y="109220"/>
                  </a:lnTo>
                  <a:lnTo>
                    <a:pt x="2264406" y="109220"/>
                  </a:lnTo>
                  <a:lnTo>
                    <a:pt x="2264406" y="31115"/>
                  </a:lnTo>
                  <a:lnTo>
                    <a:pt x="2279646" y="31115"/>
                  </a:lnTo>
                  <a:lnTo>
                    <a:pt x="2279646" y="38735"/>
                  </a:lnTo>
                  <a:cubicBezTo>
                    <a:pt x="2279646" y="38735"/>
                    <a:pt x="2281551" y="36195"/>
                    <a:pt x="2282821" y="34925"/>
                  </a:cubicBezTo>
                  <a:cubicBezTo>
                    <a:pt x="2284091" y="33655"/>
                    <a:pt x="2285361" y="33020"/>
                    <a:pt x="2287266" y="31750"/>
                  </a:cubicBezTo>
                  <a:cubicBezTo>
                    <a:pt x="2288536" y="31115"/>
                    <a:pt x="2290441" y="30480"/>
                    <a:pt x="2292346" y="29845"/>
                  </a:cubicBezTo>
                  <a:cubicBezTo>
                    <a:pt x="2294251" y="29845"/>
                    <a:pt x="2296156" y="29210"/>
                    <a:pt x="2298061" y="29210"/>
                  </a:cubicBezTo>
                  <a:close/>
                  <a:moveTo>
                    <a:pt x="2216145" y="29210"/>
                  </a:moveTo>
                  <a:cubicBezTo>
                    <a:pt x="2221860" y="29210"/>
                    <a:pt x="2226305" y="30480"/>
                    <a:pt x="2230750" y="32385"/>
                  </a:cubicBezTo>
                  <a:cubicBezTo>
                    <a:pt x="2234560" y="34290"/>
                    <a:pt x="2238370" y="37465"/>
                    <a:pt x="2240910" y="40640"/>
                  </a:cubicBezTo>
                  <a:cubicBezTo>
                    <a:pt x="2243450" y="44450"/>
                    <a:pt x="2245355" y="48260"/>
                    <a:pt x="2247260" y="53340"/>
                  </a:cubicBezTo>
                  <a:cubicBezTo>
                    <a:pt x="2248530" y="57785"/>
                    <a:pt x="2249165" y="62865"/>
                    <a:pt x="2249165" y="68580"/>
                  </a:cubicBezTo>
                  <a:lnTo>
                    <a:pt x="2247895" y="68580"/>
                  </a:lnTo>
                  <a:cubicBezTo>
                    <a:pt x="2247895" y="68580"/>
                    <a:pt x="2247895" y="71120"/>
                    <a:pt x="2247895" y="72390"/>
                  </a:cubicBezTo>
                  <a:cubicBezTo>
                    <a:pt x="2247895" y="73660"/>
                    <a:pt x="2247895" y="74295"/>
                    <a:pt x="2247895" y="75565"/>
                  </a:cubicBezTo>
                  <a:lnTo>
                    <a:pt x="2196460" y="75565"/>
                  </a:lnTo>
                  <a:cubicBezTo>
                    <a:pt x="2196460" y="79375"/>
                    <a:pt x="2197730" y="82550"/>
                    <a:pt x="2199000" y="85090"/>
                  </a:cubicBezTo>
                  <a:cubicBezTo>
                    <a:pt x="2200270" y="87630"/>
                    <a:pt x="2201540" y="90170"/>
                    <a:pt x="2203445" y="91440"/>
                  </a:cubicBezTo>
                  <a:cubicBezTo>
                    <a:pt x="2205350" y="93345"/>
                    <a:pt x="2207255" y="94615"/>
                    <a:pt x="2209160" y="95250"/>
                  </a:cubicBezTo>
                  <a:cubicBezTo>
                    <a:pt x="2211065" y="95885"/>
                    <a:pt x="2213605" y="96520"/>
                    <a:pt x="2216145" y="96520"/>
                  </a:cubicBezTo>
                  <a:cubicBezTo>
                    <a:pt x="2218050" y="96520"/>
                    <a:pt x="2219320" y="96520"/>
                    <a:pt x="2221225" y="96520"/>
                  </a:cubicBezTo>
                  <a:cubicBezTo>
                    <a:pt x="2222495" y="96520"/>
                    <a:pt x="2224400" y="95885"/>
                    <a:pt x="2225670" y="95250"/>
                  </a:cubicBezTo>
                  <a:cubicBezTo>
                    <a:pt x="2226940" y="95250"/>
                    <a:pt x="2228210" y="93980"/>
                    <a:pt x="2229480" y="93345"/>
                  </a:cubicBezTo>
                  <a:cubicBezTo>
                    <a:pt x="2230750" y="93345"/>
                    <a:pt x="2232020" y="92075"/>
                    <a:pt x="2233925" y="90805"/>
                  </a:cubicBezTo>
                  <a:lnTo>
                    <a:pt x="2242815" y="100330"/>
                  </a:lnTo>
                  <a:cubicBezTo>
                    <a:pt x="2242815" y="100330"/>
                    <a:pt x="2239005" y="103505"/>
                    <a:pt x="2237100" y="104775"/>
                  </a:cubicBezTo>
                  <a:cubicBezTo>
                    <a:pt x="2235195" y="106045"/>
                    <a:pt x="2233290" y="106680"/>
                    <a:pt x="2231385" y="107950"/>
                  </a:cubicBezTo>
                  <a:cubicBezTo>
                    <a:pt x="2229480" y="108585"/>
                    <a:pt x="2226940" y="109855"/>
                    <a:pt x="2224400" y="109855"/>
                  </a:cubicBezTo>
                  <a:cubicBezTo>
                    <a:pt x="2221860" y="109855"/>
                    <a:pt x="2218685" y="110490"/>
                    <a:pt x="2215510" y="110490"/>
                  </a:cubicBezTo>
                  <a:cubicBezTo>
                    <a:pt x="2212335" y="110490"/>
                    <a:pt x="2209160" y="110490"/>
                    <a:pt x="2205985" y="109220"/>
                  </a:cubicBezTo>
                  <a:cubicBezTo>
                    <a:pt x="2202810" y="108585"/>
                    <a:pt x="2200270" y="107315"/>
                    <a:pt x="2198365" y="105410"/>
                  </a:cubicBezTo>
                  <a:cubicBezTo>
                    <a:pt x="2195825" y="104140"/>
                    <a:pt x="2193920" y="102235"/>
                    <a:pt x="2192015" y="100330"/>
                  </a:cubicBezTo>
                  <a:cubicBezTo>
                    <a:pt x="2190110" y="98425"/>
                    <a:pt x="2188205" y="95885"/>
                    <a:pt x="2186935" y="92710"/>
                  </a:cubicBezTo>
                  <a:cubicBezTo>
                    <a:pt x="2185030" y="89535"/>
                    <a:pt x="2183760" y="86360"/>
                    <a:pt x="2183125" y="82550"/>
                  </a:cubicBezTo>
                  <a:cubicBezTo>
                    <a:pt x="2182490" y="78740"/>
                    <a:pt x="2181855" y="74295"/>
                    <a:pt x="2181855" y="69850"/>
                  </a:cubicBezTo>
                  <a:cubicBezTo>
                    <a:pt x="2181855" y="63500"/>
                    <a:pt x="2182490" y="57150"/>
                    <a:pt x="2184395" y="52070"/>
                  </a:cubicBezTo>
                  <a:cubicBezTo>
                    <a:pt x="2186300" y="46990"/>
                    <a:pt x="2188205" y="42545"/>
                    <a:pt x="2191380" y="39370"/>
                  </a:cubicBezTo>
                  <a:cubicBezTo>
                    <a:pt x="2194555" y="36195"/>
                    <a:pt x="2197730" y="33020"/>
                    <a:pt x="2202175" y="31750"/>
                  </a:cubicBezTo>
                  <a:cubicBezTo>
                    <a:pt x="2206620" y="29845"/>
                    <a:pt x="2211065" y="29210"/>
                    <a:pt x="2216145" y="29210"/>
                  </a:cubicBezTo>
                  <a:close/>
                  <a:moveTo>
                    <a:pt x="2029456" y="29210"/>
                  </a:moveTo>
                  <a:cubicBezTo>
                    <a:pt x="2035171" y="29210"/>
                    <a:pt x="2039616" y="30480"/>
                    <a:pt x="2044061" y="32385"/>
                  </a:cubicBezTo>
                  <a:cubicBezTo>
                    <a:pt x="2047871" y="34290"/>
                    <a:pt x="2051681" y="37465"/>
                    <a:pt x="2054221" y="40640"/>
                  </a:cubicBezTo>
                  <a:cubicBezTo>
                    <a:pt x="2056761" y="44450"/>
                    <a:pt x="2058666" y="48260"/>
                    <a:pt x="2060571" y="53340"/>
                  </a:cubicBezTo>
                  <a:cubicBezTo>
                    <a:pt x="2061841" y="57785"/>
                    <a:pt x="2062476" y="62865"/>
                    <a:pt x="2062476" y="68580"/>
                  </a:cubicBezTo>
                  <a:lnTo>
                    <a:pt x="2061206" y="68580"/>
                  </a:lnTo>
                  <a:cubicBezTo>
                    <a:pt x="2061206" y="68580"/>
                    <a:pt x="2061206" y="71120"/>
                    <a:pt x="2061206" y="72390"/>
                  </a:cubicBezTo>
                  <a:cubicBezTo>
                    <a:pt x="2061206" y="73660"/>
                    <a:pt x="2061206" y="74295"/>
                    <a:pt x="2061206" y="75565"/>
                  </a:cubicBezTo>
                  <a:lnTo>
                    <a:pt x="2009771" y="75565"/>
                  </a:lnTo>
                  <a:cubicBezTo>
                    <a:pt x="2009771" y="79375"/>
                    <a:pt x="2011041" y="82550"/>
                    <a:pt x="2012311" y="85090"/>
                  </a:cubicBezTo>
                  <a:cubicBezTo>
                    <a:pt x="2013581" y="87630"/>
                    <a:pt x="2014851" y="90170"/>
                    <a:pt x="2016756" y="91440"/>
                  </a:cubicBezTo>
                  <a:cubicBezTo>
                    <a:pt x="2018661" y="93345"/>
                    <a:pt x="2020566" y="94615"/>
                    <a:pt x="2022471" y="95250"/>
                  </a:cubicBezTo>
                  <a:cubicBezTo>
                    <a:pt x="2024376" y="95885"/>
                    <a:pt x="2026916" y="96520"/>
                    <a:pt x="2029456" y="96520"/>
                  </a:cubicBezTo>
                  <a:cubicBezTo>
                    <a:pt x="2031361" y="96520"/>
                    <a:pt x="2032631" y="96520"/>
                    <a:pt x="2034536" y="96520"/>
                  </a:cubicBezTo>
                  <a:cubicBezTo>
                    <a:pt x="2035806" y="96520"/>
                    <a:pt x="2037711" y="95885"/>
                    <a:pt x="2038981" y="95250"/>
                  </a:cubicBezTo>
                  <a:cubicBezTo>
                    <a:pt x="2040251" y="95250"/>
                    <a:pt x="2041521" y="93980"/>
                    <a:pt x="2042791" y="93345"/>
                  </a:cubicBezTo>
                  <a:cubicBezTo>
                    <a:pt x="2044061" y="93345"/>
                    <a:pt x="2045331" y="92075"/>
                    <a:pt x="2047236" y="90805"/>
                  </a:cubicBezTo>
                  <a:lnTo>
                    <a:pt x="2056126" y="100330"/>
                  </a:lnTo>
                  <a:cubicBezTo>
                    <a:pt x="2056126" y="100330"/>
                    <a:pt x="2052316" y="103505"/>
                    <a:pt x="2050411" y="104775"/>
                  </a:cubicBezTo>
                  <a:cubicBezTo>
                    <a:pt x="2048506" y="106045"/>
                    <a:pt x="2046601" y="106680"/>
                    <a:pt x="2044696" y="107950"/>
                  </a:cubicBezTo>
                  <a:cubicBezTo>
                    <a:pt x="2042791" y="108585"/>
                    <a:pt x="2040251" y="109855"/>
                    <a:pt x="2037711" y="109855"/>
                  </a:cubicBezTo>
                  <a:cubicBezTo>
                    <a:pt x="2035171" y="109855"/>
                    <a:pt x="2031996" y="110490"/>
                    <a:pt x="2028821" y="110490"/>
                  </a:cubicBezTo>
                  <a:cubicBezTo>
                    <a:pt x="2025646" y="110490"/>
                    <a:pt x="2022471" y="110490"/>
                    <a:pt x="2019296" y="109220"/>
                  </a:cubicBezTo>
                  <a:cubicBezTo>
                    <a:pt x="2016121" y="108585"/>
                    <a:pt x="2013581" y="107315"/>
                    <a:pt x="2011676" y="105410"/>
                  </a:cubicBezTo>
                  <a:cubicBezTo>
                    <a:pt x="2009136" y="104140"/>
                    <a:pt x="2007231" y="102235"/>
                    <a:pt x="2005326" y="100330"/>
                  </a:cubicBezTo>
                  <a:cubicBezTo>
                    <a:pt x="2003421" y="98425"/>
                    <a:pt x="2001516" y="95885"/>
                    <a:pt x="2000246" y="92710"/>
                  </a:cubicBezTo>
                  <a:cubicBezTo>
                    <a:pt x="1998341" y="89535"/>
                    <a:pt x="1997071" y="86360"/>
                    <a:pt x="1996436" y="82550"/>
                  </a:cubicBezTo>
                  <a:cubicBezTo>
                    <a:pt x="1995801" y="78740"/>
                    <a:pt x="1995166" y="74295"/>
                    <a:pt x="1995166" y="69850"/>
                  </a:cubicBezTo>
                  <a:cubicBezTo>
                    <a:pt x="1995166" y="63500"/>
                    <a:pt x="1995801" y="57150"/>
                    <a:pt x="1997706" y="52070"/>
                  </a:cubicBezTo>
                  <a:cubicBezTo>
                    <a:pt x="1999611" y="46990"/>
                    <a:pt x="2001516" y="42545"/>
                    <a:pt x="2004691" y="39370"/>
                  </a:cubicBezTo>
                  <a:cubicBezTo>
                    <a:pt x="2007866" y="36195"/>
                    <a:pt x="2011041" y="33020"/>
                    <a:pt x="2015486" y="31750"/>
                  </a:cubicBezTo>
                  <a:cubicBezTo>
                    <a:pt x="2019931" y="29845"/>
                    <a:pt x="2024376" y="29210"/>
                    <a:pt x="2029456" y="29210"/>
                  </a:cubicBezTo>
                  <a:close/>
                  <a:moveTo>
                    <a:pt x="1831336" y="29210"/>
                  </a:moveTo>
                  <a:cubicBezTo>
                    <a:pt x="1837051" y="29210"/>
                    <a:pt x="1841496" y="30480"/>
                    <a:pt x="1845941" y="32385"/>
                  </a:cubicBezTo>
                  <a:cubicBezTo>
                    <a:pt x="1849751" y="34290"/>
                    <a:pt x="1853561" y="37465"/>
                    <a:pt x="1856101" y="40640"/>
                  </a:cubicBezTo>
                  <a:cubicBezTo>
                    <a:pt x="1858641" y="44450"/>
                    <a:pt x="1860546" y="48260"/>
                    <a:pt x="1862451" y="53340"/>
                  </a:cubicBezTo>
                  <a:cubicBezTo>
                    <a:pt x="1863721" y="57785"/>
                    <a:pt x="1864356" y="62865"/>
                    <a:pt x="1864356" y="68580"/>
                  </a:cubicBezTo>
                  <a:lnTo>
                    <a:pt x="1863086" y="68580"/>
                  </a:lnTo>
                  <a:cubicBezTo>
                    <a:pt x="1863086" y="68580"/>
                    <a:pt x="1863086" y="71120"/>
                    <a:pt x="1863086" y="72390"/>
                  </a:cubicBezTo>
                  <a:cubicBezTo>
                    <a:pt x="1863086" y="73660"/>
                    <a:pt x="1863086" y="74295"/>
                    <a:pt x="1863086" y="75565"/>
                  </a:cubicBezTo>
                  <a:lnTo>
                    <a:pt x="1811651" y="75565"/>
                  </a:lnTo>
                  <a:cubicBezTo>
                    <a:pt x="1811651" y="79375"/>
                    <a:pt x="1812921" y="82550"/>
                    <a:pt x="1814191" y="85090"/>
                  </a:cubicBezTo>
                  <a:cubicBezTo>
                    <a:pt x="1815461" y="87630"/>
                    <a:pt x="1816731" y="90170"/>
                    <a:pt x="1818636" y="91440"/>
                  </a:cubicBezTo>
                  <a:cubicBezTo>
                    <a:pt x="1820541" y="93345"/>
                    <a:pt x="1822446" y="94615"/>
                    <a:pt x="1824351" y="95250"/>
                  </a:cubicBezTo>
                  <a:cubicBezTo>
                    <a:pt x="1826256" y="95885"/>
                    <a:pt x="1828796" y="96520"/>
                    <a:pt x="1831336" y="96520"/>
                  </a:cubicBezTo>
                  <a:cubicBezTo>
                    <a:pt x="1833241" y="96520"/>
                    <a:pt x="1834511" y="96520"/>
                    <a:pt x="1836416" y="96520"/>
                  </a:cubicBezTo>
                  <a:cubicBezTo>
                    <a:pt x="1837686" y="96520"/>
                    <a:pt x="1839591" y="95885"/>
                    <a:pt x="1840861" y="95250"/>
                  </a:cubicBezTo>
                  <a:cubicBezTo>
                    <a:pt x="1842131" y="95250"/>
                    <a:pt x="1843401" y="93980"/>
                    <a:pt x="1844671" y="93345"/>
                  </a:cubicBezTo>
                  <a:cubicBezTo>
                    <a:pt x="1845941" y="93345"/>
                    <a:pt x="1847211" y="92075"/>
                    <a:pt x="1849116" y="90805"/>
                  </a:cubicBezTo>
                  <a:lnTo>
                    <a:pt x="1858006" y="100330"/>
                  </a:lnTo>
                  <a:cubicBezTo>
                    <a:pt x="1858006" y="100330"/>
                    <a:pt x="1854196" y="103505"/>
                    <a:pt x="1852291" y="104775"/>
                  </a:cubicBezTo>
                  <a:cubicBezTo>
                    <a:pt x="1850386" y="106045"/>
                    <a:pt x="1848481" y="106680"/>
                    <a:pt x="1846576" y="107950"/>
                  </a:cubicBezTo>
                  <a:cubicBezTo>
                    <a:pt x="1844671" y="108585"/>
                    <a:pt x="1842131" y="109855"/>
                    <a:pt x="1839591" y="109855"/>
                  </a:cubicBezTo>
                  <a:cubicBezTo>
                    <a:pt x="1837051" y="109855"/>
                    <a:pt x="1833876" y="110490"/>
                    <a:pt x="1830701" y="110490"/>
                  </a:cubicBezTo>
                  <a:cubicBezTo>
                    <a:pt x="1827526" y="110490"/>
                    <a:pt x="1824351" y="110490"/>
                    <a:pt x="1821176" y="109220"/>
                  </a:cubicBezTo>
                  <a:cubicBezTo>
                    <a:pt x="1818001" y="108585"/>
                    <a:pt x="1815461" y="107315"/>
                    <a:pt x="1813556" y="105410"/>
                  </a:cubicBezTo>
                  <a:cubicBezTo>
                    <a:pt x="1811016" y="104140"/>
                    <a:pt x="1809111" y="102235"/>
                    <a:pt x="1807206" y="100330"/>
                  </a:cubicBezTo>
                  <a:cubicBezTo>
                    <a:pt x="1805301" y="98425"/>
                    <a:pt x="1803396" y="95885"/>
                    <a:pt x="1802126" y="92710"/>
                  </a:cubicBezTo>
                  <a:cubicBezTo>
                    <a:pt x="1800221" y="89535"/>
                    <a:pt x="1798951" y="86360"/>
                    <a:pt x="1798316" y="82550"/>
                  </a:cubicBezTo>
                  <a:cubicBezTo>
                    <a:pt x="1797681" y="78740"/>
                    <a:pt x="1797046" y="74295"/>
                    <a:pt x="1797046" y="69850"/>
                  </a:cubicBezTo>
                  <a:cubicBezTo>
                    <a:pt x="1797046" y="63500"/>
                    <a:pt x="1797681" y="57150"/>
                    <a:pt x="1799586" y="52070"/>
                  </a:cubicBezTo>
                  <a:cubicBezTo>
                    <a:pt x="1801491" y="46990"/>
                    <a:pt x="1803396" y="42545"/>
                    <a:pt x="1806571" y="39370"/>
                  </a:cubicBezTo>
                  <a:cubicBezTo>
                    <a:pt x="1809746" y="36195"/>
                    <a:pt x="1812921" y="33020"/>
                    <a:pt x="1817366" y="31750"/>
                  </a:cubicBezTo>
                  <a:cubicBezTo>
                    <a:pt x="1821811" y="29845"/>
                    <a:pt x="1826256" y="29210"/>
                    <a:pt x="1831336" y="29210"/>
                  </a:cubicBezTo>
                  <a:close/>
                  <a:moveTo>
                    <a:pt x="1501140" y="29210"/>
                  </a:moveTo>
                  <a:cubicBezTo>
                    <a:pt x="1503046" y="29210"/>
                    <a:pt x="1504951" y="29210"/>
                    <a:pt x="1506856" y="29210"/>
                  </a:cubicBezTo>
                  <a:cubicBezTo>
                    <a:pt x="1511301" y="29210"/>
                    <a:pt x="1515746" y="29845"/>
                    <a:pt x="1518920" y="31750"/>
                  </a:cubicBezTo>
                  <a:cubicBezTo>
                    <a:pt x="1522096" y="33020"/>
                    <a:pt x="1525271" y="35560"/>
                    <a:pt x="1527811" y="38100"/>
                  </a:cubicBezTo>
                  <a:cubicBezTo>
                    <a:pt x="1530351" y="41275"/>
                    <a:pt x="1531621" y="44450"/>
                    <a:pt x="1532891" y="48895"/>
                  </a:cubicBezTo>
                  <a:cubicBezTo>
                    <a:pt x="1534161" y="53340"/>
                    <a:pt x="1534796" y="58420"/>
                    <a:pt x="1534796" y="64135"/>
                  </a:cubicBezTo>
                  <a:lnTo>
                    <a:pt x="1534796" y="108585"/>
                  </a:lnTo>
                  <a:lnTo>
                    <a:pt x="1519556" y="108585"/>
                  </a:lnTo>
                  <a:lnTo>
                    <a:pt x="1518920" y="108585"/>
                  </a:lnTo>
                  <a:lnTo>
                    <a:pt x="1518920" y="64770"/>
                  </a:lnTo>
                  <a:cubicBezTo>
                    <a:pt x="1518920" y="57785"/>
                    <a:pt x="1517651" y="52070"/>
                    <a:pt x="1515111" y="48895"/>
                  </a:cubicBezTo>
                  <a:cubicBezTo>
                    <a:pt x="1512571" y="45085"/>
                    <a:pt x="1508761" y="43180"/>
                    <a:pt x="1503046" y="43180"/>
                  </a:cubicBezTo>
                  <a:cubicBezTo>
                    <a:pt x="1500506" y="43180"/>
                    <a:pt x="1498601" y="43180"/>
                    <a:pt x="1496061" y="44450"/>
                  </a:cubicBezTo>
                  <a:cubicBezTo>
                    <a:pt x="1494156" y="45085"/>
                    <a:pt x="1492250" y="46990"/>
                    <a:pt x="1490981" y="48260"/>
                  </a:cubicBezTo>
                  <a:cubicBezTo>
                    <a:pt x="1489711" y="50165"/>
                    <a:pt x="1488441" y="52070"/>
                    <a:pt x="1487806" y="54610"/>
                  </a:cubicBezTo>
                  <a:cubicBezTo>
                    <a:pt x="1487806" y="57150"/>
                    <a:pt x="1487170" y="59690"/>
                    <a:pt x="1487170" y="62865"/>
                  </a:cubicBezTo>
                  <a:lnTo>
                    <a:pt x="1487170" y="108585"/>
                  </a:lnTo>
                  <a:lnTo>
                    <a:pt x="1471931" y="108585"/>
                  </a:lnTo>
                  <a:lnTo>
                    <a:pt x="1471931" y="30480"/>
                  </a:lnTo>
                  <a:lnTo>
                    <a:pt x="1487170" y="30480"/>
                  </a:lnTo>
                  <a:lnTo>
                    <a:pt x="1487170" y="38100"/>
                  </a:lnTo>
                  <a:cubicBezTo>
                    <a:pt x="1487170" y="38100"/>
                    <a:pt x="1489076" y="35560"/>
                    <a:pt x="1490981" y="34290"/>
                  </a:cubicBezTo>
                  <a:cubicBezTo>
                    <a:pt x="1492250" y="33020"/>
                    <a:pt x="1494156" y="32385"/>
                    <a:pt x="1495426" y="31115"/>
                  </a:cubicBezTo>
                  <a:cubicBezTo>
                    <a:pt x="1497331" y="30480"/>
                    <a:pt x="1499236" y="29845"/>
                    <a:pt x="1501140" y="29210"/>
                  </a:cubicBezTo>
                  <a:close/>
                  <a:moveTo>
                    <a:pt x="1250316" y="29210"/>
                  </a:moveTo>
                  <a:cubicBezTo>
                    <a:pt x="1255396" y="29210"/>
                    <a:pt x="1259841" y="29845"/>
                    <a:pt x="1264286" y="31750"/>
                  </a:cubicBezTo>
                  <a:cubicBezTo>
                    <a:pt x="1268731" y="33655"/>
                    <a:pt x="1273176" y="35560"/>
                    <a:pt x="1276350" y="38100"/>
                  </a:cubicBezTo>
                  <a:lnTo>
                    <a:pt x="1278256" y="38100"/>
                  </a:lnTo>
                  <a:lnTo>
                    <a:pt x="1271271" y="50165"/>
                  </a:lnTo>
                  <a:cubicBezTo>
                    <a:pt x="1268095" y="47625"/>
                    <a:pt x="1264921" y="46355"/>
                    <a:pt x="1261746" y="45085"/>
                  </a:cubicBezTo>
                  <a:cubicBezTo>
                    <a:pt x="1258570" y="43815"/>
                    <a:pt x="1254761" y="43180"/>
                    <a:pt x="1250951" y="43180"/>
                  </a:cubicBezTo>
                  <a:cubicBezTo>
                    <a:pt x="1247141" y="43180"/>
                    <a:pt x="1244601" y="43815"/>
                    <a:pt x="1242696" y="45085"/>
                  </a:cubicBezTo>
                  <a:cubicBezTo>
                    <a:pt x="1240791" y="46355"/>
                    <a:pt x="1240156" y="48260"/>
                    <a:pt x="1240156" y="50165"/>
                  </a:cubicBezTo>
                  <a:cubicBezTo>
                    <a:pt x="1240156" y="51435"/>
                    <a:pt x="1240156" y="52070"/>
                    <a:pt x="1240156" y="52705"/>
                  </a:cubicBezTo>
                  <a:cubicBezTo>
                    <a:pt x="1240156" y="53340"/>
                    <a:pt x="1241426" y="54610"/>
                    <a:pt x="1242061" y="55245"/>
                  </a:cubicBezTo>
                  <a:cubicBezTo>
                    <a:pt x="1243331" y="55880"/>
                    <a:pt x="1244601" y="57150"/>
                    <a:pt x="1246506" y="57785"/>
                  </a:cubicBezTo>
                  <a:cubicBezTo>
                    <a:pt x="1248411" y="59055"/>
                    <a:pt x="1250951" y="59690"/>
                    <a:pt x="1253491" y="60960"/>
                  </a:cubicBezTo>
                  <a:cubicBezTo>
                    <a:pt x="1257936" y="62865"/>
                    <a:pt x="1261746" y="64135"/>
                    <a:pt x="1264921" y="66040"/>
                  </a:cubicBezTo>
                  <a:cubicBezTo>
                    <a:pt x="1268095" y="67310"/>
                    <a:pt x="1270635" y="69215"/>
                    <a:pt x="1273176" y="71120"/>
                  </a:cubicBezTo>
                  <a:cubicBezTo>
                    <a:pt x="1275080" y="73025"/>
                    <a:pt x="1276985" y="75565"/>
                    <a:pt x="1278256" y="78105"/>
                  </a:cubicBezTo>
                  <a:cubicBezTo>
                    <a:pt x="1279525" y="80645"/>
                    <a:pt x="1280161" y="83820"/>
                    <a:pt x="1280161" y="87630"/>
                  </a:cubicBezTo>
                  <a:cubicBezTo>
                    <a:pt x="1280161" y="92075"/>
                    <a:pt x="1279525" y="95250"/>
                    <a:pt x="1277621" y="98425"/>
                  </a:cubicBezTo>
                  <a:cubicBezTo>
                    <a:pt x="1275716" y="101600"/>
                    <a:pt x="1273811" y="103505"/>
                    <a:pt x="1271271" y="105410"/>
                  </a:cubicBezTo>
                  <a:cubicBezTo>
                    <a:pt x="1268731" y="107315"/>
                    <a:pt x="1265556" y="108585"/>
                    <a:pt x="1261746" y="109220"/>
                  </a:cubicBezTo>
                  <a:cubicBezTo>
                    <a:pt x="1257936" y="109855"/>
                    <a:pt x="1254761" y="110490"/>
                    <a:pt x="1250951" y="110490"/>
                  </a:cubicBezTo>
                  <a:cubicBezTo>
                    <a:pt x="1245871" y="110490"/>
                    <a:pt x="1240791" y="109855"/>
                    <a:pt x="1235711" y="107950"/>
                  </a:cubicBezTo>
                  <a:cubicBezTo>
                    <a:pt x="1229996" y="106045"/>
                    <a:pt x="1225551" y="103505"/>
                    <a:pt x="1221106" y="100965"/>
                  </a:cubicBezTo>
                  <a:lnTo>
                    <a:pt x="1228091" y="89535"/>
                  </a:lnTo>
                  <a:cubicBezTo>
                    <a:pt x="1231901" y="92075"/>
                    <a:pt x="1235711" y="93980"/>
                    <a:pt x="1239521" y="95250"/>
                  </a:cubicBezTo>
                  <a:cubicBezTo>
                    <a:pt x="1243331" y="96520"/>
                    <a:pt x="1247141" y="97155"/>
                    <a:pt x="1250951" y="97155"/>
                  </a:cubicBezTo>
                  <a:cubicBezTo>
                    <a:pt x="1256031" y="97155"/>
                    <a:pt x="1259205" y="96520"/>
                    <a:pt x="1261746" y="94615"/>
                  </a:cubicBezTo>
                  <a:cubicBezTo>
                    <a:pt x="1264286" y="93345"/>
                    <a:pt x="1264921" y="90805"/>
                    <a:pt x="1264921" y="88265"/>
                  </a:cubicBezTo>
                  <a:cubicBezTo>
                    <a:pt x="1264921" y="86995"/>
                    <a:pt x="1264921" y="85725"/>
                    <a:pt x="1263650" y="84455"/>
                  </a:cubicBezTo>
                  <a:cubicBezTo>
                    <a:pt x="1263015" y="83185"/>
                    <a:pt x="1261746" y="82550"/>
                    <a:pt x="1259841" y="81280"/>
                  </a:cubicBezTo>
                  <a:cubicBezTo>
                    <a:pt x="1258570" y="80010"/>
                    <a:pt x="1256666" y="79375"/>
                    <a:pt x="1254125" y="78105"/>
                  </a:cubicBezTo>
                  <a:cubicBezTo>
                    <a:pt x="1252221" y="77470"/>
                    <a:pt x="1249681" y="76200"/>
                    <a:pt x="1246506" y="74930"/>
                  </a:cubicBezTo>
                  <a:cubicBezTo>
                    <a:pt x="1242061" y="73025"/>
                    <a:pt x="1238886" y="71755"/>
                    <a:pt x="1235711" y="69850"/>
                  </a:cubicBezTo>
                  <a:cubicBezTo>
                    <a:pt x="1232536" y="67945"/>
                    <a:pt x="1230631" y="66675"/>
                    <a:pt x="1228726" y="64770"/>
                  </a:cubicBezTo>
                  <a:cubicBezTo>
                    <a:pt x="1226821" y="62865"/>
                    <a:pt x="1225551" y="60960"/>
                    <a:pt x="1224916" y="58420"/>
                  </a:cubicBezTo>
                  <a:cubicBezTo>
                    <a:pt x="1224281" y="55880"/>
                    <a:pt x="1223646" y="53340"/>
                    <a:pt x="1223646" y="50165"/>
                  </a:cubicBezTo>
                  <a:cubicBezTo>
                    <a:pt x="1223646" y="46990"/>
                    <a:pt x="1224281" y="43815"/>
                    <a:pt x="1225551" y="40640"/>
                  </a:cubicBezTo>
                  <a:cubicBezTo>
                    <a:pt x="1226821" y="38100"/>
                    <a:pt x="1228726" y="35560"/>
                    <a:pt x="1231266" y="34290"/>
                  </a:cubicBezTo>
                  <a:cubicBezTo>
                    <a:pt x="1233806" y="32385"/>
                    <a:pt x="1236346" y="31115"/>
                    <a:pt x="1239521" y="30480"/>
                  </a:cubicBezTo>
                  <a:cubicBezTo>
                    <a:pt x="1242696" y="29845"/>
                    <a:pt x="1246506" y="29210"/>
                    <a:pt x="1250316" y="29210"/>
                  </a:cubicBezTo>
                  <a:close/>
                  <a:moveTo>
                    <a:pt x="1180466" y="29210"/>
                  </a:moveTo>
                  <a:cubicBezTo>
                    <a:pt x="1186181" y="29210"/>
                    <a:pt x="1190626" y="30480"/>
                    <a:pt x="1195071" y="32385"/>
                  </a:cubicBezTo>
                  <a:cubicBezTo>
                    <a:pt x="1198881" y="34290"/>
                    <a:pt x="1202691" y="37465"/>
                    <a:pt x="1205231" y="40640"/>
                  </a:cubicBezTo>
                  <a:cubicBezTo>
                    <a:pt x="1207771" y="44450"/>
                    <a:pt x="1209676" y="48260"/>
                    <a:pt x="1211581" y="53340"/>
                  </a:cubicBezTo>
                  <a:cubicBezTo>
                    <a:pt x="1212851" y="57785"/>
                    <a:pt x="1213486" y="62865"/>
                    <a:pt x="1213486" y="68580"/>
                  </a:cubicBezTo>
                  <a:lnTo>
                    <a:pt x="1212216" y="68580"/>
                  </a:lnTo>
                  <a:cubicBezTo>
                    <a:pt x="1212216" y="68580"/>
                    <a:pt x="1212216" y="71120"/>
                    <a:pt x="1212216" y="72390"/>
                  </a:cubicBezTo>
                  <a:cubicBezTo>
                    <a:pt x="1212216" y="73660"/>
                    <a:pt x="1212216" y="74295"/>
                    <a:pt x="1212216" y="75565"/>
                  </a:cubicBezTo>
                  <a:lnTo>
                    <a:pt x="1160781" y="75565"/>
                  </a:lnTo>
                  <a:cubicBezTo>
                    <a:pt x="1160781" y="79375"/>
                    <a:pt x="1162051" y="82550"/>
                    <a:pt x="1163321" y="85090"/>
                  </a:cubicBezTo>
                  <a:cubicBezTo>
                    <a:pt x="1164591" y="87630"/>
                    <a:pt x="1165861" y="90170"/>
                    <a:pt x="1167766" y="91440"/>
                  </a:cubicBezTo>
                  <a:cubicBezTo>
                    <a:pt x="1169671" y="93345"/>
                    <a:pt x="1171576" y="94615"/>
                    <a:pt x="1173481" y="95250"/>
                  </a:cubicBezTo>
                  <a:cubicBezTo>
                    <a:pt x="1175386" y="95885"/>
                    <a:pt x="1177926" y="96520"/>
                    <a:pt x="1180466" y="96520"/>
                  </a:cubicBezTo>
                  <a:cubicBezTo>
                    <a:pt x="1182371" y="96520"/>
                    <a:pt x="1183641" y="96520"/>
                    <a:pt x="1185546" y="96520"/>
                  </a:cubicBezTo>
                  <a:cubicBezTo>
                    <a:pt x="1186816" y="96520"/>
                    <a:pt x="1188721" y="95885"/>
                    <a:pt x="1189991" y="95250"/>
                  </a:cubicBezTo>
                  <a:cubicBezTo>
                    <a:pt x="1191261" y="95250"/>
                    <a:pt x="1192531" y="93980"/>
                    <a:pt x="1193801" y="93345"/>
                  </a:cubicBezTo>
                  <a:cubicBezTo>
                    <a:pt x="1195071" y="93345"/>
                    <a:pt x="1196341" y="92075"/>
                    <a:pt x="1198246" y="90805"/>
                  </a:cubicBezTo>
                  <a:lnTo>
                    <a:pt x="1207136" y="100330"/>
                  </a:lnTo>
                  <a:cubicBezTo>
                    <a:pt x="1207136" y="100330"/>
                    <a:pt x="1203326" y="103505"/>
                    <a:pt x="1201421" y="104775"/>
                  </a:cubicBezTo>
                  <a:cubicBezTo>
                    <a:pt x="1199516" y="106045"/>
                    <a:pt x="1197611" y="106680"/>
                    <a:pt x="1195706" y="107950"/>
                  </a:cubicBezTo>
                  <a:cubicBezTo>
                    <a:pt x="1193801" y="108585"/>
                    <a:pt x="1191261" y="109855"/>
                    <a:pt x="1188721" y="109855"/>
                  </a:cubicBezTo>
                  <a:cubicBezTo>
                    <a:pt x="1186181" y="109855"/>
                    <a:pt x="1183006" y="110490"/>
                    <a:pt x="1179831" y="110490"/>
                  </a:cubicBezTo>
                  <a:cubicBezTo>
                    <a:pt x="1176656" y="110490"/>
                    <a:pt x="1173481" y="110490"/>
                    <a:pt x="1170306" y="109220"/>
                  </a:cubicBezTo>
                  <a:cubicBezTo>
                    <a:pt x="1167131" y="108585"/>
                    <a:pt x="1164591" y="107315"/>
                    <a:pt x="1162686" y="105410"/>
                  </a:cubicBezTo>
                  <a:cubicBezTo>
                    <a:pt x="1160781" y="103505"/>
                    <a:pt x="1158241" y="102235"/>
                    <a:pt x="1156336" y="100330"/>
                  </a:cubicBezTo>
                  <a:cubicBezTo>
                    <a:pt x="1154431" y="98425"/>
                    <a:pt x="1152526" y="95885"/>
                    <a:pt x="1151256" y="92710"/>
                  </a:cubicBezTo>
                  <a:cubicBezTo>
                    <a:pt x="1149351" y="89535"/>
                    <a:pt x="1148081" y="86360"/>
                    <a:pt x="1147446" y="82550"/>
                  </a:cubicBezTo>
                  <a:cubicBezTo>
                    <a:pt x="1146811" y="78740"/>
                    <a:pt x="1146176" y="74295"/>
                    <a:pt x="1146176" y="69850"/>
                  </a:cubicBezTo>
                  <a:cubicBezTo>
                    <a:pt x="1146176" y="63500"/>
                    <a:pt x="1146811" y="57150"/>
                    <a:pt x="1148716" y="52070"/>
                  </a:cubicBezTo>
                  <a:cubicBezTo>
                    <a:pt x="1150621" y="46990"/>
                    <a:pt x="1152526" y="42545"/>
                    <a:pt x="1155701" y="39370"/>
                  </a:cubicBezTo>
                  <a:cubicBezTo>
                    <a:pt x="1158876" y="36195"/>
                    <a:pt x="1162051" y="33020"/>
                    <a:pt x="1166496" y="31750"/>
                  </a:cubicBezTo>
                  <a:cubicBezTo>
                    <a:pt x="1170941" y="29845"/>
                    <a:pt x="1175386" y="29210"/>
                    <a:pt x="1180466" y="29210"/>
                  </a:cubicBezTo>
                  <a:close/>
                  <a:moveTo>
                    <a:pt x="901065" y="29210"/>
                  </a:moveTo>
                  <a:cubicBezTo>
                    <a:pt x="906780" y="29210"/>
                    <a:pt x="911225" y="30480"/>
                    <a:pt x="915670" y="32385"/>
                  </a:cubicBezTo>
                  <a:cubicBezTo>
                    <a:pt x="919480" y="34290"/>
                    <a:pt x="923290" y="37465"/>
                    <a:pt x="925830" y="40640"/>
                  </a:cubicBezTo>
                  <a:cubicBezTo>
                    <a:pt x="928370" y="44450"/>
                    <a:pt x="930275" y="48260"/>
                    <a:pt x="932180" y="53340"/>
                  </a:cubicBezTo>
                  <a:cubicBezTo>
                    <a:pt x="933450" y="57785"/>
                    <a:pt x="934085" y="62865"/>
                    <a:pt x="934085" y="68580"/>
                  </a:cubicBezTo>
                  <a:lnTo>
                    <a:pt x="932815" y="68580"/>
                  </a:lnTo>
                  <a:cubicBezTo>
                    <a:pt x="932815" y="68580"/>
                    <a:pt x="932815" y="71120"/>
                    <a:pt x="932815" y="72390"/>
                  </a:cubicBezTo>
                  <a:cubicBezTo>
                    <a:pt x="932815" y="73660"/>
                    <a:pt x="932815" y="74295"/>
                    <a:pt x="932815" y="75565"/>
                  </a:cubicBezTo>
                  <a:lnTo>
                    <a:pt x="881380" y="75565"/>
                  </a:lnTo>
                  <a:cubicBezTo>
                    <a:pt x="881380" y="79375"/>
                    <a:pt x="882650" y="82550"/>
                    <a:pt x="883920" y="85090"/>
                  </a:cubicBezTo>
                  <a:cubicBezTo>
                    <a:pt x="885190" y="87630"/>
                    <a:pt x="886460" y="90170"/>
                    <a:pt x="888365" y="91440"/>
                  </a:cubicBezTo>
                  <a:cubicBezTo>
                    <a:pt x="890270" y="93345"/>
                    <a:pt x="892175" y="94615"/>
                    <a:pt x="894080" y="95250"/>
                  </a:cubicBezTo>
                  <a:cubicBezTo>
                    <a:pt x="895985" y="95885"/>
                    <a:pt x="898525" y="96520"/>
                    <a:pt x="901065" y="96520"/>
                  </a:cubicBezTo>
                  <a:cubicBezTo>
                    <a:pt x="902970" y="96520"/>
                    <a:pt x="904240" y="96520"/>
                    <a:pt x="906145" y="96520"/>
                  </a:cubicBezTo>
                  <a:cubicBezTo>
                    <a:pt x="907415" y="96520"/>
                    <a:pt x="909320" y="95885"/>
                    <a:pt x="910590" y="95250"/>
                  </a:cubicBezTo>
                  <a:cubicBezTo>
                    <a:pt x="911860" y="95250"/>
                    <a:pt x="913130" y="93980"/>
                    <a:pt x="914400" y="93345"/>
                  </a:cubicBezTo>
                  <a:cubicBezTo>
                    <a:pt x="915670" y="93345"/>
                    <a:pt x="916940" y="92075"/>
                    <a:pt x="918845" y="90805"/>
                  </a:cubicBezTo>
                  <a:lnTo>
                    <a:pt x="927735" y="100330"/>
                  </a:lnTo>
                  <a:cubicBezTo>
                    <a:pt x="927735" y="100330"/>
                    <a:pt x="923925" y="103505"/>
                    <a:pt x="922020" y="104775"/>
                  </a:cubicBezTo>
                  <a:cubicBezTo>
                    <a:pt x="920115" y="106045"/>
                    <a:pt x="918210" y="106680"/>
                    <a:pt x="916305" y="107950"/>
                  </a:cubicBezTo>
                  <a:cubicBezTo>
                    <a:pt x="914400" y="108585"/>
                    <a:pt x="911860" y="109855"/>
                    <a:pt x="909320" y="109855"/>
                  </a:cubicBezTo>
                  <a:cubicBezTo>
                    <a:pt x="906780" y="109855"/>
                    <a:pt x="903605" y="110490"/>
                    <a:pt x="900430" y="110490"/>
                  </a:cubicBezTo>
                  <a:cubicBezTo>
                    <a:pt x="897255" y="110490"/>
                    <a:pt x="894080" y="110490"/>
                    <a:pt x="890905" y="109220"/>
                  </a:cubicBezTo>
                  <a:cubicBezTo>
                    <a:pt x="887730" y="108585"/>
                    <a:pt x="885190" y="107315"/>
                    <a:pt x="883285" y="105410"/>
                  </a:cubicBezTo>
                  <a:cubicBezTo>
                    <a:pt x="881380" y="103505"/>
                    <a:pt x="878840" y="102235"/>
                    <a:pt x="876935" y="100330"/>
                  </a:cubicBezTo>
                  <a:cubicBezTo>
                    <a:pt x="875030" y="98425"/>
                    <a:pt x="873125" y="95885"/>
                    <a:pt x="871855" y="92710"/>
                  </a:cubicBezTo>
                  <a:cubicBezTo>
                    <a:pt x="869950" y="89535"/>
                    <a:pt x="868680" y="86360"/>
                    <a:pt x="868045" y="82550"/>
                  </a:cubicBezTo>
                  <a:cubicBezTo>
                    <a:pt x="867410" y="78740"/>
                    <a:pt x="866775" y="74295"/>
                    <a:pt x="866775" y="69850"/>
                  </a:cubicBezTo>
                  <a:cubicBezTo>
                    <a:pt x="866775" y="63500"/>
                    <a:pt x="867410" y="57150"/>
                    <a:pt x="869315" y="52070"/>
                  </a:cubicBezTo>
                  <a:cubicBezTo>
                    <a:pt x="871220" y="46990"/>
                    <a:pt x="873125" y="42545"/>
                    <a:pt x="876300" y="39370"/>
                  </a:cubicBezTo>
                  <a:cubicBezTo>
                    <a:pt x="879475" y="36195"/>
                    <a:pt x="882650" y="33020"/>
                    <a:pt x="887095" y="31750"/>
                  </a:cubicBezTo>
                  <a:cubicBezTo>
                    <a:pt x="891540" y="29845"/>
                    <a:pt x="895985" y="29210"/>
                    <a:pt x="901065" y="29210"/>
                  </a:cubicBezTo>
                  <a:close/>
                  <a:moveTo>
                    <a:pt x="668656" y="29210"/>
                  </a:moveTo>
                  <a:cubicBezTo>
                    <a:pt x="671830" y="29210"/>
                    <a:pt x="674370" y="29210"/>
                    <a:pt x="676275" y="29845"/>
                  </a:cubicBezTo>
                  <a:cubicBezTo>
                    <a:pt x="678181" y="29845"/>
                    <a:pt x="680086" y="31115"/>
                    <a:pt x="681991" y="32385"/>
                  </a:cubicBezTo>
                  <a:lnTo>
                    <a:pt x="678181" y="46990"/>
                  </a:lnTo>
                  <a:lnTo>
                    <a:pt x="676910" y="46990"/>
                  </a:lnTo>
                  <a:cubicBezTo>
                    <a:pt x="676910" y="46990"/>
                    <a:pt x="673736" y="45085"/>
                    <a:pt x="671830" y="45085"/>
                  </a:cubicBezTo>
                  <a:cubicBezTo>
                    <a:pt x="669925" y="45085"/>
                    <a:pt x="668020" y="44450"/>
                    <a:pt x="665480" y="44450"/>
                  </a:cubicBezTo>
                  <a:cubicBezTo>
                    <a:pt x="660400" y="44450"/>
                    <a:pt x="656590" y="46355"/>
                    <a:pt x="654050" y="49530"/>
                  </a:cubicBezTo>
                  <a:cubicBezTo>
                    <a:pt x="651510" y="52705"/>
                    <a:pt x="650240" y="57785"/>
                    <a:pt x="650240" y="64770"/>
                  </a:cubicBezTo>
                  <a:lnTo>
                    <a:pt x="650240" y="109220"/>
                  </a:lnTo>
                  <a:lnTo>
                    <a:pt x="635000" y="109220"/>
                  </a:lnTo>
                  <a:lnTo>
                    <a:pt x="635000" y="31115"/>
                  </a:lnTo>
                  <a:lnTo>
                    <a:pt x="650240" y="31115"/>
                  </a:lnTo>
                  <a:lnTo>
                    <a:pt x="650240" y="38735"/>
                  </a:lnTo>
                  <a:cubicBezTo>
                    <a:pt x="650240" y="38735"/>
                    <a:pt x="652145" y="36195"/>
                    <a:pt x="653416" y="34925"/>
                  </a:cubicBezTo>
                  <a:cubicBezTo>
                    <a:pt x="654685" y="33655"/>
                    <a:pt x="655955" y="33020"/>
                    <a:pt x="657861" y="31750"/>
                  </a:cubicBezTo>
                  <a:cubicBezTo>
                    <a:pt x="659130" y="31115"/>
                    <a:pt x="661035" y="30480"/>
                    <a:pt x="662940" y="29845"/>
                  </a:cubicBezTo>
                  <a:cubicBezTo>
                    <a:pt x="664845" y="29845"/>
                    <a:pt x="666751" y="29210"/>
                    <a:pt x="668656" y="29210"/>
                  </a:cubicBezTo>
                  <a:close/>
                  <a:moveTo>
                    <a:pt x="586739" y="29210"/>
                  </a:moveTo>
                  <a:cubicBezTo>
                    <a:pt x="592454" y="29210"/>
                    <a:pt x="596899" y="30480"/>
                    <a:pt x="601344" y="32385"/>
                  </a:cubicBezTo>
                  <a:cubicBezTo>
                    <a:pt x="605154" y="34290"/>
                    <a:pt x="608964" y="37465"/>
                    <a:pt x="611504" y="40640"/>
                  </a:cubicBezTo>
                  <a:cubicBezTo>
                    <a:pt x="614044" y="44450"/>
                    <a:pt x="615949" y="48260"/>
                    <a:pt x="617854" y="53340"/>
                  </a:cubicBezTo>
                  <a:cubicBezTo>
                    <a:pt x="619124" y="57785"/>
                    <a:pt x="619759" y="62865"/>
                    <a:pt x="619759" y="68580"/>
                  </a:cubicBezTo>
                  <a:lnTo>
                    <a:pt x="618489" y="68580"/>
                  </a:lnTo>
                  <a:cubicBezTo>
                    <a:pt x="618489" y="68580"/>
                    <a:pt x="618489" y="71120"/>
                    <a:pt x="618489" y="72390"/>
                  </a:cubicBezTo>
                  <a:cubicBezTo>
                    <a:pt x="618489" y="73660"/>
                    <a:pt x="618489" y="74295"/>
                    <a:pt x="618489" y="75565"/>
                  </a:cubicBezTo>
                  <a:lnTo>
                    <a:pt x="567054" y="75565"/>
                  </a:lnTo>
                  <a:cubicBezTo>
                    <a:pt x="567054" y="79375"/>
                    <a:pt x="568324" y="82550"/>
                    <a:pt x="569594" y="85090"/>
                  </a:cubicBezTo>
                  <a:cubicBezTo>
                    <a:pt x="570864" y="87630"/>
                    <a:pt x="572134" y="90170"/>
                    <a:pt x="574039" y="91440"/>
                  </a:cubicBezTo>
                  <a:cubicBezTo>
                    <a:pt x="575944" y="93345"/>
                    <a:pt x="577849" y="94615"/>
                    <a:pt x="579754" y="95250"/>
                  </a:cubicBezTo>
                  <a:cubicBezTo>
                    <a:pt x="581659" y="95885"/>
                    <a:pt x="584199" y="96520"/>
                    <a:pt x="586739" y="96520"/>
                  </a:cubicBezTo>
                  <a:cubicBezTo>
                    <a:pt x="588644" y="96520"/>
                    <a:pt x="589914" y="96520"/>
                    <a:pt x="591819" y="96520"/>
                  </a:cubicBezTo>
                  <a:cubicBezTo>
                    <a:pt x="593089" y="96520"/>
                    <a:pt x="594994" y="95885"/>
                    <a:pt x="596264" y="95250"/>
                  </a:cubicBezTo>
                  <a:cubicBezTo>
                    <a:pt x="597534" y="95250"/>
                    <a:pt x="598804" y="93980"/>
                    <a:pt x="600074" y="93345"/>
                  </a:cubicBezTo>
                  <a:cubicBezTo>
                    <a:pt x="601344" y="93345"/>
                    <a:pt x="602614" y="92075"/>
                    <a:pt x="604519" y="90805"/>
                  </a:cubicBezTo>
                  <a:lnTo>
                    <a:pt x="613409" y="100330"/>
                  </a:lnTo>
                  <a:cubicBezTo>
                    <a:pt x="613409" y="100330"/>
                    <a:pt x="609599" y="103505"/>
                    <a:pt x="607694" y="104775"/>
                  </a:cubicBezTo>
                  <a:cubicBezTo>
                    <a:pt x="605789" y="106045"/>
                    <a:pt x="603884" y="106680"/>
                    <a:pt x="601979" y="107950"/>
                  </a:cubicBezTo>
                  <a:cubicBezTo>
                    <a:pt x="600074" y="108585"/>
                    <a:pt x="597534" y="109855"/>
                    <a:pt x="594994" y="109855"/>
                  </a:cubicBezTo>
                  <a:cubicBezTo>
                    <a:pt x="592454" y="109855"/>
                    <a:pt x="589279" y="110490"/>
                    <a:pt x="586104" y="110490"/>
                  </a:cubicBezTo>
                  <a:cubicBezTo>
                    <a:pt x="582929" y="110490"/>
                    <a:pt x="579754" y="110490"/>
                    <a:pt x="576579" y="109220"/>
                  </a:cubicBezTo>
                  <a:cubicBezTo>
                    <a:pt x="573404" y="108585"/>
                    <a:pt x="570864" y="107315"/>
                    <a:pt x="568959" y="105410"/>
                  </a:cubicBezTo>
                  <a:cubicBezTo>
                    <a:pt x="566419" y="104140"/>
                    <a:pt x="564514" y="102235"/>
                    <a:pt x="562609" y="100330"/>
                  </a:cubicBezTo>
                  <a:cubicBezTo>
                    <a:pt x="560704" y="98425"/>
                    <a:pt x="558799" y="95885"/>
                    <a:pt x="557529" y="92710"/>
                  </a:cubicBezTo>
                  <a:cubicBezTo>
                    <a:pt x="555624" y="89535"/>
                    <a:pt x="554354" y="86360"/>
                    <a:pt x="553719" y="82550"/>
                  </a:cubicBezTo>
                  <a:cubicBezTo>
                    <a:pt x="553084" y="78740"/>
                    <a:pt x="552449" y="74295"/>
                    <a:pt x="552449" y="69850"/>
                  </a:cubicBezTo>
                  <a:cubicBezTo>
                    <a:pt x="552449" y="63500"/>
                    <a:pt x="553084" y="57150"/>
                    <a:pt x="554989" y="52070"/>
                  </a:cubicBezTo>
                  <a:cubicBezTo>
                    <a:pt x="556894" y="46990"/>
                    <a:pt x="558799" y="42545"/>
                    <a:pt x="561974" y="39370"/>
                  </a:cubicBezTo>
                  <a:cubicBezTo>
                    <a:pt x="565149" y="36195"/>
                    <a:pt x="568324" y="33020"/>
                    <a:pt x="572769" y="31750"/>
                  </a:cubicBezTo>
                  <a:cubicBezTo>
                    <a:pt x="577214" y="29845"/>
                    <a:pt x="581659" y="29210"/>
                    <a:pt x="586739" y="29210"/>
                  </a:cubicBezTo>
                  <a:close/>
                  <a:moveTo>
                    <a:pt x="400050" y="29210"/>
                  </a:moveTo>
                  <a:cubicBezTo>
                    <a:pt x="405765" y="29210"/>
                    <a:pt x="410210" y="30480"/>
                    <a:pt x="414655" y="32385"/>
                  </a:cubicBezTo>
                  <a:cubicBezTo>
                    <a:pt x="418465" y="34290"/>
                    <a:pt x="422275" y="37465"/>
                    <a:pt x="424815" y="40640"/>
                  </a:cubicBezTo>
                  <a:cubicBezTo>
                    <a:pt x="427355" y="44450"/>
                    <a:pt x="429260" y="48260"/>
                    <a:pt x="431165" y="53340"/>
                  </a:cubicBezTo>
                  <a:cubicBezTo>
                    <a:pt x="432435" y="57785"/>
                    <a:pt x="433070" y="62865"/>
                    <a:pt x="433070" y="68580"/>
                  </a:cubicBezTo>
                  <a:lnTo>
                    <a:pt x="431800" y="68580"/>
                  </a:lnTo>
                  <a:cubicBezTo>
                    <a:pt x="431800" y="68580"/>
                    <a:pt x="431800" y="71120"/>
                    <a:pt x="431800" y="72390"/>
                  </a:cubicBezTo>
                  <a:cubicBezTo>
                    <a:pt x="431800" y="73660"/>
                    <a:pt x="431800" y="74295"/>
                    <a:pt x="431800" y="75565"/>
                  </a:cubicBezTo>
                  <a:lnTo>
                    <a:pt x="380365" y="75565"/>
                  </a:lnTo>
                  <a:cubicBezTo>
                    <a:pt x="380365" y="79375"/>
                    <a:pt x="381635" y="82550"/>
                    <a:pt x="382905" y="85090"/>
                  </a:cubicBezTo>
                  <a:cubicBezTo>
                    <a:pt x="384175" y="87630"/>
                    <a:pt x="385445" y="90170"/>
                    <a:pt x="387350" y="91440"/>
                  </a:cubicBezTo>
                  <a:cubicBezTo>
                    <a:pt x="389255" y="93345"/>
                    <a:pt x="391160" y="94615"/>
                    <a:pt x="393065" y="95250"/>
                  </a:cubicBezTo>
                  <a:cubicBezTo>
                    <a:pt x="394970" y="95885"/>
                    <a:pt x="397510" y="96520"/>
                    <a:pt x="400050" y="96520"/>
                  </a:cubicBezTo>
                  <a:cubicBezTo>
                    <a:pt x="401955" y="96520"/>
                    <a:pt x="403225" y="96520"/>
                    <a:pt x="405130" y="96520"/>
                  </a:cubicBezTo>
                  <a:cubicBezTo>
                    <a:pt x="406400" y="96520"/>
                    <a:pt x="408305" y="95885"/>
                    <a:pt x="409575" y="95250"/>
                  </a:cubicBezTo>
                  <a:cubicBezTo>
                    <a:pt x="410845" y="95250"/>
                    <a:pt x="412115" y="93980"/>
                    <a:pt x="413385" y="93345"/>
                  </a:cubicBezTo>
                  <a:cubicBezTo>
                    <a:pt x="414655" y="93345"/>
                    <a:pt x="415925" y="92075"/>
                    <a:pt x="417830" y="90805"/>
                  </a:cubicBezTo>
                  <a:lnTo>
                    <a:pt x="426720" y="100330"/>
                  </a:lnTo>
                  <a:cubicBezTo>
                    <a:pt x="426720" y="100330"/>
                    <a:pt x="422910" y="103505"/>
                    <a:pt x="421005" y="104775"/>
                  </a:cubicBezTo>
                  <a:cubicBezTo>
                    <a:pt x="419100" y="106045"/>
                    <a:pt x="417195" y="106680"/>
                    <a:pt x="415290" y="107950"/>
                  </a:cubicBezTo>
                  <a:cubicBezTo>
                    <a:pt x="413385" y="108585"/>
                    <a:pt x="410845" y="109855"/>
                    <a:pt x="408305" y="109855"/>
                  </a:cubicBezTo>
                  <a:cubicBezTo>
                    <a:pt x="405765" y="109855"/>
                    <a:pt x="402590" y="110490"/>
                    <a:pt x="399415" y="110490"/>
                  </a:cubicBezTo>
                  <a:cubicBezTo>
                    <a:pt x="396240" y="110490"/>
                    <a:pt x="393065" y="110490"/>
                    <a:pt x="389890" y="109220"/>
                  </a:cubicBezTo>
                  <a:cubicBezTo>
                    <a:pt x="386715" y="108585"/>
                    <a:pt x="384175" y="107315"/>
                    <a:pt x="382270" y="105410"/>
                  </a:cubicBezTo>
                  <a:cubicBezTo>
                    <a:pt x="380365" y="103505"/>
                    <a:pt x="377825" y="102235"/>
                    <a:pt x="375920" y="100330"/>
                  </a:cubicBezTo>
                  <a:cubicBezTo>
                    <a:pt x="374015" y="98425"/>
                    <a:pt x="372110" y="95885"/>
                    <a:pt x="370840" y="92710"/>
                  </a:cubicBezTo>
                  <a:cubicBezTo>
                    <a:pt x="368935" y="89535"/>
                    <a:pt x="367665" y="86360"/>
                    <a:pt x="367030" y="82550"/>
                  </a:cubicBezTo>
                  <a:cubicBezTo>
                    <a:pt x="366395" y="78740"/>
                    <a:pt x="365760" y="74295"/>
                    <a:pt x="365760" y="69850"/>
                  </a:cubicBezTo>
                  <a:cubicBezTo>
                    <a:pt x="365760" y="63500"/>
                    <a:pt x="366395" y="57150"/>
                    <a:pt x="368300" y="52070"/>
                  </a:cubicBezTo>
                  <a:cubicBezTo>
                    <a:pt x="370205" y="46990"/>
                    <a:pt x="372110" y="42545"/>
                    <a:pt x="375285" y="39370"/>
                  </a:cubicBezTo>
                  <a:cubicBezTo>
                    <a:pt x="378460" y="36195"/>
                    <a:pt x="381635" y="33020"/>
                    <a:pt x="386080" y="31750"/>
                  </a:cubicBezTo>
                  <a:cubicBezTo>
                    <a:pt x="390525" y="29845"/>
                    <a:pt x="394970" y="29210"/>
                    <a:pt x="400050" y="29210"/>
                  </a:cubicBezTo>
                  <a:close/>
                  <a:moveTo>
                    <a:pt x="201930" y="29210"/>
                  </a:moveTo>
                  <a:cubicBezTo>
                    <a:pt x="207645" y="29210"/>
                    <a:pt x="212090" y="30480"/>
                    <a:pt x="216535" y="32385"/>
                  </a:cubicBezTo>
                  <a:cubicBezTo>
                    <a:pt x="220345" y="34290"/>
                    <a:pt x="224155" y="37465"/>
                    <a:pt x="226695" y="40640"/>
                  </a:cubicBezTo>
                  <a:cubicBezTo>
                    <a:pt x="229235" y="44450"/>
                    <a:pt x="231140" y="48260"/>
                    <a:pt x="233045" y="53340"/>
                  </a:cubicBezTo>
                  <a:cubicBezTo>
                    <a:pt x="234315" y="57785"/>
                    <a:pt x="234950" y="62865"/>
                    <a:pt x="234950" y="68580"/>
                  </a:cubicBezTo>
                  <a:lnTo>
                    <a:pt x="233680" y="68580"/>
                  </a:lnTo>
                  <a:cubicBezTo>
                    <a:pt x="233680" y="68580"/>
                    <a:pt x="233680" y="71120"/>
                    <a:pt x="233680" y="72390"/>
                  </a:cubicBezTo>
                  <a:cubicBezTo>
                    <a:pt x="233680" y="73660"/>
                    <a:pt x="233680" y="74295"/>
                    <a:pt x="233680" y="75565"/>
                  </a:cubicBezTo>
                  <a:lnTo>
                    <a:pt x="182245" y="75565"/>
                  </a:lnTo>
                  <a:cubicBezTo>
                    <a:pt x="182245" y="79375"/>
                    <a:pt x="183515" y="82550"/>
                    <a:pt x="184785" y="85090"/>
                  </a:cubicBezTo>
                  <a:cubicBezTo>
                    <a:pt x="186055" y="87630"/>
                    <a:pt x="187325" y="90170"/>
                    <a:pt x="189230" y="91440"/>
                  </a:cubicBezTo>
                  <a:cubicBezTo>
                    <a:pt x="191135" y="93345"/>
                    <a:pt x="193040" y="94615"/>
                    <a:pt x="194945" y="95250"/>
                  </a:cubicBezTo>
                  <a:cubicBezTo>
                    <a:pt x="196850" y="95885"/>
                    <a:pt x="199390" y="96520"/>
                    <a:pt x="201930" y="96520"/>
                  </a:cubicBezTo>
                  <a:cubicBezTo>
                    <a:pt x="203835" y="96520"/>
                    <a:pt x="205105" y="96520"/>
                    <a:pt x="207010" y="96520"/>
                  </a:cubicBezTo>
                  <a:cubicBezTo>
                    <a:pt x="208280" y="96520"/>
                    <a:pt x="210185" y="95885"/>
                    <a:pt x="211455" y="95250"/>
                  </a:cubicBezTo>
                  <a:cubicBezTo>
                    <a:pt x="212725" y="95250"/>
                    <a:pt x="213995" y="93980"/>
                    <a:pt x="215265" y="93345"/>
                  </a:cubicBezTo>
                  <a:cubicBezTo>
                    <a:pt x="216535" y="93345"/>
                    <a:pt x="217805" y="92075"/>
                    <a:pt x="219710" y="90805"/>
                  </a:cubicBezTo>
                  <a:lnTo>
                    <a:pt x="228600" y="100330"/>
                  </a:lnTo>
                  <a:cubicBezTo>
                    <a:pt x="228600" y="100330"/>
                    <a:pt x="224790" y="103505"/>
                    <a:pt x="222885" y="104775"/>
                  </a:cubicBezTo>
                  <a:cubicBezTo>
                    <a:pt x="220980" y="106045"/>
                    <a:pt x="219075" y="106680"/>
                    <a:pt x="217170" y="107950"/>
                  </a:cubicBezTo>
                  <a:cubicBezTo>
                    <a:pt x="215265" y="108585"/>
                    <a:pt x="212725" y="109855"/>
                    <a:pt x="210185" y="109855"/>
                  </a:cubicBezTo>
                  <a:cubicBezTo>
                    <a:pt x="207645" y="109855"/>
                    <a:pt x="204470" y="110490"/>
                    <a:pt x="201295" y="110490"/>
                  </a:cubicBezTo>
                  <a:cubicBezTo>
                    <a:pt x="198120" y="110490"/>
                    <a:pt x="194945" y="110490"/>
                    <a:pt x="191770" y="109220"/>
                  </a:cubicBezTo>
                  <a:cubicBezTo>
                    <a:pt x="188595" y="108585"/>
                    <a:pt x="186055" y="107315"/>
                    <a:pt x="184150" y="105410"/>
                  </a:cubicBezTo>
                  <a:cubicBezTo>
                    <a:pt x="181610" y="104140"/>
                    <a:pt x="179705" y="102235"/>
                    <a:pt x="177800" y="100330"/>
                  </a:cubicBezTo>
                  <a:cubicBezTo>
                    <a:pt x="175895" y="98425"/>
                    <a:pt x="173990" y="95885"/>
                    <a:pt x="172720" y="92710"/>
                  </a:cubicBezTo>
                  <a:cubicBezTo>
                    <a:pt x="170815" y="89535"/>
                    <a:pt x="169545" y="86360"/>
                    <a:pt x="168910" y="82550"/>
                  </a:cubicBezTo>
                  <a:cubicBezTo>
                    <a:pt x="168275" y="78740"/>
                    <a:pt x="167640" y="74295"/>
                    <a:pt x="167640" y="69850"/>
                  </a:cubicBezTo>
                  <a:cubicBezTo>
                    <a:pt x="167640" y="63500"/>
                    <a:pt x="168275" y="57150"/>
                    <a:pt x="170180" y="52070"/>
                  </a:cubicBezTo>
                  <a:cubicBezTo>
                    <a:pt x="172085" y="46990"/>
                    <a:pt x="173990" y="42545"/>
                    <a:pt x="177165" y="39370"/>
                  </a:cubicBezTo>
                  <a:cubicBezTo>
                    <a:pt x="180340" y="36195"/>
                    <a:pt x="183515" y="33020"/>
                    <a:pt x="187960" y="31750"/>
                  </a:cubicBezTo>
                  <a:cubicBezTo>
                    <a:pt x="192405" y="29845"/>
                    <a:pt x="196850" y="29210"/>
                    <a:pt x="201930" y="29210"/>
                  </a:cubicBezTo>
                  <a:close/>
                  <a:moveTo>
                    <a:pt x="4664706" y="28574"/>
                  </a:moveTo>
                  <a:cubicBezTo>
                    <a:pt x="4669786" y="28574"/>
                    <a:pt x="4674231" y="29209"/>
                    <a:pt x="4678676" y="31749"/>
                  </a:cubicBezTo>
                  <a:cubicBezTo>
                    <a:pt x="4683121" y="33654"/>
                    <a:pt x="4686296" y="36194"/>
                    <a:pt x="4689471" y="40004"/>
                  </a:cubicBezTo>
                  <a:cubicBezTo>
                    <a:pt x="4692646" y="43814"/>
                    <a:pt x="4695186" y="47624"/>
                    <a:pt x="4696456" y="52704"/>
                  </a:cubicBezTo>
                  <a:cubicBezTo>
                    <a:pt x="4698361" y="57784"/>
                    <a:pt x="4698996" y="63499"/>
                    <a:pt x="4698996" y="69214"/>
                  </a:cubicBezTo>
                  <a:lnTo>
                    <a:pt x="4699631" y="69214"/>
                  </a:lnTo>
                  <a:cubicBezTo>
                    <a:pt x="4699631" y="75564"/>
                    <a:pt x="4698996" y="81279"/>
                    <a:pt x="4697091" y="86359"/>
                  </a:cubicBezTo>
                  <a:cubicBezTo>
                    <a:pt x="4695186" y="91439"/>
                    <a:pt x="4692646" y="95884"/>
                    <a:pt x="4689471" y="99059"/>
                  </a:cubicBezTo>
                  <a:cubicBezTo>
                    <a:pt x="4686296" y="102869"/>
                    <a:pt x="4682486" y="105409"/>
                    <a:pt x="4678041" y="107314"/>
                  </a:cubicBezTo>
                  <a:cubicBezTo>
                    <a:pt x="4673596" y="109219"/>
                    <a:pt x="4669151" y="109854"/>
                    <a:pt x="4664071" y="109854"/>
                  </a:cubicBezTo>
                  <a:cubicBezTo>
                    <a:pt x="4658991" y="109854"/>
                    <a:pt x="4654546" y="108584"/>
                    <a:pt x="4650101" y="106679"/>
                  </a:cubicBezTo>
                  <a:cubicBezTo>
                    <a:pt x="4645656" y="104774"/>
                    <a:pt x="4642481" y="102234"/>
                    <a:pt x="4639306" y="98424"/>
                  </a:cubicBezTo>
                  <a:cubicBezTo>
                    <a:pt x="4636131" y="94614"/>
                    <a:pt x="4633591" y="90804"/>
                    <a:pt x="4632321" y="85724"/>
                  </a:cubicBezTo>
                  <a:cubicBezTo>
                    <a:pt x="4630416" y="80644"/>
                    <a:pt x="4629781" y="74929"/>
                    <a:pt x="4629781" y="69214"/>
                  </a:cubicBezTo>
                  <a:cubicBezTo>
                    <a:pt x="4629781" y="63499"/>
                    <a:pt x="4630416" y="57149"/>
                    <a:pt x="4632321" y="52069"/>
                  </a:cubicBezTo>
                  <a:cubicBezTo>
                    <a:pt x="4634226" y="46989"/>
                    <a:pt x="4636766" y="42544"/>
                    <a:pt x="4639941" y="39369"/>
                  </a:cubicBezTo>
                  <a:cubicBezTo>
                    <a:pt x="4643116" y="35559"/>
                    <a:pt x="4646926" y="33019"/>
                    <a:pt x="4650736" y="31114"/>
                  </a:cubicBezTo>
                  <a:cubicBezTo>
                    <a:pt x="4655181" y="29209"/>
                    <a:pt x="4659626" y="28574"/>
                    <a:pt x="4664706" y="28574"/>
                  </a:cubicBezTo>
                  <a:close/>
                  <a:moveTo>
                    <a:pt x="4264655" y="28574"/>
                  </a:moveTo>
                  <a:cubicBezTo>
                    <a:pt x="4269735" y="28574"/>
                    <a:pt x="4274180" y="29209"/>
                    <a:pt x="4278625" y="31749"/>
                  </a:cubicBezTo>
                  <a:cubicBezTo>
                    <a:pt x="4283070" y="33654"/>
                    <a:pt x="4286245" y="36194"/>
                    <a:pt x="4289420" y="40004"/>
                  </a:cubicBezTo>
                  <a:cubicBezTo>
                    <a:pt x="4292595" y="43814"/>
                    <a:pt x="4295135" y="47624"/>
                    <a:pt x="4296405" y="52704"/>
                  </a:cubicBezTo>
                  <a:cubicBezTo>
                    <a:pt x="4298310" y="57784"/>
                    <a:pt x="4298945" y="63499"/>
                    <a:pt x="4298945" y="69214"/>
                  </a:cubicBezTo>
                  <a:lnTo>
                    <a:pt x="4299580" y="69214"/>
                  </a:lnTo>
                  <a:cubicBezTo>
                    <a:pt x="4299580" y="75564"/>
                    <a:pt x="4298945" y="81279"/>
                    <a:pt x="4297040" y="86359"/>
                  </a:cubicBezTo>
                  <a:cubicBezTo>
                    <a:pt x="4295135" y="91439"/>
                    <a:pt x="4292595" y="95884"/>
                    <a:pt x="4289420" y="99059"/>
                  </a:cubicBezTo>
                  <a:cubicBezTo>
                    <a:pt x="4286245" y="102869"/>
                    <a:pt x="4282435" y="105409"/>
                    <a:pt x="4277990" y="107314"/>
                  </a:cubicBezTo>
                  <a:cubicBezTo>
                    <a:pt x="4273545" y="109219"/>
                    <a:pt x="4269100" y="109854"/>
                    <a:pt x="4264020" y="109854"/>
                  </a:cubicBezTo>
                  <a:cubicBezTo>
                    <a:pt x="4258940" y="109854"/>
                    <a:pt x="4254495" y="108584"/>
                    <a:pt x="4250050" y="106679"/>
                  </a:cubicBezTo>
                  <a:cubicBezTo>
                    <a:pt x="4245605" y="104774"/>
                    <a:pt x="4242430" y="102234"/>
                    <a:pt x="4239255" y="98424"/>
                  </a:cubicBezTo>
                  <a:cubicBezTo>
                    <a:pt x="4236080" y="94614"/>
                    <a:pt x="4233540" y="90804"/>
                    <a:pt x="4232270" y="85724"/>
                  </a:cubicBezTo>
                  <a:cubicBezTo>
                    <a:pt x="4230365" y="80644"/>
                    <a:pt x="4229730" y="74929"/>
                    <a:pt x="4229730" y="69214"/>
                  </a:cubicBezTo>
                  <a:cubicBezTo>
                    <a:pt x="4229730" y="63499"/>
                    <a:pt x="4230365" y="57149"/>
                    <a:pt x="4232270" y="52069"/>
                  </a:cubicBezTo>
                  <a:cubicBezTo>
                    <a:pt x="4234175" y="46989"/>
                    <a:pt x="4236715" y="42544"/>
                    <a:pt x="4239890" y="39369"/>
                  </a:cubicBezTo>
                  <a:cubicBezTo>
                    <a:pt x="4243065" y="35559"/>
                    <a:pt x="4246875" y="33019"/>
                    <a:pt x="4250685" y="31114"/>
                  </a:cubicBezTo>
                  <a:cubicBezTo>
                    <a:pt x="4255130" y="29209"/>
                    <a:pt x="4259575" y="28574"/>
                    <a:pt x="4264655" y="28574"/>
                  </a:cubicBezTo>
                  <a:close/>
                  <a:moveTo>
                    <a:pt x="1420495" y="28574"/>
                  </a:moveTo>
                  <a:cubicBezTo>
                    <a:pt x="1425575" y="28574"/>
                    <a:pt x="1430020" y="29209"/>
                    <a:pt x="1434465" y="31749"/>
                  </a:cubicBezTo>
                  <a:cubicBezTo>
                    <a:pt x="1438910" y="33654"/>
                    <a:pt x="1442085" y="36194"/>
                    <a:pt x="1445260" y="40004"/>
                  </a:cubicBezTo>
                  <a:cubicBezTo>
                    <a:pt x="1448435" y="43814"/>
                    <a:pt x="1450975" y="47624"/>
                    <a:pt x="1452245" y="52704"/>
                  </a:cubicBezTo>
                  <a:cubicBezTo>
                    <a:pt x="1454150" y="57784"/>
                    <a:pt x="1454785" y="63499"/>
                    <a:pt x="1454785" y="69214"/>
                  </a:cubicBezTo>
                  <a:lnTo>
                    <a:pt x="1455420" y="69214"/>
                  </a:lnTo>
                  <a:cubicBezTo>
                    <a:pt x="1455420" y="75564"/>
                    <a:pt x="1454785" y="81279"/>
                    <a:pt x="1452880" y="86359"/>
                  </a:cubicBezTo>
                  <a:cubicBezTo>
                    <a:pt x="1450975" y="91439"/>
                    <a:pt x="1448435" y="95884"/>
                    <a:pt x="1445260" y="99059"/>
                  </a:cubicBezTo>
                  <a:cubicBezTo>
                    <a:pt x="1442085" y="102869"/>
                    <a:pt x="1438275" y="105409"/>
                    <a:pt x="1433830" y="107314"/>
                  </a:cubicBezTo>
                  <a:cubicBezTo>
                    <a:pt x="1429385" y="109219"/>
                    <a:pt x="1424940" y="109854"/>
                    <a:pt x="1419860" y="109854"/>
                  </a:cubicBezTo>
                  <a:cubicBezTo>
                    <a:pt x="1414780" y="109854"/>
                    <a:pt x="1410335" y="108584"/>
                    <a:pt x="1405890" y="106679"/>
                  </a:cubicBezTo>
                  <a:cubicBezTo>
                    <a:pt x="1401444" y="104774"/>
                    <a:pt x="1398270" y="102234"/>
                    <a:pt x="1395095" y="98424"/>
                  </a:cubicBezTo>
                  <a:cubicBezTo>
                    <a:pt x="1391920" y="94614"/>
                    <a:pt x="1389380" y="90804"/>
                    <a:pt x="1388110" y="85724"/>
                  </a:cubicBezTo>
                  <a:cubicBezTo>
                    <a:pt x="1386205" y="80644"/>
                    <a:pt x="1385570" y="74929"/>
                    <a:pt x="1385570" y="69214"/>
                  </a:cubicBezTo>
                  <a:cubicBezTo>
                    <a:pt x="1385570" y="63499"/>
                    <a:pt x="1386205" y="57149"/>
                    <a:pt x="1388110" y="52069"/>
                  </a:cubicBezTo>
                  <a:cubicBezTo>
                    <a:pt x="1390015" y="46989"/>
                    <a:pt x="1392555" y="42544"/>
                    <a:pt x="1395730" y="39369"/>
                  </a:cubicBezTo>
                  <a:cubicBezTo>
                    <a:pt x="1398905" y="35559"/>
                    <a:pt x="1402715" y="33019"/>
                    <a:pt x="1406525" y="31114"/>
                  </a:cubicBezTo>
                  <a:cubicBezTo>
                    <a:pt x="1410970" y="29209"/>
                    <a:pt x="1415415" y="28574"/>
                    <a:pt x="1420495" y="28574"/>
                  </a:cubicBezTo>
                  <a:close/>
                  <a:moveTo>
                    <a:pt x="3143245" y="5079"/>
                  </a:moveTo>
                  <a:lnTo>
                    <a:pt x="3219445" y="5079"/>
                  </a:lnTo>
                  <a:lnTo>
                    <a:pt x="3219445" y="20319"/>
                  </a:lnTo>
                  <a:lnTo>
                    <a:pt x="3188965" y="20319"/>
                  </a:lnTo>
                  <a:lnTo>
                    <a:pt x="3188965" y="108584"/>
                  </a:lnTo>
                  <a:lnTo>
                    <a:pt x="3173090" y="108584"/>
                  </a:lnTo>
                  <a:lnTo>
                    <a:pt x="3173090" y="20319"/>
                  </a:lnTo>
                  <a:lnTo>
                    <a:pt x="3143245" y="20319"/>
                  </a:lnTo>
                  <a:close/>
                  <a:moveTo>
                    <a:pt x="1628774" y="5079"/>
                  </a:moveTo>
                  <a:lnTo>
                    <a:pt x="1704970" y="5079"/>
                  </a:lnTo>
                  <a:lnTo>
                    <a:pt x="1704970" y="20319"/>
                  </a:lnTo>
                  <a:lnTo>
                    <a:pt x="1675129" y="20319"/>
                  </a:lnTo>
                  <a:lnTo>
                    <a:pt x="1675129" y="108584"/>
                  </a:lnTo>
                  <a:lnTo>
                    <a:pt x="1659255" y="108584"/>
                  </a:lnTo>
                  <a:lnTo>
                    <a:pt x="1659255" y="20319"/>
                  </a:lnTo>
                  <a:lnTo>
                    <a:pt x="1628774" y="20319"/>
                  </a:lnTo>
                  <a:close/>
                  <a:moveTo>
                    <a:pt x="0" y="5079"/>
                  </a:moveTo>
                  <a:lnTo>
                    <a:pt x="76200" y="5079"/>
                  </a:lnTo>
                  <a:lnTo>
                    <a:pt x="76200" y="20319"/>
                  </a:lnTo>
                  <a:lnTo>
                    <a:pt x="45720" y="20319"/>
                  </a:lnTo>
                  <a:lnTo>
                    <a:pt x="45720" y="108584"/>
                  </a:lnTo>
                  <a:lnTo>
                    <a:pt x="29845" y="108584"/>
                  </a:lnTo>
                  <a:lnTo>
                    <a:pt x="29845" y="20319"/>
                  </a:lnTo>
                  <a:lnTo>
                    <a:pt x="0" y="20319"/>
                  </a:lnTo>
                  <a:close/>
                  <a:moveTo>
                    <a:pt x="1362075" y="1269"/>
                  </a:moveTo>
                  <a:cubicBezTo>
                    <a:pt x="1363345" y="1269"/>
                    <a:pt x="1364615" y="1269"/>
                    <a:pt x="1365885" y="1904"/>
                  </a:cubicBezTo>
                  <a:cubicBezTo>
                    <a:pt x="1367155" y="1904"/>
                    <a:pt x="1367790" y="3174"/>
                    <a:pt x="1369060" y="3809"/>
                  </a:cubicBezTo>
                  <a:cubicBezTo>
                    <a:pt x="1369695" y="4444"/>
                    <a:pt x="1370965" y="5714"/>
                    <a:pt x="1370965" y="6984"/>
                  </a:cubicBezTo>
                  <a:cubicBezTo>
                    <a:pt x="1370965" y="8254"/>
                    <a:pt x="1371600" y="9524"/>
                    <a:pt x="1371600" y="10794"/>
                  </a:cubicBezTo>
                  <a:cubicBezTo>
                    <a:pt x="1371600" y="10794"/>
                    <a:pt x="1371600" y="13334"/>
                    <a:pt x="1370965" y="14604"/>
                  </a:cubicBezTo>
                  <a:cubicBezTo>
                    <a:pt x="1370965" y="15874"/>
                    <a:pt x="1369695" y="17144"/>
                    <a:pt x="1369060" y="17779"/>
                  </a:cubicBezTo>
                  <a:cubicBezTo>
                    <a:pt x="1368425" y="18414"/>
                    <a:pt x="1367155" y="19684"/>
                    <a:pt x="1365885" y="19684"/>
                  </a:cubicBezTo>
                  <a:cubicBezTo>
                    <a:pt x="1364615" y="19684"/>
                    <a:pt x="1363345" y="20319"/>
                    <a:pt x="1362075" y="20319"/>
                  </a:cubicBezTo>
                  <a:cubicBezTo>
                    <a:pt x="1360805" y="20319"/>
                    <a:pt x="1359535" y="20319"/>
                    <a:pt x="1358265" y="19684"/>
                  </a:cubicBezTo>
                  <a:cubicBezTo>
                    <a:pt x="1356995" y="19684"/>
                    <a:pt x="1355725" y="18414"/>
                    <a:pt x="1355090" y="17779"/>
                  </a:cubicBezTo>
                  <a:cubicBezTo>
                    <a:pt x="1354455" y="17144"/>
                    <a:pt x="1353185" y="15874"/>
                    <a:pt x="1353185" y="14604"/>
                  </a:cubicBezTo>
                  <a:cubicBezTo>
                    <a:pt x="1353185" y="13334"/>
                    <a:pt x="1352550" y="12064"/>
                    <a:pt x="1352550" y="10794"/>
                  </a:cubicBezTo>
                  <a:cubicBezTo>
                    <a:pt x="1352550" y="9524"/>
                    <a:pt x="1352550" y="8254"/>
                    <a:pt x="1353185" y="6984"/>
                  </a:cubicBezTo>
                  <a:cubicBezTo>
                    <a:pt x="1353185" y="5714"/>
                    <a:pt x="1354455" y="4444"/>
                    <a:pt x="1355090" y="3809"/>
                  </a:cubicBezTo>
                  <a:cubicBezTo>
                    <a:pt x="1355725" y="3174"/>
                    <a:pt x="1356995" y="1904"/>
                    <a:pt x="1358265" y="1904"/>
                  </a:cubicBezTo>
                  <a:cubicBezTo>
                    <a:pt x="1359535" y="1904"/>
                    <a:pt x="1360805" y="1269"/>
                    <a:pt x="1362075" y="1269"/>
                  </a:cubicBezTo>
                  <a:close/>
                  <a:moveTo>
                    <a:pt x="4789801" y="634"/>
                  </a:moveTo>
                  <a:lnTo>
                    <a:pt x="4789801" y="65404"/>
                  </a:lnTo>
                  <a:lnTo>
                    <a:pt x="4814566" y="31114"/>
                  </a:lnTo>
                  <a:lnTo>
                    <a:pt x="4831711" y="31114"/>
                  </a:lnTo>
                  <a:lnTo>
                    <a:pt x="4812026" y="57149"/>
                  </a:lnTo>
                  <a:lnTo>
                    <a:pt x="4835521" y="108584"/>
                  </a:lnTo>
                  <a:lnTo>
                    <a:pt x="4819011" y="108584"/>
                  </a:lnTo>
                  <a:lnTo>
                    <a:pt x="4801866" y="69849"/>
                  </a:lnTo>
                  <a:lnTo>
                    <a:pt x="4789801" y="85724"/>
                  </a:lnTo>
                  <a:lnTo>
                    <a:pt x="4789801" y="108584"/>
                  </a:lnTo>
                  <a:lnTo>
                    <a:pt x="4774561" y="108584"/>
                  </a:lnTo>
                  <a:lnTo>
                    <a:pt x="4774561" y="8889"/>
                  </a:lnTo>
                  <a:close/>
                  <a:moveTo>
                    <a:pt x="4472301" y="634"/>
                  </a:moveTo>
                  <a:lnTo>
                    <a:pt x="4472301" y="109219"/>
                  </a:lnTo>
                  <a:lnTo>
                    <a:pt x="4457061" y="109219"/>
                  </a:lnTo>
                  <a:lnTo>
                    <a:pt x="4457696" y="108584"/>
                  </a:lnTo>
                  <a:lnTo>
                    <a:pt x="4457696" y="100964"/>
                  </a:lnTo>
                  <a:cubicBezTo>
                    <a:pt x="4457696" y="100964"/>
                    <a:pt x="4454521" y="103504"/>
                    <a:pt x="4453251" y="104774"/>
                  </a:cubicBezTo>
                  <a:cubicBezTo>
                    <a:pt x="4451981" y="106044"/>
                    <a:pt x="4450076" y="106679"/>
                    <a:pt x="4448171" y="107949"/>
                  </a:cubicBezTo>
                  <a:cubicBezTo>
                    <a:pt x="4446266" y="108584"/>
                    <a:pt x="4444361" y="109219"/>
                    <a:pt x="4443091" y="109854"/>
                  </a:cubicBezTo>
                  <a:cubicBezTo>
                    <a:pt x="4441186" y="109854"/>
                    <a:pt x="4439281" y="109854"/>
                    <a:pt x="4437376" y="109854"/>
                  </a:cubicBezTo>
                  <a:cubicBezTo>
                    <a:pt x="4432931" y="109854"/>
                    <a:pt x="4429121" y="109219"/>
                    <a:pt x="4425946" y="107314"/>
                  </a:cubicBezTo>
                  <a:cubicBezTo>
                    <a:pt x="4422136" y="106044"/>
                    <a:pt x="4418961" y="103504"/>
                    <a:pt x="4416421" y="99694"/>
                  </a:cubicBezTo>
                  <a:cubicBezTo>
                    <a:pt x="4413881" y="96519"/>
                    <a:pt x="4411341" y="92074"/>
                    <a:pt x="4410071" y="86994"/>
                  </a:cubicBezTo>
                  <a:cubicBezTo>
                    <a:pt x="4408801" y="81914"/>
                    <a:pt x="4407531" y="75564"/>
                    <a:pt x="4407531" y="67944"/>
                  </a:cubicBezTo>
                  <a:cubicBezTo>
                    <a:pt x="4407531" y="61594"/>
                    <a:pt x="4408166" y="55244"/>
                    <a:pt x="4410071" y="50799"/>
                  </a:cubicBezTo>
                  <a:cubicBezTo>
                    <a:pt x="4411976" y="45719"/>
                    <a:pt x="4413881" y="41909"/>
                    <a:pt x="4417056" y="38734"/>
                  </a:cubicBezTo>
                  <a:cubicBezTo>
                    <a:pt x="4419596" y="35559"/>
                    <a:pt x="4423406" y="33019"/>
                    <a:pt x="4426581" y="31749"/>
                  </a:cubicBezTo>
                  <a:cubicBezTo>
                    <a:pt x="4430391" y="29844"/>
                    <a:pt x="4434201" y="29209"/>
                    <a:pt x="4438011" y="29209"/>
                  </a:cubicBezTo>
                  <a:cubicBezTo>
                    <a:pt x="4439916" y="29209"/>
                    <a:pt x="4441821" y="29209"/>
                    <a:pt x="4443726" y="29844"/>
                  </a:cubicBezTo>
                  <a:cubicBezTo>
                    <a:pt x="4445631" y="29844"/>
                    <a:pt x="4447536" y="31114"/>
                    <a:pt x="4448806" y="31749"/>
                  </a:cubicBezTo>
                  <a:cubicBezTo>
                    <a:pt x="4450711" y="32384"/>
                    <a:pt x="4451981" y="33654"/>
                    <a:pt x="4453251" y="34924"/>
                  </a:cubicBezTo>
                  <a:cubicBezTo>
                    <a:pt x="4454521" y="36194"/>
                    <a:pt x="4455791" y="36829"/>
                    <a:pt x="4457061" y="38099"/>
                  </a:cubicBezTo>
                  <a:lnTo>
                    <a:pt x="4457061" y="8254"/>
                  </a:lnTo>
                  <a:close/>
                  <a:moveTo>
                    <a:pt x="4390385" y="634"/>
                  </a:moveTo>
                  <a:lnTo>
                    <a:pt x="4390385" y="108584"/>
                  </a:lnTo>
                  <a:lnTo>
                    <a:pt x="4375145" y="108584"/>
                  </a:lnTo>
                  <a:lnTo>
                    <a:pt x="4375145" y="8889"/>
                  </a:lnTo>
                  <a:close/>
                  <a:moveTo>
                    <a:pt x="3946521" y="634"/>
                  </a:moveTo>
                  <a:lnTo>
                    <a:pt x="3946521" y="38099"/>
                  </a:lnTo>
                  <a:cubicBezTo>
                    <a:pt x="3946521" y="38099"/>
                    <a:pt x="3948426" y="35559"/>
                    <a:pt x="3950331" y="34289"/>
                  </a:cubicBezTo>
                  <a:cubicBezTo>
                    <a:pt x="3951601" y="33019"/>
                    <a:pt x="3953506" y="32384"/>
                    <a:pt x="3954776" y="31114"/>
                  </a:cubicBezTo>
                  <a:cubicBezTo>
                    <a:pt x="3956681" y="30479"/>
                    <a:pt x="3958586" y="29844"/>
                    <a:pt x="3960491" y="29209"/>
                  </a:cubicBezTo>
                  <a:cubicBezTo>
                    <a:pt x="3962396" y="29209"/>
                    <a:pt x="3964301" y="29209"/>
                    <a:pt x="3966206" y="29209"/>
                  </a:cubicBezTo>
                  <a:cubicBezTo>
                    <a:pt x="3970651" y="29209"/>
                    <a:pt x="3975096" y="29844"/>
                    <a:pt x="3978271" y="31749"/>
                  </a:cubicBezTo>
                  <a:cubicBezTo>
                    <a:pt x="3981446" y="33019"/>
                    <a:pt x="3984621" y="35559"/>
                    <a:pt x="3987161" y="38099"/>
                  </a:cubicBezTo>
                  <a:cubicBezTo>
                    <a:pt x="3989701" y="41274"/>
                    <a:pt x="3990971" y="44449"/>
                    <a:pt x="3992241" y="49529"/>
                  </a:cubicBezTo>
                  <a:cubicBezTo>
                    <a:pt x="3993511" y="53974"/>
                    <a:pt x="3994146" y="59054"/>
                    <a:pt x="3994146" y="64134"/>
                  </a:cubicBezTo>
                  <a:lnTo>
                    <a:pt x="3994146" y="108584"/>
                  </a:lnTo>
                  <a:lnTo>
                    <a:pt x="3978906" y="108584"/>
                  </a:lnTo>
                  <a:lnTo>
                    <a:pt x="3978271" y="108584"/>
                  </a:lnTo>
                  <a:lnTo>
                    <a:pt x="3978271" y="64769"/>
                  </a:lnTo>
                  <a:cubicBezTo>
                    <a:pt x="3978271" y="57784"/>
                    <a:pt x="3977001" y="52069"/>
                    <a:pt x="3974461" y="48894"/>
                  </a:cubicBezTo>
                  <a:cubicBezTo>
                    <a:pt x="3971921" y="45084"/>
                    <a:pt x="3968111" y="43814"/>
                    <a:pt x="3962396" y="43814"/>
                  </a:cubicBezTo>
                  <a:cubicBezTo>
                    <a:pt x="3959856" y="43814"/>
                    <a:pt x="3957951" y="43814"/>
                    <a:pt x="3956046" y="45084"/>
                  </a:cubicBezTo>
                  <a:cubicBezTo>
                    <a:pt x="3954141" y="45719"/>
                    <a:pt x="3952236" y="46989"/>
                    <a:pt x="3950966" y="48894"/>
                  </a:cubicBezTo>
                  <a:cubicBezTo>
                    <a:pt x="3949696" y="50799"/>
                    <a:pt x="3948426" y="52704"/>
                    <a:pt x="3947791" y="55244"/>
                  </a:cubicBezTo>
                  <a:cubicBezTo>
                    <a:pt x="3947156" y="57784"/>
                    <a:pt x="3946521" y="60324"/>
                    <a:pt x="3946521" y="63499"/>
                  </a:cubicBezTo>
                  <a:lnTo>
                    <a:pt x="3946521" y="109219"/>
                  </a:lnTo>
                  <a:lnTo>
                    <a:pt x="3931281" y="109219"/>
                  </a:lnTo>
                  <a:lnTo>
                    <a:pt x="3931281" y="8889"/>
                  </a:lnTo>
                  <a:close/>
                  <a:moveTo>
                    <a:pt x="3248021" y="634"/>
                  </a:moveTo>
                  <a:lnTo>
                    <a:pt x="3248021" y="38099"/>
                  </a:lnTo>
                  <a:cubicBezTo>
                    <a:pt x="3248021" y="38099"/>
                    <a:pt x="3249926" y="35559"/>
                    <a:pt x="3251831" y="34289"/>
                  </a:cubicBezTo>
                  <a:cubicBezTo>
                    <a:pt x="3253101" y="33019"/>
                    <a:pt x="3255006" y="32384"/>
                    <a:pt x="3256276" y="31114"/>
                  </a:cubicBezTo>
                  <a:cubicBezTo>
                    <a:pt x="3258181" y="30479"/>
                    <a:pt x="3260086" y="29844"/>
                    <a:pt x="3261991" y="29209"/>
                  </a:cubicBezTo>
                  <a:cubicBezTo>
                    <a:pt x="3263896" y="29209"/>
                    <a:pt x="3265801" y="29209"/>
                    <a:pt x="3267706" y="29209"/>
                  </a:cubicBezTo>
                  <a:cubicBezTo>
                    <a:pt x="3272151" y="29209"/>
                    <a:pt x="3276596" y="29844"/>
                    <a:pt x="3279771" y="31749"/>
                  </a:cubicBezTo>
                  <a:cubicBezTo>
                    <a:pt x="3282946" y="33019"/>
                    <a:pt x="3286121" y="35559"/>
                    <a:pt x="3288661" y="38099"/>
                  </a:cubicBezTo>
                  <a:cubicBezTo>
                    <a:pt x="3291201" y="41274"/>
                    <a:pt x="3292471" y="44449"/>
                    <a:pt x="3293741" y="49529"/>
                  </a:cubicBezTo>
                  <a:cubicBezTo>
                    <a:pt x="3295011" y="53974"/>
                    <a:pt x="3295646" y="59054"/>
                    <a:pt x="3295646" y="64134"/>
                  </a:cubicBezTo>
                  <a:lnTo>
                    <a:pt x="3295646" y="108584"/>
                  </a:lnTo>
                  <a:lnTo>
                    <a:pt x="3280406" y="108584"/>
                  </a:lnTo>
                  <a:lnTo>
                    <a:pt x="3279771" y="108584"/>
                  </a:lnTo>
                  <a:lnTo>
                    <a:pt x="3279771" y="64769"/>
                  </a:lnTo>
                  <a:cubicBezTo>
                    <a:pt x="3279771" y="57784"/>
                    <a:pt x="3278501" y="52069"/>
                    <a:pt x="3275961" y="48894"/>
                  </a:cubicBezTo>
                  <a:cubicBezTo>
                    <a:pt x="3273421" y="45084"/>
                    <a:pt x="3269611" y="43814"/>
                    <a:pt x="3263896" y="43814"/>
                  </a:cubicBezTo>
                  <a:cubicBezTo>
                    <a:pt x="3261356" y="43814"/>
                    <a:pt x="3259451" y="43814"/>
                    <a:pt x="3257546" y="45084"/>
                  </a:cubicBezTo>
                  <a:cubicBezTo>
                    <a:pt x="3255641" y="45719"/>
                    <a:pt x="3253736" y="46989"/>
                    <a:pt x="3252466" y="48894"/>
                  </a:cubicBezTo>
                  <a:cubicBezTo>
                    <a:pt x="3251196" y="50799"/>
                    <a:pt x="3249926" y="52704"/>
                    <a:pt x="3249291" y="55244"/>
                  </a:cubicBezTo>
                  <a:cubicBezTo>
                    <a:pt x="3248656" y="57784"/>
                    <a:pt x="3248021" y="60324"/>
                    <a:pt x="3248021" y="63499"/>
                  </a:cubicBezTo>
                  <a:lnTo>
                    <a:pt x="3248021" y="109219"/>
                  </a:lnTo>
                  <a:lnTo>
                    <a:pt x="3232781" y="109219"/>
                  </a:lnTo>
                  <a:lnTo>
                    <a:pt x="3232781" y="8889"/>
                  </a:lnTo>
                  <a:close/>
                  <a:moveTo>
                    <a:pt x="2432681" y="634"/>
                  </a:moveTo>
                  <a:lnTo>
                    <a:pt x="2432681" y="38099"/>
                  </a:lnTo>
                  <a:cubicBezTo>
                    <a:pt x="2432681" y="38099"/>
                    <a:pt x="2434586" y="35559"/>
                    <a:pt x="2436491" y="34289"/>
                  </a:cubicBezTo>
                  <a:cubicBezTo>
                    <a:pt x="2437761" y="33019"/>
                    <a:pt x="2439666" y="32384"/>
                    <a:pt x="2440936" y="31114"/>
                  </a:cubicBezTo>
                  <a:cubicBezTo>
                    <a:pt x="2442841" y="30479"/>
                    <a:pt x="2444746" y="29844"/>
                    <a:pt x="2446651" y="29209"/>
                  </a:cubicBezTo>
                  <a:cubicBezTo>
                    <a:pt x="2448556" y="29209"/>
                    <a:pt x="2450461" y="29209"/>
                    <a:pt x="2452366" y="29209"/>
                  </a:cubicBezTo>
                  <a:cubicBezTo>
                    <a:pt x="2456811" y="29209"/>
                    <a:pt x="2461256" y="29844"/>
                    <a:pt x="2464431" y="31749"/>
                  </a:cubicBezTo>
                  <a:cubicBezTo>
                    <a:pt x="2467606" y="33019"/>
                    <a:pt x="2470781" y="35559"/>
                    <a:pt x="2473321" y="38099"/>
                  </a:cubicBezTo>
                  <a:cubicBezTo>
                    <a:pt x="2475861" y="41274"/>
                    <a:pt x="2477131" y="44449"/>
                    <a:pt x="2478401" y="49529"/>
                  </a:cubicBezTo>
                  <a:cubicBezTo>
                    <a:pt x="2479671" y="53974"/>
                    <a:pt x="2480306" y="59054"/>
                    <a:pt x="2480306" y="64134"/>
                  </a:cubicBezTo>
                  <a:lnTo>
                    <a:pt x="2480306" y="108584"/>
                  </a:lnTo>
                  <a:lnTo>
                    <a:pt x="2465066" y="108584"/>
                  </a:lnTo>
                  <a:lnTo>
                    <a:pt x="2464431" y="108584"/>
                  </a:lnTo>
                  <a:lnTo>
                    <a:pt x="2464431" y="64769"/>
                  </a:lnTo>
                  <a:cubicBezTo>
                    <a:pt x="2464431" y="57784"/>
                    <a:pt x="2463161" y="52069"/>
                    <a:pt x="2460621" y="48894"/>
                  </a:cubicBezTo>
                  <a:cubicBezTo>
                    <a:pt x="2458081" y="45084"/>
                    <a:pt x="2454271" y="43814"/>
                    <a:pt x="2448556" y="43814"/>
                  </a:cubicBezTo>
                  <a:cubicBezTo>
                    <a:pt x="2446016" y="43814"/>
                    <a:pt x="2444111" y="43814"/>
                    <a:pt x="2442206" y="45084"/>
                  </a:cubicBezTo>
                  <a:cubicBezTo>
                    <a:pt x="2440301" y="45719"/>
                    <a:pt x="2438396" y="46989"/>
                    <a:pt x="2437126" y="48894"/>
                  </a:cubicBezTo>
                  <a:cubicBezTo>
                    <a:pt x="2435856" y="50799"/>
                    <a:pt x="2434586" y="52704"/>
                    <a:pt x="2433951" y="55244"/>
                  </a:cubicBezTo>
                  <a:cubicBezTo>
                    <a:pt x="2433316" y="57784"/>
                    <a:pt x="2432681" y="60324"/>
                    <a:pt x="2432681" y="63499"/>
                  </a:cubicBezTo>
                  <a:lnTo>
                    <a:pt x="2432681" y="109219"/>
                  </a:lnTo>
                  <a:lnTo>
                    <a:pt x="2417441" y="109219"/>
                  </a:lnTo>
                  <a:lnTo>
                    <a:pt x="2417441" y="8889"/>
                  </a:lnTo>
                  <a:close/>
                  <a:moveTo>
                    <a:pt x="1734181" y="634"/>
                  </a:moveTo>
                  <a:lnTo>
                    <a:pt x="1734181" y="38099"/>
                  </a:lnTo>
                  <a:cubicBezTo>
                    <a:pt x="1734181" y="38099"/>
                    <a:pt x="1736086" y="35559"/>
                    <a:pt x="1737991" y="34289"/>
                  </a:cubicBezTo>
                  <a:cubicBezTo>
                    <a:pt x="1739261" y="33019"/>
                    <a:pt x="1741166" y="32384"/>
                    <a:pt x="1742436" y="31114"/>
                  </a:cubicBezTo>
                  <a:cubicBezTo>
                    <a:pt x="1744341" y="30479"/>
                    <a:pt x="1746246" y="29844"/>
                    <a:pt x="1748151" y="29209"/>
                  </a:cubicBezTo>
                  <a:cubicBezTo>
                    <a:pt x="1750056" y="29209"/>
                    <a:pt x="1751961" y="29209"/>
                    <a:pt x="1753866" y="29209"/>
                  </a:cubicBezTo>
                  <a:cubicBezTo>
                    <a:pt x="1758311" y="29209"/>
                    <a:pt x="1762756" y="29844"/>
                    <a:pt x="1765931" y="31749"/>
                  </a:cubicBezTo>
                  <a:cubicBezTo>
                    <a:pt x="1769106" y="33019"/>
                    <a:pt x="1772281" y="35559"/>
                    <a:pt x="1774821" y="38099"/>
                  </a:cubicBezTo>
                  <a:cubicBezTo>
                    <a:pt x="1777361" y="41274"/>
                    <a:pt x="1778631" y="44449"/>
                    <a:pt x="1779901" y="49529"/>
                  </a:cubicBezTo>
                  <a:cubicBezTo>
                    <a:pt x="1781171" y="53974"/>
                    <a:pt x="1781806" y="59054"/>
                    <a:pt x="1781806" y="64134"/>
                  </a:cubicBezTo>
                  <a:lnTo>
                    <a:pt x="1781806" y="108584"/>
                  </a:lnTo>
                  <a:lnTo>
                    <a:pt x="1766566" y="108584"/>
                  </a:lnTo>
                  <a:lnTo>
                    <a:pt x="1765931" y="108584"/>
                  </a:lnTo>
                  <a:lnTo>
                    <a:pt x="1765931" y="64769"/>
                  </a:lnTo>
                  <a:cubicBezTo>
                    <a:pt x="1765931" y="57784"/>
                    <a:pt x="1764661" y="52069"/>
                    <a:pt x="1762121" y="48894"/>
                  </a:cubicBezTo>
                  <a:cubicBezTo>
                    <a:pt x="1759581" y="45084"/>
                    <a:pt x="1755771" y="43814"/>
                    <a:pt x="1750056" y="43814"/>
                  </a:cubicBezTo>
                  <a:cubicBezTo>
                    <a:pt x="1747516" y="43814"/>
                    <a:pt x="1745611" y="43814"/>
                    <a:pt x="1743706" y="45084"/>
                  </a:cubicBezTo>
                  <a:cubicBezTo>
                    <a:pt x="1741801" y="45719"/>
                    <a:pt x="1739896" y="46989"/>
                    <a:pt x="1738626" y="48894"/>
                  </a:cubicBezTo>
                  <a:cubicBezTo>
                    <a:pt x="1737356" y="50799"/>
                    <a:pt x="1736086" y="52704"/>
                    <a:pt x="1735451" y="55244"/>
                  </a:cubicBezTo>
                  <a:cubicBezTo>
                    <a:pt x="1734816" y="57784"/>
                    <a:pt x="1734181" y="60324"/>
                    <a:pt x="1734181" y="63499"/>
                  </a:cubicBezTo>
                  <a:lnTo>
                    <a:pt x="1734181" y="109219"/>
                  </a:lnTo>
                  <a:lnTo>
                    <a:pt x="1718941" y="109219"/>
                  </a:lnTo>
                  <a:lnTo>
                    <a:pt x="1718941" y="8889"/>
                  </a:lnTo>
                  <a:close/>
                  <a:moveTo>
                    <a:pt x="803275" y="634"/>
                  </a:moveTo>
                  <a:lnTo>
                    <a:pt x="803275" y="38099"/>
                  </a:lnTo>
                  <a:cubicBezTo>
                    <a:pt x="803275" y="38099"/>
                    <a:pt x="805180" y="35559"/>
                    <a:pt x="807085" y="34289"/>
                  </a:cubicBezTo>
                  <a:cubicBezTo>
                    <a:pt x="808355" y="33019"/>
                    <a:pt x="810260" y="32384"/>
                    <a:pt x="811530" y="31114"/>
                  </a:cubicBezTo>
                  <a:cubicBezTo>
                    <a:pt x="813435" y="30479"/>
                    <a:pt x="815340" y="29844"/>
                    <a:pt x="817245" y="29209"/>
                  </a:cubicBezTo>
                  <a:cubicBezTo>
                    <a:pt x="819150" y="29209"/>
                    <a:pt x="821055" y="29209"/>
                    <a:pt x="822960" y="29209"/>
                  </a:cubicBezTo>
                  <a:cubicBezTo>
                    <a:pt x="827405" y="29209"/>
                    <a:pt x="831850" y="29844"/>
                    <a:pt x="835025" y="31749"/>
                  </a:cubicBezTo>
                  <a:cubicBezTo>
                    <a:pt x="838200" y="33019"/>
                    <a:pt x="841375" y="35559"/>
                    <a:pt x="843915" y="38099"/>
                  </a:cubicBezTo>
                  <a:cubicBezTo>
                    <a:pt x="846455" y="41274"/>
                    <a:pt x="847725" y="44449"/>
                    <a:pt x="848995" y="49529"/>
                  </a:cubicBezTo>
                  <a:cubicBezTo>
                    <a:pt x="850265" y="53974"/>
                    <a:pt x="850900" y="59054"/>
                    <a:pt x="850900" y="64134"/>
                  </a:cubicBezTo>
                  <a:lnTo>
                    <a:pt x="850900" y="108584"/>
                  </a:lnTo>
                  <a:lnTo>
                    <a:pt x="835660" y="108584"/>
                  </a:lnTo>
                  <a:lnTo>
                    <a:pt x="835025" y="108584"/>
                  </a:lnTo>
                  <a:lnTo>
                    <a:pt x="835025" y="64769"/>
                  </a:lnTo>
                  <a:cubicBezTo>
                    <a:pt x="835025" y="57784"/>
                    <a:pt x="833755" y="52069"/>
                    <a:pt x="831215" y="48894"/>
                  </a:cubicBezTo>
                  <a:cubicBezTo>
                    <a:pt x="828675" y="45084"/>
                    <a:pt x="824865" y="43814"/>
                    <a:pt x="819150" y="43814"/>
                  </a:cubicBezTo>
                  <a:cubicBezTo>
                    <a:pt x="816610" y="43814"/>
                    <a:pt x="814705" y="43814"/>
                    <a:pt x="812800" y="45084"/>
                  </a:cubicBezTo>
                  <a:cubicBezTo>
                    <a:pt x="810895" y="45719"/>
                    <a:pt x="808990" y="46989"/>
                    <a:pt x="807720" y="48894"/>
                  </a:cubicBezTo>
                  <a:cubicBezTo>
                    <a:pt x="806450" y="50799"/>
                    <a:pt x="805180" y="52704"/>
                    <a:pt x="804545" y="55244"/>
                  </a:cubicBezTo>
                  <a:cubicBezTo>
                    <a:pt x="803910" y="57784"/>
                    <a:pt x="803275" y="60324"/>
                    <a:pt x="803275" y="63499"/>
                  </a:cubicBezTo>
                  <a:lnTo>
                    <a:pt x="803275" y="109219"/>
                  </a:lnTo>
                  <a:lnTo>
                    <a:pt x="788035" y="109219"/>
                  </a:lnTo>
                  <a:lnTo>
                    <a:pt x="788035" y="8889"/>
                  </a:lnTo>
                  <a:close/>
                  <a:moveTo>
                    <a:pt x="104774" y="634"/>
                  </a:moveTo>
                  <a:lnTo>
                    <a:pt x="104774" y="38099"/>
                  </a:lnTo>
                  <a:cubicBezTo>
                    <a:pt x="104774" y="38099"/>
                    <a:pt x="106679" y="35559"/>
                    <a:pt x="108584" y="34289"/>
                  </a:cubicBezTo>
                  <a:cubicBezTo>
                    <a:pt x="109854" y="33019"/>
                    <a:pt x="111759" y="32384"/>
                    <a:pt x="113029" y="31114"/>
                  </a:cubicBezTo>
                  <a:cubicBezTo>
                    <a:pt x="114934" y="30479"/>
                    <a:pt x="116839" y="29844"/>
                    <a:pt x="118744" y="29209"/>
                  </a:cubicBezTo>
                  <a:cubicBezTo>
                    <a:pt x="120649" y="29209"/>
                    <a:pt x="122554" y="29209"/>
                    <a:pt x="124459" y="29209"/>
                  </a:cubicBezTo>
                  <a:cubicBezTo>
                    <a:pt x="128904" y="29209"/>
                    <a:pt x="133349" y="29844"/>
                    <a:pt x="136524" y="31749"/>
                  </a:cubicBezTo>
                  <a:cubicBezTo>
                    <a:pt x="139699" y="33019"/>
                    <a:pt x="142874" y="35559"/>
                    <a:pt x="145414" y="38099"/>
                  </a:cubicBezTo>
                  <a:cubicBezTo>
                    <a:pt x="147954" y="41274"/>
                    <a:pt x="149224" y="44449"/>
                    <a:pt x="150494" y="49529"/>
                  </a:cubicBezTo>
                  <a:cubicBezTo>
                    <a:pt x="151764" y="53974"/>
                    <a:pt x="152399" y="59054"/>
                    <a:pt x="152399" y="64134"/>
                  </a:cubicBezTo>
                  <a:lnTo>
                    <a:pt x="152399" y="108584"/>
                  </a:lnTo>
                  <a:lnTo>
                    <a:pt x="137159" y="108584"/>
                  </a:lnTo>
                  <a:lnTo>
                    <a:pt x="136524" y="108584"/>
                  </a:lnTo>
                  <a:lnTo>
                    <a:pt x="136524" y="64769"/>
                  </a:lnTo>
                  <a:cubicBezTo>
                    <a:pt x="136524" y="57784"/>
                    <a:pt x="135254" y="52069"/>
                    <a:pt x="132714" y="48894"/>
                  </a:cubicBezTo>
                  <a:cubicBezTo>
                    <a:pt x="130174" y="45084"/>
                    <a:pt x="126364" y="43814"/>
                    <a:pt x="120649" y="43814"/>
                  </a:cubicBezTo>
                  <a:cubicBezTo>
                    <a:pt x="118109" y="43814"/>
                    <a:pt x="116204" y="43814"/>
                    <a:pt x="114299" y="45084"/>
                  </a:cubicBezTo>
                  <a:cubicBezTo>
                    <a:pt x="112394" y="45719"/>
                    <a:pt x="110489" y="46989"/>
                    <a:pt x="109219" y="48894"/>
                  </a:cubicBezTo>
                  <a:cubicBezTo>
                    <a:pt x="107949" y="50799"/>
                    <a:pt x="106679" y="52704"/>
                    <a:pt x="106044" y="55244"/>
                  </a:cubicBezTo>
                  <a:cubicBezTo>
                    <a:pt x="105409" y="57784"/>
                    <a:pt x="104774" y="60324"/>
                    <a:pt x="104774" y="63499"/>
                  </a:cubicBezTo>
                  <a:lnTo>
                    <a:pt x="104774" y="109219"/>
                  </a:lnTo>
                  <a:lnTo>
                    <a:pt x="89534" y="109219"/>
                  </a:lnTo>
                  <a:lnTo>
                    <a:pt x="89534" y="8889"/>
                  </a:lnTo>
                  <a:close/>
                  <a:moveTo>
                    <a:pt x="3894450" y="0"/>
                  </a:moveTo>
                  <a:lnTo>
                    <a:pt x="3894450" y="30480"/>
                  </a:lnTo>
                  <a:lnTo>
                    <a:pt x="3913500" y="30480"/>
                  </a:lnTo>
                  <a:lnTo>
                    <a:pt x="3913500" y="44450"/>
                  </a:lnTo>
                  <a:lnTo>
                    <a:pt x="3894450" y="44450"/>
                  </a:lnTo>
                  <a:lnTo>
                    <a:pt x="3894450" y="86995"/>
                  </a:lnTo>
                  <a:cubicBezTo>
                    <a:pt x="3894450" y="86995"/>
                    <a:pt x="3894450" y="90170"/>
                    <a:pt x="3894450" y="91440"/>
                  </a:cubicBezTo>
                  <a:cubicBezTo>
                    <a:pt x="3894450" y="92710"/>
                    <a:pt x="3895085" y="93345"/>
                    <a:pt x="3895720" y="94615"/>
                  </a:cubicBezTo>
                  <a:cubicBezTo>
                    <a:pt x="3896355" y="95250"/>
                    <a:pt x="3896990" y="95885"/>
                    <a:pt x="3898260" y="95885"/>
                  </a:cubicBezTo>
                  <a:cubicBezTo>
                    <a:pt x="3899530" y="95885"/>
                    <a:pt x="3900800" y="95885"/>
                    <a:pt x="3902070" y="95885"/>
                  </a:cubicBezTo>
                  <a:cubicBezTo>
                    <a:pt x="3903975" y="95885"/>
                    <a:pt x="3905880" y="95885"/>
                    <a:pt x="3908420" y="95250"/>
                  </a:cubicBezTo>
                  <a:cubicBezTo>
                    <a:pt x="3910325" y="94615"/>
                    <a:pt x="3912230" y="93980"/>
                    <a:pt x="3913500" y="93345"/>
                  </a:cubicBezTo>
                  <a:lnTo>
                    <a:pt x="3911595" y="106680"/>
                  </a:lnTo>
                  <a:cubicBezTo>
                    <a:pt x="3911595" y="106680"/>
                    <a:pt x="3907785" y="108585"/>
                    <a:pt x="3905245" y="109220"/>
                  </a:cubicBezTo>
                  <a:cubicBezTo>
                    <a:pt x="3902705" y="109855"/>
                    <a:pt x="3900165" y="110490"/>
                    <a:pt x="3896990" y="110490"/>
                  </a:cubicBezTo>
                  <a:cubicBezTo>
                    <a:pt x="3894450" y="110490"/>
                    <a:pt x="3891910" y="110490"/>
                    <a:pt x="3890005" y="109220"/>
                  </a:cubicBezTo>
                  <a:cubicBezTo>
                    <a:pt x="3888100" y="108585"/>
                    <a:pt x="3886195" y="107315"/>
                    <a:pt x="3884290" y="105410"/>
                  </a:cubicBezTo>
                  <a:cubicBezTo>
                    <a:pt x="3882385" y="103505"/>
                    <a:pt x="3881115" y="101600"/>
                    <a:pt x="3880480" y="99060"/>
                  </a:cubicBezTo>
                  <a:cubicBezTo>
                    <a:pt x="3879845" y="96520"/>
                    <a:pt x="3879210" y="93345"/>
                    <a:pt x="3879210" y="89535"/>
                  </a:cubicBezTo>
                  <a:lnTo>
                    <a:pt x="3879210" y="44450"/>
                  </a:lnTo>
                  <a:lnTo>
                    <a:pt x="3868415" y="44450"/>
                  </a:lnTo>
                  <a:lnTo>
                    <a:pt x="3868415" y="30480"/>
                  </a:lnTo>
                  <a:lnTo>
                    <a:pt x="3879210" y="30480"/>
                  </a:lnTo>
                  <a:lnTo>
                    <a:pt x="3879210" y="8255"/>
                  </a:lnTo>
                  <a:close/>
                  <a:moveTo>
                    <a:pt x="3664581" y="0"/>
                  </a:moveTo>
                  <a:lnTo>
                    <a:pt x="3664581" y="30480"/>
                  </a:lnTo>
                  <a:lnTo>
                    <a:pt x="3683631" y="30480"/>
                  </a:lnTo>
                  <a:lnTo>
                    <a:pt x="3683631" y="44450"/>
                  </a:lnTo>
                  <a:lnTo>
                    <a:pt x="3664581" y="44450"/>
                  </a:lnTo>
                  <a:lnTo>
                    <a:pt x="3664581" y="86995"/>
                  </a:lnTo>
                  <a:cubicBezTo>
                    <a:pt x="3664581" y="86995"/>
                    <a:pt x="3664581" y="90170"/>
                    <a:pt x="3664581" y="91440"/>
                  </a:cubicBezTo>
                  <a:cubicBezTo>
                    <a:pt x="3664581" y="92710"/>
                    <a:pt x="3665216" y="93345"/>
                    <a:pt x="3665851" y="94615"/>
                  </a:cubicBezTo>
                  <a:cubicBezTo>
                    <a:pt x="3666486" y="95250"/>
                    <a:pt x="3667121" y="95885"/>
                    <a:pt x="3668391" y="95885"/>
                  </a:cubicBezTo>
                  <a:cubicBezTo>
                    <a:pt x="3669661" y="95885"/>
                    <a:pt x="3670931" y="95885"/>
                    <a:pt x="3672201" y="95885"/>
                  </a:cubicBezTo>
                  <a:cubicBezTo>
                    <a:pt x="3674106" y="95885"/>
                    <a:pt x="3676011" y="95885"/>
                    <a:pt x="3678551" y="95250"/>
                  </a:cubicBezTo>
                  <a:cubicBezTo>
                    <a:pt x="3680456" y="94615"/>
                    <a:pt x="3682361" y="93980"/>
                    <a:pt x="3683631" y="93345"/>
                  </a:cubicBezTo>
                  <a:lnTo>
                    <a:pt x="3681726" y="106680"/>
                  </a:lnTo>
                  <a:cubicBezTo>
                    <a:pt x="3681726" y="106680"/>
                    <a:pt x="3677916" y="108585"/>
                    <a:pt x="3675376" y="109220"/>
                  </a:cubicBezTo>
                  <a:cubicBezTo>
                    <a:pt x="3672836" y="109855"/>
                    <a:pt x="3670296" y="110490"/>
                    <a:pt x="3667121" y="110490"/>
                  </a:cubicBezTo>
                  <a:cubicBezTo>
                    <a:pt x="3664581" y="110490"/>
                    <a:pt x="3662041" y="110490"/>
                    <a:pt x="3660136" y="109220"/>
                  </a:cubicBezTo>
                  <a:cubicBezTo>
                    <a:pt x="3658231" y="108585"/>
                    <a:pt x="3656326" y="107315"/>
                    <a:pt x="3654421" y="105410"/>
                  </a:cubicBezTo>
                  <a:cubicBezTo>
                    <a:pt x="3652516" y="103505"/>
                    <a:pt x="3651246" y="101600"/>
                    <a:pt x="3650611" y="99060"/>
                  </a:cubicBezTo>
                  <a:cubicBezTo>
                    <a:pt x="3649976" y="96520"/>
                    <a:pt x="3649341" y="93345"/>
                    <a:pt x="3649341" y="89535"/>
                  </a:cubicBezTo>
                  <a:lnTo>
                    <a:pt x="3649341" y="44450"/>
                  </a:lnTo>
                  <a:lnTo>
                    <a:pt x="3638546" y="44450"/>
                  </a:lnTo>
                  <a:lnTo>
                    <a:pt x="3638546" y="30480"/>
                  </a:lnTo>
                  <a:lnTo>
                    <a:pt x="3649341" y="30480"/>
                  </a:lnTo>
                  <a:lnTo>
                    <a:pt x="3649341" y="8255"/>
                  </a:lnTo>
                  <a:close/>
                  <a:moveTo>
                    <a:pt x="3610605" y="0"/>
                  </a:moveTo>
                  <a:lnTo>
                    <a:pt x="3610605" y="30480"/>
                  </a:lnTo>
                  <a:lnTo>
                    <a:pt x="3629655" y="30480"/>
                  </a:lnTo>
                  <a:lnTo>
                    <a:pt x="3629655" y="44450"/>
                  </a:lnTo>
                  <a:lnTo>
                    <a:pt x="3610605" y="44450"/>
                  </a:lnTo>
                  <a:lnTo>
                    <a:pt x="3610605" y="86995"/>
                  </a:lnTo>
                  <a:cubicBezTo>
                    <a:pt x="3610605" y="86995"/>
                    <a:pt x="3610605" y="90170"/>
                    <a:pt x="3610605" y="91440"/>
                  </a:cubicBezTo>
                  <a:cubicBezTo>
                    <a:pt x="3610605" y="92710"/>
                    <a:pt x="3611240" y="93345"/>
                    <a:pt x="3611875" y="94615"/>
                  </a:cubicBezTo>
                  <a:cubicBezTo>
                    <a:pt x="3612510" y="95250"/>
                    <a:pt x="3613145" y="95885"/>
                    <a:pt x="3614415" y="95885"/>
                  </a:cubicBezTo>
                  <a:cubicBezTo>
                    <a:pt x="3615685" y="95885"/>
                    <a:pt x="3616955" y="95885"/>
                    <a:pt x="3618225" y="95885"/>
                  </a:cubicBezTo>
                  <a:cubicBezTo>
                    <a:pt x="3620130" y="95885"/>
                    <a:pt x="3622035" y="95885"/>
                    <a:pt x="3624575" y="95250"/>
                  </a:cubicBezTo>
                  <a:cubicBezTo>
                    <a:pt x="3626480" y="94615"/>
                    <a:pt x="3628385" y="93980"/>
                    <a:pt x="3629655" y="93345"/>
                  </a:cubicBezTo>
                  <a:lnTo>
                    <a:pt x="3627750" y="106680"/>
                  </a:lnTo>
                  <a:cubicBezTo>
                    <a:pt x="3627750" y="106680"/>
                    <a:pt x="3623940" y="108585"/>
                    <a:pt x="3621400" y="109220"/>
                  </a:cubicBezTo>
                  <a:cubicBezTo>
                    <a:pt x="3618860" y="109855"/>
                    <a:pt x="3616320" y="110490"/>
                    <a:pt x="3613145" y="110490"/>
                  </a:cubicBezTo>
                  <a:cubicBezTo>
                    <a:pt x="3610605" y="110490"/>
                    <a:pt x="3608065" y="110490"/>
                    <a:pt x="3606160" y="109220"/>
                  </a:cubicBezTo>
                  <a:cubicBezTo>
                    <a:pt x="3604255" y="108585"/>
                    <a:pt x="3602350" y="107315"/>
                    <a:pt x="3600445" y="105410"/>
                  </a:cubicBezTo>
                  <a:cubicBezTo>
                    <a:pt x="3598540" y="103505"/>
                    <a:pt x="3597270" y="101600"/>
                    <a:pt x="3596635" y="99060"/>
                  </a:cubicBezTo>
                  <a:cubicBezTo>
                    <a:pt x="3596000" y="96520"/>
                    <a:pt x="3595365" y="93345"/>
                    <a:pt x="3595365" y="89535"/>
                  </a:cubicBezTo>
                  <a:lnTo>
                    <a:pt x="3595365" y="44450"/>
                  </a:lnTo>
                  <a:lnTo>
                    <a:pt x="3584570" y="44450"/>
                  </a:lnTo>
                  <a:lnTo>
                    <a:pt x="3584570" y="30480"/>
                  </a:lnTo>
                  <a:lnTo>
                    <a:pt x="3595365" y="30480"/>
                  </a:lnTo>
                  <a:lnTo>
                    <a:pt x="3595365" y="8255"/>
                  </a:lnTo>
                  <a:close/>
                  <a:moveTo>
                    <a:pt x="3445505" y="0"/>
                  </a:moveTo>
                  <a:lnTo>
                    <a:pt x="3445505" y="37465"/>
                  </a:lnTo>
                  <a:cubicBezTo>
                    <a:pt x="3445505" y="37465"/>
                    <a:pt x="3448680" y="34925"/>
                    <a:pt x="3449950" y="33655"/>
                  </a:cubicBezTo>
                  <a:cubicBezTo>
                    <a:pt x="3451220" y="33020"/>
                    <a:pt x="3452490" y="31750"/>
                    <a:pt x="3453760" y="31115"/>
                  </a:cubicBezTo>
                  <a:cubicBezTo>
                    <a:pt x="3455030" y="30480"/>
                    <a:pt x="3456935" y="29845"/>
                    <a:pt x="3458840" y="29210"/>
                  </a:cubicBezTo>
                  <a:cubicBezTo>
                    <a:pt x="3460745" y="29210"/>
                    <a:pt x="3463285" y="28575"/>
                    <a:pt x="3465825" y="28575"/>
                  </a:cubicBezTo>
                  <a:cubicBezTo>
                    <a:pt x="3470270" y="28575"/>
                    <a:pt x="3474080" y="29210"/>
                    <a:pt x="3477890" y="31115"/>
                  </a:cubicBezTo>
                  <a:cubicBezTo>
                    <a:pt x="3481700" y="32385"/>
                    <a:pt x="3484875" y="34925"/>
                    <a:pt x="3487415" y="38735"/>
                  </a:cubicBezTo>
                  <a:cubicBezTo>
                    <a:pt x="3489955" y="41910"/>
                    <a:pt x="3492495" y="46355"/>
                    <a:pt x="3493765" y="51435"/>
                  </a:cubicBezTo>
                  <a:cubicBezTo>
                    <a:pt x="3495035" y="56515"/>
                    <a:pt x="3496305" y="62865"/>
                    <a:pt x="3496305" y="70485"/>
                  </a:cubicBezTo>
                  <a:lnTo>
                    <a:pt x="3495670" y="71120"/>
                  </a:lnTo>
                  <a:cubicBezTo>
                    <a:pt x="3495670" y="77470"/>
                    <a:pt x="3495035" y="83820"/>
                    <a:pt x="3493130" y="88265"/>
                  </a:cubicBezTo>
                  <a:cubicBezTo>
                    <a:pt x="3491225" y="93345"/>
                    <a:pt x="3489320" y="97155"/>
                    <a:pt x="3486145" y="100330"/>
                  </a:cubicBezTo>
                  <a:cubicBezTo>
                    <a:pt x="3483605" y="103505"/>
                    <a:pt x="3479795" y="106045"/>
                    <a:pt x="3476620" y="107315"/>
                  </a:cubicBezTo>
                  <a:cubicBezTo>
                    <a:pt x="3472810" y="109220"/>
                    <a:pt x="3469000" y="109855"/>
                    <a:pt x="3465190" y="109855"/>
                  </a:cubicBezTo>
                  <a:cubicBezTo>
                    <a:pt x="3461380" y="109855"/>
                    <a:pt x="3457570" y="109220"/>
                    <a:pt x="3454395" y="107315"/>
                  </a:cubicBezTo>
                  <a:cubicBezTo>
                    <a:pt x="3450585" y="105410"/>
                    <a:pt x="3448045" y="103505"/>
                    <a:pt x="3445505" y="100965"/>
                  </a:cubicBezTo>
                  <a:lnTo>
                    <a:pt x="3445505" y="107950"/>
                  </a:lnTo>
                  <a:lnTo>
                    <a:pt x="3430265" y="107950"/>
                  </a:lnTo>
                  <a:lnTo>
                    <a:pt x="3430265" y="7620"/>
                  </a:lnTo>
                  <a:close/>
                  <a:moveTo>
                    <a:pt x="2380611" y="0"/>
                  </a:moveTo>
                  <a:lnTo>
                    <a:pt x="2380611" y="30480"/>
                  </a:lnTo>
                  <a:lnTo>
                    <a:pt x="2399661" y="30480"/>
                  </a:lnTo>
                  <a:lnTo>
                    <a:pt x="2399661" y="44450"/>
                  </a:lnTo>
                  <a:lnTo>
                    <a:pt x="2380611" y="44450"/>
                  </a:lnTo>
                  <a:lnTo>
                    <a:pt x="2380611" y="86995"/>
                  </a:lnTo>
                  <a:cubicBezTo>
                    <a:pt x="2380611" y="86995"/>
                    <a:pt x="2380611" y="90170"/>
                    <a:pt x="2380611" y="91440"/>
                  </a:cubicBezTo>
                  <a:cubicBezTo>
                    <a:pt x="2380611" y="92710"/>
                    <a:pt x="2381246" y="93345"/>
                    <a:pt x="2381881" y="94615"/>
                  </a:cubicBezTo>
                  <a:cubicBezTo>
                    <a:pt x="2382516" y="95250"/>
                    <a:pt x="2383151" y="95885"/>
                    <a:pt x="2384421" y="95885"/>
                  </a:cubicBezTo>
                  <a:cubicBezTo>
                    <a:pt x="2385691" y="95885"/>
                    <a:pt x="2386961" y="95885"/>
                    <a:pt x="2388231" y="95885"/>
                  </a:cubicBezTo>
                  <a:cubicBezTo>
                    <a:pt x="2390136" y="95885"/>
                    <a:pt x="2392041" y="95885"/>
                    <a:pt x="2394581" y="95250"/>
                  </a:cubicBezTo>
                  <a:cubicBezTo>
                    <a:pt x="2396486" y="94615"/>
                    <a:pt x="2398391" y="93980"/>
                    <a:pt x="2399661" y="93345"/>
                  </a:cubicBezTo>
                  <a:lnTo>
                    <a:pt x="2397756" y="106680"/>
                  </a:lnTo>
                  <a:cubicBezTo>
                    <a:pt x="2397756" y="106680"/>
                    <a:pt x="2393946" y="108585"/>
                    <a:pt x="2391406" y="109220"/>
                  </a:cubicBezTo>
                  <a:cubicBezTo>
                    <a:pt x="2388866" y="109855"/>
                    <a:pt x="2386326" y="110490"/>
                    <a:pt x="2383151" y="110490"/>
                  </a:cubicBezTo>
                  <a:cubicBezTo>
                    <a:pt x="2380611" y="110490"/>
                    <a:pt x="2378071" y="110490"/>
                    <a:pt x="2376166" y="109220"/>
                  </a:cubicBezTo>
                  <a:cubicBezTo>
                    <a:pt x="2374261" y="108585"/>
                    <a:pt x="2372356" y="107315"/>
                    <a:pt x="2370451" y="105410"/>
                  </a:cubicBezTo>
                  <a:cubicBezTo>
                    <a:pt x="2368546" y="103505"/>
                    <a:pt x="2367276" y="101600"/>
                    <a:pt x="2366641" y="99060"/>
                  </a:cubicBezTo>
                  <a:cubicBezTo>
                    <a:pt x="2366006" y="96520"/>
                    <a:pt x="2365371" y="93345"/>
                    <a:pt x="2365371" y="89535"/>
                  </a:cubicBezTo>
                  <a:lnTo>
                    <a:pt x="2365371" y="44450"/>
                  </a:lnTo>
                  <a:lnTo>
                    <a:pt x="2354576" y="44450"/>
                  </a:lnTo>
                  <a:lnTo>
                    <a:pt x="2354576" y="30480"/>
                  </a:lnTo>
                  <a:lnTo>
                    <a:pt x="2365371" y="30480"/>
                  </a:lnTo>
                  <a:lnTo>
                    <a:pt x="2365371" y="8255"/>
                  </a:lnTo>
                  <a:close/>
                  <a:moveTo>
                    <a:pt x="2150741" y="0"/>
                  </a:moveTo>
                  <a:lnTo>
                    <a:pt x="2150741" y="30480"/>
                  </a:lnTo>
                  <a:lnTo>
                    <a:pt x="2169791" y="30480"/>
                  </a:lnTo>
                  <a:lnTo>
                    <a:pt x="2169791" y="44450"/>
                  </a:lnTo>
                  <a:lnTo>
                    <a:pt x="2150741" y="44450"/>
                  </a:lnTo>
                  <a:lnTo>
                    <a:pt x="2150741" y="86995"/>
                  </a:lnTo>
                  <a:cubicBezTo>
                    <a:pt x="2150741" y="86995"/>
                    <a:pt x="2150741" y="90170"/>
                    <a:pt x="2150741" y="91440"/>
                  </a:cubicBezTo>
                  <a:cubicBezTo>
                    <a:pt x="2150741" y="92710"/>
                    <a:pt x="2151376" y="93345"/>
                    <a:pt x="2152011" y="94615"/>
                  </a:cubicBezTo>
                  <a:cubicBezTo>
                    <a:pt x="2152646" y="95250"/>
                    <a:pt x="2153281" y="95885"/>
                    <a:pt x="2154551" y="95885"/>
                  </a:cubicBezTo>
                  <a:cubicBezTo>
                    <a:pt x="2155821" y="95885"/>
                    <a:pt x="2157091" y="95885"/>
                    <a:pt x="2158361" y="95885"/>
                  </a:cubicBezTo>
                  <a:cubicBezTo>
                    <a:pt x="2160266" y="95885"/>
                    <a:pt x="2162171" y="95885"/>
                    <a:pt x="2164711" y="95250"/>
                  </a:cubicBezTo>
                  <a:cubicBezTo>
                    <a:pt x="2166616" y="94615"/>
                    <a:pt x="2168521" y="93980"/>
                    <a:pt x="2169791" y="93345"/>
                  </a:cubicBezTo>
                  <a:lnTo>
                    <a:pt x="2167886" y="106680"/>
                  </a:lnTo>
                  <a:cubicBezTo>
                    <a:pt x="2167886" y="106680"/>
                    <a:pt x="2164076" y="108585"/>
                    <a:pt x="2161536" y="109220"/>
                  </a:cubicBezTo>
                  <a:cubicBezTo>
                    <a:pt x="2158996" y="109855"/>
                    <a:pt x="2156456" y="110490"/>
                    <a:pt x="2153281" y="110490"/>
                  </a:cubicBezTo>
                  <a:cubicBezTo>
                    <a:pt x="2150741" y="110490"/>
                    <a:pt x="2148201" y="110490"/>
                    <a:pt x="2146296" y="109220"/>
                  </a:cubicBezTo>
                  <a:cubicBezTo>
                    <a:pt x="2144391" y="108585"/>
                    <a:pt x="2142486" y="107315"/>
                    <a:pt x="2140581" y="105410"/>
                  </a:cubicBezTo>
                  <a:cubicBezTo>
                    <a:pt x="2138676" y="103505"/>
                    <a:pt x="2137406" y="101600"/>
                    <a:pt x="2136771" y="99060"/>
                  </a:cubicBezTo>
                  <a:cubicBezTo>
                    <a:pt x="2136136" y="96520"/>
                    <a:pt x="2135501" y="93345"/>
                    <a:pt x="2135501" y="89535"/>
                  </a:cubicBezTo>
                  <a:lnTo>
                    <a:pt x="2135501" y="44450"/>
                  </a:lnTo>
                  <a:lnTo>
                    <a:pt x="2124706" y="44450"/>
                  </a:lnTo>
                  <a:lnTo>
                    <a:pt x="2124706" y="30480"/>
                  </a:lnTo>
                  <a:lnTo>
                    <a:pt x="2135501" y="30480"/>
                  </a:lnTo>
                  <a:lnTo>
                    <a:pt x="2135501" y="8255"/>
                  </a:lnTo>
                  <a:close/>
                  <a:moveTo>
                    <a:pt x="2096131" y="0"/>
                  </a:moveTo>
                  <a:lnTo>
                    <a:pt x="2096131" y="30480"/>
                  </a:lnTo>
                  <a:lnTo>
                    <a:pt x="2115181" y="30480"/>
                  </a:lnTo>
                  <a:lnTo>
                    <a:pt x="2115181" y="44450"/>
                  </a:lnTo>
                  <a:lnTo>
                    <a:pt x="2096131" y="44450"/>
                  </a:lnTo>
                  <a:lnTo>
                    <a:pt x="2096131" y="86995"/>
                  </a:lnTo>
                  <a:cubicBezTo>
                    <a:pt x="2096131" y="86995"/>
                    <a:pt x="2096131" y="90170"/>
                    <a:pt x="2096131" y="91440"/>
                  </a:cubicBezTo>
                  <a:cubicBezTo>
                    <a:pt x="2096131" y="92710"/>
                    <a:pt x="2096766" y="93345"/>
                    <a:pt x="2097401" y="94615"/>
                  </a:cubicBezTo>
                  <a:cubicBezTo>
                    <a:pt x="2098036" y="95250"/>
                    <a:pt x="2098671" y="95885"/>
                    <a:pt x="2099941" y="95885"/>
                  </a:cubicBezTo>
                  <a:cubicBezTo>
                    <a:pt x="2101211" y="95885"/>
                    <a:pt x="2102481" y="95885"/>
                    <a:pt x="2103751" y="95885"/>
                  </a:cubicBezTo>
                  <a:cubicBezTo>
                    <a:pt x="2105656" y="95885"/>
                    <a:pt x="2107561" y="95885"/>
                    <a:pt x="2110101" y="95250"/>
                  </a:cubicBezTo>
                  <a:cubicBezTo>
                    <a:pt x="2112006" y="94615"/>
                    <a:pt x="2113911" y="93980"/>
                    <a:pt x="2115181" y="93345"/>
                  </a:cubicBezTo>
                  <a:lnTo>
                    <a:pt x="2113276" y="106680"/>
                  </a:lnTo>
                  <a:cubicBezTo>
                    <a:pt x="2113276" y="106680"/>
                    <a:pt x="2109466" y="108585"/>
                    <a:pt x="2106926" y="109220"/>
                  </a:cubicBezTo>
                  <a:cubicBezTo>
                    <a:pt x="2104386" y="109855"/>
                    <a:pt x="2101846" y="110490"/>
                    <a:pt x="2098671" y="110490"/>
                  </a:cubicBezTo>
                  <a:cubicBezTo>
                    <a:pt x="2096131" y="110490"/>
                    <a:pt x="2093591" y="110490"/>
                    <a:pt x="2091686" y="109220"/>
                  </a:cubicBezTo>
                  <a:cubicBezTo>
                    <a:pt x="2089781" y="108585"/>
                    <a:pt x="2087876" y="107315"/>
                    <a:pt x="2085971" y="105410"/>
                  </a:cubicBezTo>
                  <a:cubicBezTo>
                    <a:pt x="2084066" y="103505"/>
                    <a:pt x="2082796" y="101600"/>
                    <a:pt x="2082161" y="99060"/>
                  </a:cubicBezTo>
                  <a:cubicBezTo>
                    <a:pt x="2081526" y="96520"/>
                    <a:pt x="2080891" y="93345"/>
                    <a:pt x="2080891" y="89535"/>
                  </a:cubicBezTo>
                  <a:lnTo>
                    <a:pt x="2080891" y="44450"/>
                  </a:lnTo>
                  <a:lnTo>
                    <a:pt x="2070096" y="44450"/>
                  </a:lnTo>
                  <a:lnTo>
                    <a:pt x="2070096" y="30480"/>
                  </a:lnTo>
                  <a:lnTo>
                    <a:pt x="2080891" y="30480"/>
                  </a:lnTo>
                  <a:lnTo>
                    <a:pt x="2080891" y="8255"/>
                  </a:lnTo>
                  <a:close/>
                  <a:moveTo>
                    <a:pt x="1931665" y="0"/>
                  </a:moveTo>
                  <a:lnTo>
                    <a:pt x="1931665" y="37465"/>
                  </a:lnTo>
                  <a:cubicBezTo>
                    <a:pt x="1931665" y="37465"/>
                    <a:pt x="1934840" y="34925"/>
                    <a:pt x="1936110" y="33655"/>
                  </a:cubicBezTo>
                  <a:cubicBezTo>
                    <a:pt x="1937380" y="33020"/>
                    <a:pt x="1938650" y="31750"/>
                    <a:pt x="1939920" y="31115"/>
                  </a:cubicBezTo>
                  <a:cubicBezTo>
                    <a:pt x="1941190" y="30480"/>
                    <a:pt x="1943095" y="29845"/>
                    <a:pt x="1945000" y="29210"/>
                  </a:cubicBezTo>
                  <a:cubicBezTo>
                    <a:pt x="1946905" y="29210"/>
                    <a:pt x="1949445" y="28575"/>
                    <a:pt x="1951985" y="28575"/>
                  </a:cubicBezTo>
                  <a:cubicBezTo>
                    <a:pt x="1956430" y="28575"/>
                    <a:pt x="1960240" y="29210"/>
                    <a:pt x="1964050" y="31115"/>
                  </a:cubicBezTo>
                  <a:cubicBezTo>
                    <a:pt x="1967860" y="32385"/>
                    <a:pt x="1971035" y="34925"/>
                    <a:pt x="1973575" y="38735"/>
                  </a:cubicBezTo>
                  <a:cubicBezTo>
                    <a:pt x="1976115" y="41910"/>
                    <a:pt x="1978655" y="46355"/>
                    <a:pt x="1979925" y="51435"/>
                  </a:cubicBezTo>
                  <a:cubicBezTo>
                    <a:pt x="1981195" y="56515"/>
                    <a:pt x="1982465" y="62865"/>
                    <a:pt x="1982465" y="70485"/>
                  </a:cubicBezTo>
                  <a:lnTo>
                    <a:pt x="1981830" y="71120"/>
                  </a:lnTo>
                  <a:cubicBezTo>
                    <a:pt x="1981830" y="77470"/>
                    <a:pt x="1981195" y="83820"/>
                    <a:pt x="1979290" y="88265"/>
                  </a:cubicBezTo>
                  <a:cubicBezTo>
                    <a:pt x="1977385" y="93345"/>
                    <a:pt x="1975480" y="97155"/>
                    <a:pt x="1972305" y="100330"/>
                  </a:cubicBezTo>
                  <a:cubicBezTo>
                    <a:pt x="1969765" y="103505"/>
                    <a:pt x="1965955" y="106045"/>
                    <a:pt x="1962780" y="107315"/>
                  </a:cubicBezTo>
                  <a:cubicBezTo>
                    <a:pt x="1958970" y="109220"/>
                    <a:pt x="1955160" y="109855"/>
                    <a:pt x="1951350" y="109855"/>
                  </a:cubicBezTo>
                  <a:cubicBezTo>
                    <a:pt x="1947540" y="109855"/>
                    <a:pt x="1943730" y="109220"/>
                    <a:pt x="1940555" y="107315"/>
                  </a:cubicBezTo>
                  <a:cubicBezTo>
                    <a:pt x="1936745" y="105410"/>
                    <a:pt x="1934205" y="103505"/>
                    <a:pt x="1931665" y="100965"/>
                  </a:cubicBezTo>
                  <a:lnTo>
                    <a:pt x="1931665" y="107950"/>
                  </a:lnTo>
                  <a:lnTo>
                    <a:pt x="1916425" y="107950"/>
                  </a:lnTo>
                  <a:lnTo>
                    <a:pt x="1916425" y="7620"/>
                  </a:lnTo>
                  <a:close/>
                  <a:moveTo>
                    <a:pt x="1316991" y="0"/>
                  </a:moveTo>
                  <a:lnTo>
                    <a:pt x="1316991" y="30480"/>
                  </a:lnTo>
                  <a:lnTo>
                    <a:pt x="1336041" y="30480"/>
                  </a:lnTo>
                  <a:lnTo>
                    <a:pt x="1336041" y="44450"/>
                  </a:lnTo>
                  <a:lnTo>
                    <a:pt x="1316991" y="44450"/>
                  </a:lnTo>
                  <a:lnTo>
                    <a:pt x="1316991" y="86995"/>
                  </a:lnTo>
                  <a:cubicBezTo>
                    <a:pt x="1316991" y="86995"/>
                    <a:pt x="1316991" y="90170"/>
                    <a:pt x="1316991" y="91440"/>
                  </a:cubicBezTo>
                  <a:cubicBezTo>
                    <a:pt x="1316991" y="92710"/>
                    <a:pt x="1317627" y="93345"/>
                    <a:pt x="1318261" y="94615"/>
                  </a:cubicBezTo>
                  <a:cubicBezTo>
                    <a:pt x="1318896" y="95250"/>
                    <a:pt x="1319531" y="95885"/>
                    <a:pt x="1320801" y="95885"/>
                  </a:cubicBezTo>
                  <a:cubicBezTo>
                    <a:pt x="1322072" y="95885"/>
                    <a:pt x="1323341" y="95885"/>
                    <a:pt x="1324611" y="95885"/>
                  </a:cubicBezTo>
                  <a:cubicBezTo>
                    <a:pt x="1326516" y="95885"/>
                    <a:pt x="1328422" y="95885"/>
                    <a:pt x="1330961" y="95250"/>
                  </a:cubicBezTo>
                  <a:cubicBezTo>
                    <a:pt x="1332867" y="94615"/>
                    <a:pt x="1334772" y="93980"/>
                    <a:pt x="1336041" y="93345"/>
                  </a:cubicBezTo>
                  <a:lnTo>
                    <a:pt x="1334136" y="106680"/>
                  </a:lnTo>
                  <a:cubicBezTo>
                    <a:pt x="1334136" y="106680"/>
                    <a:pt x="1330326" y="108585"/>
                    <a:pt x="1327786" y="109220"/>
                  </a:cubicBezTo>
                  <a:cubicBezTo>
                    <a:pt x="1325246" y="109855"/>
                    <a:pt x="1322706" y="110490"/>
                    <a:pt x="1319531" y="110490"/>
                  </a:cubicBezTo>
                  <a:cubicBezTo>
                    <a:pt x="1316991" y="110490"/>
                    <a:pt x="1314451" y="110490"/>
                    <a:pt x="1312546" y="109220"/>
                  </a:cubicBezTo>
                  <a:cubicBezTo>
                    <a:pt x="1310641" y="108585"/>
                    <a:pt x="1308736" y="107315"/>
                    <a:pt x="1306831" y="105410"/>
                  </a:cubicBezTo>
                  <a:cubicBezTo>
                    <a:pt x="1304926" y="103505"/>
                    <a:pt x="1303656" y="101600"/>
                    <a:pt x="1303021" y="99060"/>
                  </a:cubicBezTo>
                  <a:cubicBezTo>
                    <a:pt x="1302386" y="96520"/>
                    <a:pt x="1301751" y="93345"/>
                    <a:pt x="1301751" y="89535"/>
                  </a:cubicBezTo>
                  <a:lnTo>
                    <a:pt x="1301751" y="44450"/>
                  </a:lnTo>
                  <a:lnTo>
                    <a:pt x="1290956" y="44450"/>
                  </a:lnTo>
                  <a:lnTo>
                    <a:pt x="1290956" y="30480"/>
                  </a:lnTo>
                  <a:lnTo>
                    <a:pt x="1301751" y="30480"/>
                  </a:lnTo>
                  <a:lnTo>
                    <a:pt x="1301751" y="8255"/>
                  </a:lnTo>
                  <a:close/>
                  <a:moveTo>
                    <a:pt x="751206" y="0"/>
                  </a:moveTo>
                  <a:lnTo>
                    <a:pt x="751206" y="30480"/>
                  </a:lnTo>
                  <a:lnTo>
                    <a:pt x="770256" y="30480"/>
                  </a:lnTo>
                  <a:lnTo>
                    <a:pt x="770256" y="44450"/>
                  </a:lnTo>
                  <a:lnTo>
                    <a:pt x="751206" y="44450"/>
                  </a:lnTo>
                  <a:lnTo>
                    <a:pt x="751206" y="86995"/>
                  </a:lnTo>
                  <a:cubicBezTo>
                    <a:pt x="751206" y="86995"/>
                    <a:pt x="751206" y="90170"/>
                    <a:pt x="751206" y="91440"/>
                  </a:cubicBezTo>
                  <a:cubicBezTo>
                    <a:pt x="751206" y="92710"/>
                    <a:pt x="751841" y="93345"/>
                    <a:pt x="752476" y="94615"/>
                  </a:cubicBezTo>
                  <a:cubicBezTo>
                    <a:pt x="753111" y="95250"/>
                    <a:pt x="753746" y="95885"/>
                    <a:pt x="755016" y="95885"/>
                  </a:cubicBezTo>
                  <a:cubicBezTo>
                    <a:pt x="756286" y="95885"/>
                    <a:pt x="757556" y="95885"/>
                    <a:pt x="758826" y="95885"/>
                  </a:cubicBezTo>
                  <a:cubicBezTo>
                    <a:pt x="760731" y="95885"/>
                    <a:pt x="762636" y="95885"/>
                    <a:pt x="765176" y="95250"/>
                  </a:cubicBezTo>
                  <a:cubicBezTo>
                    <a:pt x="767081" y="94615"/>
                    <a:pt x="768986" y="93980"/>
                    <a:pt x="770256" y="93345"/>
                  </a:cubicBezTo>
                  <a:lnTo>
                    <a:pt x="768351" y="106680"/>
                  </a:lnTo>
                  <a:cubicBezTo>
                    <a:pt x="768351" y="106680"/>
                    <a:pt x="764541" y="108585"/>
                    <a:pt x="762001" y="109220"/>
                  </a:cubicBezTo>
                  <a:cubicBezTo>
                    <a:pt x="759461" y="109855"/>
                    <a:pt x="756921" y="110490"/>
                    <a:pt x="753746" y="110490"/>
                  </a:cubicBezTo>
                  <a:cubicBezTo>
                    <a:pt x="751206" y="110490"/>
                    <a:pt x="748666" y="110490"/>
                    <a:pt x="746761" y="109220"/>
                  </a:cubicBezTo>
                  <a:cubicBezTo>
                    <a:pt x="744856" y="108585"/>
                    <a:pt x="742951" y="107315"/>
                    <a:pt x="741045" y="105410"/>
                  </a:cubicBezTo>
                  <a:cubicBezTo>
                    <a:pt x="739141" y="103505"/>
                    <a:pt x="737871" y="101600"/>
                    <a:pt x="737236" y="99060"/>
                  </a:cubicBezTo>
                  <a:cubicBezTo>
                    <a:pt x="736600" y="96520"/>
                    <a:pt x="735966" y="93345"/>
                    <a:pt x="735966" y="89535"/>
                  </a:cubicBezTo>
                  <a:lnTo>
                    <a:pt x="735966" y="44450"/>
                  </a:lnTo>
                  <a:lnTo>
                    <a:pt x="725171" y="44450"/>
                  </a:lnTo>
                  <a:lnTo>
                    <a:pt x="725171" y="30480"/>
                  </a:lnTo>
                  <a:lnTo>
                    <a:pt x="735966" y="30480"/>
                  </a:lnTo>
                  <a:lnTo>
                    <a:pt x="735966" y="8255"/>
                  </a:lnTo>
                  <a:close/>
                  <a:moveTo>
                    <a:pt x="521335" y="0"/>
                  </a:moveTo>
                  <a:lnTo>
                    <a:pt x="521335" y="30480"/>
                  </a:lnTo>
                  <a:lnTo>
                    <a:pt x="540385" y="30480"/>
                  </a:lnTo>
                  <a:lnTo>
                    <a:pt x="540385" y="44450"/>
                  </a:lnTo>
                  <a:lnTo>
                    <a:pt x="521335" y="44450"/>
                  </a:lnTo>
                  <a:lnTo>
                    <a:pt x="521335" y="86995"/>
                  </a:lnTo>
                  <a:cubicBezTo>
                    <a:pt x="521335" y="86995"/>
                    <a:pt x="521335" y="90170"/>
                    <a:pt x="521335" y="91440"/>
                  </a:cubicBezTo>
                  <a:cubicBezTo>
                    <a:pt x="521335" y="92710"/>
                    <a:pt x="521970" y="93345"/>
                    <a:pt x="522605" y="94615"/>
                  </a:cubicBezTo>
                  <a:cubicBezTo>
                    <a:pt x="523240" y="95250"/>
                    <a:pt x="523875" y="95885"/>
                    <a:pt x="525145" y="95885"/>
                  </a:cubicBezTo>
                  <a:cubicBezTo>
                    <a:pt x="526415" y="95885"/>
                    <a:pt x="527685" y="95885"/>
                    <a:pt x="528955" y="95885"/>
                  </a:cubicBezTo>
                  <a:cubicBezTo>
                    <a:pt x="530860" y="95885"/>
                    <a:pt x="532765" y="95885"/>
                    <a:pt x="535305" y="95250"/>
                  </a:cubicBezTo>
                  <a:cubicBezTo>
                    <a:pt x="537210" y="94615"/>
                    <a:pt x="539115" y="93980"/>
                    <a:pt x="540385" y="93345"/>
                  </a:cubicBezTo>
                  <a:lnTo>
                    <a:pt x="538480" y="106680"/>
                  </a:lnTo>
                  <a:cubicBezTo>
                    <a:pt x="538480" y="106680"/>
                    <a:pt x="534670" y="108585"/>
                    <a:pt x="532130" y="109220"/>
                  </a:cubicBezTo>
                  <a:cubicBezTo>
                    <a:pt x="529590" y="109855"/>
                    <a:pt x="527050" y="110490"/>
                    <a:pt x="523875" y="110490"/>
                  </a:cubicBezTo>
                  <a:cubicBezTo>
                    <a:pt x="521335" y="110490"/>
                    <a:pt x="518795" y="110490"/>
                    <a:pt x="516890" y="109220"/>
                  </a:cubicBezTo>
                  <a:cubicBezTo>
                    <a:pt x="514985" y="108585"/>
                    <a:pt x="513080" y="107315"/>
                    <a:pt x="511175" y="105410"/>
                  </a:cubicBezTo>
                  <a:cubicBezTo>
                    <a:pt x="509270" y="103505"/>
                    <a:pt x="508000" y="101600"/>
                    <a:pt x="507365" y="99060"/>
                  </a:cubicBezTo>
                  <a:cubicBezTo>
                    <a:pt x="506730" y="96520"/>
                    <a:pt x="506095" y="93345"/>
                    <a:pt x="506095" y="89535"/>
                  </a:cubicBezTo>
                  <a:lnTo>
                    <a:pt x="506095" y="44450"/>
                  </a:lnTo>
                  <a:lnTo>
                    <a:pt x="495300" y="44450"/>
                  </a:lnTo>
                  <a:lnTo>
                    <a:pt x="495300" y="30480"/>
                  </a:lnTo>
                  <a:lnTo>
                    <a:pt x="506095" y="30480"/>
                  </a:lnTo>
                  <a:lnTo>
                    <a:pt x="506095" y="8255"/>
                  </a:lnTo>
                  <a:close/>
                  <a:moveTo>
                    <a:pt x="466724" y="0"/>
                  </a:moveTo>
                  <a:lnTo>
                    <a:pt x="466724" y="30480"/>
                  </a:lnTo>
                  <a:lnTo>
                    <a:pt x="485774" y="30480"/>
                  </a:lnTo>
                  <a:lnTo>
                    <a:pt x="485774" y="44450"/>
                  </a:lnTo>
                  <a:lnTo>
                    <a:pt x="466724" y="44450"/>
                  </a:lnTo>
                  <a:lnTo>
                    <a:pt x="466724" y="86995"/>
                  </a:lnTo>
                  <a:cubicBezTo>
                    <a:pt x="466724" y="86995"/>
                    <a:pt x="466724" y="90170"/>
                    <a:pt x="466724" y="91440"/>
                  </a:cubicBezTo>
                  <a:cubicBezTo>
                    <a:pt x="466724" y="92710"/>
                    <a:pt x="467359" y="93345"/>
                    <a:pt x="467994" y="94615"/>
                  </a:cubicBezTo>
                  <a:cubicBezTo>
                    <a:pt x="468629" y="95250"/>
                    <a:pt x="469264" y="95885"/>
                    <a:pt x="470534" y="95885"/>
                  </a:cubicBezTo>
                  <a:cubicBezTo>
                    <a:pt x="471804" y="95885"/>
                    <a:pt x="473074" y="95885"/>
                    <a:pt x="474344" y="95885"/>
                  </a:cubicBezTo>
                  <a:cubicBezTo>
                    <a:pt x="476249" y="95885"/>
                    <a:pt x="478154" y="95885"/>
                    <a:pt x="480694" y="95250"/>
                  </a:cubicBezTo>
                  <a:cubicBezTo>
                    <a:pt x="482599" y="94615"/>
                    <a:pt x="484504" y="93980"/>
                    <a:pt x="485774" y="93345"/>
                  </a:cubicBezTo>
                  <a:lnTo>
                    <a:pt x="483869" y="106680"/>
                  </a:lnTo>
                  <a:cubicBezTo>
                    <a:pt x="483869" y="106680"/>
                    <a:pt x="480059" y="108585"/>
                    <a:pt x="477519" y="109220"/>
                  </a:cubicBezTo>
                  <a:cubicBezTo>
                    <a:pt x="474979" y="109855"/>
                    <a:pt x="472439" y="110490"/>
                    <a:pt x="469264" y="110490"/>
                  </a:cubicBezTo>
                  <a:cubicBezTo>
                    <a:pt x="466724" y="110490"/>
                    <a:pt x="464184" y="110490"/>
                    <a:pt x="462279" y="109220"/>
                  </a:cubicBezTo>
                  <a:cubicBezTo>
                    <a:pt x="460374" y="108585"/>
                    <a:pt x="458469" y="107315"/>
                    <a:pt x="456564" y="105410"/>
                  </a:cubicBezTo>
                  <a:cubicBezTo>
                    <a:pt x="454659" y="103505"/>
                    <a:pt x="453389" y="101600"/>
                    <a:pt x="452754" y="99060"/>
                  </a:cubicBezTo>
                  <a:cubicBezTo>
                    <a:pt x="452119" y="96520"/>
                    <a:pt x="451484" y="93345"/>
                    <a:pt x="451484" y="89535"/>
                  </a:cubicBezTo>
                  <a:lnTo>
                    <a:pt x="451484" y="44450"/>
                  </a:lnTo>
                  <a:lnTo>
                    <a:pt x="440689" y="44450"/>
                  </a:lnTo>
                  <a:lnTo>
                    <a:pt x="440689" y="30480"/>
                  </a:lnTo>
                  <a:lnTo>
                    <a:pt x="451484" y="30480"/>
                  </a:lnTo>
                  <a:lnTo>
                    <a:pt x="451484" y="8255"/>
                  </a:lnTo>
                  <a:close/>
                  <a:moveTo>
                    <a:pt x="302259" y="0"/>
                  </a:moveTo>
                  <a:lnTo>
                    <a:pt x="302259" y="37465"/>
                  </a:lnTo>
                  <a:cubicBezTo>
                    <a:pt x="302259" y="37465"/>
                    <a:pt x="305434" y="34925"/>
                    <a:pt x="306704" y="33655"/>
                  </a:cubicBezTo>
                  <a:cubicBezTo>
                    <a:pt x="307974" y="33020"/>
                    <a:pt x="309244" y="31750"/>
                    <a:pt x="310514" y="31115"/>
                  </a:cubicBezTo>
                  <a:cubicBezTo>
                    <a:pt x="311784" y="30480"/>
                    <a:pt x="313689" y="29845"/>
                    <a:pt x="315594" y="29210"/>
                  </a:cubicBezTo>
                  <a:cubicBezTo>
                    <a:pt x="317499" y="29210"/>
                    <a:pt x="320039" y="28575"/>
                    <a:pt x="322579" y="28575"/>
                  </a:cubicBezTo>
                  <a:cubicBezTo>
                    <a:pt x="327024" y="28575"/>
                    <a:pt x="330834" y="29210"/>
                    <a:pt x="334644" y="31115"/>
                  </a:cubicBezTo>
                  <a:cubicBezTo>
                    <a:pt x="338454" y="32385"/>
                    <a:pt x="341629" y="34925"/>
                    <a:pt x="344169" y="38735"/>
                  </a:cubicBezTo>
                  <a:cubicBezTo>
                    <a:pt x="346709" y="41910"/>
                    <a:pt x="349249" y="46355"/>
                    <a:pt x="350519" y="51435"/>
                  </a:cubicBezTo>
                  <a:cubicBezTo>
                    <a:pt x="351789" y="56515"/>
                    <a:pt x="353059" y="62865"/>
                    <a:pt x="353059" y="70485"/>
                  </a:cubicBezTo>
                  <a:lnTo>
                    <a:pt x="352424" y="71120"/>
                  </a:lnTo>
                  <a:cubicBezTo>
                    <a:pt x="352424" y="77470"/>
                    <a:pt x="351789" y="83820"/>
                    <a:pt x="349884" y="88265"/>
                  </a:cubicBezTo>
                  <a:cubicBezTo>
                    <a:pt x="347979" y="93345"/>
                    <a:pt x="346074" y="97155"/>
                    <a:pt x="342899" y="100330"/>
                  </a:cubicBezTo>
                  <a:cubicBezTo>
                    <a:pt x="340359" y="103505"/>
                    <a:pt x="336549" y="106045"/>
                    <a:pt x="333374" y="107315"/>
                  </a:cubicBezTo>
                  <a:cubicBezTo>
                    <a:pt x="329564" y="109220"/>
                    <a:pt x="325754" y="109855"/>
                    <a:pt x="321944" y="109855"/>
                  </a:cubicBezTo>
                  <a:cubicBezTo>
                    <a:pt x="318134" y="109855"/>
                    <a:pt x="314324" y="109220"/>
                    <a:pt x="311149" y="107315"/>
                  </a:cubicBezTo>
                  <a:cubicBezTo>
                    <a:pt x="307339" y="105410"/>
                    <a:pt x="304799" y="103505"/>
                    <a:pt x="302259" y="100965"/>
                  </a:cubicBezTo>
                  <a:lnTo>
                    <a:pt x="302259" y="107950"/>
                  </a:lnTo>
                  <a:lnTo>
                    <a:pt x="287019" y="107950"/>
                  </a:lnTo>
                  <a:lnTo>
                    <a:pt x="287019" y="7620"/>
                  </a:lnTo>
                  <a:close/>
                </a:path>
              </a:pathLst>
            </a:custGeom>
            <a:solidFill>
              <a:srgbClr val="FFFFFF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28" name="Subtitle 2">
            <a:extLst>
              <a:ext uri="{FF2B5EF4-FFF2-40B4-BE49-F238E27FC236}">
                <a16:creationId xmlns:a16="http://schemas.microsoft.com/office/drawing/2014/main" id="{632E76BF-46D5-8E94-88AA-4783DD302E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90225" y="4436486"/>
            <a:ext cx="4910184" cy="511939"/>
          </a:xfrm>
        </p:spPr>
        <p:txBody>
          <a:bodyPr wrap="square">
            <a:noAutofit/>
          </a:bodyPr>
          <a:lstStyle>
            <a:lvl1pPr marL="0" indent="0" algn="l">
              <a:buNone/>
              <a:defRPr lang="en-GB" sz="16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/>
          </a:p>
        </p:txBody>
      </p:sp>
      <p:sp>
        <p:nvSpPr>
          <p:cNvPr id="29" name="Title 4">
            <a:extLst>
              <a:ext uri="{FF2B5EF4-FFF2-40B4-BE49-F238E27FC236}">
                <a16:creationId xmlns:a16="http://schemas.microsoft.com/office/drawing/2014/main" id="{1F7B1FDC-B90E-6693-A750-B9BA4B535E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90226" y="2698752"/>
            <a:ext cx="4908564" cy="1654043"/>
          </a:xfrm>
        </p:spPr>
        <p:txBody>
          <a:bodyPr anchor="t">
            <a:noAutofit/>
          </a:bodyPr>
          <a:lstStyle>
            <a:lvl1pPr>
              <a:defRPr sz="4200" b="1" i="0">
                <a:solidFill>
                  <a:schemeClr val="bg1"/>
                </a:solidFill>
                <a:latin typeface="EYInterstate Regular" panose="02000503020000020004" pitchFamily="2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0" name="Text Placeholder 288">
            <a:extLst>
              <a:ext uri="{FF2B5EF4-FFF2-40B4-BE49-F238E27FC236}">
                <a16:creationId xmlns:a16="http://schemas.microsoft.com/office/drawing/2014/main" id="{1673B89D-F206-B9D2-CDB7-BDE045C7447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90226" y="5047486"/>
            <a:ext cx="4908565" cy="246221"/>
          </a:xfrm>
        </p:spPr>
        <p:txBody>
          <a:bodyPr wrap="square">
            <a:spAutoFit/>
          </a:bodyPr>
          <a:lstStyle>
            <a:lvl1pPr marL="0" indent="0">
              <a:buNone/>
              <a:defRPr sz="1600" b="1">
                <a:latin typeface="+mj-lt"/>
              </a:defRPr>
            </a:lvl1pPr>
            <a:lvl2pPr marL="252000" indent="0">
              <a:buNone/>
              <a:defRPr sz="1600" b="1">
                <a:latin typeface="+mj-lt"/>
              </a:defRPr>
            </a:lvl2pPr>
            <a:lvl3pPr marL="504000" indent="0">
              <a:buNone/>
              <a:defRPr sz="1600" b="1">
                <a:latin typeface="+mj-lt"/>
              </a:defRPr>
            </a:lvl3pPr>
            <a:lvl4pPr marL="756000" indent="0">
              <a:buNone/>
              <a:defRPr sz="1600" b="1">
                <a:latin typeface="+mj-lt"/>
              </a:defRPr>
            </a:lvl4pPr>
            <a:lvl5pPr marL="1008000" indent="0">
              <a:buNone/>
              <a:defRPr sz="1600" b="1">
                <a:latin typeface="+mj-lt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1A067759-C6C3-3B7B-ABF5-859A6A63528E}"/>
              </a:ext>
            </a:extLst>
          </p:cNvPr>
          <p:cNvGrpSpPr/>
          <p:nvPr userDrawn="1"/>
        </p:nvGrpSpPr>
        <p:grpSpPr>
          <a:xfrm>
            <a:off x="486027" y="1291009"/>
            <a:ext cx="5709082" cy="4360545"/>
            <a:chOff x="485774" y="1291008"/>
            <a:chExt cx="5706110" cy="4360545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F7E50E80-DFF0-E065-898F-1AFD970459B6}"/>
                </a:ext>
              </a:extLst>
            </p:cNvPr>
            <p:cNvSpPr/>
            <p:nvPr userDrawn="1"/>
          </p:nvSpPr>
          <p:spPr>
            <a:xfrm>
              <a:off x="485774" y="5549953"/>
              <a:ext cx="508000" cy="101600"/>
            </a:xfrm>
            <a:custGeom>
              <a:avLst/>
              <a:gdLst>
                <a:gd name="connsiteX0" fmla="*/ 406400 w 508000"/>
                <a:gd name="connsiteY0" fmla="*/ 0 h 101600"/>
                <a:gd name="connsiteX1" fmla="*/ 508000 w 508000"/>
                <a:gd name="connsiteY1" fmla="*/ 0 h 101600"/>
                <a:gd name="connsiteX2" fmla="*/ 508000 w 508000"/>
                <a:gd name="connsiteY2" fmla="*/ 101600 h 101600"/>
                <a:gd name="connsiteX3" fmla="*/ 406400 w 508000"/>
                <a:gd name="connsiteY3" fmla="*/ 101600 h 101600"/>
                <a:gd name="connsiteX4" fmla="*/ 203200 w 508000"/>
                <a:gd name="connsiteY4" fmla="*/ 0 h 101600"/>
                <a:gd name="connsiteX5" fmla="*/ 304800 w 508000"/>
                <a:gd name="connsiteY5" fmla="*/ 0 h 101600"/>
                <a:gd name="connsiteX6" fmla="*/ 304800 w 508000"/>
                <a:gd name="connsiteY6" fmla="*/ 101600 h 101600"/>
                <a:gd name="connsiteX7" fmla="*/ 203200 w 508000"/>
                <a:gd name="connsiteY7" fmla="*/ 101600 h 101600"/>
                <a:gd name="connsiteX8" fmla="*/ 0 w 508000"/>
                <a:gd name="connsiteY8" fmla="*/ 0 h 101600"/>
                <a:gd name="connsiteX9" fmla="*/ 101600 w 508000"/>
                <a:gd name="connsiteY9" fmla="*/ 0 h 101600"/>
                <a:gd name="connsiteX10" fmla="*/ 101600 w 508000"/>
                <a:gd name="connsiteY10" fmla="*/ 101600 h 101600"/>
                <a:gd name="connsiteX11" fmla="*/ 0 w 508000"/>
                <a:gd name="connsiteY11" fmla="*/ 101600 h 101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08000" h="101600">
                  <a:moveTo>
                    <a:pt x="406400" y="0"/>
                  </a:moveTo>
                  <a:lnTo>
                    <a:pt x="508000" y="0"/>
                  </a:lnTo>
                  <a:lnTo>
                    <a:pt x="508000" y="101600"/>
                  </a:lnTo>
                  <a:lnTo>
                    <a:pt x="406400" y="101600"/>
                  </a:lnTo>
                  <a:close/>
                  <a:moveTo>
                    <a:pt x="203200" y="0"/>
                  </a:moveTo>
                  <a:lnTo>
                    <a:pt x="304800" y="0"/>
                  </a:lnTo>
                  <a:lnTo>
                    <a:pt x="304800" y="101600"/>
                  </a:lnTo>
                  <a:lnTo>
                    <a:pt x="203200" y="101600"/>
                  </a:lnTo>
                  <a:close/>
                  <a:moveTo>
                    <a:pt x="0" y="0"/>
                  </a:moveTo>
                  <a:lnTo>
                    <a:pt x="101600" y="0"/>
                  </a:lnTo>
                  <a:lnTo>
                    <a:pt x="101600" y="101600"/>
                  </a:lnTo>
                  <a:lnTo>
                    <a:pt x="0" y="101600"/>
                  </a:lnTo>
                  <a:close/>
                </a:path>
              </a:pathLst>
            </a:custGeom>
            <a:solidFill>
              <a:schemeClr val="tx2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6" name="Freeform 5">
              <a:extLst>
                <a:ext uri="{FF2B5EF4-FFF2-40B4-BE49-F238E27FC236}">
                  <a16:creationId xmlns:a16="http://schemas.microsoft.com/office/drawing/2014/main" id="{CC99724B-50FD-5B78-B6B7-D645073026A7}"/>
                </a:ext>
              </a:extLst>
            </p:cNvPr>
            <p:cNvSpPr/>
            <p:nvPr userDrawn="1"/>
          </p:nvSpPr>
          <p:spPr>
            <a:xfrm>
              <a:off x="485775" y="1291008"/>
              <a:ext cx="5706109" cy="4359275"/>
            </a:xfrm>
            <a:custGeom>
              <a:avLst/>
              <a:gdLst>
                <a:gd name="connsiteX0" fmla="*/ 0 w 5706109"/>
                <a:gd name="connsiteY0" fmla="*/ 4157346 h 4359275"/>
                <a:gd name="connsiteX1" fmla="*/ 101600 w 5706109"/>
                <a:gd name="connsiteY1" fmla="*/ 4157346 h 4359275"/>
                <a:gd name="connsiteX2" fmla="*/ 101600 w 5706109"/>
                <a:gd name="connsiteY2" fmla="*/ 1075055 h 4359275"/>
                <a:gd name="connsiteX3" fmla="*/ 101600 w 5706109"/>
                <a:gd name="connsiteY3" fmla="*/ 1075055 h 4359275"/>
                <a:gd name="connsiteX4" fmla="*/ 191770 w 5706109"/>
                <a:gd name="connsiteY4" fmla="*/ 1059180 h 4359275"/>
                <a:gd name="connsiteX5" fmla="*/ 861060 w 5706109"/>
                <a:gd name="connsiteY5" fmla="*/ 942975 h 4359275"/>
                <a:gd name="connsiteX6" fmla="*/ 1195705 w 5706109"/>
                <a:gd name="connsiteY6" fmla="*/ 885190 h 4359275"/>
                <a:gd name="connsiteX7" fmla="*/ 1362710 w 5706109"/>
                <a:gd name="connsiteY7" fmla="*/ 855980 h 4359275"/>
                <a:gd name="connsiteX8" fmla="*/ 1529715 w 5706109"/>
                <a:gd name="connsiteY8" fmla="*/ 826770 h 4359275"/>
                <a:gd name="connsiteX9" fmla="*/ 1864360 w 5706109"/>
                <a:gd name="connsiteY9" fmla="*/ 768985 h 4359275"/>
                <a:gd name="connsiteX10" fmla="*/ 2031365 w 5706109"/>
                <a:gd name="connsiteY10" fmla="*/ 739775 h 4359275"/>
                <a:gd name="connsiteX11" fmla="*/ 2198370 w 5706109"/>
                <a:gd name="connsiteY11" fmla="*/ 710565 h 4359275"/>
                <a:gd name="connsiteX12" fmla="*/ 2365375 w 5706109"/>
                <a:gd name="connsiteY12" fmla="*/ 681355 h 4359275"/>
                <a:gd name="connsiteX13" fmla="*/ 2532380 w 5706109"/>
                <a:gd name="connsiteY13" fmla="*/ 652145 h 4359275"/>
                <a:gd name="connsiteX14" fmla="*/ 2699385 w 5706109"/>
                <a:gd name="connsiteY14" fmla="*/ 622935 h 4359275"/>
                <a:gd name="connsiteX15" fmla="*/ 2866390 w 5706109"/>
                <a:gd name="connsiteY15" fmla="*/ 593725 h 4359275"/>
                <a:gd name="connsiteX16" fmla="*/ 5461000 w 5706109"/>
                <a:gd name="connsiteY16" fmla="*/ 144145 h 4359275"/>
                <a:gd name="connsiteX17" fmla="*/ 5602605 w 5706109"/>
                <a:gd name="connsiteY17" fmla="*/ 119380 h 4359275"/>
                <a:gd name="connsiteX18" fmla="*/ 5602605 w 5706109"/>
                <a:gd name="connsiteY18" fmla="*/ 119380 h 4359275"/>
                <a:gd name="connsiteX19" fmla="*/ 5602605 w 5706109"/>
                <a:gd name="connsiteY19" fmla="*/ 4257676 h 4359275"/>
                <a:gd name="connsiteX20" fmla="*/ 609600 w 5706109"/>
                <a:gd name="connsiteY20" fmla="*/ 4257676 h 4359275"/>
                <a:gd name="connsiteX21" fmla="*/ 609600 w 5706109"/>
                <a:gd name="connsiteY21" fmla="*/ 4359276 h 4359275"/>
                <a:gd name="connsiteX22" fmla="*/ 5706110 w 5706109"/>
                <a:gd name="connsiteY22" fmla="*/ 4359276 h 4359275"/>
                <a:gd name="connsiteX23" fmla="*/ 5706110 w 5706109"/>
                <a:gd name="connsiteY23" fmla="*/ 0 h 4359275"/>
                <a:gd name="connsiteX24" fmla="*/ 5704840 w 5706109"/>
                <a:gd name="connsiteY24" fmla="*/ 0 h 4359275"/>
                <a:gd name="connsiteX25" fmla="*/ 5445760 w 5706109"/>
                <a:gd name="connsiteY25" fmla="*/ 45085 h 4359275"/>
                <a:gd name="connsiteX26" fmla="*/ 2851150 w 5706109"/>
                <a:gd name="connsiteY26" fmla="*/ 494665 h 4359275"/>
                <a:gd name="connsiteX27" fmla="*/ 2684145 w 5706109"/>
                <a:gd name="connsiteY27" fmla="*/ 523875 h 4359275"/>
                <a:gd name="connsiteX28" fmla="*/ 2517140 w 5706109"/>
                <a:gd name="connsiteY28" fmla="*/ 553085 h 4359275"/>
                <a:gd name="connsiteX29" fmla="*/ 2350135 w 5706109"/>
                <a:gd name="connsiteY29" fmla="*/ 582295 h 4359275"/>
                <a:gd name="connsiteX30" fmla="*/ 2183130 w 5706109"/>
                <a:gd name="connsiteY30" fmla="*/ 611505 h 4359275"/>
                <a:gd name="connsiteX31" fmla="*/ 2016125 w 5706109"/>
                <a:gd name="connsiteY31" fmla="*/ 640715 h 4359275"/>
                <a:gd name="connsiteX32" fmla="*/ 1849120 w 5706109"/>
                <a:gd name="connsiteY32" fmla="*/ 669925 h 4359275"/>
                <a:gd name="connsiteX33" fmla="*/ 1514475 w 5706109"/>
                <a:gd name="connsiteY33" fmla="*/ 727710 h 4359275"/>
                <a:gd name="connsiteX34" fmla="*/ 1347470 w 5706109"/>
                <a:gd name="connsiteY34" fmla="*/ 756920 h 4359275"/>
                <a:gd name="connsiteX35" fmla="*/ 1180465 w 5706109"/>
                <a:gd name="connsiteY35" fmla="*/ 786130 h 4359275"/>
                <a:gd name="connsiteX36" fmla="*/ 845820 w 5706109"/>
                <a:gd name="connsiteY36" fmla="*/ 843915 h 4359275"/>
                <a:gd name="connsiteX37" fmla="*/ 176530 w 5706109"/>
                <a:gd name="connsiteY37" fmla="*/ 960120 h 4359275"/>
                <a:gd name="connsiteX38" fmla="*/ 3175 w 5706109"/>
                <a:gd name="connsiteY38" fmla="*/ 989965 h 4359275"/>
                <a:gd name="connsiteX39" fmla="*/ 1905 w 5706109"/>
                <a:gd name="connsiteY39" fmla="*/ 989965 h 4359275"/>
                <a:gd name="connsiteX40" fmla="*/ 1905 w 5706109"/>
                <a:gd name="connsiteY40" fmla="*/ 4158616 h 4359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5706109" h="4359275">
                  <a:moveTo>
                    <a:pt x="0" y="4157346"/>
                  </a:moveTo>
                  <a:lnTo>
                    <a:pt x="101600" y="4157346"/>
                  </a:lnTo>
                  <a:lnTo>
                    <a:pt x="101600" y="1075055"/>
                  </a:lnTo>
                  <a:lnTo>
                    <a:pt x="101600" y="1075055"/>
                  </a:lnTo>
                  <a:lnTo>
                    <a:pt x="191770" y="1059180"/>
                  </a:lnTo>
                  <a:lnTo>
                    <a:pt x="861060" y="942975"/>
                  </a:lnTo>
                  <a:lnTo>
                    <a:pt x="1195705" y="885190"/>
                  </a:lnTo>
                  <a:lnTo>
                    <a:pt x="1362710" y="855980"/>
                  </a:lnTo>
                  <a:lnTo>
                    <a:pt x="1529715" y="826770"/>
                  </a:lnTo>
                  <a:lnTo>
                    <a:pt x="1864360" y="768985"/>
                  </a:lnTo>
                  <a:lnTo>
                    <a:pt x="2031365" y="739775"/>
                  </a:lnTo>
                  <a:lnTo>
                    <a:pt x="2198370" y="710565"/>
                  </a:lnTo>
                  <a:lnTo>
                    <a:pt x="2365375" y="681355"/>
                  </a:lnTo>
                  <a:lnTo>
                    <a:pt x="2532380" y="652145"/>
                  </a:lnTo>
                  <a:lnTo>
                    <a:pt x="2699385" y="622935"/>
                  </a:lnTo>
                  <a:lnTo>
                    <a:pt x="2866390" y="593725"/>
                  </a:lnTo>
                  <a:cubicBezTo>
                    <a:pt x="3731260" y="443865"/>
                    <a:pt x="4596130" y="294005"/>
                    <a:pt x="5461000" y="144145"/>
                  </a:cubicBezTo>
                  <a:lnTo>
                    <a:pt x="5602605" y="119380"/>
                  </a:lnTo>
                  <a:lnTo>
                    <a:pt x="5602605" y="119380"/>
                  </a:lnTo>
                  <a:lnTo>
                    <a:pt x="5602605" y="4257676"/>
                  </a:lnTo>
                  <a:lnTo>
                    <a:pt x="609600" y="4257676"/>
                  </a:lnTo>
                  <a:lnTo>
                    <a:pt x="609600" y="4359276"/>
                  </a:lnTo>
                  <a:lnTo>
                    <a:pt x="5706110" y="4359276"/>
                  </a:lnTo>
                  <a:lnTo>
                    <a:pt x="5706110" y="0"/>
                  </a:lnTo>
                  <a:lnTo>
                    <a:pt x="5704840" y="0"/>
                  </a:lnTo>
                  <a:cubicBezTo>
                    <a:pt x="5618480" y="15240"/>
                    <a:pt x="5532120" y="30480"/>
                    <a:pt x="5445760" y="45085"/>
                  </a:cubicBezTo>
                  <a:cubicBezTo>
                    <a:pt x="4580890" y="194945"/>
                    <a:pt x="3716020" y="344805"/>
                    <a:pt x="2851150" y="494665"/>
                  </a:cubicBezTo>
                  <a:lnTo>
                    <a:pt x="2684145" y="523875"/>
                  </a:lnTo>
                  <a:lnTo>
                    <a:pt x="2517140" y="553085"/>
                  </a:lnTo>
                  <a:lnTo>
                    <a:pt x="2350135" y="582295"/>
                  </a:lnTo>
                  <a:lnTo>
                    <a:pt x="2183130" y="611505"/>
                  </a:lnTo>
                  <a:lnTo>
                    <a:pt x="2016125" y="640715"/>
                  </a:lnTo>
                  <a:lnTo>
                    <a:pt x="1849120" y="669925"/>
                  </a:lnTo>
                  <a:lnTo>
                    <a:pt x="1514475" y="727710"/>
                  </a:lnTo>
                  <a:lnTo>
                    <a:pt x="1347470" y="756920"/>
                  </a:lnTo>
                  <a:lnTo>
                    <a:pt x="1180465" y="786130"/>
                  </a:lnTo>
                  <a:lnTo>
                    <a:pt x="845820" y="843915"/>
                  </a:lnTo>
                  <a:lnTo>
                    <a:pt x="176530" y="960120"/>
                  </a:lnTo>
                  <a:lnTo>
                    <a:pt x="3175" y="989965"/>
                  </a:lnTo>
                  <a:lnTo>
                    <a:pt x="1905" y="989965"/>
                  </a:lnTo>
                  <a:lnTo>
                    <a:pt x="1905" y="4158616"/>
                  </a:lnTo>
                  <a:close/>
                </a:path>
              </a:pathLst>
            </a:custGeom>
            <a:gradFill flip="none" rotWithShape="1">
              <a:gsLst>
                <a:gs pos="39000">
                  <a:srgbClr val="FFE600"/>
                </a:gs>
                <a:gs pos="68000">
                  <a:srgbClr val="A420F8"/>
                </a:gs>
                <a:gs pos="100000">
                  <a:srgbClr val="5C94F9"/>
                </a:gs>
              </a:gsLst>
              <a:lin ang="18720000" scaled="0"/>
              <a:tileRect/>
            </a:gradFill>
            <a:ln w="8181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 sz="1800"/>
            </a:p>
          </p:txBody>
        </p:sp>
      </p:grpSp>
    </p:spTree>
    <p:extLst>
      <p:ext uri="{BB962C8B-B14F-4D97-AF65-F5344CB8AC3E}">
        <p14:creationId xmlns:p14="http://schemas.microsoft.com/office/powerpoint/2010/main" val="287775166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9" y="294200"/>
            <a:ext cx="10978515" cy="590400"/>
          </a:xfrm>
        </p:spPr>
        <p:txBody>
          <a:bodyPr/>
          <a:lstStyle>
            <a:lvl1pPr>
              <a:defRPr sz="2399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2" name="Line 10">
            <a:extLst>
              <a:ext uri="{FF2B5EF4-FFF2-40B4-BE49-F238E27FC236}">
                <a16:creationId xmlns:a16="http://schemas.microsoft.com/office/drawing/2014/main" id="{DA9741B6-D337-4A18-8ECB-FB21A6953E44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C56F6B4-9E49-490D-8FE1-DB9035090F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IN"/>
              <a:t>Presentation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3C35AEC-478D-4BBF-9883-4CE09EB36A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AC5F387F-0A77-424D-88D8-FFE5F0CA22D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919" y="1137920"/>
            <a:ext cx="10978515" cy="49479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87030685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Fram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DD8D4830-1AF6-9C3D-EC53-70FC3C7CBE5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0"/>
            <a:ext cx="8390722" cy="6858000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0"/>
                  <a:alpha val="0"/>
                </a:schemeClr>
              </a:gs>
              <a:gs pos="95000">
                <a:srgbClr val="000000">
                  <a:alpha val="70000"/>
                </a:srgbClr>
              </a:gs>
            </a:gsLst>
            <a:lin ang="108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endParaRPr lang="en-US" sz="1200" b="1">
              <a:solidFill>
                <a:schemeClr val="tx1"/>
              </a:solidFill>
            </a:endParaRP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A8D6BAB6-A68E-C404-5D92-6E11D325CFFA}"/>
              </a:ext>
            </a:extLst>
          </p:cNvPr>
          <p:cNvGrpSpPr/>
          <p:nvPr userDrawn="1"/>
        </p:nvGrpSpPr>
        <p:grpSpPr bwMode="black">
          <a:xfrm>
            <a:off x="10568726" y="5167683"/>
            <a:ext cx="1219835" cy="1284606"/>
            <a:chOff x="10563224" y="5158158"/>
            <a:chExt cx="1219200" cy="1284606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BEE0067F-78DC-1ABA-D072-D13444B14ED9}"/>
                </a:ext>
              </a:extLst>
            </p:cNvPr>
            <p:cNvSpPr/>
            <p:nvPr/>
          </p:nvSpPr>
          <p:spPr bwMode="black">
            <a:xfrm>
              <a:off x="10826115" y="5158158"/>
              <a:ext cx="805814" cy="294004"/>
            </a:xfrm>
            <a:custGeom>
              <a:avLst/>
              <a:gdLst>
                <a:gd name="connsiteX0" fmla="*/ 805814 w 805814"/>
                <a:gd name="connsiteY0" fmla="*/ 0 h 294004"/>
                <a:gd name="connsiteX1" fmla="*/ 0 w 805814"/>
                <a:gd name="connsiteY1" fmla="*/ 294005 h 294004"/>
                <a:gd name="connsiteX2" fmla="*/ 805814 w 805814"/>
                <a:gd name="connsiteY2" fmla="*/ 151765 h 294004"/>
                <a:gd name="connsiteX3" fmla="*/ 805814 w 805814"/>
                <a:gd name="connsiteY3" fmla="*/ 0 h 2940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05814" h="294004">
                  <a:moveTo>
                    <a:pt x="805814" y="0"/>
                  </a:moveTo>
                  <a:lnTo>
                    <a:pt x="0" y="294005"/>
                  </a:lnTo>
                  <a:lnTo>
                    <a:pt x="805814" y="151765"/>
                  </a:lnTo>
                  <a:lnTo>
                    <a:pt x="805814" y="0"/>
                  </a:lnTo>
                  <a:close/>
                </a:path>
              </a:pathLst>
            </a:custGeom>
            <a:solidFill>
              <a:srgbClr val="FFE600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23" name="Freeform 22">
              <a:extLst>
                <a:ext uri="{FF2B5EF4-FFF2-40B4-BE49-F238E27FC236}">
                  <a16:creationId xmlns:a16="http://schemas.microsoft.com/office/drawing/2014/main" id="{51F51328-AAA1-9C6C-5EE4-05350DF6D22E}"/>
                </a:ext>
              </a:extLst>
            </p:cNvPr>
            <p:cNvSpPr/>
            <p:nvPr/>
          </p:nvSpPr>
          <p:spPr bwMode="black">
            <a:xfrm>
              <a:off x="10563224" y="5574083"/>
              <a:ext cx="1219200" cy="868681"/>
            </a:xfrm>
            <a:custGeom>
              <a:avLst/>
              <a:gdLst>
                <a:gd name="connsiteX0" fmla="*/ 245110 w 1219200"/>
                <a:gd name="connsiteY0" fmla="*/ 839471 h 868681"/>
                <a:gd name="connsiteX1" fmla="*/ 246379 w 1219200"/>
                <a:gd name="connsiteY1" fmla="*/ 839471 h 868681"/>
                <a:gd name="connsiteX2" fmla="*/ 245041 w 1219200"/>
                <a:gd name="connsiteY2" fmla="*/ 839979 h 868681"/>
                <a:gd name="connsiteX3" fmla="*/ 522605 w 1219200"/>
                <a:gd name="connsiteY3" fmla="*/ 796926 h 868681"/>
                <a:gd name="connsiteX4" fmla="*/ 504189 w 1219200"/>
                <a:gd name="connsiteY4" fmla="*/ 821691 h 868681"/>
                <a:gd name="connsiteX5" fmla="*/ 522605 w 1219200"/>
                <a:gd name="connsiteY5" fmla="*/ 845821 h 868681"/>
                <a:gd name="connsiteX6" fmla="*/ 541019 w 1219200"/>
                <a:gd name="connsiteY6" fmla="*/ 821691 h 868681"/>
                <a:gd name="connsiteX7" fmla="*/ 522605 w 1219200"/>
                <a:gd name="connsiteY7" fmla="*/ 796926 h 868681"/>
                <a:gd name="connsiteX8" fmla="*/ 817245 w 1219200"/>
                <a:gd name="connsiteY8" fmla="*/ 796291 h 868681"/>
                <a:gd name="connsiteX9" fmla="*/ 800735 w 1219200"/>
                <a:gd name="connsiteY9" fmla="*/ 819786 h 868681"/>
                <a:gd name="connsiteX10" fmla="*/ 817879 w 1219200"/>
                <a:gd name="connsiteY10" fmla="*/ 846456 h 868681"/>
                <a:gd name="connsiteX11" fmla="*/ 833754 w 1219200"/>
                <a:gd name="connsiteY11" fmla="*/ 838836 h 868681"/>
                <a:gd name="connsiteX12" fmla="*/ 833754 w 1219200"/>
                <a:gd name="connsiteY12" fmla="*/ 838201 h 868681"/>
                <a:gd name="connsiteX13" fmla="*/ 833754 w 1219200"/>
                <a:gd name="connsiteY13" fmla="*/ 803911 h 868681"/>
                <a:gd name="connsiteX14" fmla="*/ 817245 w 1219200"/>
                <a:gd name="connsiteY14" fmla="*/ 796291 h 868681"/>
                <a:gd name="connsiteX15" fmla="*/ 1179195 w 1219200"/>
                <a:gd name="connsiteY15" fmla="*/ 794386 h 868681"/>
                <a:gd name="connsiteX16" fmla="*/ 1163320 w 1219200"/>
                <a:gd name="connsiteY16" fmla="*/ 811531 h 868681"/>
                <a:gd name="connsiteX17" fmla="*/ 1163954 w 1219200"/>
                <a:gd name="connsiteY17" fmla="*/ 811531 h 868681"/>
                <a:gd name="connsiteX18" fmla="*/ 1195704 w 1219200"/>
                <a:gd name="connsiteY18" fmla="*/ 811531 h 868681"/>
                <a:gd name="connsiteX19" fmla="*/ 1179195 w 1219200"/>
                <a:gd name="connsiteY19" fmla="*/ 794386 h 868681"/>
                <a:gd name="connsiteX20" fmla="*/ 909320 w 1219200"/>
                <a:gd name="connsiteY20" fmla="*/ 794386 h 868681"/>
                <a:gd name="connsiteX21" fmla="*/ 893445 w 1219200"/>
                <a:gd name="connsiteY21" fmla="*/ 811531 h 868681"/>
                <a:gd name="connsiteX22" fmla="*/ 894079 w 1219200"/>
                <a:gd name="connsiteY22" fmla="*/ 811531 h 868681"/>
                <a:gd name="connsiteX23" fmla="*/ 925829 w 1219200"/>
                <a:gd name="connsiteY23" fmla="*/ 811531 h 868681"/>
                <a:gd name="connsiteX24" fmla="*/ 909320 w 1219200"/>
                <a:gd name="connsiteY24" fmla="*/ 794386 h 868681"/>
                <a:gd name="connsiteX25" fmla="*/ 737870 w 1219200"/>
                <a:gd name="connsiteY25" fmla="*/ 775971 h 868681"/>
                <a:gd name="connsiteX26" fmla="*/ 761364 w 1219200"/>
                <a:gd name="connsiteY26" fmla="*/ 775971 h 868681"/>
                <a:gd name="connsiteX27" fmla="*/ 761364 w 1219200"/>
                <a:gd name="connsiteY27" fmla="*/ 866141 h 868681"/>
                <a:gd name="connsiteX28" fmla="*/ 737870 w 1219200"/>
                <a:gd name="connsiteY28" fmla="*/ 866141 h 868681"/>
                <a:gd name="connsiteX29" fmla="*/ 143510 w 1219200"/>
                <a:gd name="connsiteY29" fmla="*/ 775971 h 868681"/>
                <a:gd name="connsiteX30" fmla="*/ 167004 w 1219200"/>
                <a:gd name="connsiteY30" fmla="*/ 775971 h 868681"/>
                <a:gd name="connsiteX31" fmla="*/ 167004 w 1219200"/>
                <a:gd name="connsiteY31" fmla="*/ 866141 h 868681"/>
                <a:gd name="connsiteX32" fmla="*/ 143510 w 1219200"/>
                <a:gd name="connsiteY32" fmla="*/ 866141 h 868681"/>
                <a:gd name="connsiteX33" fmla="*/ 635 w 1219200"/>
                <a:gd name="connsiteY33" fmla="*/ 775971 h 868681"/>
                <a:gd name="connsiteX34" fmla="*/ 26670 w 1219200"/>
                <a:gd name="connsiteY34" fmla="*/ 775971 h 868681"/>
                <a:gd name="connsiteX35" fmla="*/ 40004 w 1219200"/>
                <a:gd name="connsiteY35" fmla="*/ 828041 h 868681"/>
                <a:gd name="connsiteX36" fmla="*/ 55245 w 1219200"/>
                <a:gd name="connsiteY36" fmla="*/ 775971 h 868681"/>
                <a:gd name="connsiteX37" fmla="*/ 76200 w 1219200"/>
                <a:gd name="connsiteY37" fmla="*/ 775971 h 868681"/>
                <a:gd name="connsiteX38" fmla="*/ 91439 w 1219200"/>
                <a:gd name="connsiteY38" fmla="*/ 828041 h 868681"/>
                <a:gd name="connsiteX39" fmla="*/ 105409 w 1219200"/>
                <a:gd name="connsiteY39" fmla="*/ 775971 h 868681"/>
                <a:gd name="connsiteX40" fmla="*/ 130810 w 1219200"/>
                <a:gd name="connsiteY40" fmla="*/ 775971 h 868681"/>
                <a:gd name="connsiteX41" fmla="*/ 102235 w 1219200"/>
                <a:gd name="connsiteY41" fmla="*/ 866141 h 868681"/>
                <a:gd name="connsiteX42" fmla="*/ 80644 w 1219200"/>
                <a:gd name="connsiteY42" fmla="*/ 866141 h 868681"/>
                <a:gd name="connsiteX43" fmla="*/ 65405 w 1219200"/>
                <a:gd name="connsiteY43" fmla="*/ 811531 h 868681"/>
                <a:gd name="connsiteX44" fmla="*/ 50165 w 1219200"/>
                <a:gd name="connsiteY44" fmla="*/ 866141 h 868681"/>
                <a:gd name="connsiteX45" fmla="*/ 28575 w 1219200"/>
                <a:gd name="connsiteY45" fmla="*/ 866141 h 868681"/>
                <a:gd name="connsiteX46" fmla="*/ 1181099 w 1219200"/>
                <a:gd name="connsiteY46" fmla="*/ 774066 h 868681"/>
                <a:gd name="connsiteX47" fmla="*/ 1219200 w 1219200"/>
                <a:gd name="connsiteY47" fmla="*/ 821056 h 868681"/>
                <a:gd name="connsiteX48" fmla="*/ 1218564 w 1219200"/>
                <a:gd name="connsiteY48" fmla="*/ 821056 h 868681"/>
                <a:gd name="connsiteX49" fmla="*/ 1218564 w 1219200"/>
                <a:gd name="connsiteY49" fmla="*/ 828676 h 868681"/>
                <a:gd name="connsiteX50" fmla="*/ 1163954 w 1219200"/>
                <a:gd name="connsiteY50" fmla="*/ 828676 h 868681"/>
                <a:gd name="connsiteX51" fmla="*/ 1183004 w 1219200"/>
                <a:gd name="connsiteY51" fmla="*/ 846456 h 868681"/>
                <a:gd name="connsiteX52" fmla="*/ 1198879 w 1219200"/>
                <a:gd name="connsiteY52" fmla="*/ 840106 h 868681"/>
                <a:gd name="connsiteX53" fmla="*/ 1214754 w 1219200"/>
                <a:gd name="connsiteY53" fmla="*/ 853441 h 868681"/>
                <a:gd name="connsiteX54" fmla="*/ 1182370 w 1219200"/>
                <a:gd name="connsiteY54" fmla="*/ 868046 h 868681"/>
                <a:gd name="connsiteX55" fmla="*/ 1141095 w 1219200"/>
                <a:gd name="connsiteY55" fmla="*/ 821056 h 868681"/>
                <a:gd name="connsiteX56" fmla="*/ 1181099 w 1219200"/>
                <a:gd name="connsiteY56" fmla="*/ 774066 h 868681"/>
                <a:gd name="connsiteX57" fmla="*/ 1097915 w 1219200"/>
                <a:gd name="connsiteY57" fmla="*/ 774066 h 868681"/>
                <a:gd name="connsiteX58" fmla="*/ 1133474 w 1219200"/>
                <a:gd name="connsiteY58" fmla="*/ 793751 h 868681"/>
                <a:gd name="connsiteX59" fmla="*/ 1118235 w 1219200"/>
                <a:gd name="connsiteY59" fmla="*/ 808991 h 868681"/>
                <a:gd name="connsiteX60" fmla="*/ 1097915 w 1219200"/>
                <a:gd name="connsiteY60" fmla="*/ 796291 h 868681"/>
                <a:gd name="connsiteX61" fmla="*/ 1078864 w 1219200"/>
                <a:gd name="connsiteY61" fmla="*/ 820421 h 868681"/>
                <a:gd name="connsiteX62" fmla="*/ 1097915 w 1219200"/>
                <a:gd name="connsiteY62" fmla="*/ 845186 h 868681"/>
                <a:gd name="connsiteX63" fmla="*/ 1118235 w 1219200"/>
                <a:gd name="connsiteY63" fmla="*/ 833756 h 868681"/>
                <a:gd name="connsiteX64" fmla="*/ 1118870 w 1219200"/>
                <a:gd name="connsiteY64" fmla="*/ 834391 h 868681"/>
                <a:gd name="connsiteX65" fmla="*/ 1133474 w 1219200"/>
                <a:gd name="connsiteY65" fmla="*/ 848361 h 868681"/>
                <a:gd name="connsiteX66" fmla="*/ 1097280 w 1219200"/>
                <a:gd name="connsiteY66" fmla="*/ 868046 h 868681"/>
                <a:gd name="connsiteX67" fmla="*/ 1054735 w 1219200"/>
                <a:gd name="connsiteY67" fmla="*/ 821056 h 868681"/>
                <a:gd name="connsiteX68" fmla="*/ 1097915 w 1219200"/>
                <a:gd name="connsiteY68" fmla="*/ 774066 h 868681"/>
                <a:gd name="connsiteX69" fmla="*/ 1009015 w 1219200"/>
                <a:gd name="connsiteY69" fmla="*/ 774066 h 868681"/>
                <a:gd name="connsiteX70" fmla="*/ 1041400 w 1219200"/>
                <a:gd name="connsiteY70" fmla="*/ 815341 h 868681"/>
                <a:gd name="connsiteX71" fmla="*/ 1041400 w 1219200"/>
                <a:gd name="connsiteY71" fmla="*/ 866141 h 868681"/>
                <a:gd name="connsiteX72" fmla="*/ 1017905 w 1219200"/>
                <a:gd name="connsiteY72" fmla="*/ 866141 h 868681"/>
                <a:gd name="connsiteX73" fmla="*/ 1017905 w 1219200"/>
                <a:gd name="connsiteY73" fmla="*/ 817246 h 868681"/>
                <a:gd name="connsiteX74" fmla="*/ 1002665 w 1219200"/>
                <a:gd name="connsiteY74" fmla="*/ 796291 h 868681"/>
                <a:gd name="connsiteX75" fmla="*/ 986790 w 1219200"/>
                <a:gd name="connsiteY75" fmla="*/ 816611 h 868681"/>
                <a:gd name="connsiteX76" fmla="*/ 986790 w 1219200"/>
                <a:gd name="connsiteY76" fmla="*/ 866141 h 868681"/>
                <a:gd name="connsiteX77" fmla="*/ 963295 w 1219200"/>
                <a:gd name="connsiteY77" fmla="*/ 866141 h 868681"/>
                <a:gd name="connsiteX78" fmla="*/ 963295 w 1219200"/>
                <a:gd name="connsiteY78" fmla="*/ 775971 h 868681"/>
                <a:gd name="connsiteX79" fmla="*/ 986790 w 1219200"/>
                <a:gd name="connsiteY79" fmla="*/ 775971 h 868681"/>
                <a:gd name="connsiteX80" fmla="*/ 986790 w 1219200"/>
                <a:gd name="connsiteY80" fmla="*/ 782321 h 868681"/>
                <a:gd name="connsiteX81" fmla="*/ 1009015 w 1219200"/>
                <a:gd name="connsiteY81" fmla="*/ 774066 h 868681"/>
                <a:gd name="connsiteX82" fmla="*/ 911224 w 1219200"/>
                <a:gd name="connsiteY82" fmla="*/ 774066 h 868681"/>
                <a:gd name="connsiteX83" fmla="*/ 949325 w 1219200"/>
                <a:gd name="connsiteY83" fmla="*/ 821056 h 868681"/>
                <a:gd name="connsiteX84" fmla="*/ 948689 w 1219200"/>
                <a:gd name="connsiteY84" fmla="*/ 821056 h 868681"/>
                <a:gd name="connsiteX85" fmla="*/ 948689 w 1219200"/>
                <a:gd name="connsiteY85" fmla="*/ 828676 h 868681"/>
                <a:gd name="connsiteX86" fmla="*/ 894079 w 1219200"/>
                <a:gd name="connsiteY86" fmla="*/ 828676 h 868681"/>
                <a:gd name="connsiteX87" fmla="*/ 913129 w 1219200"/>
                <a:gd name="connsiteY87" fmla="*/ 846456 h 868681"/>
                <a:gd name="connsiteX88" fmla="*/ 929004 w 1219200"/>
                <a:gd name="connsiteY88" fmla="*/ 840106 h 868681"/>
                <a:gd name="connsiteX89" fmla="*/ 944879 w 1219200"/>
                <a:gd name="connsiteY89" fmla="*/ 853441 h 868681"/>
                <a:gd name="connsiteX90" fmla="*/ 912495 w 1219200"/>
                <a:gd name="connsiteY90" fmla="*/ 868046 h 868681"/>
                <a:gd name="connsiteX91" fmla="*/ 871220 w 1219200"/>
                <a:gd name="connsiteY91" fmla="*/ 821056 h 868681"/>
                <a:gd name="connsiteX92" fmla="*/ 911224 w 1219200"/>
                <a:gd name="connsiteY92" fmla="*/ 774066 h 868681"/>
                <a:gd name="connsiteX93" fmla="*/ 623570 w 1219200"/>
                <a:gd name="connsiteY93" fmla="*/ 774066 h 868681"/>
                <a:gd name="connsiteX94" fmla="*/ 655954 w 1219200"/>
                <a:gd name="connsiteY94" fmla="*/ 815341 h 868681"/>
                <a:gd name="connsiteX95" fmla="*/ 655954 w 1219200"/>
                <a:gd name="connsiteY95" fmla="*/ 866141 h 868681"/>
                <a:gd name="connsiteX96" fmla="*/ 632459 w 1219200"/>
                <a:gd name="connsiteY96" fmla="*/ 866141 h 868681"/>
                <a:gd name="connsiteX97" fmla="*/ 632459 w 1219200"/>
                <a:gd name="connsiteY97" fmla="*/ 817246 h 868681"/>
                <a:gd name="connsiteX98" fmla="*/ 617220 w 1219200"/>
                <a:gd name="connsiteY98" fmla="*/ 796291 h 868681"/>
                <a:gd name="connsiteX99" fmla="*/ 601345 w 1219200"/>
                <a:gd name="connsiteY99" fmla="*/ 816611 h 868681"/>
                <a:gd name="connsiteX100" fmla="*/ 601345 w 1219200"/>
                <a:gd name="connsiteY100" fmla="*/ 866141 h 868681"/>
                <a:gd name="connsiteX101" fmla="*/ 577849 w 1219200"/>
                <a:gd name="connsiteY101" fmla="*/ 866141 h 868681"/>
                <a:gd name="connsiteX102" fmla="*/ 577849 w 1219200"/>
                <a:gd name="connsiteY102" fmla="*/ 775971 h 868681"/>
                <a:gd name="connsiteX103" fmla="*/ 601345 w 1219200"/>
                <a:gd name="connsiteY103" fmla="*/ 775971 h 868681"/>
                <a:gd name="connsiteX104" fmla="*/ 601345 w 1219200"/>
                <a:gd name="connsiteY104" fmla="*/ 782321 h 868681"/>
                <a:gd name="connsiteX105" fmla="*/ 623570 w 1219200"/>
                <a:gd name="connsiteY105" fmla="*/ 774066 h 868681"/>
                <a:gd name="connsiteX106" fmla="*/ 522605 w 1219200"/>
                <a:gd name="connsiteY106" fmla="*/ 774066 h 868681"/>
                <a:gd name="connsiteX107" fmla="*/ 564515 w 1219200"/>
                <a:gd name="connsiteY107" fmla="*/ 821056 h 868681"/>
                <a:gd name="connsiteX108" fmla="*/ 522605 w 1219200"/>
                <a:gd name="connsiteY108" fmla="*/ 868046 h 868681"/>
                <a:gd name="connsiteX109" fmla="*/ 480695 w 1219200"/>
                <a:gd name="connsiteY109" fmla="*/ 821056 h 868681"/>
                <a:gd name="connsiteX110" fmla="*/ 522605 w 1219200"/>
                <a:gd name="connsiteY110" fmla="*/ 774066 h 868681"/>
                <a:gd name="connsiteX111" fmla="*/ 436879 w 1219200"/>
                <a:gd name="connsiteY111" fmla="*/ 774066 h 868681"/>
                <a:gd name="connsiteX112" fmla="*/ 472439 w 1219200"/>
                <a:gd name="connsiteY112" fmla="*/ 793751 h 868681"/>
                <a:gd name="connsiteX113" fmla="*/ 457200 w 1219200"/>
                <a:gd name="connsiteY113" fmla="*/ 808991 h 868681"/>
                <a:gd name="connsiteX114" fmla="*/ 436879 w 1219200"/>
                <a:gd name="connsiteY114" fmla="*/ 796291 h 868681"/>
                <a:gd name="connsiteX115" fmla="*/ 417829 w 1219200"/>
                <a:gd name="connsiteY115" fmla="*/ 820421 h 868681"/>
                <a:gd name="connsiteX116" fmla="*/ 436879 w 1219200"/>
                <a:gd name="connsiteY116" fmla="*/ 845186 h 868681"/>
                <a:gd name="connsiteX117" fmla="*/ 457200 w 1219200"/>
                <a:gd name="connsiteY117" fmla="*/ 833756 h 868681"/>
                <a:gd name="connsiteX118" fmla="*/ 457834 w 1219200"/>
                <a:gd name="connsiteY118" fmla="*/ 834391 h 868681"/>
                <a:gd name="connsiteX119" fmla="*/ 472439 w 1219200"/>
                <a:gd name="connsiteY119" fmla="*/ 848361 h 868681"/>
                <a:gd name="connsiteX120" fmla="*/ 436245 w 1219200"/>
                <a:gd name="connsiteY120" fmla="*/ 868046 h 868681"/>
                <a:gd name="connsiteX121" fmla="*/ 393700 w 1219200"/>
                <a:gd name="connsiteY121" fmla="*/ 821056 h 868681"/>
                <a:gd name="connsiteX122" fmla="*/ 436879 w 1219200"/>
                <a:gd name="connsiteY122" fmla="*/ 774066 h 868681"/>
                <a:gd name="connsiteX123" fmla="*/ 219075 w 1219200"/>
                <a:gd name="connsiteY123" fmla="*/ 742316 h 868681"/>
                <a:gd name="connsiteX124" fmla="*/ 219075 w 1219200"/>
                <a:gd name="connsiteY124" fmla="*/ 777241 h 868681"/>
                <a:gd name="connsiteX125" fmla="*/ 245110 w 1219200"/>
                <a:gd name="connsiteY125" fmla="*/ 777241 h 868681"/>
                <a:gd name="connsiteX126" fmla="*/ 245110 w 1219200"/>
                <a:gd name="connsiteY126" fmla="*/ 798831 h 868681"/>
                <a:gd name="connsiteX127" fmla="*/ 219075 w 1219200"/>
                <a:gd name="connsiteY127" fmla="*/ 798831 h 868681"/>
                <a:gd name="connsiteX128" fmla="*/ 219075 w 1219200"/>
                <a:gd name="connsiteY128" fmla="*/ 835661 h 868681"/>
                <a:gd name="connsiteX129" fmla="*/ 227965 w 1219200"/>
                <a:gd name="connsiteY129" fmla="*/ 846456 h 868681"/>
                <a:gd name="connsiteX130" fmla="*/ 245041 w 1219200"/>
                <a:gd name="connsiteY130" fmla="*/ 839979 h 868681"/>
                <a:gd name="connsiteX131" fmla="*/ 241935 w 1219200"/>
                <a:gd name="connsiteY131" fmla="*/ 862966 h 868681"/>
                <a:gd name="connsiteX132" fmla="*/ 219709 w 1219200"/>
                <a:gd name="connsiteY132" fmla="*/ 868681 h 868681"/>
                <a:gd name="connsiteX133" fmla="*/ 195579 w 1219200"/>
                <a:gd name="connsiteY133" fmla="*/ 842011 h 868681"/>
                <a:gd name="connsiteX134" fmla="*/ 195579 w 1219200"/>
                <a:gd name="connsiteY134" fmla="*/ 798831 h 868681"/>
                <a:gd name="connsiteX135" fmla="*/ 179704 w 1219200"/>
                <a:gd name="connsiteY135" fmla="*/ 798831 h 868681"/>
                <a:gd name="connsiteX136" fmla="*/ 179704 w 1219200"/>
                <a:gd name="connsiteY136" fmla="*/ 777241 h 868681"/>
                <a:gd name="connsiteX137" fmla="*/ 195579 w 1219200"/>
                <a:gd name="connsiteY137" fmla="*/ 777241 h 868681"/>
                <a:gd name="connsiteX138" fmla="*/ 195579 w 1219200"/>
                <a:gd name="connsiteY138" fmla="*/ 753746 h 868681"/>
                <a:gd name="connsiteX139" fmla="*/ 749935 w 1219200"/>
                <a:gd name="connsiteY139" fmla="*/ 741681 h 868681"/>
                <a:gd name="connsiteX140" fmla="*/ 763269 w 1219200"/>
                <a:gd name="connsiteY140" fmla="*/ 755016 h 868681"/>
                <a:gd name="connsiteX141" fmla="*/ 749935 w 1219200"/>
                <a:gd name="connsiteY141" fmla="*/ 768351 h 868681"/>
                <a:gd name="connsiteX142" fmla="*/ 736599 w 1219200"/>
                <a:gd name="connsiteY142" fmla="*/ 755016 h 868681"/>
                <a:gd name="connsiteX143" fmla="*/ 749935 w 1219200"/>
                <a:gd name="connsiteY143" fmla="*/ 741681 h 868681"/>
                <a:gd name="connsiteX144" fmla="*/ 154939 w 1219200"/>
                <a:gd name="connsiteY144" fmla="*/ 741681 h 868681"/>
                <a:gd name="connsiteX145" fmla="*/ 168275 w 1219200"/>
                <a:gd name="connsiteY145" fmla="*/ 755016 h 868681"/>
                <a:gd name="connsiteX146" fmla="*/ 154939 w 1219200"/>
                <a:gd name="connsiteY146" fmla="*/ 768351 h 868681"/>
                <a:gd name="connsiteX147" fmla="*/ 141605 w 1219200"/>
                <a:gd name="connsiteY147" fmla="*/ 755016 h 868681"/>
                <a:gd name="connsiteX148" fmla="*/ 154939 w 1219200"/>
                <a:gd name="connsiteY148" fmla="*/ 741681 h 868681"/>
                <a:gd name="connsiteX149" fmla="*/ 856614 w 1219200"/>
                <a:gd name="connsiteY149" fmla="*/ 741046 h 868681"/>
                <a:gd name="connsiteX150" fmla="*/ 856614 w 1219200"/>
                <a:gd name="connsiteY150" fmla="*/ 866141 h 868681"/>
                <a:gd name="connsiteX151" fmla="*/ 833120 w 1219200"/>
                <a:gd name="connsiteY151" fmla="*/ 866141 h 868681"/>
                <a:gd name="connsiteX152" fmla="*/ 833120 w 1219200"/>
                <a:gd name="connsiteY152" fmla="*/ 860426 h 868681"/>
                <a:gd name="connsiteX153" fmla="*/ 812799 w 1219200"/>
                <a:gd name="connsiteY153" fmla="*/ 868046 h 868681"/>
                <a:gd name="connsiteX154" fmla="*/ 775970 w 1219200"/>
                <a:gd name="connsiteY154" fmla="*/ 820421 h 868681"/>
                <a:gd name="connsiteX155" fmla="*/ 812165 w 1219200"/>
                <a:gd name="connsiteY155" fmla="*/ 774066 h 868681"/>
                <a:gd name="connsiteX156" fmla="*/ 833120 w 1219200"/>
                <a:gd name="connsiteY156" fmla="*/ 781051 h 868681"/>
                <a:gd name="connsiteX157" fmla="*/ 833120 w 1219200"/>
                <a:gd name="connsiteY157" fmla="*/ 752476 h 868681"/>
                <a:gd name="connsiteX158" fmla="*/ 707390 w 1219200"/>
                <a:gd name="connsiteY158" fmla="*/ 741046 h 868681"/>
                <a:gd name="connsiteX159" fmla="*/ 724534 w 1219200"/>
                <a:gd name="connsiteY159" fmla="*/ 743586 h 868681"/>
                <a:gd name="connsiteX160" fmla="*/ 724534 w 1219200"/>
                <a:gd name="connsiteY160" fmla="*/ 744221 h 868681"/>
                <a:gd name="connsiteX161" fmla="*/ 724534 w 1219200"/>
                <a:gd name="connsiteY161" fmla="*/ 762636 h 868681"/>
                <a:gd name="connsiteX162" fmla="*/ 713105 w 1219200"/>
                <a:gd name="connsiteY162" fmla="*/ 760731 h 868681"/>
                <a:gd name="connsiteX163" fmla="*/ 703579 w 1219200"/>
                <a:gd name="connsiteY163" fmla="*/ 768351 h 868681"/>
                <a:gd name="connsiteX164" fmla="*/ 703579 w 1219200"/>
                <a:gd name="connsiteY164" fmla="*/ 775336 h 868681"/>
                <a:gd name="connsiteX165" fmla="*/ 722629 w 1219200"/>
                <a:gd name="connsiteY165" fmla="*/ 775336 h 868681"/>
                <a:gd name="connsiteX166" fmla="*/ 722629 w 1219200"/>
                <a:gd name="connsiteY166" fmla="*/ 796926 h 868681"/>
                <a:gd name="connsiteX167" fmla="*/ 703579 w 1219200"/>
                <a:gd name="connsiteY167" fmla="*/ 796926 h 868681"/>
                <a:gd name="connsiteX168" fmla="*/ 703579 w 1219200"/>
                <a:gd name="connsiteY168" fmla="*/ 865506 h 868681"/>
                <a:gd name="connsiteX169" fmla="*/ 680084 w 1219200"/>
                <a:gd name="connsiteY169" fmla="*/ 865506 h 868681"/>
                <a:gd name="connsiteX170" fmla="*/ 680084 w 1219200"/>
                <a:gd name="connsiteY170" fmla="*/ 796926 h 868681"/>
                <a:gd name="connsiteX171" fmla="*/ 667385 w 1219200"/>
                <a:gd name="connsiteY171" fmla="*/ 796926 h 868681"/>
                <a:gd name="connsiteX172" fmla="*/ 667385 w 1219200"/>
                <a:gd name="connsiteY172" fmla="*/ 775336 h 868681"/>
                <a:gd name="connsiteX173" fmla="*/ 680084 w 1219200"/>
                <a:gd name="connsiteY173" fmla="*/ 775336 h 868681"/>
                <a:gd name="connsiteX174" fmla="*/ 680084 w 1219200"/>
                <a:gd name="connsiteY174" fmla="*/ 764541 h 868681"/>
                <a:gd name="connsiteX175" fmla="*/ 707390 w 1219200"/>
                <a:gd name="connsiteY175" fmla="*/ 741046 h 868681"/>
                <a:gd name="connsiteX176" fmla="*/ 282575 w 1219200"/>
                <a:gd name="connsiteY176" fmla="*/ 741046 h 868681"/>
                <a:gd name="connsiteX177" fmla="*/ 282575 w 1219200"/>
                <a:gd name="connsiteY177" fmla="*/ 782321 h 868681"/>
                <a:gd name="connsiteX178" fmla="*/ 304799 w 1219200"/>
                <a:gd name="connsiteY178" fmla="*/ 774066 h 868681"/>
                <a:gd name="connsiteX179" fmla="*/ 336549 w 1219200"/>
                <a:gd name="connsiteY179" fmla="*/ 815341 h 868681"/>
                <a:gd name="connsiteX180" fmla="*/ 336549 w 1219200"/>
                <a:gd name="connsiteY180" fmla="*/ 866141 h 868681"/>
                <a:gd name="connsiteX181" fmla="*/ 313689 w 1219200"/>
                <a:gd name="connsiteY181" fmla="*/ 866141 h 868681"/>
                <a:gd name="connsiteX182" fmla="*/ 313689 w 1219200"/>
                <a:gd name="connsiteY182" fmla="*/ 817246 h 868681"/>
                <a:gd name="connsiteX183" fmla="*/ 298450 w 1219200"/>
                <a:gd name="connsiteY183" fmla="*/ 796291 h 868681"/>
                <a:gd name="connsiteX184" fmla="*/ 282575 w 1219200"/>
                <a:gd name="connsiteY184" fmla="*/ 816611 h 868681"/>
                <a:gd name="connsiteX185" fmla="*/ 282575 w 1219200"/>
                <a:gd name="connsiteY185" fmla="*/ 866141 h 868681"/>
                <a:gd name="connsiteX186" fmla="*/ 259079 w 1219200"/>
                <a:gd name="connsiteY186" fmla="*/ 866141 h 868681"/>
                <a:gd name="connsiteX187" fmla="*/ 259079 w 1219200"/>
                <a:gd name="connsiteY187" fmla="*/ 752476 h 868681"/>
                <a:gd name="connsiteX188" fmla="*/ 92709 w 1219200"/>
                <a:gd name="connsiteY188" fmla="*/ 648336 h 868681"/>
                <a:gd name="connsiteX189" fmla="*/ 92709 w 1219200"/>
                <a:gd name="connsiteY189" fmla="*/ 649606 h 868681"/>
                <a:gd name="connsiteX190" fmla="*/ 92427 w 1219200"/>
                <a:gd name="connsiteY190" fmla="*/ 648959 h 868681"/>
                <a:gd name="connsiteX191" fmla="*/ 230504 w 1219200"/>
                <a:gd name="connsiteY191" fmla="*/ 643256 h 868681"/>
                <a:gd name="connsiteX192" fmla="*/ 215900 w 1219200"/>
                <a:gd name="connsiteY192" fmla="*/ 654686 h 868681"/>
                <a:gd name="connsiteX193" fmla="*/ 228599 w 1219200"/>
                <a:gd name="connsiteY193" fmla="*/ 667386 h 868681"/>
                <a:gd name="connsiteX194" fmla="*/ 245745 w 1219200"/>
                <a:gd name="connsiteY194" fmla="*/ 658496 h 868681"/>
                <a:gd name="connsiteX195" fmla="*/ 245745 w 1219200"/>
                <a:gd name="connsiteY195" fmla="*/ 647066 h 868681"/>
                <a:gd name="connsiteX196" fmla="*/ 230504 w 1219200"/>
                <a:gd name="connsiteY196" fmla="*/ 643256 h 868681"/>
                <a:gd name="connsiteX197" fmla="*/ 321310 w 1219200"/>
                <a:gd name="connsiteY197" fmla="*/ 614046 h 868681"/>
                <a:gd name="connsiteX198" fmla="*/ 306704 w 1219200"/>
                <a:gd name="connsiteY198" fmla="*/ 622301 h 868681"/>
                <a:gd name="connsiteX199" fmla="*/ 306704 w 1219200"/>
                <a:gd name="connsiteY199" fmla="*/ 656591 h 868681"/>
                <a:gd name="connsiteX200" fmla="*/ 323215 w 1219200"/>
                <a:gd name="connsiteY200" fmla="*/ 664846 h 868681"/>
                <a:gd name="connsiteX201" fmla="*/ 339090 w 1219200"/>
                <a:gd name="connsiteY201" fmla="*/ 640716 h 868681"/>
                <a:gd name="connsiteX202" fmla="*/ 338454 w 1219200"/>
                <a:gd name="connsiteY202" fmla="*/ 640716 h 868681"/>
                <a:gd name="connsiteX203" fmla="*/ 321310 w 1219200"/>
                <a:gd name="connsiteY203" fmla="*/ 614046 h 868681"/>
                <a:gd name="connsiteX204" fmla="*/ 1179195 w 1219200"/>
                <a:gd name="connsiteY204" fmla="*/ 612776 h 868681"/>
                <a:gd name="connsiteX205" fmla="*/ 1163320 w 1219200"/>
                <a:gd name="connsiteY205" fmla="*/ 629921 h 868681"/>
                <a:gd name="connsiteX206" fmla="*/ 1163954 w 1219200"/>
                <a:gd name="connsiteY206" fmla="*/ 629921 h 868681"/>
                <a:gd name="connsiteX207" fmla="*/ 1195704 w 1219200"/>
                <a:gd name="connsiteY207" fmla="*/ 629921 h 868681"/>
                <a:gd name="connsiteX208" fmla="*/ 1179195 w 1219200"/>
                <a:gd name="connsiteY208" fmla="*/ 612776 h 868681"/>
                <a:gd name="connsiteX209" fmla="*/ 689610 w 1219200"/>
                <a:gd name="connsiteY209" fmla="*/ 612776 h 868681"/>
                <a:gd name="connsiteX210" fmla="*/ 673735 w 1219200"/>
                <a:gd name="connsiteY210" fmla="*/ 629921 h 868681"/>
                <a:gd name="connsiteX211" fmla="*/ 674370 w 1219200"/>
                <a:gd name="connsiteY211" fmla="*/ 629921 h 868681"/>
                <a:gd name="connsiteX212" fmla="*/ 706120 w 1219200"/>
                <a:gd name="connsiteY212" fmla="*/ 629921 h 868681"/>
                <a:gd name="connsiteX213" fmla="*/ 689610 w 1219200"/>
                <a:gd name="connsiteY213" fmla="*/ 612776 h 868681"/>
                <a:gd name="connsiteX214" fmla="*/ 410845 w 1219200"/>
                <a:gd name="connsiteY214" fmla="*/ 612776 h 868681"/>
                <a:gd name="connsiteX215" fmla="*/ 395605 w 1219200"/>
                <a:gd name="connsiteY215" fmla="*/ 629921 h 868681"/>
                <a:gd name="connsiteX216" fmla="*/ 427355 w 1219200"/>
                <a:gd name="connsiteY216" fmla="*/ 629921 h 868681"/>
                <a:gd name="connsiteX217" fmla="*/ 410845 w 1219200"/>
                <a:gd name="connsiteY217" fmla="*/ 612776 h 868681"/>
                <a:gd name="connsiteX218" fmla="*/ 991870 w 1219200"/>
                <a:gd name="connsiteY218" fmla="*/ 594361 h 868681"/>
                <a:gd name="connsiteX219" fmla="*/ 1014095 w 1219200"/>
                <a:gd name="connsiteY219" fmla="*/ 594361 h 868681"/>
                <a:gd name="connsiteX220" fmla="*/ 1014095 w 1219200"/>
                <a:gd name="connsiteY220" fmla="*/ 643256 h 868681"/>
                <a:gd name="connsiteX221" fmla="*/ 1029334 w 1219200"/>
                <a:gd name="connsiteY221" fmla="*/ 664846 h 868681"/>
                <a:gd name="connsiteX222" fmla="*/ 1044575 w 1219200"/>
                <a:gd name="connsiteY222" fmla="*/ 644526 h 868681"/>
                <a:gd name="connsiteX223" fmla="*/ 1044575 w 1219200"/>
                <a:gd name="connsiteY223" fmla="*/ 594996 h 868681"/>
                <a:gd name="connsiteX224" fmla="*/ 1066799 w 1219200"/>
                <a:gd name="connsiteY224" fmla="*/ 594996 h 868681"/>
                <a:gd name="connsiteX225" fmla="*/ 1066799 w 1219200"/>
                <a:gd name="connsiteY225" fmla="*/ 684531 h 868681"/>
                <a:gd name="connsiteX226" fmla="*/ 1044575 w 1219200"/>
                <a:gd name="connsiteY226" fmla="*/ 684531 h 868681"/>
                <a:gd name="connsiteX227" fmla="*/ 1044575 w 1219200"/>
                <a:gd name="connsiteY227" fmla="*/ 678181 h 868681"/>
                <a:gd name="connsiteX228" fmla="*/ 1023620 w 1219200"/>
                <a:gd name="connsiteY228" fmla="*/ 686436 h 868681"/>
                <a:gd name="connsiteX229" fmla="*/ 991870 w 1219200"/>
                <a:gd name="connsiteY229" fmla="*/ 645161 h 868681"/>
                <a:gd name="connsiteX230" fmla="*/ 836295 w 1219200"/>
                <a:gd name="connsiteY230" fmla="*/ 594361 h 868681"/>
                <a:gd name="connsiteX231" fmla="*/ 858519 w 1219200"/>
                <a:gd name="connsiteY231" fmla="*/ 594361 h 868681"/>
                <a:gd name="connsiteX232" fmla="*/ 858519 w 1219200"/>
                <a:gd name="connsiteY232" fmla="*/ 643256 h 868681"/>
                <a:gd name="connsiteX233" fmla="*/ 873760 w 1219200"/>
                <a:gd name="connsiteY233" fmla="*/ 664846 h 868681"/>
                <a:gd name="connsiteX234" fmla="*/ 889000 w 1219200"/>
                <a:gd name="connsiteY234" fmla="*/ 644526 h 868681"/>
                <a:gd name="connsiteX235" fmla="*/ 889000 w 1219200"/>
                <a:gd name="connsiteY235" fmla="*/ 594996 h 868681"/>
                <a:gd name="connsiteX236" fmla="*/ 911224 w 1219200"/>
                <a:gd name="connsiteY236" fmla="*/ 594996 h 868681"/>
                <a:gd name="connsiteX237" fmla="*/ 911224 w 1219200"/>
                <a:gd name="connsiteY237" fmla="*/ 684531 h 868681"/>
                <a:gd name="connsiteX238" fmla="*/ 889000 w 1219200"/>
                <a:gd name="connsiteY238" fmla="*/ 684531 h 868681"/>
                <a:gd name="connsiteX239" fmla="*/ 889000 w 1219200"/>
                <a:gd name="connsiteY239" fmla="*/ 678181 h 868681"/>
                <a:gd name="connsiteX240" fmla="*/ 868045 w 1219200"/>
                <a:gd name="connsiteY240" fmla="*/ 686436 h 868681"/>
                <a:gd name="connsiteX241" fmla="*/ 836295 w 1219200"/>
                <a:gd name="connsiteY241" fmla="*/ 645161 h 868681"/>
                <a:gd name="connsiteX242" fmla="*/ 1181099 w 1219200"/>
                <a:gd name="connsiteY242" fmla="*/ 592456 h 868681"/>
                <a:gd name="connsiteX243" fmla="*/ 1219200 w 1219200"/>
                <a:gd name="connsiteY243" fmla="*/ 639446 h 868681"/>
                <a:gd name="connsiteX244" fmla="*/ 1218564 w 1219200"/>
                <a:gd name="connsiteY244" fmla="*/ 639446 h 868681"/>
                <a:gd name="connsiteX245" fmla="*/ 1218564 w 1219200"/>
                <a:gd name="connsiteY245" fmla="*/ 647066 h 868681"/>
                <a:gd name="connsiteX246" fmla="*/ 1163954 w 1219200"/>
                <a:gd name="connsiteY246" fmla="*/ 647066 h 868681"/>
                <a:gd name="connsiteX247" fmla="*/ 1183004 w 1219200"/>
                <a:gd name="connsiteY247" fmla="*/ 664846 h 868681"/>
                <a:gd name="connsiteX248" fmla="*/ 1198879 w 1219200"/>
                <a:gd name="connsiteY248" fmla="*/ 658496 h 868681"/>
                <a:gd name="connsiteX249" fmla="*/ 1214754 w 1219200"/>
                <a:gd name="connsiteY249" fmla="*/ 671831 h 868681"/>
                <a:gd name="connsiteX250" fmla="*/ 1182370 w 1219200"/>
                <a:gd name="connsiteY250" fmla="*/ 686436 h 868681"/>
                <a:gd name="connsiteX251" fmla="*/ 1141095 w 1219200"/>
                <a:gd name="connsiteY251" fmla="*/ 639446 h 868681"/>
                <a:gd name="connsiteX252" fmla="*/ 1181099 w 1219200"/>
                <a:gd name="connsiteY252" fmla="*/ 592456 h 868681"/>
                <a:gd name="connsiteX253" fmla="*/ 691515 w 1219200"/>
                <a:gd name="connsiteY253" fmla="*/ 592456 h 868681"/>
                <a:gd name="connsiteX254" fmla="*/ 729614 w 1219200"/>
                <a:gd name="connsiteY254" fmla="*/ 639446 h 868681"/>
                <a:gd name="connsiteX255" fmla="*/ 728980 w 1219200"/>
                <a:gd name="connsiteY255" fmla="*/ 639446 h 868681"/>
                <a:gd name="connsiteX256" fmla="*/ 728980 w 1219200"/>
                <a:gd name="connsiteY256" fmla="*/ 647066 h 868681"/>
                <a:gd name="connsiteX257" fmla="*/ 674370 w 1219200"/>
                <a:gd name="connsiteY257" fmla="*/ 647066 h 868681"/>
                <a:gd name="connsiteX258" fmla="*/ 693420 w 1219200"/>
                <a:gd name="connsiteY258" fmla="*/ 664846 h 868681"/>
                <a:gd name="connsiteX259" fmla="*/ 709295 w 1219200"/>
                <a:gd name="connsiteY259" fmla="*/ 658496 h 868681"/>
                <a:gd name="connsiteX260" fmla="*/ 725170 w 1219200"/>
                <a:gd name="connsiteY260" fmla="*/ 671831 h 868681"/>
                <a:gd name="connsiteX261" fmla="*/ 692784 w 1219200"/>
                <a:gd name="connsiteY261" fmla="*/ 686436 h 868681"/>
                <a:gd name="connsiteX262" fmla="*/ 651510 w 1219200"/>
                <a:gd name="connsiteY262" fmla="*/ 639446 h 868681"/>
                <a:gd name="connsiteX263" fmla="*/ 691515 w 1219200"/>
                <a:gd name="connsiteY263" fmla="*/ 592456 h 868681"/>
                <a:gd name="connsiteX264" fmla="*/ 412114 w 1219200"/>
                <a:gd name="connsiteY264" fmla="*/ 592456 h 868681"/>
                <a:gd name="connsiteX265" fmla="*/ 448310 w 1219200"/>
                <a:gd name="connsiteY265" fmla="*/ 639446 h 868681"/>
                <a:gd name="connsiteX266" fmla="*/ 448310 w 1219200"/>
                <a:gd name="connsiteY266" fmla="*/ 647066 h 868681"/>
                <a:gd name="connsiteX267" fmla="*/ 395605 w 1219200"/>
                <a:gd name="connsiteY267" fmla="*/ 647066 h 868681"/>
                <a:gd name="connsiteX268" fmla="*/ 415290 w 1219200"/>
                <a:gd name="connsiteY268" fmla="*/ 664846 h 868681"/>
                <a:gd name="connsiteX269" fmla="*/ 430530 w 1219200"/>
                <a:gd name="connsiteY269" fmla="*/ 658496 h 868681"/>
                <a:gd name="connsiteX270" fmla="*/ 446405 w 1219200"/>
                <a:gd name="connsiteY270" fmla="*/ 671831 h 868681"/>
                <a:gd name="connsiteX271" fmla="*/ 413385 w 1219200"/>
                <a:gd name="connsiteY271" fmla="*/ 686436 h 868681"/>
                <a:gd name="connsiteX272" fmla="*/ 372110 w 1219200"/>
                <a:gd name="connsiteY272" fmla="*/ 640081 h 868681"/>
                <a:gd name="connsiteX273" fmla="*/ 412114 w 1219200"/>
                <a:gd name="connsiteY273" fmla="*/ 592456 h 868681"/>
                <a:gd name="connsiteX274" fmla="*/ 326390 w 1219200"/>
                <a:gd name="connsiteY274" fmla="*/ 592456 h 868681"/>
                <a:gd name="connsiteX275" fmla="*/ 361314 w 1219200"/>
                <a:gd name="connsiteY275" fmla="*/ 639446 h 868681"/>
                <a:gd name="connsiteX276" fmla="*/ 326390 w 1219200"/>
                <a:gd name="connsiteY276" fmla="*/ 686436 h 868681"/>
                <a:gd name="connsiteX277" fmla="*/ 306070 w 1219200"/>
                <a:gd name="connsiteY277" fmla="*/ 678816 h 868681"/>
                <a:gd name="connsiteX278" fmla="*/ 306070 w 1219200"/>
                <a:gd name="connsiteY278" fmla="*/ 706121 h 868681"/>
                <a:gd name="connsiteX279" fmla="*/ 283845 w 1219200"/>
                <a:gd name="connsiteY279" fmla="*/ 717551 h 868681"/>
                <a:gd name="connsiteX280" fmla="*/ 283845 w 1219200"/>
                <a:gd name="connsiteY280" fmla="*/ 594361 h 868681"/>
                <a:gd name="connsiteX281" fmla="*/ 306070 w 1219200"/>
                <a:gd name="connsiteY281" fmla="*/ 594361 h 868681"/>
                <a:gd name="connsiteX282" fmla="*/ 306070 w 1219200"/>
                <a:gd name="connsiteY282" fmla="*/ 600711 h 868681"/>
                <a:gd name="connsiteX283" fmla="*/ 326390 w 1219200"/>
                <a:gd name="connsiteY283" fmla="*/ 592456 h 868681"/>
                <a:gd name="connsiteX284" fmla="*/ 231775 w 1219200"/>
                <a:gd name="connsiteY284" fmla="*/ 592456 h 868681"/>
                <a:gd name="connsiteX285" fmla="*/ 268605 w 1219200"/>
                <a:gd name="connsiteY285" fmla="*/ 624206 h 868681"/>
                <a:gd name="connsiteX286" fmla="*/ 268605 w 1219200"/>
                <a:gd name="connsiteY286" fmla="*/ 684531 h 868681"/>
                <a:gd name="connsiteX287" fmla="*/ 267970 w 1219200"/>
                <a:gd name="connsiteY287" fmla="*/ 684531 h 868681"/>
                <a:gd name="connsiteX288" fmla="*/ 245745 w 1219200"/>
                <a:gd name="connsiteY288" fmla="*/ 684531 h 868681"/>
                <a:gd name="connsiteX289" fmla="*/ 245745 w 1219200"/>
                <a:gd name="connsiteY289" fmla="*/ 678181 h 868681"/>
                <a:gd name="connsiteX290" fmla="*/ 224790 w 1219200"/>
                <a:gd name="connsiteY290" fmla="*/ 686436 h 868681"/>
                <a:gd name="connsiteX291" fmla="*/ 193040 w 1219200"/>
                <a:gd name="connsiteY291" fmla="*/ 655321 h 868681"/>
                <a:gd name="connsiteX292" fmla="*/ 227965 w 1219200"/>
                <a:gd name="connsiteY292" fmla="*/ 624841 h 868681"/>
                <a:gd name="connsiteX293" fmla="*/ 245745 w 1219200"/>
                <a:gd name="connsiteY293" fmla="*/ 628651 h 868681"/>
                <a:gd name="connsiteX294" fmla="*/ 245745 w 1219200"/>
                <a:gd name="connsiteY294" fmla="*/ 623571 h 868681"/>
                <a:gd name="connsiteX295" fmla="*/ 230504 w 1219200"/>
                <a:gd name="connsiteY295" fmla="*/ 611506 h 868681"/>
                <a:gd name="connsiteX296" fmla="*/ 209549 w 1219200"/>
                <a:gd name="connsiteY296" fmla="*/ 617221 h 868681"/>
                <a:gd name="connsiteX297" fmla="*/ 200659 w 1219200"/>
                <a:gd name="connsiteY297" fmla="*/ 601346 h 868681"/>
                <a:gd name="connsiteX298" fmla="*/ 231775 w 1219200"/>
                <a:gd name="connsiteY298" fmla="*/ 592456 h 868681"/>
                <a:gd name="connsiteX299" fmla="*/ 1125855 w 1219200"/>
                <a:gd name="connsiteY299" fmla="*/ 591821 h 868681"/>
                <a:gd name="connsiteX300" fmla="*/ 1142364 w 1219200"/>
                <a:gd name="connsiteY300" fmla="*/ 598171 h 868681"/>
                <a:gd name="connsiteX301" fmla="*/ 1141730 w 1219200"/>
                <a:gd name="connsiteY301" fmla="*/ 598806 h 868681"/>
                <a:gd name="connsiteX302" fmla="*/ 1132840 w 1219200"/>
                <a:gd name="connsiteY302" fmla="*/ 621031 h 868681"/>
                <a:gd name="connsiteX303" fmla="*/ 1120140 w 1219200"/>
                <a:gd name="connsiteY303" fmla="*/ 615316 h 868681"/>
                <a:gd name="connsiteX304" fmla="*/ 1106805 w 1219200"/>
                <a:gd name="connsiteY304" fmla="*/ 635001 h 868681"/>
                <a:gd name="connsiteX305" fmla="*/ 1106805 w 1219200"/>
                <a:gd name="connsiteY305" fmla="*/ 683896 h 868681"/>
                <a:gd name="connsiteX306" fmla="*/ 1084579 w 1219200"/>
                <a:gd name="connsiteY306" fmla="*/ 683896 h 868681"/>
                <a:gd name="connsiteX307" fmla="*/ 1084579 w 1219200"/>
                <a:gd name="connsiteY307" fmla="*/ 593726 h 868681"/>
                <a:gd name="connsiteX308" fmla="*/ 1106805 w 1219200"/>
                <a:gd name="connsiteY308" fmla="*/ 593726 h 868681"/>
                <a:gd name="connsiteX309" fmla="*/ 1106805 w 1219200"/>
                <a:gd name="connsiteY309" fmla="*/ 600076 h 868681"/>
                <a:gd name="connsiteX310" fmla="*/ 1125855 w 1219200"/>
                <a:gd name="connsiteY310" fmla="*/ 591821 h 868681"/>
                <a:gd name="connsiteX311" fmla="*/ 47625 w 1219200"/>
                <a:gd name="connsiteY311" fmla="*/ 563881 h 868681"/>
                <a:gd name="connsiteX312" fmla="*/ 90170 w 1219200"/>
                <a:gd name="connsiteY312" fmla="*/ 582296 h 868681"/>
                <a:gd name="connsiteX313" fmla="*/ 73659 w 1219200"/>
                <a:gd name="connsiteY313" fmla="*/ 598806 h 868681"/>
                <a:gd name="connsiteX314" fmla="*/ 46355 w 1219200"/>
                <a:gd name="connsiteY314" fmla="*/ 586741 h 868681"/>
                <a:gd name="connsiteX315" fmla="*/ 28575 w 1219200"/>
                <a:gd name="connsiteY315" fmla="*/ 598171 h 868681"/>
                <a:gd name="connsiteX316" fmla="*/ 33655 w 1219200"/>
                <a:gd name="connsiteY316" fmla="*/ 606426 h 868681"/>
                <a:gd name="connsiteX317" fmla="*/ 52704 w 1219200"/>
                <a:gd name="connsiteY317" fmla="*/ 612776 h 868681"/>
                <a:gd name="connsiteX318" fmla="*/ 81915 w 1219200"/>
                <a:gd name="connsiteY318" fmla="*/ 624841 h 868681"/>
                <a:gd name="connsiteX319" fmla="*/ 92427 w 1219200"/>
                <a:gd name="connsiteY319" fmla="*/ 648959 h 868681"/>
                <a:gd name="connsiteX320" fmla="*/ 79454 w 1219200"/>
                <a:gd name="connsiteY320" fmla="*/ 677626 h 868681"/>
                <a:gd name="connsiteX321" fmla="*/ 47625 w 1219200"/>
                <a:gd name="connsiteY321" fmla="*/ 686436 h 868681"/>
                <a:gd name="connsiteX322" fmla="*/ 0 w 1219200"/>
                <a:gd name="connsiteY322" fmla="*/ 664846 h 868681"/>
                <a:gd name="connsiteX323" fmla="*/ 16510 w 1219200"/>
                <a:gd name="connsiteY323" fmla="*/ 650241 h 868681"/>
                <a:gd name="connsiteX324" fmla="*/ 46989 w 1219200"/>
                <a:gd name="connsiteY324" fmla="*/ 664211 h 868681"/>
                <a:gd name="connsiteX325" fmla="*/ 68579 w 1219200"/>
                <a:gd name="connsiteY325" fmla="*/ 649606 h 868681"/>
                <a:gd name="connsiteX326" fmla="*/ 61595 w 1219200"/>
                <a:gd name="connsiteY326" fmla="*/ 640081 h 868681"/>
                <a:gd name="connsiteX327" fmla="*/ 41909 w 1219200"/>
                <a:gd name="connsiteY327" fmla="*/ 634366 h 868681"/>
                <a:gd name="connsiteX328" fmla="*/ 14605 w 1219200"/>
                <a:gd name="connsiteY328" fmla="*/ 623571 h 868681"/>
                <a:gd name="connsiteX329" fmla="*/ 4444 w 1219200"/>
                <a:gd name="connsiteY329" fmla="*/ 599441 h 868681"/>
                <a:gd name="connsiteX330" fmla="*/ 47625 w 1219200"/>
                <a:gd name="connsiteY330" fmla="*/ 563881 h 868681"/>
                <a:gd name="connsiteX331" fmla="*/ 814070 w 1219200"/>
                <a:gd name="connsiteY331" fmla="*/ 560071 h 868681"/>
                <a:gd name="connsiteX332" fmla="*/ 830579 w 1219200"/>
                <a:gd name="connsiteY332" fmla="*/ 562611 h 868681"/>
                <a:gd name="connsiteX333" fmla="*/ 829945 w 1219200"/>
                <a:gd name="connsiteY333" fmla="*/ 562611 h 868681"/>
                <a:gd name="connsiteX334" fmla="*/ 829945 w 1219200"/>
                <a:gd name="connsiteY334" fmla="*/ 581026 h 868681"/>
                <a:gd name="connsiteX335" fmla="*/ 818515 w 1219200"/>
                <a:gd name="connsiteY335" fmla="*/ 579121 h 868681"/>
                <a:gd name="connsiteX336" fmla="*/ 808989 w 1219200"/>
                <a:gd name="connsiteY336" fmla="*/ 586741 h 868681"/>
                <a:gd name="connsiteX337" fmla="*/ 808989 w 1219200"/>
                <a:gd name="connsiteY337" fmla="*/ 594361 h 868681"/>
                <a:gd name="connsiteX338" fmla="*/ 824230 w 1219200"/>
                <a:gd name="connsiteY338" fmla="*/ 594361 h 868681"/>
                <a:gd name="connsiteX339" fmla="*/ 824230 w 1219200"/>
                <a:gd name="connsiteY339" fmla="*/ 615951 h 868681"/>
                <a:gd name="connsiteX340" fmla="*/ 808989 w 1219200"/>
                <a:gd name="connsiteY340" fmla="*/ 615951 h 868681"/>
                <a:gd name="connsiteX341" fmla="*/ 808989 w 1219200"/>
                <a:gd name="connsiteY341" fmla="*/ 684531 h 868681"/>
                <a:gd name="connsiteX342" fmla="*/ 786765 w 1219200"/>
                <a:gd name="connsiteY342" fmla="*/ 684531 h 868681"/>
                <a:gd name="connsiteX343" fmla="*/ 786765 w 1219200"/>
                <a:gd name="connsiteY343" fmla="*/ 615951 h 868681"/>
                <a:gd name="connsiteX344" fmla="*/ 775970 w 1219200"/>
                <a:gd name="connsiteY344" fmla="*/ 615951 h 868681"/>
                <a:gd name="connsiteX345" fmla="*/ 775970 w 1219200"/>
                <a:gd name="connsiteY345" fmla="*/ 594361 h 868681"/>
                <a:gd name="connsiteX346" fmla="*/ 786765 w 1219200"/>
                <a:gd name="connsiteY346" fmla="*/ 594361 h 868681"/>
                <a:gd name="connsiteX347" fmla="*/ 786765 w 1219200"/>
                <a:gd name="connsiteY347" fmla="*/ 583566 h 868681"/>
                <a:gd name="connsiteX348" fmla="*/ 814070 w 1219200"/>
                <a:gd name="connsiteY348" fmla="*/ 560071 h 868681"/>
                <a:gd name="connsiteX349" fmla="*/ 957579 w 1219200"/>
                <a:gd name="connsiteY349" fmla="*/ 559436 h 868681"/>
                <a:gd name="connsiteX350" fmla="*/ 957579 w 1219200"/>
                <a:gd name="connsiteY350" fmla="*/ 594361 h 868681"/>
                <a:gd name="connsiteX351" fmla="*/ 979170 w 1219200"/>
                <a:gd name="connsiteY351" fmla="*/ 594361 h 868681"/>
                <a:gd name="connsiteX352" fmla="*/ 979170 w 1219200"/>
                <a:gd name="connsiteY352" fmla="*/ 615951 h 868681"/>
                <a:gd name="connsiteX353" fmla="*/ 957579 w 1219200"/>
                <a:gd name="connsiteY353" fmla="*/ 615951 h 868681"/>
                <a:gd name="connsiteX354" fmla="*/ 957579 w 1219200"/>
                <a:gd name="connsiteY354" fmla="*/ 654051 h 868681"/>
                <a:gd name="connsiteX355" fmla="*/ 966470 w 1219200"/>
                <a:gd name="connsiteY355" fmla="*/ 664846 h 868681"/>
                <a:gd name="connsiteX356" fmla="*/ 981075 w 1219200"/>
                <a:gd name="connsiteY356" fmla="*/ 658496 h 868681"/>
                <a:gd name="connsiteX357" fmla="*/ 977900 w 1219200"/>
                <a:gd name="connsiteY357" fmla="*/ 681356 h 868681"/>
                <a:gd name="connsiteX358" fmla="*/ 959485 w 1219200"/>
                <a:gd name="connsiteY358" fmla="*/ 686436 h 868681"/>
                <a:gd name="connsiteX359" fmla="*/ 935355 w 1219200"/>
                <a:gd name="connsiteY359" fmla="*/ 659766 h 868681"/>
                <a:gd name="connsiteX360" fmla="*/ 935355 w 1219200"/>
                <a:gd name="connsiteY360" fmla="*/ 615951 h 868681"/>
                <a:gd name="connsiteX361" fmla="*/ 922655 w 1219200"/>
                <a:gd name="connsiteY361" fmla="*/ 615951 h 868681"/>
                <a:gd name="connsiteX362" fmla="*/ 922655 w 1219200"/>
                <a:gd name="connsiteY362" fmla="*/ 594361 h 868681"/>
                <a:gd name="connsiteX363" fmla="*/ 935355 w 1219200"/>
                <a:gd name="connsiteY363" fmla="*/ 594361 h 868681"/>
                <a:gd name="connsiteX364" fmla="*/ 935355 w 1219200"/>
                <a:gd name="connsiteY364" fmla="*/ 570866 h 868681"/>
                <a:gd name="connsiteX365" fmla="*/ 586739 w 1219200"/>
                <a:gd name="connsiteY365" fmla="*/ 559436 h 868681"/>
                <a:gd name="connsiteX366" fmla="*/ 586739 w 1219200"/>
                <a:gd name="connsiteY366" fmla="*/ 600711 h 868681"/>
                <a:gd name="connsiteX367" fmla="*/ 607695 w 1219200"/>
                <a:gd name="connsiteY367" fmla="*/ 592456 h 868681"/>
                <a:gd name="connsiteX368" fmla="*/ 639445 w 1219200"/>
                <a:gd name="connsiteY368" fmla="*/ 633731 h 868681"/>
                <a:gd name="connsiteX369" fmla="*/ 639445 w 1219200"/>
                <a:gd name="connsiteY369" fmla="*/ 684531 h 868681"/>
                <a:gd name="connsiteX370" fmla="*/ 617220 w 1219200"/>
                <a:gd name="connsiteY370" fmla="*/ 684531 h 868681"/>
                <a:gd name="connsiteX371" fmla="*/ 617220 w 1219200"/>
                <a:gd name="connsiteY371" fmla="*/ 635636 h 868681"/>
                <a:gd name="connsiteX372" fmla="*/ 601980 w 1219200"/>
                <a:gd name="connsiteY372" fmla="*/ 614681 h 868681"/>
                <a:gd name="connsiteX373" fmla="*/ 586739 w 1219200"/>
                <a:gd name="connsiteY373" fmla="*/ 635001 h 868681"/>
                <a:gd name="connsiteX374" fmla="*/ 586739 w 1219200"/>
                <a:gd name="connsiteY374" fmla="*/ 684531 h 868681"/>
                <a:gd name="connsiteX375" fmla="*/ 564515 w 1219200"/>
                <a:gd name="connsiteY375" fmla="*/ 684531 h 868681"/>
                <a:gd name="connsiteX376" fmla="*/ 564515 w 1219200"/>
                <a:gd name="connsiteY376" fmla="*/ 570866 h 868681"/>
                <a:gd name="connsiteX377" fmla="*/ 529590 w 1219200"/>
                <a:gd name="connsiteY377" fmla="*/ 559436 h 868681"/>
                <a:gd name="connsiteX378" fmla="*/ 529590 w 1219200"/>
                <a:gd name="connsiteY378" fmla="*/ 594361 h 868681"/>
                <a:gd name="connsiteX379" fmla="*/ 550545 w 1219200"/>
                <a:gd name="connsiteY379" fmla="*/ 594361 h 868681"/>
                <a:gd name="connsiteX380" fmla="*/ 550545 w 1219200"/>
                <a:gd name="connsiteY380" fmla="*/ 615951 h 868681"/>
                <a:gd name="connsiteX381" fmla="*/ 529590 w 1219200"/>
                <a:gd name="connsiteY381" fmla="*/ 615951 h 868681"/>
                <a:gd name="connsiteX382" fmla="*/ 529590 w 1219200"/>
                <a:gd name="connsiteY382" fmla="*/ 654051 h 868681"/>
                <a:gd name="connsiteX383" fmla="*/ 538480 w 1219200"/>
                <a:gd name="connsiteY383" fmla="*/ 664846 h 868681"/>
                <a:gd name="connsiteX384" fmla="*/ 553084 w 1219200"/>
                <a:gd name="connsiteY384" fmla="*/ 658496 h 868681"/>
                <a:gd name="connsiteX385" fmla="*/ 549909 w 1219200"/>
                <a:gd name="connsiteY385" fmla="*/ 681356 h 868681"/>
                <a:gd name="connsiteX386" fmla="*/ 531495 w 1219200"/>
                <a:gd name="connsiteY386" fmla="*/ 686436 h 868681"/>
                <a:gd name="connsiteX387" fmla="*/ 507364 w 1219200"/>
                <a:gd name="connsiteY387" fmla="*/ 659766 h 868681"/>
                <a:gd name="connsiteX388" fmla="*/ 507364 w 1219200"/>
                <a:gd name="connsiteY388" fmla="*/ 615951 h 868681"/>
                <a:gd name="connsiteX389" fmla="*/ 491489 w 1219200"/>
                <a:gd name="connsiteY389" fmla="*/ 615951 h 868681"/>
                <a:gd name="connsiteX390" fmla="*/ 491489 w 1219200"/>
                <a:gd name="connsiteY390" fmla="*/ 594361 h 868681"/>
                <a:gd name="connsiteX391" fmla="*/ 507364 w 1219200"/>
                <a:gd name="connsiteY391" fmla="*/ 594361 h 868681"/>
                <a:gd name="connsiteX392" fmla="*/ 507364 w 1219200"/>
                <a:gd name="connsiteY392" fmla="*/ 570866 h 868681"/>
                <a:gd name="connsiteX393" fmla="*/ 128269 w 1219200"/>
                <a:gd name="connsiteY393" fmla="*/ 559436 h 868681"/>
                <a:gd name="connsiteX394" fmla="*/ 128269 w 1219200"/>
                <a:gd name="connsiteY394" fmla="*/ 600711 h 868681"/>
                <a:gd name="connsiteX395" fmla="*/ 149224 w 1219200"/>
                <a:gd name="connsiteY395" fmla="*/ 592456 h 868681"/>
                <a:gd name="connsiteX396" fmla="*/ 180974 w 1219200"/>
                <a:gd name="connsiteY396" fmla="*/ 633731 h 868681"/>
                <a:gd name="connsiteX397" fmla="*/ 180974 w 1219200"/>
                <a:gd name="connsiteY397" fmla="*/ 684531 h 868681"/>
                <a:gd name="connsiteX398" fmla="*/ 158750 w 1219200"/>
                <a:gd name="connsiteY398" fmla="*/ 684531 h 868681"/>
                <a:gd name="connsiteX399" fmla="*/ 158750 w 1219200"/>
                <a:gd name="connsiteY399" fmla="*/ 635636 h 868681"/>
                <a:gd name="connsiteX400" fmla="*/ 143510 w 1219200"/>
                <a:gd name="connsiteY400" fmla="*/ 614681 h 868681"/>
                <a:gd name="connsiteX401" fmla="*/ 128269 w 1219200"/>
                <a:gd name="connsiteY401" fmla="*/ 635001 h 868681"/>
                <a:gd name="connsiteX402" fmla="*/ 128269 w 1219200"/>
                <a:gd name="connsiteY402" fmla="*/ 684531 h 868681"/>
                <a:gd name="connsiteX403" fmla="*/ 106045 w 1219200"/>
                <a:gd name="connsiteY403" fmla="*/ 684531 h 868681"/>
                <a:gd name="connsiteX404" fmla="*/ 106045 w 1219200"/>
                <a:gd name="connsiteY404" fmla="*/ 570866 h 868681"/>
                <a:gd name="connsiteX405" fmla="*/ 269875 w 1219200"/>
                <a:gd name="connsiteY405" fmla="*/ 635 h 868681"/>
                <a:gd name="connsiteX406" fmla="*/ 501015 w 1219200"/>
                <a:gd name="connsiteY406" fmla="*/ 635 h 868681"/>
                <a:gd name="connsiteX407" fmla="*/ 554989 w 1219200"/>
                <a:gd name="connsiteY407" fmla="*/ 94615 h 868681"/>
                <a:gd name="connsiteX408" fmla="*/ 391795 w 1219200"/>
                <a:gd name="connsiteY408" fmla="*/ 94615 h 868681"/>
                <a:gd name="connsiteX409" fmla="*/ 391795 w 1219200"/>
                <a:gd name="connsiteY409" fmla="*/ 161925 h 868681"/>
                <a:gd name="connsiteX410" fmla="*/ 539114 w 1219200"/>
                <a:gd name="connsiteY410" fmla="*/ 161925 h 868681"/>
                <a:gd name="connsiteX411" fmla="*/ 539114 w 1219200"/>
                <a:gd name="connsiteY411" fmla="*/ 247650 h 868681"/>
                <a:gd name="connsiteX412" fmla="*/ 391795 w 1219200"/>
                <a:gd name="connsiteY412" fmla="*/ 247650 h 868681"/>
                <a:gd name="connsiteX413" fmla="*/ 391795 w 1219200"/>
                <a:gd name="connsiteY413" fmla="*/ 314325 h 868681"/>
                <a:gd name="connsiteX414" fmla="*/ 595629 w 1219200"/>
                <a:gd name="connsiteY414" fmla="*/ 314325 h 868681"/>
                <a:gd name="connsiteX415" fmla="*/ 595629 w 1219200"/>
                <a:gd name="connsiteY415" fmla="*/ 408305 h 868681"/>
                <a:gd name="connsiteX416" fmla="*/ 269875 w 1219200"/>
                <a:gd name="connsiteY416" fmla="*/ 408305 h 868681"/>
                <a:gd name="connsiteX417" fmla="*/ 539114 w 1219200"/>
                <a:gd name="connsiteY417" fmla="*/ 0 h 868681"/>
                <a:gd name="connsiteX418" fmla="*/ 674370 w 1219200"/>
                <a:gd name="connsiteY418" fmla="*/ 0 h 868681"/>
                <a:gd name="connsiteX419" fmla="*/ 743584 w 1219200"/>
                <a:gd name="connsiteY419" fmla="*/ 132715 h 868681"/>
                <a:gd name="connsiteX420" fmla="*/ 812799 w 1219200"/>
                <a:gd name="connsiteY420" fmla="*/ 0 h 868681"/>
                <a:gd name="connsiteX421" fmla="*/ 946150 w 1219200"/>
                <a:gd name="connsiteY421" fmla="*/ 0 h 868681"/>
                <a:gd name="connsiteX422" fmla="*/ 803275 w 1219200"/>
                <a:gd name="connsiteY422" fmla="*/ 246380 h 868681"/>
                <a:gd name="connsiteX423" fmla="*/ 803275 w 1219200"/>
                <a:gd name="connsiteY423" fmla="*/ 407670 h 868681"/>
                <a:gd name="connsiteX424" fmla="*/ 681355 w 1219200"/>
                <a:gd name="connsiteY424" fmla="*/ 407670 h 868681"/>
                <a:gd name="connsiteX425" fmla="*/ 681355 w 1219200"/>
                <a:gd name="connsiteY425" fmla="*/ 246380 h 868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</a:cxnLst>
              <a:rect l="l" t="t" r="r" b="b"/>
              <a:pathLst>
                <a:path w="1219200" h="868681">
                  <a:moveTo>
                    <a:pt x="245110" y="839471"/>
                  </a:moveTo>
                  <a:lnTo>
                    <a:pt x="246379" y="839471"/>
                  </a:lnTo>
                  <a:lnTo>
                    <a:pt x="245041" y="839979"/>
                  </a:lnTo>
                  <a:close/>
                  <a:moveTo>
                    <a:pt x="522605" y="796926"/>
                  </a:moveTo>
                  <a:cubicBezTo>
                    <a:pt x="509905" y="796926"/>
                    <a:pt x="504189" y="807721"/>
                    <a:pt x="504189" y="821691"/>
                  </a:cubicBezTo>
                  <a:cubicBezTo>
                    <a:pt x="504189" y="831216"/>
                    <a:pt x="508000" y="845821"/>
                    <a:pt x="522605" y="845821"/>
                  </a:cubicBezTo>
                  <a:cubicBezTo>
                    <a:pt x="537845" y="845821"/>
                    <a:pt x="541019" y="831851"/>
                    <a:pt x="541019" y="821691"/>
                  </a:cubicBezTo>
                  <a:cubicBezTo>
                    <a:pt x="541019" y="807721"/>
                    <a:pt x="535305" y="796926"/>
                    <a:pt x="522605" y="796926"/>
                  </a:cubicBezTo>
                  <a:close/>
                  <a:moveTo>
                    <a:pt x="817245" y="796291"/>
                  </a:moveTo>
                  <a:cubicBezTo>
                    <a:pt x="803909" y="796291"/>
                    <a:pt x="800735" y="807086"/>
                    <a:pt x="800735" y="819786"/>
                  </a:cubicBezTo>
                  <a:cubicBezTo>
                    <a:pt x="800735" y="834391"/>
                    <a:pt x="805180" y="846456"/>
                    <a:pt x="817879" y="846456"/>
                  </a:cubicBezTo>
                  <a:cubicBezTo>
                    <a:pt x="824230" y="846456"/>
                    <a:pt x="828674" y="843281"/>
                    <a:pt x="833754" y="838836"/>
                  </a:cubicBezTo>
                  <a:lnTo>
                    <a:pt x="833754" y="838201"/>
                  </a:lnTo>
                  <a:lnTo>
                    <a:pt x="833754" y="803911"/>
                  </a:lnTo>
                  <a:cubicBezTo>
                    <a:pt x="828674" y="798831"/>
                    <a:pt x="824230" y="796291"/>
                    <a:pt x="817245" y="796291"/>
                  </a:cubicBezTo>
                  <a:close/>
                  <a:moveTo>
                    <a:pt x="1179195" y="794386"/>
                  </a:moveTo>
                  <a:cubicBezTo>
                    <a:pt x="1168400" y="794386"/>
                    <a:pt x="1163954" y="803911"/>
                    <a:pt x="1163320" y="811531"/>
                  </a:cubicBezTo>
                  <a:lnTo>
                    <a:pt x="1163954" y="811531"/>
                  </a:lnTo>
                  <a:lnTo>
                    <a:pt x="1195704" y="811531"/>
                  </a:lnTo>
                  <a:cubicBezTo>
                    <a:pt x="1195070" y="801371"/>
                    <a:pt x="1188720" y="794386"/>
                    <a:pt x="1179195" y="794386"/>
                  </a:cubicBezTo>
                  <a:close/>
                  <a:moveTo>
                    <a:pt x="909320" y="794386"/>
                  </a:moveTo>
                  <a:cubicBezTo>
                    <a:pt x="898525" y="794386"/>
                    <a:pt x="894079" y="803911"/>
                    <a:pt x="893445" y="811531"/>
                  </a:cubicBezTo>
                  <a:lnTo>
                    <a:pt x="894079" y="811531"/>
                  </a:lnTo>
                  <a:lnTo>
                    <a:pt x="925829" y="811531"/>
                  </a:lnTo>
                  <a:cubicBezTo>
                    <a:pt x="925195" y="801371"/>
                    <a:pt x="918845" y="794386"/>
                    <a:pt x="909320" y="794386"/>
                  </a:cubicBezTo>
                  <a:close/>
                  <a:moveTo>
                    <a:pt x="737870" y="775971"/>
                  </a:moveTo>
                  <a:lnTo>
                    <a:pt x="761364" y="775971"/>
                  </a:lnTo>
                  <a:lnTo>
                    <a:pt x="761364" y="866141"/>
                  </a:lnTo>
                  <a:lnTo>
                    <a:pt x="737870" y="866141"/>
                  </a:lnTo>
                  <a:close/>
                  <a:moveTo>
                    <a:pt x="143510" y="775971"/>
                  </a:moveTo>
                  <a:lnTo>
                    <a:pt x="167004" y="775971"/>
                  </a:lnTo>
                  <a:lnTo>
                    <a:pt x="167004" y="866141"/>
                  </a:lnTo>
                  <a:lnTo>
                    <a:pt x="143510" y="866141"/>
                  </a:lnTo>
                  <a:close/>
                  <a:moveTo>
                    <a:pt x="635" y="775971"/>
                  </a:moveTo>
                  <a:lnTo>
                    <a:pt x="26670" y="775971"/>
                  </a:lnTo>
                  <a:lnTo>
                    <a:pt x="40004" y="828041"/>
                  </a:lnTo>
                  <a:lnTo>
                    <a:pt x="55245" y="775971"/>
                  </a:lnTo>
                  <a:lnTo>
                    <a:pt x="76200" y="775971"/>
                  </a:lnTo>
                  <a:lnTo>
                    <a:pt x="91439" y="828041"/>
                  </a:lnTo>
                  <a:lnTo>
                    <a:pt x="105409" y="775971"/>
                  </a:lnTo>
                  <a:lnTo>
                    <a:pt x="130810" y="775971"/>
                  </a:lnTo>
                  <a:lnTo>
                    <a:pt x="102235" y="866141"/>
                  </a:lnTo>
                  <a:lnTo>
                    <a:pt x="80644" y="866141"/>
                  </a:lnTo>
                  <a:lnTo>
                    <a:pt x="65405" y="811531"/>
                  </a:lnTo>
                  <a:lnTo>
                    <a:pt x="50165" y="866141"/>
                  </a:lnTo>
                  <a:lnTo>
                    <a:pt x="28575" y="866141"/>
                  </a:lnTo>
                  <a:close/>
                  <a:moveTo>
                    <a:pt x="1181099" y="774066"/>
                  </a:moveTo>
                  <a:cubicBezTo>
                    <a:pt x="1204595" y="774066"/>
                    <a:pt x="1219200" y="795021"/>
                    <a:pt x="1219200" y="821056"/>
                  </a:cubicBezTo>
                  <a:lnTo>
                    <a:pt x="1218564" y="821056"/>
                  </a:lnTo>
                  <a:cubicBezTo>
                    <a:pt x="1218564" y="821056"/>
                    <a:pt x="1218564" y="827406"/>
                    <a:pt x="1218564" y="828676"/>
                  </a:cubicBezTo>
                  <a:lnTo>
                    <a:pt x="1163954" y="828676"/>
                  </a:lnTo>
                  <a:cubicBezTo>
                    <a:pt x="1165224" y="841376"/>
                    <a:pt x="1173480" y="846456"/>
                    <a:pt x="1183004" y="846456"/>
                  </a:cubicBezTo>
                  <a:cubicBezTo>
                    <a:pt x="1188720" y="846456"/>
                    <a:pt x="1193799" y="844551"/>
                    <a:pt x="1198879" y="840106"/>
                  </a:cubicBezTo>
                  <a:lnTo>
                    <a:pt x="1214754" y="853441"/>
                  </a:lnTo>
                  <a:cubicBezTo>
                    <a:pt x="1206500" y="864236"/>
                    <a:pt x="1193799" y="868046"/>
                    <a:pt x="1182370" y="868046"/>
                  </a:cubicBezTo>
                  <a:cubicBezTo>
                    <a:pt x="1156335" y="868046"/>
                    <a:pt x="1141095" y="847726"/>
                    <a:pt x="1141095" y="821056"/>
                  </a:cubicBezTo>
                  <a:cubicBezTo>
                    <a:pt x="1141095" y="792481"/>
                    <a:pt x="1158875" y="774066"/>
                    <a:pt x="1181099" y="774066"/>
                  </a:cubicBezTo>
                  <a:close/>
                  <a:moveTo>
                    <a:pt x="1097915" y="774066"/>
                  </a:moveTo>
                  <a:cubicBezTo>
                    <a:pt x="1113790" y="774066"/>
                    <a:pt x="1125220" y="781051"/>
                    <a:pt x="1133474" y="793751"/>
                  </a:cubicBezTo>
                  <a:lnTo>
                    <a:pt x="1118235" y="808991"/>
                  </a:lnTo>
                  <a:cubicBezTo>
                    <a:pt x="1113155" y="802006"/>
                    <a:pt x="1107439" y="796291"/>
                    <a:pt x="1097915" y="796291"/>
                  </a:cubicBezTo>
                  <a:cubicBezTo>
                    <a:pt x="1085215" y="796291"/>
                    <a:pt x="1078864" y="807086"/>
                    <a:pt x="1078864" y="820421"/>
                  </a:cubicBezTo>
                  <a:cubicBezTo>
                    <a:pt x="1078864" y="833121"/>
                    <a:pt x="1084579" y="845186"/>
                    <a:pt x="1097915" y="845186"/>
                  </a:cubicBezTo>
                  <a:cubicBezTo>
                    <a:pt x="1106170" y="845186"/>
                    <a:pt x="1113155" y="840741"/>
                    <a:pt x="1118235" y="833756"/>
                  </a:cubicBezTo>
                  <a:lnTo>
                    <a:pt x="1118870" y="834391"/>
                  </a:lnTo>
                  <a:lnTo>
                    <a:pt x="1133474" y="848361"/>
                  </a:lnTo>
                  <a:cubicBezTo>
                    <a:pt x="1125855" y="857886"/>
                    <a:pt x="1115060" y="868046"/>
                    <a:pt x="1097280" y="868046"/>
                  </a:cubicBezTo>
                  <a:cubicBezTo>
                    <a:pt x="1072515" y="868046"/>
                    <a:pt x="1054735" y="848361"/>
                    <a:pt x="1054735" y="821056"/>
                  </a:cubicBezTo>
                  <a:cubicBezTo>
                    <a:pt x="1054735" y="796291"/>
                    <a:pt x="1069974" y="774066"/>
                    <a:pt x="1097915" y="774066"/>
                  </a:cubicBezTo>
                  <a:close/>
                  <a:moveTo>
                    <a:pt x="1009015" y="774066"/>
                  </a:moveTo>
                  <a:cubicBezTo>
                    <a:pt x="1033144" y="774066"/>
                    <a:pt x="1041400" y="793116"/>
                    <a:pt x="1041400" y="815341"/>
                  </a:cubicBezTo>
                  <a:lnTo>
                    <a:pt x="1041400" y="866141"/>
                  </a:lnTo>
                  <a:lnTo>
                    <a:pt x="1017905" y="866141"/>
                  </a:lnTo>
                  <a:lnTo>
                    <a:pt x="1017905" y="817246"/>
                  </a:lnTo>
                  <a:cubicBezTo>
                    <a:pt x="1017905" y="804546"/>
                    <a:pt x="1014730" y="796291"/>
                    <a:pt x="1002665" y="796291"/>
                  </a:cubicBezTo>
                  <a:cubicBezTo>
                    <a:pt x="990599" y="796291"/>
                    <a:pt x="986790" y="803276"/>
                    <a:pt x="986790" y="816611"/>
                  </a:cubicBezTo>
                  <a:lnTo>
                    <a:pt x="986790" y="866141"/>
                  </a:lnTo>
                  <a:lnTo>
                    <a:pt x="963295" y="866141"/>
                  </a:lnTo>
                  <a:lnTo>
                    <a:pt x="963295" y="775971"/>
                  </a:lnTo>
                  <a:lnTo>
                    <a:pt x="986790" y="775971"/>
                  </a:lnTo>
                  <a:lnTo>
                    <a:pt x="986790" y="782321"/>
                  </a:lnTo>
                  <a:cubicBezTo>
                    <a:pt x="991870" y="777241"/>
                    <a:pt x="998855" y="774066"/>
                    <a:pt x="1009015" y="774066"/>
                  </a:cubicBezTo>
                  <a:close/>
                  <a:moveTo>
                    <a:pt x="911224" y="774066"/>
                  </a:moveTo>
                  <a:cubicBezTo>
                    <a:pt x="934720" y="774066"/>
                    <a:pt x="949325" y="795021"/>
                    <a:pt x="949325" y="821056"/>
                  </a:cubicBezTo>
                  <a:lnTo>
                    <a:pt x="948689" y="821056"/>
                  </a:lnTo>
                  <a:cubicBezTo>
                    <a:pt x="948689" y="821056"/>
                    <a:pt x="948689" y="827406"/>
                    <a:pt x="948689" y="828676"/>
                  </a:cubicBezTo>
                  <a:lnTo>
                    <a:pt x="894079" y="828676"/>
                  </a:lnTo>
                  <a:cubicBezTo>
                    <a:pt x="895349" y="841376"/>
                    <a:pt x="903605" y="846456"/>
                    <a:pt x="913129" y="846456"/>
                  </a:cubicBezTo>
                  <a:cubicBezTo>
                    <a:pt x="918845" y="846456"/>
                    <a:pt x="923924" y="844551"/>
                    <a:pt x="929004" y="840106"/>
                  </a:cubicBezTo>
                  <a:lnTo>
                    <a:pt x="944879" y="853441"/>
                  </a:lnTo>
                  <a:cubicBezTo>
                    <a:pt x="936625" y="864236"/>
                    <a:pt x="923924" y="868046"/>
                    <a:pt x="912495" y="868046"/>
                  </a:cubicBezTo>
                  <a:cubicBezTo>
                    <a:pt x="886459" y="868046"/>
                    <a:pt x="871220" y="847726"/>
                    <a:pt x="871220" y="821056"/>
                  </a:cubicBezTo>
                  <a:cubicBezTo>
                    <a:pt x="871220" y="792481"/>
                    <a:pt x="889000" y="774066"/>
                    <a:pt x="911224" y="774066"/>
                  </a:cubicBezTo>
                  <a:close/>
                  <a:moveTo>
                    <a:pt x="623570" y="774066"/>
                  </a:moveTo>
                  <a:cubicBezTo>
                    <a:pt x="647700" y="774066"/>
                    <a:pt x="655954" y="793116"/>
                    <a:pt x="655954" y="815341"/>
                  </a:cubicBezTo>
                  <a:lnTo>
                    <a:pt x="655954" y="866141"/>
                  </a:lnTo>
                  <a:lnTo>
                    <a:pt x="632459" y="866141"/>
                  </a:lnTo>
                  <a:lnTo>
                    <a:pt x="632459" y="817246"/>
                  </a:lnTo>
                  <a:cubicBezTo>
                    <a:pt x="632459" y="804546"/>
                    <a:pt x="629284" y="796291"/>
                    <a:pt x="617220" y="796291"/>
                  </a:cubicBezTo>
                  <a:cubicBezTo>
                    <a:pt x="605155" y="796291"/>
                    <a:pt x="601345" y="803276"/>
                    <a:pt x="601345" y="816611"/>
                  </a:cubicBezTo>
                  <a:lnTo>
                    <a:pt x="601345" y="866141"/>
                  </a:lnTo>
                  <a:lnTo>
                    <a:pt x="577849" y="866141"/>
                  </a:lnTo>
                  <a:lnTo>
                    <a:pt x="577849" y="775971"/>
                  </a:lnTo>
                  <a:lnTo>
                    <a:pt x="601345" y="775971"/>
                  </a:lnTo>
                  <a:lnTo>
                    <a:pt x="601345" y="782321"/>
                  </a:lnTo>
                  <a:cubicBezTo>
                    <a:pt x="606424" y="777241"/>
                    <a:pt x="613409" y="774066"/>
                    <a:pt x="623570" y="774066"/>
                  </a:cubicBezTo>
                  <a:close/>
                  <a:moveTo>
                    <a:pt x="522605" y="774066"/>
                  </a:moveTo>
                  <a:cubicBezTo>
                    <a:pt x="548004" y="774066"/>
                    <a:pt x="564515" y="793116"/>
                    <a:pt x="564515" y="821056"/>
                  </a:cubicBezTo>
                  <a:cubicBezTo>
                    <a:pt x="564515" y="848996"/>
                    <a:pt x="546735" y="868046"/>
                    <a:pt x="522605" y="868046"/>
                  </a:cubicBezTo>
                  <a:cubicBezTo>
                    <a:pt x="498474" y="868046"/>
                    <a:pt x="480695" y="848996"/>
                    <a:pt x="480695" y="821056"/>
                  </a:cubicBezTo>
                  <a:cubicBezTo>
                    <a:pt x="480695" y="794386"/>
                    <a:pt x="496570" y="774066"/>
                    <a:pt x="522605" y="774066"/>
                  </a:cubicBezTo>
                  <a:close/>
                  <a:moveTo>
                    <a:pt x="436879" y="774066"/>
                  </a:moveTo>
                  <a:cubicBezTo>
                    <a:pt x="452754" y="774066"/>
                    <a:pt x="464185" y="781051"/>
                    <a:pt x="472439" y="793751"/>
                  </a:cubicBezTo>
                  <a:lnTo>
                    <a:pt x="457200" y="808991"/>
                  </a:lnTo>
                  <a:cubicBezTo>
                    <a:pt x="452120" y="802006"/>
                    <a:pt x="446405" y="796291"/>
                    <a:pt x="436879" y="796291"/>
                  </a:cubicBezTo>
                  <a:cubicBezTo>
                    <a:pt x="424180" y="796291"/>
                    <a:pt x="417829" y="807086"/>
                    <a:pt x="417829" y="820421"/>
                  </a:cubicBezTo>
                  <a:cubicBezTo>
                    <a:pt x="417829" y="833121"/>
                    <a:pt x="423545" y="845186"/>
                    <a:pt x="436879" y="845186"/>
                  </a:cubicBezTo>
                  <a:cubicBezTo>
                    <a:pt x="445135" y="845186"/>
                    <a:pt x="452120" y="840741"/>
                    <a:pt x="457200" y="833756"/>
                  </a:cubicBezTo>
                  <a:lnTo>
                    <a:pt x="457834" y="834391"/>
                  </a:lnTo>
                  <a:lnTo>
                    <a:pt x="472439" y="848361"/>
                  </a:lnTo>
                  <a:cubicBezTo>
                    <a:pt x="464820" y="857886"/>
                    <a:pt x="454025" y="868046"/>
                    <a:pt x="436245" y="868046"/>
                  </a:cubicBezTo>
                  <a:cubicBezTo>
                    <a:pt x="411480" y="868046"/>
                    <a:pt x="393700" y="848361"/>
                    <a:pt x="393700" y="821056"/>
                  </a:cubicBezTo>
                  <a:cubicBezTo>
                    <a:pt x="393700" y="796291"/>
                    <a:pt x="408939" y="774066"/>
                    <a:pt x="436879" y="774066"/>
                  </a:cubicBezTo>
                  <a:close/>
                  <a:moveTo>
                    <a:pt x="219075" y="742316"/>
                  </a:moveTo>
                  <a:lnTo>
                    <a:pt x="219075" y="777241"/>
                  </a:lnTo>
                  <a:lnTo>
                    <a:pt x="245110" y="777241"/>
                  </a:lnTo>
                  <a:lnTo>
                    <a:pt x="245110" y="798831"/>
                  </a:lnTo>
                  <a:lnTo>
                    <a:pt x="219075" y="798831"/>
                  </a:lnTo>
                  <a:lnTo>
                    <a:pt x="219075" y="835661"/>
                  </a:lnTo>
                  <a:cubicBezTo>
                    <a:pt x="219075" y="843916"/>
                    <a:pt x="222250" y="846456"/>
                    <a:pt x="227965" y="846456"/>
                  </a:cubicBezTo>
                  <a:lnTo>
                    <a:pt x="245041" y="839979"/>
                  </a:lnTo>
                  <a:lnTo>
                    <a:pt x="241935" y="862966"/>
                  </a:lnTo>
                  <a:cubicBezTo>
                    <a:pt x="236855" y="866776"/>
                    <a:pt x="225424" y="868681"/>
                    <a:pt x="219709" y="868681"/>
                  </a:cubicBezTo>
                  <a:cubicBezTo>
                    <a:pt x="205739" y="868681"/>
                    <a:pt x="195579" y="857251"/>
                    <a:pt x="195579" y="842011"/>
                  </a:cubicBezTo>
                  <a:lnTo>
                    <a:pt x="195579" y="798831"/>
                  </a:lnTo>
                  <a:lnTo>
                    <a:pt x="179704" y="798831"/>
                  </a:lnTo>
                  <a:lnTo>
                    <a:pt x="179704" y="777241"/>
                  </a:lnTo>
                  <a:lnTo>
                    <a:pt x="195579" y="777241"/>
                  </a:lnTo>
                  <a:lnTo>
                    <a:pt x="195579" y="753746"/>
                  </a:lnTo>
                  <a:close/>
                  <a:moveTo>
                    <a:pt x="749935" y="741681"/>
                  </a:moveTo>
                  <a:cubicBezTo>
                    <a:pt x="757555" y="741681"/>
                    <a:pt x="763269" y="747396"/>
                    <a:pt x="763269" y="755016"/>
                  </a:cubicBezTo>
                  <a:cubicBezTo>
                    <a:pt x="763269" y="762636"/>
                    <a:pt x="757555" y="768351"/>
                    <a:pt x="749935" y="768351"/>
                  </a:cubicBezTo>
                  <a:cubicBezTo>
                    <a:pt x="742314" y="768351"/>
                    <a:pt x="736599" y="762636"/>
                    <a:pt x="736599" y="755016"/>
                  </a:cubicBezTo>
                  <a:cubicBezTo>
                    <a:pt x="736599" y="747396"/>
                    <a:pt x="742314" y="741681"/>
                    <a:pt x="749935" y="741681"/>
                  </a:cubicBezTo>
                  <a:close/>
                  <a:moveTo>
                    <a:pt x="154939" y="741681"/>
                  </a:moveTo>
                  <a:cubicBezTo>
                    <a:pt x="162560" y="741681"/>
                    <a:pt x="168275" y="747396"/>
                    <a:pt x="168275" y="755016"/>
                  </a:cubicBezTo>
                  <a:cubicBezTo>
                    <a:pt x="168275" y="762636"/>
                    <a:pt x="162560" y="768351"/>
                    <a:pt x="154939" y="768351"/>
                  </a:cubicBezTo>
                  <a:cubicBezTo>
                    <a:pt x="147320" y="768351"/>
                    <a:pt x="141605" y="762636"/>
                    <a:pt x="141605" y="755016"/>
                  </a:cubicBezTo>
                  <a:cubicBezTo>
                    <a:pt x="141605" y="747396"/>
                    <a:pt x="147320" y="741681"/>
                    <a:pt x="154939" y="741681"/>
                  </a:cubicBezTo>
                  <a:close/>
                  <a:moveTo>
                    <a:pt x="856614" y="741046"/>
                  </a:moveTo>
                  <a:lnTo>
                    <a:pt x="856614" y="866141"/>
                  </a:lnTo>
                  <a:lnTo>
                    <a:pt x="833120" y="866141"/>
                  </a:lnTo>
                  <a:lnTo>
                    <a:pt x="833120" y="860426"/>
                  </a:lnTo>
                  <a:cubicBezTo>
                    <a:pt x="825500" y="866141"/>
                    <a:pt x="821055" y="868046"/>
                    <a:pt x="812799" y="868046"/>
                  </a:cubicBezTo>
                  <a:cubicBezTo>
                    <a:pt x="786765" y="868046"/>
                    <a:pt x="775970" y="845821"/>
                    <a:pt x="775970" y="820421"/>
                  </a:cubicBezTo>
                  <a:cubicBezTo>
                    <a:pt x="775970" y="793116"/>
                    <a:pt x="788670" y="774066"/>
                    <a:pt x="812165" y="774066"/>
                  </a:cubicBezTo>
                  <a:cubicBezTo>
                    <a:pt x="819784" y="774066"/>
                    <a:pt x="827405" y="775971"/>
                    <a:pt x="833120" y="781051"/>
                  </a:cubicBezTo>
                  <a:lnTo>
                    <a:pt x="833120" y="752476"/>
                  </a:lnTo>
                  <a:close/>
                  <a:moveTo>
                    <a:pt x="707390" y="741046"/>
                  </a:moveTo>
                  <a:cubicBezTo>
                    <a:pt x="712470" y="741046"/>
                    <a:pt x="719454" y="741046"/>
                    <a:pt x="724534" y="743586"/>
                  </a:cubicBezTo>
                  <a:lnTo>
                    <a:pt x="724534" y="744221"/>
                  </a:lnTo>
                  <a:lnTo>
                    <a:pt x="724534" y="762636"/>
                  </a:lnTo>
                  <a:cubicBezTo>
                    <a:pt x="721360" y="761366"/>
                    <a:pt x="716280" y="760731"/>
                    <a:pt x="713105" y="760731"/>
                  </a:cubicBezTo>
                  <a:cubicBezTo>
                    <a:pt x="706120" y="760731"/>
                    <a:pt x="703579" y="762636"/>
                    <a:pt x="703579" y="768351"/>
                  </a:cubicBezTo>
                  <a:lnTo>
                    <a:pt x="703579" y="775336"/>
                  </a:lnTo>
                  <a:lnTo>
                    <a:pt x="722629" y="775336"/>
                  </a:lnTo>
                  <a:lnTo>
                    <a:pt x="722629" y="796926"/>
                  </a:lnTo>
                  <a:lnTo>
                    <a:pt x="703579" y="796926"/>
                  </a:lnTo>
                  <a:lnTo>
                    <a:pt x="703579" y="865506"/>
                  </a:lnTo>
                  <a:lnTo>
                    <a:pt x="680084" y="865506"/>
                  </a:lnTo>
                  <a:lnTo>
                    <a:pt x="680084" y="796926"/>
                  </a:lnTo>
                  <a:lnTo>
                    <a:pt x="667385" y="796926"/>
                  </a:lnTo>
                  <a:lnTo>
                    <a:pt x="667385" y="775336"/>
                  </a:lnTo>
                  <a:lnTo>
                    <a:pt x="680084" y="775336"/>
                  </a:lnTo>
                  <a:lnTo>
                    <a:pt x="680084" y="764541"/>
                  </a:lnTo>
                  <a:cubicBezTo>
                    <a:pt x="680084" y="748031"/>
                    <a:pt x="690879" y="741046"/>
                    <a:pt x="707390" y="741046"/>
                  </a:cubicBezTo>
                  <a:close/>
                  <a:moveTo>
                    <a:pt x="282575" y="741046"/>
                  </a:moveTo>
                  <a:lnTo>
                    <a:pt x="282575" y="782321"/>
                  </a:lnTo>
                  <a:cubicBezTo>
                    <a:pt x="287019" y="777241"/>
                    <a:pt x="295909" y="774066"/>
                    <a:pt x="304799" y="774066"/>
                  </a:cubicBezTo>
                  <a:cubicBezTo>
                    <a:pt x="328295" y="774066"/>
                    <a:pt x="336549" y="792481"/>
                    <a:pt x="336549" y="815341"/>
                  </a:cubicBezTo>
                  <a:lnTo>
                    <a:pt x="336549" y="866141"/>
                  </a:lnTo>
                  <a:lnTo>
                    <a:pt x="313689" y="866141"/>
                  </a:lnTo>
                  <a:lnTo>
                    <a:pt x="313689" y="817246"/>
                  </a:lnTo>
                  <a:cubicBezTo>
                    <a:pt x="313689" y="804546"/>
                    <a:pt x="310515" y="796291"/>
                    <a:pt x="298450" y="796291"/>
                  </a:cubicBezTo>
                  <a:cubicBezTo>
                    <a:pt x="286385" y="796291"/>
                    <a:pt x="282575" y="803276"/>
                    <a:pt x="282575" y="816611"/>
                  </a:cubicBezTo>
                  <a:lnTo>
                    <a:pt x="282575" y="866141"/>
                  </a:lnTo>
                  <a:lnTo>
                    <a:pt x="259079" y="866141"/>
                  </a:lnTo>
                  <a:lnTo>
                    <a:pt x="259079" y="752476"/>
                  </a:lnTo>
                  <a:close/>
                  <a:moveTo>
                    <a:pt x="92709" y="648336"/>
                  </a:moveTo>
                  <a:lnTo>
                    <a:pt x="92709" y="649606"/>
                  </a:lnTo>
                  <a:lnTo>
                    <a:pt x="92427" y="648959"/>
                  </a:lnTo>
                  <a:close/>
                  <a:moveTo>
                    <a:pt x="230504" y="643256"/>
                  </a:moveTo>
                  <a:cubicBezTo>
                    <a:pt x="220345" y="643256"/>
                    <a:pt x="215900" y="647701"/>
                    <a:pt x="215900" y="654686"/>
                  </a:cubicBezTo>
                  <a:cubicBezTo>
                    <a:pt x="215900" y="661671"/>
                    <a:pt x="220345" y="667386"/>
                    <a:pt x="228599" y="667386"/>
                  </a:cubicBezTo>
                  <a:cubicBezTo>
                    <a:pt x="233045" y="667386"/>
                    <a:pt x="240665" y="666116"/>
                    <a:pt x="245745" y="658496"/>
                  </a:cubicBezTo>
                  <a:lnTo>
                    <a:pt x="245745" y="647066"/>
                  </a:lnTo>
                  <a:cubicBezTo>
                    <a:pt x="241299" y="643891"/>
                    <a:pt x="234950" y="643256"/>
                    <a:pt x="230504" y="643256"/>
                  </a:cubicBezTo>
                  <a:close/>
                  <a:moveTo>
                    <a:pt x="321310" y="614046"/>
                  </a:moveTo>
                  <a:cubicBezTo>
                    <a:pt x="314959" y="614046"/>
                    <a:pt x="309879" y="617221"/>
                    <a:pt x="306704" y="622301"/>
                  </a:cubicBezTo>
                  <a:lnTo>
                    <a:pt x="306704" y="656591"/>
                  </a:lnTo>
                  <a:cubicBezTo>
                    <a:pt x="310515" y="661671"/>
                    <a:pt x="316230" y="664846"/>
                    <a:pt x="323215" y="664846"/>
                  </a:cubicBezTo>
                  <a:cubicBezTo>
                    <a:pt x="335915" y="664846"/>
                    <a:pt x="339090" y="653416"/>
                    <a:pt x="339090" y="640716"/>
                  </a:cubicBezTo>
                  <a:lnTo>
                    <a:pt x="338454" y="640716"/>
                  </a:lnTo>
                  <a:cubicBezTo>
                    <a:pt x="338454" y="627381"/>
                    <a:pt x="335280" y="614046"/>
                    <a:pt x="321310" y="614046"/>
                  </a:cubicBezTo>
                  <a:close/>
                  <a:moveTo>
                    <a:pt x="1179195" y="612776"/>
                  </a:moveTo>
                  <a:cubicBezTo>
                    <a:pt x="1168400" y="612776"/>
                    <a:pt x="1163954" y="622301"/>
                    <a:pt x="1163320" y="629921"/>
                  </a:cubicBezTo>
                  <a:lnTo>
                    <a:pt x="1163954" y="629921"/>
                  </a:lnTo>
                  <a:lnTo>
                    <a:pt x="1195704" y="629921"/>
                  </a:lnTo>
                  <a:cubicBezTo>
                    <a:pt x="1195070" y="619761"/>
                    <a:pt x="1188720" y="612776"/>
                    <a:pt x="1179195" y="612776"/>
                  </a:cubicBezTo>
                  <a:close/>
                  <a:moveTo>
                    <a:pt x="689610" y="612776"/>
                  </a:moveTo>
                  <a:cubicBezTo>
                    <a:pt x="678814" y="612776"/>
                    <a:pt x="674370" y="622301"/>
                    <a:pt x="673735" y="629921"/>
                  </a:cubicBezTo>
                  <a:lnTo>
                    <a:pt x="674370" y="629921"/>
                  </a:lnTo>
                  <a:lnTo>
                    <a:pt x="706120" y="629921"/>
                  </a:lnTo>
                  <a:cubicBezTo>
                    <a:pt x="705485" y="619761"/>
                    <a:pt x="699135" y="612776"/>
                    <a:pt x="689610" y="612776"/>
                  </a:cubicBezTo>
                  <a:close/>
                  <a:moveTo>
                    <a:pt x="410845" y="612776"/>
                  </a:moveTo>
                  <a:cubicBezTo>
                    <a:pt x="400685" y="612776"/>
                    <a:pt x="396239" y="622301"/>
                    <a:pt x="395605" y="629921"/>
                  </a:cubicBezTo>
                  <a:lnTo>
                    <a:pt x="427355" y="629921"/>
                  </a:lnTo>
                  <a:cubicBezTo>
                    <a:pt x="426084" y="619761"/>
                    <a:pt x="420370" y="612776"/>
                    <a:pt x="410845" y="612776"/>
                  </a:cubicBezTo>
                  <a:close/>
                  <a:moveTo>
                    <a:pt x="991870" y="594361"/>
                  </a:moveTo>
                  <a:lnTo>
                    <a:pt x="1014095" y="594361"/>
                  </a:lnTo>
                  <a:lnTo>
                    <a:pt x="1014095" y="643256"/>
                  </a:lnTo>
                  <a:cubicBezTo>
                    <a:pt x="1014095" y="655321"/>
                    <a:pt x="1016635" y="664846"/>
                    <a:pt x="1029334" y="664846"/>
                  </a:cubicBezTo>
                  <a:cubicBezTo>
                    <a:pt x="1042034" y="664846"/>
                    <a:pt x="1044575" y="655321"/>
                    <a:pt x="1044575" y="644526"/>
                  </a:cubicBezTo>
                  <a:lnTo>
                    <a:pt x="1044575" y="594996"/>
                  </a:lnTo>
                  <a:lnTo>
                    <a:pt x="1066799" y="594996"/>
                  </a:lnTo>
                  <a:lnTo>
                    <a:pt x="1066799" y="684531"/>
                  </a:lnTo>
                  <a:lnTo>
                    <a:pt x="1044575" y="684531"/>
                  </a:lnTo>
                  <a:lnTo>
                    <a:pt x="1044575" y="678181"/>
                  </a:lnTo>
                  <a:cubicBezTo>
                    <a:pt x="1039495" y="683896"/>
                    <a:pt x="1031875" y="686436"/>
                    <a:pt x="1023620" y="686436"/>
                  </a:cubicBezTo>
                  <a:cubicBezTo>
                    <a:pt x="1000125" y="686436"/>
                    <a:pt x="991870" y="669926"/>
                    <a:pt x="991870" y="645161"/>
                  </a:cubicBezTo>
                  <a:close/>
                  <a:moveTo>
                    <a:pt x="836295" y="594361"/>
                  </a:moveTo>
                  <a:lnTo>
                    <a:pt x="858519" y="594361"/>
                  </a:lnTo>
                  <a:lnTo>
                    <a:pt x="858519" y="643256"/>
                  </a:lnTo>
                  <a:cubicBezTo>
                    <a:pt x="858519" y="655321"/>
                    <a:pt x="861060" y="664846"/>
                    <a:pt x="873760" y="664846"/>
                  </a:cubicBezTo>
                  <a:cubicBezTo>
                    <a:pt x="886459" y="664846"/>
                    <a:pt x="889000" y="655321"/>
                    <a:pt x="889000" y="644526"/>
                  </a:cubicBezTo>
                  <a:lnTo>
                    <a:pt x="889000" y="594996"/>
                  </a:lnTo>
                  <a:lnTo>
                    <a:pt x="911224" y="594996"/>
                  </a:lnTo>
                  <a:lnTo>
                    <a:pt x="911224" y="684531"/>
                  </a:lnTo>
                  <a:lnTo>
                    <a:pt x="889000" y="684531"/>
                  </a:lnTo>
                  <a:lnTo>
                    <a:pt x="889000" y="678181"/>
                  </a:lnTo>
                  <a:cubicBezTo>
                    <a:pt x="883920" y="683896"/>
                    <a:pt x="876299" y="686436"/>
                    <a:pt x="868045" y="686436"/>
                  </a:cubicBezTo>
                  <a:cubicBezTo>
                    <a:pt x="844549" y="686436"/>
                    <a:pt x="836295" y="669926"/>
                    <a:pt x="836295" y="645161"/>
                  </a:cubicBezTo>
                  <a:close/>
                  <a:moveTo>
                    <a:pt x="1181099" y="592456"/>
                  </a:moveTo>
                  <a:cubicBezTo>
                    <a:pt x="1204595" y="592456"/>
                    <a:pt x="1219200" y="613411"/>
                    <a:pt x="1219200" y="639446"/>
                  </a:cubicBezTo>
                  <a:lnTo>
                    <a:pt x="1218564" y="639446"/>
                  </a:lnTo>
                  <a:cubicBezTo>
                    <a:pt x="1218564" y="639446"/>
                    <a:pt x="1218564" y="645796"/>
                    <a:pt x="1218564" y="647066"/>
                  </a:cubicBezTo>
                  <a:lnTo>
                    <a:pt x="1163954" y="647066"/>
                  </a:lnTo>
                  <a:cubicBezTo>
                    <a:pt x="1165224" y="659766"/>
                    <a:pt x="1173480" y="664846"/>
                    <a:pt x="1183004" y="664846"/>
                  </a:cubicBezTo>
                  <a:cubicBezTo>
                    <a:pt x="1188720" y="664846"/>
                    <a:pt x="1193799" y="662941"/>
                    <a:pt x="1198879" y="658496"/>
                  </a:cubicBezTo>
                  <a:lnTo>
                    <a:pt x="1214754" y="671831"/>
                  </a:lnTo>
                  <a:cubicBezTo>
                    <a:pt x="1206500" y="682626"/>
                    <a:pt x="1193799" y="686436"/>
                    <a:pt x="1182370" y="686436"/>
                  </a:cubicBezTo>
                  <a:cubicBezTo>
                    <a:pt x="1156335" y="686436"/>
                    <a:pt x="1141095" y="666116"/>
                    <a:pt x="1141095" y="639446"/>
                  </a:cubicBezTo>
                  <a:cubicBezTo>
                    <a:pt x="1141095" y="610871"/>
                    <a:pt x="1158875" y="592456"/>
                    <a:pt x="1181099" y="592456"/>
                  </a:cubicBezTo>
                  <a:close/>
                  <a:moveTo>
                    <a:pt x="691515" y="592456"/>
                  </a:moveTo>
                  <a:cubicBezTo>
                    <a:pt x="715010" y="592456"/>
                    <a:pt x="729614" y="613411"/>
                    <a:pt x="729614" y="639446"/>
                  </a:cubicBezTo>
                  <a:lnTo>
                    <a:pt x="728980" y="639446"/>
                  </a:lnTo>
                  <a:cubicBezTo>
                    <a:pt x="728980" y="639446"/>
                    <a:pt x="728980" y="645796"/>
                    <a:pt x="728980" y="647066"/>
                  </a:cubicBezTo>
                  <a:lnTo>
                    <a:pt x="674370" y="647066"/>
                  </a:lnTo>
                  <a:cubicBezTo>
                    <a:pt x="675640" y="659766"/>
                    <a:pt x="683894" y="664846"/>
                    <a:pt x="693420" y="664846"/>
                  </a:cubicBezTo>
                  <a:cubicBezTo>
                    <a:pt x="699135" y="664846"/>
                    <a:pt x="704215" y="662941"/>
                    <a:pt x="709295" y="658496"/>
                  </a:cubicBezTo>
                  <a:lnTo>
                    <a:pt x="725170" y="671831"/>
                  </a:lnTo>
                  <a:cubicBezTo>
                    <a:pt x="716915" y="682626"/>
                    <a:pt x="704215" y="686436"/>
                    <a:pt x="692784" y="686436"/>
                  </a:cubicBezTo>
                  <a:cubicBezTo>
                    <a:pt x="666750" y="686436"/>
                    <a:pt x="651510" y="666116"/>
                    <a:pt x="651510" y="639446"/>
                  </a:cubicBezTo>
                  <a:cubicBezTo>
                    <a:pt x="651510" y="610871"/>
                    <a:pt x="669290" y="592456"/>
                    <a:pt x="691515" y="592456"/>
                  </a:cubicBezTo>
                  <a:close/>
                  <a:moveTo>
                    <a:pt x="412114" y="592456"/>
                  </a:moveTo>
                  <a:cubicBezTo>
                    <a:pt x="437515" y="592456"/>
                    <a:pt x="448310" y="615316"/>
                    <a:pt x="448310" y="639446"/>
                  </a:cubicBezTo>
                  <a:cubicBezTo>
                    <a:pt x="448310" y="639446"/>
                    <a:pt x="448310" y="645796"/>
                    <a:pt x="448310" y="647066"/>
                  </a:cubicBezTo>
                  <a:lnTo>
                    <a:pt x="395605" y="647066"/>
                  </a:lnTo>
                  <a:cubicBezTo>
                    <a:pt x="396875" y="659766"/>
                    <a:pt x="405129" y="664846"/>
                    <a:pt x="415290" y="664846"/>
                  </a:cubicBezTo>
                  <a:cubicBezTo>
                    <a:pt x="421004" y="664846"/>
                    <a:pt x="426084" y="662941"/>
                    <a:pt x="430530" y="658496"/>
                  </a:cubicBezTo>
                  <a:lnTo>
                    <a:pt x="446405" y="671831"/>
                  </a:lnTo>
                  <a:cubicBezTo>
                    <a:pt x="438784" y="681991"/>
                    <a:pt x="425450" y="686436"/>
                    <a:pt x="413385" y="686436"/>
                  </a:cubicBezTo>
                  <a:cubicBezTo>
                    <a:pt x="387349" y="686436"/>
                    <a:pt x="372110" y="666116"/>
                    <a:pt x="372110" y="640081"/>
                  </a:cubicBezTo>
                  <a:cubicBezTo>
                    <a:pt x="372110" y="614046"/>
                    <a:pt x="388620" y="592456"/>
                    <a:pt x="412114" y="592456"/>
                  </a:cubicBezTo>
                  <a:close/>
                  <a:moveTo>
                    <a:pt x="326390" y="592456"/>
                  </a:moveTo>
                  <a:cubicBezTo>
                    <a:pt x="350519" y="592456"/>
                    <a:pt x="361314" y="615316"/>
                    <a:pt x="361314" y="639446"/>
                  </a:cubicBezTo>
                  <a:cubicBezTo>
                    <a:pt x="361314" y="662306"/>
                    <a:pt x="351790" y="686436"/>
                    <a:pt x="326390" y="686436"/>
                  </a:cubicBezTo>
                  <a:cubicBezTo>
                    <a:pt x="316230" y="686436"/>
                    <a:pt x="310515" y="682626"/>
                    <a:pt x="306070" y="678816"/>
                  </a:cubicBezTo>
                  <a:lnTo>
                    <a:pt x="306070" y="706121"/>
                  </a:lnTo>
                  <a:lnTo>
                    <a:pt x="283845" y="717551"/>
                  </a:lnTo>
                  <a:lnTo>
                    <a:pt x="283845" y="594361"/>
                  </a:lnTo>
                  <a:lnTo>
                    <a:pt x="306070" y="594361"/>
                  </a:lnTo>
                  <a:lnTo>
                    <a:pt x="306070" y="600711"/>
                  </a:lnTo>
                  <a:cubicBezTo>
                    <a:pt x="311784" y="595631"/>
                    <a:pt x="318135" y="592456"/>
                    <a:pt x="326390" y="592456"/>
                  </a:cubicBezTo>
                  <a:close/>
                  <a:moveTo>
                    <a:pt x="231775" y="592456"/>
                  </a:moveTo>
                  <a:cubicBezTo>
                    <a:pt x="254635" y="592456"/>
                    <a:pt x="268605" y="603251"/>
                    <a:pt x="268605" y="624206"/>
                  </a:cubicBezTo>
                  <a:lnTo>
                    <a:pt x="268605" y="684531"/>
                  </a:lnTo>
                  <a:lnTo>
                    <a:pt x="267970" y="684531"/>
                  </a:lnTo>
                  <a:lnTo>
                    <a:pt x="245745" y="684531"/>
                  </a:lnTo>
                  <a:lnTo>
                    <a:pt x="245745" y="678181"/>
                  </a:lnTo>
                  <a:cubicBezTo>
                    <a:pt x="240665" y="683261"/>
                    <a:pt x="233680" y="686436"/>
                    <a:pt x="224790" y="686436"/>
                  </a:cubicBezTo>
                  <a:cubicBezTo>
                    <a:pt x="207010" y="686436"/>
                    <a:pt x="193040" y="675006"/>
                    <a:pt x="193040" y="655321"/>
                  </a:cubicBezTo>
                  <a:cubicBezTo>
                    <a:pt x="193040" y="635636"/>
                    <a:pt x="206375" y="624841"/>
                    <a:pt x="227965" y="624841"/>
                  </a:cubicBezTo>
                  <a:cubicBezTo>
                    <a:pt x="233680" y="624841"/>
                    <a:pt x="239394" y="625476"/>
                    <a:pt x="245745" y="628651"/>
                  </a:cubicBezTo>
                  <a:lnTo>
                    <a:pt x="245745" y="623571"/>
                  </a:lnTo>
                  <a:cubicBezTo>
                    <a:pt x="245745" y="615316"/>
                    <a:pt x="240030" y="611506"/>
                    <a:pt x="230504" y="611506"/>
                  </a:cubicBezTo>
                  <a:cubicBezTo>
                    <a:pt x="223519" y="611506"/>
                    <a:pt x="216534" y="613411"/>
                    <a:pt x="209549" y="617221"/>
                  </a:cubicBezTo>
                  <a:lnTo>
                    <a:pt x="200659" y="601346"/>
                  </a:lnTo>
                  <a:cubicBezTo>
                    <a:pt x="210185" y="594996"/>
                    <a:pt x="219709" y="592456"/>
                    <a:pt x="231775" y="592456"/>
                  </a:cubicBezTo>
                  <a:close/>
                  <a:moveTo>
                    <a:pt x="1125855" y="591821"/>
                  </a:moveTo>
                  <a:cubicBezTo>
                    <a:pt x="1132204" y="591821"/>
                    <a:pt x="1137920" y="593726"/>
                    <a:pt x="1142364" y="598171"/>
                  </a:cubicBezTo>
                  <a:lnTo>
                    <a:pt x="1141730" y="598806"/>
                  </a:lnTo>
                  <a:lnTo>
                    <a:pt x="1132840" y="621031"/>
                  </a:lnTo>
                  <a:cubicBezTo>
                    <a:pt x="1129665" y="617856"/>
                    <a:pt x="1125220" y="615316"/>
                    <a:pt x="1120140" y="615316"/>
                  </a:cubicBezTo>
                  <a:cubicBezTo>
                    <a:pt x="1109345" y="615316"/>
                    <a:pt x="1106805" y="624206"/>
                    <a:pt x="1106805" y="635001"/>
                  </a:cubicBezTo>
                  <a:lnTo>
                    <a:pt x="1106805" y="683896"/>
                  </a:lnTo>
                  <a:lnTo>
                    <a:pt x="1084579" y="683896"/>
                  </a:lnTo>
                  <a:lnTo>
                    <a:pt x="1084579" y="593726"/>
                  </a:lnTo>
                  <a:lnTo>
                    <a:pt x="1106805" y="593726"/>
                  </a:lnTo>
                  <a:lnTo>
                    <a:pt x="1106805" y="600076"/>
                  </a:lnTo>
                  <a:cubicBezTo>
                    <a:pt x="1111885" y="594996"/>
                    <a:pt x="1118235" y="591821"/>
                    <a:pt x="1125855" y="591821"/>
                  </a:cubicBezTo>
                  <a:close/>
                  <a:moveTo>
                    <a:pt x="47625" y="563881"/>
                  </a:moveTo>
                  <a:cubicBezTo>
                    <a:pt x="66040" y="563881"/>
                    <a:pt x="79375" y="571501"/>
                    <a:pt x="90170" y="582296"/>
                  </a:cubicBezTo>
                  <a:lnTo>
                    <a:pt x="73659" y="598806"/>
                  </a:lnTo>
                  <a:cubicBezTo>
                    <a:pt x="66040" y="591186"/>
                    <a:pt x="58420" y="586741"/>
                    <a:pt x="46355" y="586741"/>
                  </a:cubicBezTo>
                  <a:cubicBezTo>
                    <a:pt x="36194" y="586741"/>
                    <a:pt x="28575" y="589916"/>
                    <a:pt x="28575" y="598171"/>
                  </a:cubicBezTo>
                  <a:cubicBezTo>
                    <a:pt x="28575" y="601981"/>
                    <a:pt x="29845" y="604521"/>
                    <a:pt x="33655" y="606426"/>
                  </a:cubicBezTo>
                  <a:cubicBezTo>
                    <a:pt x="38099" y="608966"/>
                    <a:pt x="43814" y="610236"/>
                    <a:pt x="52704" y="612776"/>
                  </a:cubicBezTo>
                  <a:cubicBezTo>
                    <a:pt x="63500" y="615951"/>
                    <a:pt x="73659" y="617856"/>
                    <a:pt x="81915" y="624841"/>
                  </a:cubicBezTo>
                  <a:lnTo>
                    <a:pt x="92427" y="648959"/>
                  </a:lnTo>
                  <a:lnTo>
                    <a:pt x="79454" y="677626"/>
                  </a:lnTo>
                  <a:cubicBezTo>
                    <a:pt x="71279" y="683738"/>
                    <a:pt x="60008" y="686436"/>
                    <a:pt x="47625" y="686436"/>
                  </a:cubicBezTo>
                  <a:cubicBezTo>
                    <a:pt x="29845" y="686436"/>
                    <a:pt x="10795" y="680721"/>
                    <a:pt x="0" y="664846"/>
                  </a:cubicBezTo>
                  <a:lnTo>
                    <a:pt x="16510" y="650241"/>
                  </a:lnTo>
                  <a:cubicBezTo>
                    <a:pt x="24129" y="659766"/>
                    <a:pt x="35560" y="664211"/>
                    <a:pt x="46989" y="664211"/>
                  </a:cubicBezTo>
                  <a:cubicBezTo>
                    <a:pt x="60325" y="664211"/>
                    <a:pt x="68579" y="657861"/>
                    <a:pt x="68579" y="649606"/>
                  </a:cubicBezTo>
                  <a:cubicBezTo>
                    <a:pt x="68579" y="646431"/>
                    <a:pt x="67310" y="642621"/>
                    <a:pt x="61595" y="640081"/>
                  </a:cubicBezTo>
                  <a:cubicBezTo>
                    <a:pt x="57150" y="638176"/>
                    <a:pt x="52069" y="636906"/>
                    <a:pt x="41909" y="634366"/>
                  </a:cubicBezTo>
                  <a:cubicBezTo>
                    <a:pt x="35560" y="633096"/>
                    <a:pt x="22860" y="629921"/>
                    <a:pt x="14605" y="623571"/>
                  </a:cubicBezTo>
                  <a:cubicBezTo>
                    <a:pt x="6349" y="617221"/>
                    <a:pt x="4444" y="607696"/>
                    <a:pt x="4444" y="599441"/>
                  </a:cubicBezTo>
                  <a:cubicBezTo>
                    <a:pt x="4444" y="574041"/>
                    <a:pt x="26034" y="563881"/>
                    <a:pt x="47625" y="563881"/>
                  </a:cubicBezTo>
                  <a:close/>
                  <a:moveTo>
                    <a:pt x="814070" y="560071"/>
                  </a:moveTo>
                  <a:cubicBezTo>
                    <a:pt x="820420" y="560071"/>
                    <a:pt x="824864" y="561341"/>
                    <a:pt x="830579" y="562611"/>
                  </a:cubicBezTo>
                  <a:lnTo>
                    <a:pt x="829945" y="562611"/>
                  </a:lnTo>
                  <a:lnTo>
                    <a:pt x="829945" y="581026"/>
                  </a:lnTo>
                  <a:cubicBezTo>
                    <a:pt x="824864" y="579756"/>
                    <a:pt x="821055" y="579121"/>
                    <a:pt x="818515" y="579121"/>
                  </a:cubicBezTo>
                  <a:cubicBezTo>
                    <a:pt x="810260" y="579121"/>
                    <a:pt x="808989" y="582296"/>
                    <a:pt x="808989" y="586741"/>
                  </a:cubicBezTo>
                  <a:lnTo>
                    <a:pt x="808989" y="594361"/>
                  </a:lnTo>
                  <a:lnTo>
                    <a:pt x="824230" y="594361"/>
                  </a:lnTo>
                  <a:lnTo>
                    <a:pt x="824230" y="615951"/>
                  </a:lnTo>
                  <a:lnTo>
                    <a:pt x="808989" y="615951"/>
                  </a:lnTo>
                  <a:lnTo>
                    <a:pt x="808989" y="684531"/>
                  </a:lnTo>
                  <a:lnTo>
                    <a:pt x="786765" y="684531"/>
                  </a:lnTo>
                  <a:lnTo>
                    <a:pt x="786765" y="615951"/>
                  </a:lnTo>
                  <a:lnTo>
                    <a:pt x="775970" y="615951"/>
                  </a:lnTo>
                  <a:lnTo>
                    <a:pt x="775970" y="594361"/>
                  </a:lnTo>
                  <a:lnTo>
                    <a:pt x="786765" y="594361"/>
                  </a:lnTo>
                  <a:lnTo>
                    <a:pt x="786765" y="583566"/>
                  </a:lnTo>
                  <a:cubicBezTo>
                    <a:pt x="786765" y="567691"/>
                    <a:pt x="795019" y="560071"/>
                    <a:pt x="814070" y="560071"/>
                  </a:cubicBezTo>
                  <a:close/>
                  <a:moveTo>
                    <a:pt x="957579" y="559436"/>
                  </a:moveTo>
                  <a:lnTo>
                    <a:pt x="957579" y="594361"/>
                  </a:lnTo>
                  <a:lnTo>
                    <a:pt x="979170" y="594361"/>
                  </a:lnTo>
                  <a:lnTo>
                    <a:pt x="979170" y="615951"/>
                  </a:lnTo>
                  <a:lnTo>
                    <a:pt x="957579" y="615951"/>
                  </a:lnTo>
                  <a:lnTo>
                    <a:pt x="957579" y="654051"/>
                  </a:lnTo>
                  <a:cubicBezTo>
                    <a:pt x="957579" y="661671"/>
                    <a:pt x="960754" y="664846"/>
                    <a:pt x="966470" y="664846"/>
                  </a:cubicBezTo>
                  <a:cubicBezTo>
                    <a:pt x="972185" y="664846"/>
                    <a:pt x="977900" y="661671"/>
                    <a:pt x="981075" y="658496"/>
                  </a:cubicBezTo>
                  <a:lnTo>
                    <a:pt x="977900" y="681356"/>
                  </a:lnTo>
                  <a:cubicBezTo>
                    <a:pt x="973454" y="685166"/>
                    <a:pt x="965200" y="686436"/>
                    <a:pt x="959485" y="686436"/>
                  </a:cubicBezTo>
                  <a:cubicBezTo>
                    <a:pt x="945515" y="686436"/>
                    <a:pt x="935355" y="676276"/>
                    <a:pt x="935355" y="659766"/>
                  </a:cubicBezTo>
                  <a:lnTo>
                    <a:pt x="935355" y="615951"/>
                  </a:lnTo>
                  <a:lnTo>
                    <a:pt x="922655" y="615951"/>
                  </a:lnTo>
                  <a:lnTo>
                    <a:pt x="922655" y="594361"/>
                  </a:lnTo>
                  <a:lnTo>
                    <a:pt x="935355" y="594361"/>
                  </a:lnTo>
                  <a:lnTo>
                    <a:pt x="935355" y="570866"/>
                  </a:lnTo>
                  <a:close/>
                  <a:moveTo>
                    <a:pt x="586739" y="559436"/>
                  </a:moveTo>
                  <a:lnTo>
                    <a:pt x="586739" y="600711"/>
                  </a:lnTo>
                  <a:cubicBezTo>
                    <a:pt x="591820" y="595631"/>
                    <a:pt x="597534" y="592456"/>
                    <a:pt x="607695" y="592456"/>
                  </a:cubicBezTo>
                  <a:cubicBezTo>
                    <a:pt x="631825" y="592456"/>
                    <a:pt x="639445" y="610871"/>
                    <a:pt x="639445" y="633731"/>
                  </a:cubicBezTo>
                  <a:lnTo>
                    <a:pt x="639445" y="684531"/>
                  </a:lnTo>
                  <a:lnTo>
                    <a:pt x="617220" y="684531"/>
                  </a:lnTo>
                  <a:lnTo>
                    <a:pt x="617220" y="635636"/>
                  </a:lnTo>
                  <a:cubicBezTo>
                    <a:pt x="617220" y="623571"/>
                    <a:pt x="614680" y="614681"/>
                    <a:pt x="601980" y="614681"/>
                  </a:cubicBezTo>
                  <a:cubicBezTo>
                    <a:pt x="589280" y="614681"/>
                    <a:pt x="586739" y="622936"/>
                    <a:pt x="586739" y="635001"/>
                  </a:cubicBezTo>
                  <a:lnTo>
                    <a:pt x="586739" y="684531"/>
                  </a:lnTo>
                  <a:lnTo>
                    <a:pt x="564515" y="684531"/>
                  </a:lnTo>
                  <a:lnTo>
                    <a:pt x="564515" y="570866"/>
                  </a:lnTo>
                  <a:close/>
                  <a:moveTo>
                    <a:pt x="529590" y="559436"/>
                  </a:moveTo>
                  <a:lnTo>
                    <a:pt x="529590" y="594361"/>
                  </a:lnTo>
                  <a:lnTo>
                    <a:pt x="550545" y="594361"/>
                  </a:lnTo>
                  <a:lnTo>
                    <a:pt x="550545" y="615951"/>
                  </a:lnTo>
                  <a:lnTo>
                    <a:pt x="529590" y="615951"/>
                  </a:lnTo>
                  <a:lnTo>
                    <a:pt x="529590" y="654051"/>
                  </a:lnTo>
                  <a:cubicBezTo>
                    <a:pt x="529590" y="661671"/>
                    <a:pt x="532765" y="664846"/>
                    <a:pt x="538480" y="664846"/>
                  </a:cubicBezTo>
                  <a:cubicBezTo>
                    <a:pt x="544195" y="664846"/>
                    <a:pt x="549275" y="661671"/>
                    <a:pt x="553084" y="658496"/>
                  </a:cubicBezTo>
                  <a:lnTo>
                    <a:pt x="549909" y="681356"/>
                  </a:lnTo>
                  <a:cubicBezTo>
                    <a:pt x="545465" y="685166"/>
                    <a:pt x="537209" y="686436"/>
                    <a:pt x="531495" y="686436"/>
                  </a:cubicBezTo>
                  <a:cubicBezTo>
                    <a:pt x="517525" y="686436"/>
                    <a:pt x="507364" y="676276"/>
                    <a:pt x="507364" y="659766"/>
                  </a:cubicBezTo>
                  <a:lnTo>
                    <a:pt x="507364" y="615951"/>
                  </a:lnTo>
                  <a:lnTo>
                    <a:pt x="491489" y="615951"/>
                  </a:lnTo>
                  <a:lnTo>
                    <a:pt x="491489" y="594361"/>
                  </a:lnTo>
                  <a:lnTo>
                    <a:pt x="507364" y="594361"/>
                  </a:lnTo>
                  <a:lnTo>
                    <a:pt x="507364" y="570866"/>
                  </a:lnTo>
                  <a:close/>
                  <a:moveTo>
                    <a:pt x="128269" y="559436"/>
                  </a:moveTo>
                  <a:lnTo>
                    <a:pt x="128269" y="600711"/>
                  </a:lnTo>
                  <a:cubicBezTo>
                    <a:pt x="133349" y="595631"/>
                    <a:pt x="139064" y="592456"/>
                    <a:pt x="149224" y="592456"/>
                  </a:cubicBezTo>
                  <a:cubicBezTo>
                    <a:pt x="173355" y="592456"/>
                    <a:pt x="180974" y="610871"/>
                    <a:pt x="180974" y="633731"/>
                  </a:cubicBezTo>
                  <a:lnTo>
                    <a:pt x="180974" y="684531"/>
                  </a:lnTo>
                  <a:lnTo>
                    <a:pt x="158750" y="684531"/>
                  </a:lnTo>
                  <a:lnTo>
                    <a:pt x="158750" y="635636"/>
                  </a:lnTo>
                  <a:cubicBezTo>
                    <a:pt x="158750" y="623571"/>
                    <a:pt x="156209" y="614681"/>
                    <a:pt x="143510" y="614681"/>
                  </a:cubicBezTo>
                  <a:cubicBezTo>
                    <a:pt x="130810" y="614681"/>
                    <a:pt x="128269" y="622936"/>
                    <a:pt x="128269" y="635001"/>
                  </a:cubicBezTo>
                  <a:lnTo>
                    <a:pt x="128269" y="684531"/>
                  </a:lnTo>
                  <a:lnTo>
                    <a:pt x="106045" y="684531"/>
                  </a:lnTo>
                  <a:lnTo>
                    <a:pt x="106045" y="570866"/>
                  </a:lnTo>
                  <a:close/>
                  <a:moveTo>
                    <a:pt x="269875" y="635"/>
                  </a:moveTo>
                  <a:lnTo>
                    <a:pt x="501015" y="635"/>
                  </a:lnTo>
                  <a:lnTo>
                    <a:pt x="554989" y="94615"/>
                  </a:lnTo>
                  <a:lnTo>
                    <a:pt x="391795" y="94615"/>
                  </a:lnTo>
                  <a:lnTo>
                    <a:pt x="391795" y="161925"/>
                  </a:lnTo>
                  <a:lnTo>
                    <a:pt x="539114" y="161925"/>
                  </a:lnTo>
                  <a:lnTo>
                    <a:pt x="539114" y="247650"/>
                  </a:lnTo>
                  <a:lnTo>
                    <a:pt x="391795" y="247650"/>
                  </a:lnTo>
                  <a:lnTo>
                    <a:pt x="391795" y="314325"/>
                  </a:lnTo>
                  <a:lnTo>
                    <a:pt x="595629" y="314325"/>
                  </a:lnTo>
                  <a:lnTo>
                    <a:pt x="595629" y="408305"/>
                  </a:lnTo>
                  <a:lnTo>
                    <a:pt x="269875" y="408305"/>
                  </a:lnTo>
                  <a:close/>
                  <a:moveTo>
                    <a:pt x="539114" y="0"/>
                  </a:moveTo>
                  <a:lnTo>
                    <a:pt x="674370" y="0"/>
                  </a:lnTo>
                  <a:lnTo>
                    <a:pt x="743584" y="132715"/>
                  </a:lnTo>
                  <a:lnTo>
                    <a:pt x="812799" y="0"/>
                  </a:lnTo>
                  <a:lnTo>
                    <a:pt x="946150" y="0"/>
                  </a:lnTo>
                  <a:lnTo>
                    <a:pt x="803275" y="246380"/>
                  </a:lnTo>
                  <a:lnTo>
                    <a:pt x="803275" y="407670"/>
                  </a:lnTo>
                  <a:lnTo>
                    <a:pt x="681355" y="407670"/>
                  </a:lnTo>
                  <a:lnTo>
                    <a:pt x="681355" y="246380"/>
                  </a:lnTo>
                  <a:close/>
                </a:path>
              </a:pathLst>
            </a:custGeom>
            <a:solidFill>
              <a:srgbClr val="FFFFFF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E8BA944B-A631-ACF6-36AE-7C814C7A5C9A}"/>
              </a:ext>
            </a:extLst>
          </p:cNvPr>
          <p:cNvGrpSpPr/>
          <p:nvPr userDrawn="1"/>
        </p:nvGrpSpPr>
        <p:grpSpPr>
          <a:xfrm>
            <a:off x="486029" y="6164633"/>
            <a:ext cx="4943508" cy="318770"/>
            <a:chOff x="485775" y="6164633"/>
            <a:chExt cx="4940935" cy="318770"/>
          </a:xfrm>
        </p:grpSpPr>
        <p:sp>
          <p:nvSpPr>
            <p:cNvPr id="24" name="Freeform 23">
              <a:extLst>
                <a:ext uri="{FF2B5EF4-FFF2-40B4-BE49-F238E27FC236}">
                  <a16:creationId xmlns:a16="http://schemas.microsoft.com/office/drawing/2014/main" id="{BDF3ED9A-57E4-25C5-BC4E-AC1C77798191}"/>
                </a:ext>
              </a:extLst>
            </p:cNvPr>
            <p:cNvSpPr/>
            <p:nvPr userDrawn="1"/>
          </p:nvSpPr>
          <p:spPr>
            <a:xfrm>
              <a:off x="485775" y="6164633"/>
              <a:ext cx="405765" cy="81280"/>
            </a:xfrm>
            <a:custGeom>
              <a:avLst/>
              <a:gdLst>
                <a:gd name="connsiteX0" fmla="*/ 324485 w 405765"/>
                <a:gd name="connsiteY0" fmla="*/ 0 h 81280"/>
                <a:gd name="connsiteX1" fmla="*/ 405765 w 405765"/>
                <a:gd name="connsiteY1" fmla="*/ 0 h 81280"/>
                <a:gd name="connsiteX2" fmla="*/ 405765 w 405765"/>
                <a:gd name="connsiteY2" fmla="*/ 81280 h 81280"/>
                <a:gd name="connsiteX3" fmla="*/ 324485 w 405765"/>
                <a:gd name="connsiteY3" fmla="*/ 81280 h 81280"/>
                <a:gd name="connsiteX4" fmla="*/ 161925 w 405765"/>
                <a:gd name="connsiteY4" fmla="*/ 0 h 81280"/>
                <a:gd name="connsiteX5" fmla="*/ 243205 w 405765"/>
                <a:gd name="connsiteY5" fmla="*/ 0 h 81280"/>
                <a:gd name="connsiteX6" fmla="*/ 243205 w 405765"/>
                <a:gd name="connsiteY6" fmla="*/ 81280 h 81280"/>
                <a:gd name="connsiteX7" fmla="*/ 161925 w 405765"/>
                <a:gd name="connsiteY7" fmla="*/ 81280 h 81280"/>
                <a:gd name="connsiteX8" fmla="*/ 0 w 405765"/>
                <a:gd name="connsiteY8" fmla="*/ 0 h 81280"/>
                <a:gd name="connsiteX9" fmla="*/ 81280 w 405765"/>
                <a:gd name="connsiteY9" fmla="*/ 0 h 81280"/>
                <a:gd name="connsiteX10" fmla="*/ 81280 w 405765"/>
                <a:gd name="connsiteY10" fmla="*/ 81280 h 81280"/>
                <a:gd name="connsiteX11" fmla="*/ 0 w 405765"/>
                <a:gd name="connsiteY11" fmla="*/ 81280 h 812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05765" h="81280">
                  <a:moveTo>
                    <a:pt x="324485" y="0"/>
                  </a:moveTo>
                  <a:lnTo>
                    <a:pt x="405765" y="0"/>
                  </a:lnTo>
                  <a:lnTo>
                    <a:pt x="405765" y="81280"/>
                  </a:lnTo>
                  <a:lnTo>
                    <a:pt x="324485" y="81280"/>
                  </a:lnTo>
                  <a:close/>
                  <a:moveTo>
                    <a:pt x="161925" y="0"/>
                  </a:moveTo>
                  <a:lnTo>
                    <a:pt x="243205" y="0"/>
                  </a:lnTo>
                  <a:lnTo>
                    <a:pt x="243205" y="81280"/>
                  </a:lnTo>
                  <a:lnTo>
                    <a:pt x="161925" y="81280"/>
                  </a:lnTo>
                  <a:close/>
                  <a:moveTo>
                    <a:pt x="0" y="0"/>
                  </a:moveTo>
                  <a:lnTo>
                    <a:pt x="81280" y="0"/>
                  </a:lnTo>
                  <a:lnTo>
                    <a:pt x="81280" y="81280"/>
                  </a:lnTo>
                  <a:lnTo>
                    <a:pt x="0" y="81280"/>
                  </a:lnTo>
                  <a:close/>
                </a:path>
              </a:pathLst>
            </a:custGeom>
            <a:solidFill>
              <a:srgbClr val="FFE600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25" name="Freeform 24">
              <a:extLst>
                <a:ext uri="{FF2B5EF4-FFF2-40B4-BE49-F238E27FC236}">
                  <a16:creationId xmlns:a16="http://schemas.microsoft.com/office/drawing/2014/main" id="{F8AD9B21-63CE-8D03-9802-DB2391C6BC13}"/>
                </a:ext>
              </a:extLst>
            </p:cNvPr>
            <p:cNvSpPr/>
            <p:nvPr userDrawn="1"/>
          </p:nvSpPr>
          <p:spPr bwMode="black">
            <a:xfrm>
              <a:off x="485779" y="6344974"/>
              <a:ext cx="4940931" cy="138429"/>
            </a:xfrm>
            <a:custGeom>
              <a:avLst/>
              <a:gdLst>
                <a:gd name="connsiteX0" fmla="*/ 1032512 w 4940931"/>
                <a:gd name="connsiteY0" fmla="*/ 137477 h 138429"/>
                <a:gd name="connsiteX1" fmla="*/ 1032512 w 4940931"/>
                <a:gd name="connsiteY1" fmla="*/ 137794 h 138429"/>
                <a:gd name="connsiteX2" fmla="*/ 1030607 w 4940931"/>
                <a:gd name="connsiteY2" fmla="*/ 138429 h 138429"/>
                <a:gd name="connsiteX3" fmla="*/ 4929501 w 4940931"/>
                <a:gd name="connsiteY3" fmla="*/ 87629 h 138429"/>
                <a:gd name="connsiteX4" fmla="*/ 4933946 w 4940931"/>
                <a:gd name="connsiteY4" fmla="*/ 88264 h 138429"/>
                <a:gd name="connsiteX5" fmla="*/ 4937756 w 4940931"/>
                <a:gd name="connsiteY5" fmla="*/ 90804 h 138429"/>
                <a:gd name="connsiteX6" fmla="*/ 4940296 w 4940931"/>
                <a:gd name="connsiteY6" fmla="*/ 94614 h 138429"/>
                <a:gd name="connsiteX7" fmla="*/ 4940931 w 4940931"/>
                <a:gd name="connsiteY7" fmla="*/ 99059 h 138429"/>
                <a:gd name="connsiteX8" fmla="*/ 4940296 w 4940931"/>
                <a:gd name="connsiteY8" fmla="*/ 103504 h 138429"/>
                <a:gd name="connsiteX9" fmla="*/ 4937756 w 4940931"/>
                <a:gd name="connsiteY9" fmla="*/ 107314 h 138429"/>
                <a:gd name="connsiteX10" fmla="*/ 4933946 w 4940931"/>
                <a:gd name="connsiteY10" fmla="*/ 109854 h 138429"/>
                <a:gd name="connsiteX11" fmla="*/ 4929501 w 4940931"/>
                <a:gd name="connsiteY11" fmla="*/ 110489 h 138429"/>
                <a:gd name="connsiteX12" fmla="*/ 4925056 w 4940931"/>
                <a:gd name="connsiteY12" fmla="*/ 109854 h 138429"/>
                <a:gd name="connsiteX13" fmla="*/ 4921246 w 4940931"/>
                <a:gd name="connsiteY13" fmla="*/ 107314 h 138429"/>
                <a:gd name="connsiteX14" fmla="*/ 4918706 w 4940931"/>
                <a:gd name="connsiteY14" fmla="*/ 103504 h 138429"/>
                <a:gd name="connsiteX15" fmla="*/ 4918071 w 4940931"/>
                <a:gd name="connsiteY15" fmla="*/ 99059 h 138429"/>
                <a:gd name="connsiteX16" fmla="*/ 4918706 w 4940931"/>
                <a:gd name="connsiteY16" fmla="*/ 94614 h 138429"/>
                <a:gd name="connsiteX17" fmla="*/ 4921246 w 4940931"/>
                <a:gd name="connsiteY17" fmla="*/ 90804 h 138429"/>
                <a:gd name="connsiteX18" fmla="*/ 4925056 w 4940931"/>
                <a:gd name="connsiteY18" fmla="*/ 88264 h 138429"/>
                <a:gd name="connsiteX19" fmla="*/ 4929501 w 4940931"/>
                <a:gd name="connsiteY19" fmla="*/ 87629 h 138429"/>
                <a:gd name="connsiteX20" fmla="*/ 3079110 w 4940931"/>
                <a:gd name="connsiteY20" fmla="*/ 87629 h 138429"/>
                <a:gd name="connsiteX21" fmla="*/ 3083555 w 4940931"/>
                <a:gd name="connsiteY21" fmla="*/ 88264 h 138429"/>
                <a:gd name="connsiteX22" fmla="*/ 3087365 w 4940931"/>
                <a:gd name="connsiteY22" fmla="*/ 90804 h 138429"/>
                <a:gd name="connsiteX23" fmla="*/ 3089905 w 4940931"/>
                <a:gd name="connsiteY23" fmla="*/ 94614 h 138429"/>
                <a:gd name="connsiteX24" fmla="*/ 3090540 w 4940931"/>
                <a:gd name="connsiteY24" fmla="*/ 99059 h 138429"/>
                <a:gd name="connsiteX25" fmla="*/ 3089905 w 4940931"/>
                <a:gd name="connsiteY25" fmla="*/ 103504 h 138429"/>
                <a:gd name="connsiteX26" fmla="*/ 3087365 w 4940931"/>
                <a:gd name="connsiteY26" fmla="*/ 107314 h 138429"/>
                <a:gd name="connsiteX27" fmla="*/ 3083555 w 4940931"/>
                <a:gd name="connsiteY27" fmla="*/ 109854 h 138429"/>
                <a:gd name="connsiteX28" fmla="*/ 3079110 w 4940931"/>
                <a:gd name="connsiteY28" fmla="*/ 110489 h 138429"/>
                <a:gd name="connsiteX29" fmla="*/ 3074665 w 4940931"/>
                <a:gd name="connsiteY29" fmla="*/ 109854 h 138429"/>
                <a:gd name="connsiteX30" fmla="*/ 3070855 w 4940931"/>
                <a:gd name="connsiteY30" fmla="*/ 107314 h 138429"/>
                <a:gd name="connsiteX31" fmla="*/ 3068315 w 4940931"/>
                <a:gd name="connsiteY31" fmla="*/ 103504 h 138429"/>
                <a:gd name="connsiteX32" fmla="*/ 3067680 w 4940931"/>
                <a:gd name="connsiteY32" fmla="*/ 99059 h 138429"/>
                <a:gd name="connsiteX33" fmla="*/ 3068315 w 4940931"/>
                <a:gd name="connsiteY33" fmla="*/ 94614 h 138429"/>
                <a:gd name="connsiteX34" fmla="*/ 3070855 w 4940931"/>
                <a:gd name="connsiteY34" fmla="*/ 90804 h 138429"/>
                <a:gd name="connsiteX35" fmla="*/ 3074665 w 4940931"/>
                <a:gd name="connsiteY35" fmla="*/ 88264 h 138429"/>
                <a:gd name="connsiteX36" fmla="*/ 3079110 w 4940931"/>
                <a:gd name="connsiteY36" fmla="*/ 87629 h 138429"/>
                <a:gd name="connsiteX37" fmla="*/ 1565275 w 4940931"/>
                <a:gd name="connsiteY37" fmla="*/ 87629 h 138429"/>
                <a:gd name="connsiteX38" fmla="*/ 1569720 w 4940931"/>
                <a:gd name="connsiteY38" fmla="*/ 88264 h 138429"/>
                <a:gd name="connsiteX39" fmla="*/ 1573529 w 4940931"/>
                <a:gd name="connsiteY39" fmla="*/ 90804 h 138429"/>
                <a:gd name="connsiteX40" fmla="*/ 1576069 w 4940931"/>
                <a:gd name="connsiteY40" fmla="*/ 94614 h 138429"/>
                <a:gd name="connsiteX41" fmla="*/ 1576705 w 4940931"/>
                <a:gd name="connsiteY41" fmla="*/ 99059 h 138429"/>
                <a:gd name="connsiteX42" fmla="*/ 1576069 w 4940931"/>
                <a:gd name="connsiteY42" fmla="*/ 103504 h 138429"/>
                <a:gd name="connsiteX43" fmla="*/ 1573529 w 4940931"/>
                <a:gd name="connsiteY43" fmla="*/ 107314 h 138429"/>
                <a:gd name="connsiteX44" fmla="*/ 1569720 w 4940931"/>
                <a:gd name="connsiteY44" fmla="*/ 109854 h 138429"/>
                <a:gd name="connsiteX45" fmla="*/ 1565275 w 4940931"/>
                <a:gd name="connsiteY45" fmla="*/ 110489 h 138429"/>
                <a:gd name="connsiteX46" fmla="*/ 1560830 w 4940931"/>
                <a:gd name="connsiteY46" fmla="*/ 109854 h 138429"/>
                <a:gd name="connsiteX47" fmla="*/ 1557020 w 4940931"/>
                <a:gd name="connsiteY47" fmla="*/ 107314 h 138429"/>
                <a:gd name="connsiteX48" fmla="*/ 1554479 w 4940931"/>
                <a:gd name="connsiteY48" fmla="*/ 103504 h 138429"/>
                <a:gd name="connsiteX49" fmla="*/ 1553844 w 4940931"/>
                <a:gd name="connsiteY49" fmla="*/ 99059 h 138429"/>
                <a:gd name="connsiteX50" fmla="*/ 1554479 w 4940931"/>
                <a:gd name="connsiteY50" fmla="*/ 94614 h 138429"/>
                <a:gd name="connsiteX51" fmla="*/ 1557020 w 4940931"/>
                <a:gd name="connsiteY51" fmla="*/ 90804 h 138429"/>
                <a:gd name="connsiteX52" fmla="*/ 1560830 w 4940931"/>
                <a:gd name="connsiteY52" fmla="*/ 88264 h 138429"/>
                <a:gd name="connsiteX53" fmla="*/ 1565275 w 4940931"/>
                <a:gd name="connsiteY53" fmla="*/ 87629 h 138429"/>
                <a:gd name="connsiteX54" fmla="*/ 2642230 w 4940931"/>
                <a:gd name="connsiteY54" fmla="*/ 73024 h 138429"/>
                <a:gd name="connsiteX55" fmla="*/ 2630800 w 4940931"/>
                <a:gd name="connsiteY55" fmla="*/ 76199 h 138429"/>
                <a:gd name="connsiteX56" fmla="*/ 2626355 w 4940931"/>
                <a:gd name="connsiteY56" fmla="*/ 84454 h 138429"/>
                <a:gd name="connsiteX57" fmla="*/ 2627625 w 4940931"/>
                <a:gd name="connsiteY57" fmla="*/ 90169 h 138429"/>
                <a:gd name="connsiteX58" fmla="*/ 2630800 w 4940931"/>
                <a:gd name="connsiteY58" fmla="*/ 93979 h 138429"/>
                <a:gd name="connsiteX59" fmla="*/ 2635245 w 4940931"/>
                <a:gd name="connsiteY59" fmla="*/ 96519 h 138429"/>
                <a:gd name="connsiteX60" fmla="*/ 2641595 w 4940931"/>
                <a:gd name="connsiteY60" fmla="*/ 97154 h 138429"/>
                <a:gd name="connsiteX61" fmla="*/ 2647310 w 4940931"/>
                <a:gd name="connsiteY61" fmla="*/ 96519 h 138429"/>
                <a:gd name="connsiteX62" fmla="*/ 2652390 w 4940931"/>
                <a:gd name="connsiteY62" fmla="*/ 93979 h 138429"/>
                <a:gd name="connsiteX63" fmla="*/ 2656835 w 4940931"/>
                <a:gd name="connsiteY63" fmla="*/ 90804 h 138429"/>
                <a:gd name="connsiteX64" fmla="*/ 2660010 w 4940931"/>
                <a:gd name="connsiteY64" fmla="*/ 86994 h 138429"/>
                <a:gd name="connsiteX65" fmla="*/ 2660010 w 4940931"/>
                <a:gd name="connsiteY65" fmla="*/ 75564 h 138429"/>
                <a:gd name="connsiteX66" fmla="*/ 2656200 w 4940931"/>
                <a:gd name="connsiteY66" fmla="*/ 74294 h 138429"/>
                <a:gd name="connsiteX67" fmla="*/ 2652390 w 4940931"/>
                <a:gd name="connsiteY67" fmla="*/ 73659 h 138429"/>
                <a:gd name="connsiteX68" fmla="*/ 2647945 w 4940931"/>
                <a:gd name="connsiteY68" fmla="*/ 73024 h 138429"/>
                <a:gd name="connsiteX69" fmla="*/ 2642230 w 4940931"/>
                <a:gd name="connsiteY69" fmla="*/ 73024 h 138429"/>
                <a:gd name="connsiteX70" fmla="*/ 4664706 w 4940931"/>
                <a:gd name="connsiteY70" fmla="*/ 43814 h 138429"/>
                <a:gd name="connsiteX71" fmla="*/ 4657086 w 4940931"/>
                <a:gd name="connsiteY71" fmla="*/ 45719 h 138429"/>
                <a:gd name="connsiteX72" fmla="*/ 4651371 w 4940931"/>
                <a:gd name="connsiteY72" fmla="*/ 50799 h 138429"/>
                <a:gd name="connsiteX73" fmla="*/ 4647561 w 4940931"/>
                <a:gd name="connsiteY73" fmla="*/ 59054 h 138429"/>
                <a:gd name="connsiteX74" fmla="*/ 4646291 w 4940931"/>
                <a:gd name="connsiteY74" fmla="*/ 69849 h 138429"/>
                <a:gd name="connsiteX75" fmla="*/ 4647561 w 4940931"/>
                <a:gd name="connsiteY75" fmla="*/ 81279 h 138429"/>
                <a:gd name="connsiteX76" fmla="*/ 4651371 w 4940931"/>
                <a:gd name="connsiteY76" fmla="*/ 89534 h 138429"/>
                <a:gd name="connsiteX77" fmla="*/ 4657721 w 4940931"/>
                <a:gd name="connsiteY77" fmla="*/ 94614 h 138429"/>
                <a:gd name="connsiteX78" fmla="*/ 4665341 w 4940931"/>
                <a:gd name="connsiteY78" fmla="*/ 96519 h 138429"/>
                <a:gd name="connsiteX79" fmla="*/ 4672961 w 4940931"/>
                <a:gd name="connsiteY79" fmla="*/ 94614 h 138429"/>
                <a:gd name="connsiteX80" fmla="*/ 4678676 w 4940931"/>
                <a:gd name="connsiteY80" fmla="*/ 88899 h 138429"/>
                <a:gd name="connsiteX81" fmla="*/ 4682486 w 4940931"/>
                <a:gd name="connsiteY81" fmla="*/ 80644 h 138429"/>
                <a:gd name="connsiteX82" fmla="*/ 4683756 w 4940931"/>
                <a:gd name="connsiteY82" fmla="*/ 70484 h 138429"/>
                <a:gd name="connsiteX83" fmla="*/ 4684391 w 4940931"/>
                <a:gd name="connsiteY83" fmla="*/ 69849 h 138429"/>
                <a:gd name="connsiteX84" fmla="*/ 4683121 w 4940931"/>
                <a:gd name="connsiteY84" fmla="*/ 59054 h 138429"/>
                <a:gd name="connsiteX85" fmla="*/ 4679311 w 4940931"/>
                <a:gd name="connsiteY85" fmla="*/ 50799 h 138429"/>
                <a:gd name="connsiteX86" fmla="*/ 4672961 w 4940931"/>
                <a:gd name="connsiteY86" fmla="*/ 45719 h 138429"/>
                <a:gd name="connsiteX87" fmla="*/ 4664706 w 4940931"/>
                <a:gd name="connsiteY87" fmla="*/ 43814 h 138429"/>
                <a:gd name="connsiteX88" fmla="*/ 4264020 w 4940931"/>
                <a:gd name="connsiteY88" fmla="*/ 43814 h 138429"/>
                <a:gd name="connsiteX89" fmla="*/ 4256400 w 4940931"/>
                <a:gd name="connsiteY89" fmla="*/ 45719 h 138429"/>
                <a:gd name="connsiteX90" fmla="*/ 4250685 w 4940931"/>
                <a:gd name="connsiteY90" fmla="*/ 50799 h 138429"/>
                <a:gd name="connsiteX91" fmla="*/ 4246875 w 4940931"/>
                <a:gd name="connsiteY91" fmla="*/ 59054 h 138429"/>
                <a:gd name="connsiteX92" fmla="*/ 4245605 w 4940931"/>
                <a:gd name="connsiteY92" fmla="*/ 69849 h 138429"/>
                <a:gd name="connsiteX93" fmla="*/ 4246875 w 4940931"/>
                <a:gd name="connsiteY93" fmla="*/ 81279 h 138429"/>
                <a:gd name="connsiteX94" fmla="*/ 4250685 w 4940931"/>
                <a:gd name="connsiteY94" fmla="*/ 89534 h 138429"/>
                <a:gd name="connsiteX95" fmla="*/ 4257035 w 4940931"/>
                <a:gd name="connsiteY95" fmla="*/ 94614 h 138429"/>
                <a:gd name="connsiteX96" fmla="*/ 4264655 w 4940931"/>
                <a:gd name="connsiteY96" fmla="*/ 96519 h 138429"/>
                <a:gd name="connsiteX97" fmla="*/ 4272275 w 4940931"/>
                <a:gd name="connsiteY97" fmla="*/ 94614 h 138429"/>
                <a:gd name="connsiteX98" fmla="*/ 4277990 w 4940931"/>
                <a:gd name="connsiteY98" fmla="*/ 88899 h 138429"/>
                <a:gd name="connsiteX99" fmla="*/ 4281800 w 4940931"/>
                <a:gd name="connsiteY99" fmla="*/ 80644 h 138429"/>
                <a:gd name="connsiteX100" fmla="*/ 4283070 w 4940931"/>
                <a:gd name="connsiteY100" fmla="*/ 70484 h 138429"/>
                <a:gd name="connsiteX101" fmla="*/ 4283705 w 4940931"/>
                <a:gd name="connsiteY101" fmla="*/ 69849 h 138429"/>
                <a:gd name="connsiteX102" fmla="*/ 4282435 w 4940931"/>
                <a:gd name="connsiteY102" fmla="*/ 59054 h 138429"/>
                <a:gd name="connsiteX103" fmla="*/ 4278625 w 4940931"/>
                <a:gd name="connsiteY103" fmla="*/ 50799 h 138429"/>
                <a:gd name="connsiteX104" fmla="*/ 4272275 w 4940931"/>
                <a:gd name="connsiteY104" fmla="*/ 45719 h 138429"/>
                <a:gd name="connsiteX105" fmla="*/ 4264020 w 4940931"/>
                <a:gd name="connsiteY105" fmla="*/ 43814 h 138429"/>
                <a:gd name="connsiteX106" fmla="*/ 1420495 w 4940931"/>
                <a:gd name="connsiteY106" fmla="*/ 43814 h 138429"/>
                <a:gd name="connsiteX107" fmla="*/ 1412875 w 4940931"/>
                <a:gd name="connsiteY107" fmla="*/ 45719 h 138429"/>
                <a:gd name="connsiteX108" fmla="*/ 1407160 w 4940931"/>
                <a:gd name="connsiteY108" fmla="*/ 50799 h 138429"/>
                <a:gd name="connsiteX109" fmla="*/ 1403350 w 4940931"/>
                <a:gd name="connsiteY109" fmla="*/ 59054 h 138429"/>
                <a:gd name="connsiteX110" fmla="*/ 1402080 w 4940931"/>
                <a:gd name="connsiteY110" fmla="*/ 69849 h 138429"/>
                <a:gd name="connsiteX111" fmla="*/ 1403350 w 4940931"/>
                <a:gd name="connsiteY111" fmla="*/ 81279 h 138429"/>
                <a:gd name="connsiteX112" fmla="*/ 1407160 w 4940931"/>
                <a:gd name="connsiteY112" fmla="*/ 89534 h 138429"/>
                <a:gd name="connsiteX113" fmla="*/ 1413510 w 4940931"/>
                <a:gd name="connsiteY113" fmla="*/ 94614 h 138429"/>
                <a:gd name="connsiteX114" fmla="*/ 1421130 w 4940931"/>
                <a:gd name="connsiteY114" fmla="*/ 96519 h 138429"/>
                <a:gd name="connsiteX115" fmla="*/ 1428750 w 4940931"/>
                <a:gd name="connsiteY115" fmla="*/ 94614 h 138429"/>
                <a:gd name="connsiteX116" fmla="*/ 1434465 w 4940931"/>
                <a:gd name="connsiteY116" fmla="*/ 88899 h 138429"/>
                <a:gd name="connsiteX117" fmla="*/ 1438275 w 4940931"/>
                <a:gd name="connsiteY117" fmla="*/ 80644 h 138429"/>
                <a:gd name="connsiteX118" fmla="*/ 1439545 w 4940931"/>
                <a:gd name="connsiteY118" fmla="*/ 70484 h 138429"/>
                <a:gd name="connsiteX119" fmla="*/ 1440180 w 4940931"/>
                <a:gd name="connsiteY119" fmla="*/ 69849 h 138429"/>
                <a:gd name="connsiteX120" fmla="*/ 1438910 w 4940931"/>
                <a:gd name="connsiteY120" fmla="*/ 59054 h 138429"/>
                <a:gd name="connsiteX121" fmla="*/ 1435100 w 4940931"/>
                <a:gd name="connsiteY121" fmla="*/ 50799 h 138429"/>
                <a:gd name="connsiteX122" fmla="*/ 1428750 w 4940931"/>
                <a:gd name="connsiteY122" fmla="*/ 45719 h 138429"/>
                <a:gd name="connsiteX123" fmla="*/ 1420495 w 4940931"/>
                <a:gd name="connsiteY123" fmla="*/ 43814 h 138429"/>
                <a:gd name="connsiteX124" fmla="*/ 4041770 w 4940931"/>
                <a:gd name="connsiteY124" fmla="*/ 43180 h 138429"/>
                <a:gd name="connsiteX125" fmla="*/ 4034785 w 4940931"/>
                <a:gd name="connsiteY125" fmla="*/ 44450 h 138429"/>
                <a:gd name="connsiteX126" fmla="*/ 4029705 w 4940931"/>
                <a:gd name="connsiteY126" fmla="*/ 48260 h 138429"/>
                <a:gd name="connsiteX127" fmla="*/ 4025895 w 4940931"/>
                <a:gd name="connsiteY127" fmla="*/ 54610 h 138429"/>
                <a:gd name="connsiteX128" fmla="*/ 4023990 w 4940931"/>
                <a:gd name="connsiteY128" fmla="*/ 62865 h 138429"/>
                <a:gd name="connsiteX129" fmla="*/ 4060185 w 4940931"/>
                <a:gd name="connsiteY129" fmla="*/ 62865 h 138429"/>
                <a:gd name="connsiteX130" fmla="*/ 4058915 w 4940931"/>
                <a:gd name="connsiteY130" fmla="*/ 55245 h 138429"/>
                <a:gd name="connsiteX131" fmla="*/ 4055740 w 4940931"/>
                <a:gd name="connsiteY131" fmla="*/ 48895 h 138429"/>
                <a:gd name="connsiteX132" fmla="*/ 4050025 w 4940931"/>
                <a:gd name="connsiteY132" fmla="*/ 44450 h 138429"/>
                <a:gd name="connsiteX133" fmla="*/ 4041770 w 4940931"/>
                <a:gd name="connsiteY133" fmla="*/ 43180 h 138429"/>
                <a:gd name="connsiteX134" fmla="*/ 3728081 w 4940931"/>
                <a:gd name="connsiteY134" fmla="*/ 43180 h 138429"/>
                <a:gd name="connsiteX135" fmla="*/ 3721096 w 4940931"/>
                <a:gd name="connsiteY135" fmla="*/ 44450 h 138429"/>
                <a:gd name="connsiteX136" fmla="*/ 3716016 w 4940931"/>
                <a:gd name="connsiteY136" fmla="*/ 48260 h 138429"/>
                <a:gd name="connsiteX137" fmla="*/ 3712206 w 4940931"/>
                <a:gd name="connsiteY137" fmla="*/ 54610 h 138429"/>
                <a:gd name="connsiteX138" fmla="*/ 3710301 w 4940931"/>
                <a:gd name="connsiteY138" fmla="*/ 62865 h 138429"/>
                <a:gd name="connsiteX139" fmla="*/ 3746496 w 4940931"/>
                <a:gd name="connsiteY139" fmla="*/ 62865 h 138429"/>
                <a:gd name="connsiteX140" fmla="*/ 3745226 w 4940931"/>
                <a:gd name="connsiteY140" fmla="*/ 55245 h 138429"/>
                <a:gd name="connsiteX141" fmla="*/ 3742051 w 4940931"/>
                <a:gd name="connsiteY141" fmla="*/ 48895 h 138429"/>
                <a:gd name="connsiteX142" fmla="*/ 3736336 w 4940931"/>
                <a:gd name="connsiteY142" fmla="*/ 44450 h 138429"/>
                <a:gd name="connsiteX143" fmla="*/ 3728081 w 4940931"/>
                <a:gd name="connsiteY143" fmla="*/ 43180 h 138429"/>
                <a:gd name="connsiteX144" fmla="*/ 3541391 w 4940931"/>
                <a:gd name="connsiteY144" fmla="*/ 43180 h 138429"/>
                <a:gd name="connsiteX145" fmla="*/ 3534406 w 4940931"/>
                <a:gd name="connsiteY145" fmla="*/ 44450 h 138429"/>
                <a:gd name="connsiteX146" fmla="*/ 3529326 w 4940931"/>
                <a:gd name="connsiteY146" fmla="*/ 48260 h 138429"/>
                <a:gd name="connsiteX147" fmla="*/ 3525516 w 4940931"/>
                <a:gd name="connsiteY147" fmla="*/ 54610 h 138429"/>
                <a:gd name="connsiteX148" fmla="*/ 3523611 w 4940931"/>
                <a:gd name="connsiteY148" fmla="*/ 62865 h 138429"/>
                <a:gd name="connsiteX149" fmla="*/ 3559806 w 4940931"/>
                <a:gd name="connsiteY149" fmla="*/ 62865 h 138429"/>
                <a:gd name="connsiteX150" fmla="*/ 3558536 w 4940931"/>
                <a:gd name="connsiteY150" fmla="*/ 55245 h 138429"/>
                <a:gd name="connsiteX151" fmla="*/ 3555361 w 4940931"/>
                <a:gd name="connsiteY151" fmla="*/ 48895 h 138429"/>
                <a:gd name="connsiteX152" fmla="*/ 3549646 w 4940931"/>
                <a:gd name="connsiteY152" fmla="*/ 44450 h 138429"/>
                <a:gd name="connsiteX153" fmla="*/ 3541391 w 4940931"/>
                <a:gd name="connsiteY153" fmla="*/ 43180 h 138429"/>
                <a:gd name="connsiteX154" fmla="*/ 3463285 w 4940931"/>
                <a:gd name="connsiteY154" fmla="*/ 43180 h 138429"/>
                <a:gd name="connsiteX155" fmla="*/ 3458205 w 4940931"/>
                <a:gd name="connsiteY155" fmla="*/ 43815 h 138429"/>
                <a:gd name="connsiteX156" fmla="*/ 3453125 w 4940931"/>
                <a:gd name="connsiteY156" fmla="*/ 45720 h 138429"/>
                <a:gd name="connsiteX157" fmla="*/ 3448680 w 4940931"/>
                <a:gd name="connsiteY157" fmla="*/ 48895 h 138429"/>
                <a:gd name="connsiteX158" fmla="*/ 3445505 w 4940931"/>
                <a:gd name="connsiteY158" fmla="*/ 52705 h 138429"/>
                <a:gd name="connsiteX159" fmla="*/ 3445505 w 4940931"/>
                <a:gd name="connsiteY159" fmla="*/ 85725 h 138429"/>
                <a:gd name="connsiteX160" fmla="*/ 3448680 w 4940931"/>
                <a:gd name="connsiteY160" fmla="*/ 89535 h 138429"/>
                <a:gd name="connsiteX161" fmla="*/ 3453125 w 4940931"/>
                <a:gd name="connsiteY161" fmla="*/ 92710 h 138429"/>
                <a:gd name="connsiteX162" fmla="*/ 3458205 w 4940931"/>
                <a:gd name="connsiteY162" fmla="*/ 95250 h 138429"/>
                <a:gd name="connsiteX163" fmla="*/ 3463920 w 4940931"/>
                <a:gd name="connsiteY163" fmla="*/ 95885 h 138429"/>
                <a:gd name="connsiteX164" fmla="*/ 3476620 w 4940931"/>
                <a:gd name="connsiteY164" fmla="*/ 89535 h 138429"/>
                <a:gd name="connsiteX165" fmla="*/ 3481065 w 4940931"/>
                <a:gd name="connsiteY165" fmla="*/ 71120 h 138429"/>
                <a:gd name="connsiteX166" fmla="*/ 3480430 w 4940931"/>
                <a:gd name="connsiteY166" fmla="*/ 71755 h 138429"/>
                <a:gd name="connsiteX167" fmla="*/ 3475985 w 4940931"/>
                <a:gd name="connsiteY167" fmla="*/ 50165 h 138429"/>
                <a:gd name="connsiteX168" fmla="*/ 3463285 w 4940931"/>
                <a:gd name="connsiteY168" fmla="*/ 43180 h 138429"/>
                <a:gd name="connsiteX169" fmla="*/ 3343271 w 4940931"/>
                <a:gd name="connsiteY169" fmla="*/ 43180 h 138429"/>
                <a:gd name="connsiteX170" fmla="*/ 3336286 w 4940931"/>
                <a:gd name="connsiteY170" fmla="*/ 44450 h 138429"/>
                <a:gd name="connsiteX171" fmla="*/ 3331206 w 4940931"/>
                <a:gd name="connsiteY171" fmla="*/ 48260 h 138429"/>
                <a:gd name="connsiteX172" fmla="*/ 3327396 w 4940931"/>
                <a:gd name="connsiteY172" fmla="*/ 54610 h 138429"/>
                <a:gd name="connsiteX173" fmla="*/ 3325491 w 4940931"/>
                <a:gd name="connsiteY173" fmla="*/ 62865 h 138429"/>
                <a:gd name="connsiteX174" fmla="*/ 3361686 w 4940931"/>
                <a:gd name="connsiteY174" fmla="*/ 62865 h 138429"/>
                <a:gd name="connsiteX175" fmla="*/ 3360416 w 4940931"/>
                <a:gd name="connsiteY175" fmla="*/ 55245 h 138429"/>
                <a:gd name="connsiteX176" fmla="*/ 3357241 w 4940931"/>
                <a:gd name="connsiteY176" fmla="*/ 48895 h 138429"/>
                <a:gd name="connsiteX177" fmla="*/ 3351526 w 4940931"/>
                <a:gd name="connsiteY177" fmla="*/ 44450 h 138429"/>
                <a:gd name="connsiteX178" fmla="*/ 3343271 w 4940931"/>
                <a:gd name="connsiteY178" fmla="*/ 43180 h 138429"/>
                <a:gd name="connsiteX179" fmla="*/ 2976876 w 4940931"/>
                <a:gd name="connsiteY179" fmla="*/ 43180 h 138429"/>
                <a:gd name="connsiteX180" fmla="*/ 2969891 w 4940931"/>
                <a:gd name="connsiteY180" fmla="*/ 44450 h 138429"/>
                <a:gd name="connsiteX181" fmla="*/ 2964811 w 4940931"/>
                <a:gd name="connsiteY181" fmla="*/ 48260 h 138429"/>
                <a:gd name="connsiteX182" fmla="*/ 2961001 w 4940931"/>
                <a:gd name="connsiteY182" fmla="*/ 54610 h 138429"/>
                <a:gd name="connsiteX183" fmla="*/ 2959096 w 4940931"/>
                <a:gd name="connsiteY183" fmla="*/ 62865 h 138429"/>
                <a:gd name="connsiteX184" fmla="*/ 2995291 w 4940931"/>
                <a:gd name="connsiteY184" fmla="*/ 62865 h 138429"/>
                <a:gd name="connsiteX185" fmla="*/ 2994021 w 4940931"/>
                <a:gd name="connsiteY185" fmla="*/ 55245 h 138429"/>
                <a:gd name="connsiteX186" fmla="*/ 2990846 w 4940931"/>
                <a:gd name="connsiteY186" fmla="*/ 48895 h 138429"/>
                <a:gd name="connsiteX187" fmla="*/ 2985131 w 4940931"/>
                <a:gd name="connsiteY187" fmla="*/ 44450 h 138429"/>
                <a:gd name="connsiteX188" fmla="*/ 2976876 w 4940931"/>
                <a:gd name="connsiteY188" fmla="*/ 43180 h 138429"/>
                <a:gd name="connsiteX189" fmla="*/ 2527930 w 4940931"/>
                <a:gd name="connsiteY189" fmla="*/ 43180 h 138429"/>
                <a:gd name="connsiteX190" fmla="*/ 2520945 w 4940931"/>
                <a:gd name="connsiteY190" fmla="*/ 44450 h 138429"/>
                <a:gd name="connsiteX191" fmla="*/ 2515865 w 4940931"/>
                <a:gd name="connsiteY191" fmla="*/ 48260 h 138429"/>
                <a:gd name="connsiteX192" fmla="*/ 2512055 w 4940931"/>
                <a:gd name="connsiteY192" fmla="*/ 54610 h 138429"/>
                <a:gd name="connsiteX193" fmla="*/ 2510150 w 4940931"/>
                <a:gd name="connsiteY193" fmla="*/ 62865 h 138429"/>
                <a:gd name="connsiteX194" fmla="*/ 2546345 w 4940931"/>
                <a:gd name="connsiteY194" fmla="*/ 62865 h 138429"/>
                <a:gd name="connsiteX195" fmla="*/ 2545075 w 4940931"/>
                <a:gd name="connsiteY195" fmla="*/ 55245 h 138429"/>
                <a:gd name="connsiteX196" fmla="*/ 2541900 w 4940931"/>
                <a:gd name="connsiteY196" fmla="*/ 48895 h 138429"/>
                <a:gd name="connsiteX197" fmla="*/ 2536185 w 4940931"/>
                <a:gd name="connsiteY197" fmla="*/ 44450 h 138429"/>
                <a:gd name="connsiteX198" fmla="*/ 2527930 w 4940931"/>
                <a:gd name="connsiteY198" fmla="*/ 43180 h 138429"/>
                <a:gd name="connsiteX199" fmla="*/ 2214240 w 4940931"/>
                <a:gd name="connsiteY199" fmla="*/ 43180 h 138429"/>
                <a:gd name="connsiteX200" fmla="*/ 2207255 w 4940931"/>
                <a:gd name="connsiteY200" fmla="*/ 44450 h 138429"/>
                <a:gd name="connsiteX201" fmla="*/ 2202175 w 4940931"/>
                <a:gd name="connsiteY201" fmla="*/ 48260 h 138429"/>
                <a:gd name="connsiteX202" fmla="*/ 2198365 w 4940931"/>
                <a:gd name="connsiteY202" fmla="*/ 54610 h 138429"/>
                <a:gd name="connsiteX203" fmla="*/ 2196460 w 4940931"/>
                <a:gd name="connsiteY203" fmla="*/ 62865 h 138429"/>
                <a:gd name="connsiteX204" fmla="*/ 2232655 w 4940931"/>
                <a:gd name="connsiteY204" fmla="*/ 62865 h 138429"/>
                <a:gd name="connsiteX205" fmla="*/ 2231385 w 4940931"/>
                <a:gd name="connsiteY205" fmla="*/ 55245 h 138429"/>
                <a:gd name="connsiteX206" fmla="*/ 2228210 w 4940931"/>
                <a:gd name="connsiteY206" fmla="*/ 48895 h 138429"/>
                <a:gd name="connsiteX207" fmla="*/ 2222495 w 4940931"/>
                <a:gd name="connsiteY207" fmla="*/ 44450 h 138429"/>
                <a:gd name="connsiteX208" fmla="*/ 2214240 w 4940931"/>
                <a:gd name="connsiteY208" fmla="*/ 43180 h 138429"/>
                <a:gd name="connsiteX209" fmla="*/ 2027551 w 4940931"/>
                <a:gd name="connsiteY209" fmla="*/ 43180 h 138429"/>
                <a:gd name="connsiteX210" fmla="*/ 2020566 w 4940931"/>
                <a:gd name="connsiteY210" fmla="*/ 44450 h 138429"/>
                <a:gd name="connsiteX211" fmla="*/ 2015486 w 4940931"/>
                <a:gd name="connsiteY211" fmla="*/ 48260 h 138429"/>
                <a:gd name="connsiteX212" fmla="*/ 2011676 w 4940931"/>
                <a:gd name="connsiteY212" fmla="*/ 54610 h 138429"/>
                <a:gd name="connsiteX213" fmla="*/ 2009771 w 4940931"/>
                <a:gd name="connsiteY213" fmla="*/ 62865 h 138429"/>
                <a:gd name="connsiteX214" fmla="*/ 2045966 w 4940931"/>
                <a:gd name="connsiteY214" fmla="*/ 62865 h 138429"/>
                <a:gd name="connsiteX215" fmla="*/ 2044696 w 4940931"/>
                <a:gd name="connsiteY215" fmla="*/ 55245 h 138429"/>
                <a:gd name="connsiteX216" fmla="*/ 2041521 w 4940931"/>
                <a:gd name="connsiteY216" fmla="*/ 48895 h 138429"/>
                <a:gd name="connsiteX217" fmla="*/ 2035806 w 4940931"/>
                <a:gd name="connsiteY217" fmla="*/ 44450 h 138429"/>
                <a:gd name="connsiteX218" fmla="*/ 2027551 w 4940931"/>
                <a:gd name="connsiteY218" fmla="*/ 43180 h 138429"/>
                <a:gd name="connsiteX219" fmla="*/ 1949445 w 4940931"/>
                <a:gd name="connsiteY219" fmla="*/ 43180 h 138429"/>
                <a:gd name="connsiteX220" fmla="*/ 1944365 w 4940931"/>
                <a:gd name="connsiteY220" fmla="*/ 43815 h 138429"/>
                <a:gd name="connsiteX221" fmla="*/ 1939285 w 4940931"/>
                <a:gd name="connsiteY221" fmla="*/ 45720 h 138429"/>
                <a:gd name="connsiteX222" fmla="*/ 1934840 w 4940931"/>
                <a:gd name="connsiteY222" fmla="*/ 48895 h 138429"/>
                <a:gd name="connsiteX223" fmla="*/ 1931665 w 4940931"/>
                <a:gd name="connsiteY223" fmla="*/ 52705 h 138429"/>
                <a:gd name="connsiteX224" fmla="*/ 1931665 w 4940931"/>
                <a:gd name="connsiteY224" fmla="*/ 85725 h 138429"/>
                <a:gd name="connsiteX225" fmla="*/ 1934840 w 4940931"/>
                <a:gd name="connsiteY225" fmla="*/ 89535 h 138429"/>
                <a:gd name="connsiteX226" fmla="*/ 1939285 w 4940931"/>
                <a:gd name="connsiteY226" fmla="*/ 92710 h 138429"/>
                <a:gd name="connsiteX227" fmla="*/ 1944365 w 4940931"/>
                <a:gd name="connsiteY227" fmla="*/ 95250 h 138429"/>
                <a:gd name="connsiteX228" fmla="*/ 1950080 w 4940931"/>
                <a:gd name="connsiteY228" fmla="*/ 95885 h 138429"/>
                <a:gd name="connsiteX229" fmla="*/ 1962780 w 4940931"/>
                <a:gd name="connsiteY229" fmla="*/ 89535 h 138429"/>
                <a:gd name="connsiteX230" fmla="*/ 1967225 w 4940931"/>
                <a:gd name="connsiteY230" fmla="*/ 71120 h 138429"/>
                <a:gd name="connsiteX231" fmla="*/ 1966590 w 4940931"/>
                <a:gd name="connsiteY231" fmla="*/ 71755 h 138429"/>
                <a:gd name="connsiteX232" fmla="*/ 1962145 w 4940931"/>
                <a:gd name="connsiteY232" fmla="*/ 50165 h 138429"/>
                <a:gd name="connsiteX233" fmla="*/ 1949445 w 4940931"/>
                <a:gd name="connsiteY233" fmla="*/ 43180 h 138429"/>
                <a:gd name="connsiteX234" fmla="*/ 1829431 w 4940931"/>
                <a:gd name="connsiteY234" fmla="*/ 43180 h 138429"/>
                <a:gd name="connsiteX235" fmla="*/ 1822446 w 4940931"/>
                <a:gd name="connsiteY235" fmla="*/ 44450 h 138429"/>
                <a:gd name="connsiteX236" fmla="*/ 1817366 w 4940931"/>
                <a:gd name="connsiteY236" fmla="*/ 48260 h 138429"/>
                <a:gd name="connsiteX237" fmla="*/ 1813556 w 4940931"/>
                <a:gd name="connsiteY237" fmla="*/ 54610 h 138429"/>
                <a:gd name="connsiteX238" fmla="*/ 1811651 w 4940931"/>
                <a:gd name="connsiteY238" fmla="*/ 62865 h 138429"/>
                <a:gd name="connsiteX239" fmla="*/ 1847846 w 4940931"/>
                <a:gd name="connsiteY239" fmla="*/ 62865 h 138429"/>
                <a:gd name="connsiteX240" fmla="*/ 1846576 w 4940931"/>
                <a:gd name="connsiteY240" fmla="*/ 55245 h 138429"/>
                <a:gd name="connsiteX241" fmla="*/ 1843401 w 4940931"/>
                <a:gd name="connsiteY241" fmla="*/ 48895 h 138429"/>
                <a:gd name="connsiteX242" fmla="*/ 1837686 w 4940931"/>
                <a:gd name="connsiteY242" fmla="*/ 44450 h 138429"/>
                <a:gd name="connsiteX243" fmla="*/ 1829431 w 4940931"/>
                <a:gd name="connsiteY243" fmla="*/ 43180 h 138429"/>
                <a:gd name="connsiteX244" fmla="*/ 1178561 w 4940931"/>
                <a:gd name="connsiteY244" fmla="*/ 43180 h 138429"/>
                <a:gd name="connsiteX245" fmla="*/ 1171576 w 4940931"/>
                <a:gd name="connsiteY245" fmla="*/ 44450 h 138429"/>
                <a:gd name="connsiteX246" fmla="*/ 1166496 w 4940931"/>
                <a:gd name="connsiteY246" fmla="*/ 48260 h 138429"/>
                <a:gd name="connsiteX247" fmla="*/ 1162686 w 4940931"/>
                <a:gd name="connsiteY247" fmla="*/ 54610 h 138429"/>
                <a:gd name="connsiteX248" fmla="*/ 1160781 w 4940931"/>
                <a:gd name="connsiteY248" fmla="*/ 62865 h 138429"/>
                <a:gd name="connsiteX249" fmla="*/ 1196976 w 4940931"/>
                <a:gd name="connsiteY249" fmla="*/ 62865 h 138429"/>
                <a:gd name="connsiteX250" fmla="*/ 1195706 w 4940931"/>
                <a:gd name="connsiteY250" fmla="*/ 55245 h 138429"/>
                <a:gd name="connsiteX251" fmla="*/ 1192531 w 4940931"/>
                <a:gd name="connsiteY251" fmla="*/ 48895 h 138429"/>
                <a:gd name="connsiteX252" fmla="*/ 1186816 w 4940931"/>
                <a:gd name="connsiteY252" fmla="*/ 44450 h 138429"/>
                <a:gd name="connsiteX253" fmla="*/ 1178561 w 4940931"/>
                <a:gd name="connsiteY253" fmla="*/ 43180 h 138429"/>
                <a:gd name="connsiteX254" fmla="*/ 898525 w 4940931"/>
                <a:gd name="connsiteY254" fmla="*/ 43180 h 138429"/>
                <a:gd name="connsiteX255" fmla="*/ 891540 w 4940931"/>
                <a:gd name="connsiteY255" fmla="*/ 44450 h 138429"/>
                <a:gd name="connsiteX256" fmla="*/ 886460 w 4940931"/>
                <a:gd name="connsiteY256" fmla="*/ 48260 h 138429"/>
                <a:gd name="connsiteX257" fmla="*/ 882650 w 4940931"/>
                <a:gd name="connsiteY257" fmla="*/ 54610 h 138429"/>
                <a:gd name="connsiteX258" fmla="*/ 880745 w 4940931"/>
                <a:gd name="connsiteY258" fmla="*/ 62865 h 138429"/>
                <a:gd name="connsiteX259" fmla="*/ 916940 w 4940931"/>
                <a:gd name="connsiteY259" fmla="*/ 62865 h 138429"/>
                <a:gd name="connsiteX260" fmla="*/ 915670 w 4940931"/>
                <a:gd name="connsiteY260" fmla="*/ 55245 h 138429"/>
                <a:gd name="connsiteX261" fmla="*/ 912495 w 4940931"/>
                <a:gd name="connsiteY261" fmla="*/ 48895 h 138429"/>
                <a:gd name="connsiteX262" fmla="*/ 906780 w 4940931"/>
                <a:gd name="connsiteY262" fmla="*/ 44450 h 138429"/>
                <a:gd name="connsiteX263" fmla="*/ 898525 w 4940931"/>
                <a:gd name="connsiteY263" fmla="*/ 43180 h 138429"/>
                <a:gd name="connsiteX264" fmla="*/ 584834 w 4940931"/>
                <a:gd name="connsiteY264" fmla="*/ 43180 h 138429"/>
                <a:gd name="connsiteX265" fmla="*/ 577849 w 4940931"/>
                <a:gd name="connsiteY265" fmla="*/ 44450 h 138429"/>
                <a:gd name="connsiteX266" fmla="*/ 572769 w 4940931"/>
                <a:gd name="connsiteY266" fmla="*/ 48260 h 138429"/>
                <a:gd name="connsiteX267" fmla="*/ 568959 w 4940931"/>
                <a:gd name="connsiteY267" fmla="*/ 54610 h 138429"/>
                <a:gd name="connsiteX268" fmla="*/ 567054 w 4940931"/>
                <a:gd name="connsiteY268" fmla="*/ 62865 h 138429"/>
                <a:gd name="connsiteX269" fmla="*/ 603249 w 4940931"/>
                <a:gd name="connsiteY269" fmla="*/ 62865 h 138429"/>
                <a:gd name="connsiteX270" fmla="*/ 601979 w 4940931"/>
                <a:gd name="connsiteY270" fmla="*/ 55245 h 138429"/>
                <a:gd name="connsiteX271" fmla="*/ 598804 w 4940931"/>
                <a:gd name="connsiteY271" fmla="*/ 48895 h 138429"/>
                <a:gd name="connsiteX272" fmla="*/ 593089 w 4940931"/>
                <a:gd name="connsiteY272" fmla="*/ 44450 h 138429"/>
                <a:gd name="connsiteX273" fmla="*/ 584834 w 4940931"/>
                <a:gd name="connsiteY273" fmla="*/ 43180 h 138429"/>
                <a:gd name="connsiteX274" fmla="*/ 398145 w 4940931"/>
                <a:gd name="connsiteY274" fmla="*/ 43180 h 138429"/>
                <a:gd name="connsiteX275" fmla="*/ 391160 w 4940931"/>
                <a:gd name="connsiteY275" fmla="*/ 44450 h 138429"/>
                <a:gd name="connsiteX276" fmla="*/ 386080 w 4940931"/>
                <a:gd name="connsiteY276" fmla="*/ 48260 h 138429"/>
                <a:gd name="connsiteX277" fmla="*/ 382270 w 4940931"/>
                <a:gd name="connsiteY277" fmla="*/ 54610 h 138429"/>
                <a:gd name="connsiteX278" fmla="*/ 380365 w 4940931"/>
                <a:gd name="connsiteY278" fmla="*/ 62865 h 138429"/>
                <a:gd name="connsiteX279" fmla="*/ 416560 w 4940931"/>
                <a:gd name="connsiteY279" fmla="*/ 62865 h 138429"/>
                <a:gd name="connsiteX280" fmla="*/ 415290 w 4940931"/>
                <a:gd name="connsiteY280" fmla="*/ 55245 h 138429"/>
                <a:gd name="connsiteX281" fmla="*/ 412115 w 4940931"/>
                <a:gd name="connsiteY281" fmla="*/ 48895 h 138429"/>
                <a:gd name="connsiteX282" fmla="*/ 406400 w 4940931"/>
                <a:gd name="connsiteY282" fmla="*/ 44450 h 138429"/>
                <a:gd name="connsiteX283" fmla="*/ 398145 w 4940931"/>
                <a:gd name="connsiteY283" fmla="*/ 43180 h 138429"/>
                <a:gd name="connsiteX284" fmla="*/ 320039 w 4940931"/>
                <a:gd name="connsiteY284" fmla="*/ 43180 h 138429"/>
                <a:gd name="connsiteX285" fmla="*/ 314959 w 4940931"/>
                <a:gd name="connsiteY285" fmla="*/ 43815 h 138429"/>
                <a:gd name="connsiteX286" fmla="*/ 309879 w 4940931"/>
                <a:gd name="connsiteY286" fmla="*/ 45720 h 138429"/>
                <a:gd name="connsiteX287" fmla="*/ 305434 w 4940931"/>
                <a:gd name="connsiteY287" fmla="*/ 48895 h 138429"/>
                <a:gd name="connsiteX288" fmla="*/ 302259 w 4940931"/>
                <a:gd name="connsiteY288" fmla="*/ 52705 h 138429"/>
                <a:gd name="connsiteX289" fmla="*/ 302259 w 4940931"/>
                <a:gd name="connsiteY289" fmla="*/ 85725 h 138429"/>
                <a:gd name="connsiteX290" fmla="*/ 305434 w 4940931"/>
                <a:gd name="connsiteY290" fmla="*/ 89535 h 138429"/>
                <a:gd name="connsiteX291" fmla="*/ 309879 w 4940931"/>
                <a:gd name="connsiteY291" fmla="*/ 92710 h 138429"/>
                <a:gd name="connsiteX292" fmla="*/ 314959 w 4940931"/>
                <a:gd name="connsiteY292" fmla="*/ 95250 h 138429"/>
                <a:gd name="connsiteX293" fmla="*/ 320674 w 4940931"/>
                <a:gd name="connsiteY293" fmla="*/ 95885 h 138429"/>
                <a:gd name="connsiteX294" fmla="*/ 333374 w 4940931"/>
                <a:gd name="connsiteY294" fmla="*/ 89535 h 138429"/>
                <a:gd name="connsiteX295" fmla="*/ 337819 w 4940931"/>
                <a:gd name="connsiteY295" fmla="*/ 71120 h 138429"/>
                <a:gd name="connsiteX296" fmla="*/ 337184 w 4940931"/>
                <a:gd name="connsiteY296" fmla="*/ 71755 h 138429"/>
                <a:gd name="connsiteX297" fmla="*/ 332739 w 4940931"/>
                <a:gd name="connsiteY297" fmla="*/ 50165 h 138429"/>
                <a:gd name="connsiteX298" fmla="*/ 320039 w 4940931"/>
                <a:gd name="connsiteY298" fmla="*/ 43180 h 138429"/>
                <a:gd name="connsiteX299" fmla="*/ 200025 w 4940931"/>
                <a:gd name="connsiteY299" fmla="*/ 43180 h 138429"/>
                <a:gd name="connsiteX300" fmla="*/ 193040 w 4940931"/>
                <a:gd name="connsiteY300" fmla="*/ 44450 h 138429"/>
                <a:gd name="connsiteX301" fmla="*/ 187960 w 4940931"/>
                <a:gd name="connsiteY301" fmla="*/ 48260 h 138429"/>
                <a:gd name="connsiteX302" fmla="*/ 184150 w 4940931"/>
                <a:gd name="connsiteY302" fmla="*/ 54610 h 138429"/>
                <a:gd name="connsiteX303" fmla="*/ 182245 w 4940931"/>
                <a:gd name="connsiteY303" fmla="*/ 62865 h 138429"/>
                <a:gd name="connsiteX304" fmla="*/ 218440 w 4940931"/>
                <a:gd name="connsiteY304" fmla="*/ 62865 h 138429"/>
                <a:gd name="connsiteX305" fmla="*/ 217170 w 4940931"/>
                <a:gd name="connsiteY305" fmla="*/ 55245 h 138429"/>
                <a:gd name="connsiteX306" fmla="*/ 213995 w 4940931"/>
                <a:gd name="connsiteY306" fmla="*/ 48895 h 138429"/>
                <a:gd name="connsiteX307" fmla="*/ 208280 w 4940931"/>
                <a:gd name="connsiteY307" fmla="*/ 44450 h 138429"/>
                <a:gd name="connsiteX308" fmla="*/ 200025 w 4940931"/>
                <a:gd name="connsiteY308" fmla="*/ 43180 h 138429"/>
                <a:gd name="connsiteX309" fmla="*/ 4439281 w 4940931"/>
                <a:gd name="connsiteY309" fmla="*/ 43179 h 138429"/>
                <a:gd name="connsiteX310" fmla="*/ 4426581 w 4940931"/>
                <a:gd name="connsiteY310" fmla="*/ 49529 h 138429"/>
                <a:gd name="connsiteX311" fmla="*/ 4422136 w 4940931"/>
                <a:gd name="connsiteY311" fmla="*/ 67944 h 138429"/>
                <a:gd name="connsiteX312" fmla="*/ 4423406 w 4940931"/>
                <a:gd name="connsiteY312" fmla="*/ 80644 h 138429"/>
                <a:gd name="connsiteX313" fmla="*/ 4426581 w 4940931"/>
                <a:gd name="connsiteY313" fmla="*/ 89534 h 138429"/>
                <a:gd name="connsiteX314" fmla="*/ 4432296 w 4940931"/>
                <a:gd name="connsiteY314" fmla="*/ 94614 h 138429"/>
                <a:gd name="connsiteX315" fmla="*/ 4439916 w 4940931"/>
                <a:gd name="connsiteY315" fmla="*/ 96519 h 138429"/>
                <a:gd name="connsiteX316" fmla="*/ 4444996 w 4940931"/>
                <a:gd name="connsiteY316" fmla="*/ 95884 h 138429"/>
                <a:gd name="connsiteX317" fmla="*/ 4450076 w 4940931"/>
                <a:gd name="connsiteY317" fmla="*/ 93344 h 138429"/>
                <a:gd name="connsiteX318" fmla="*/ 4454521 w 4940931"/>
                <a:gd name="connsiteY318" fmla="*/ 90169 h 138429"/>
                <a:gd name="connsiteX319" fmla="*/ 4457696 w 4940931"/>
                <a:gd name="connsiteY319" fmla="*/ 86359 h 138429"/>
                <a:gd name="connsiteX320" fmla="*/ 4457696 w 4940931"/>
                <a:gd name="connsiteY320" fmla="*/ 53339 h 138429"/>
                <a:gd name="connsiteX321" fmla="*/ 4454521 w 4940931"/>
                <a:gd name="connsiteY321" fmla="*/ 49529 h 138429"/>
                <a:gd name="connsiteX322" fmla="*/ 4450076 w 4940931"/>
                <a:gd name="connsiteY322" fmla="*/ 46354 h 138429"/>
                <a:gd name="connsiteX323" fmla="*/ 4444996 w 4940931"/>
                <a:gd name="connsiteY323" fmla="*/ 43814 h 138429"/>
                <a:gd name="connsiteX324" fmla="*/ 4439281 w 4940931"/>
                <a:gd name="connsiteY324" fmla="*/ 43179 h 138429"/>
                <a:gd name="connsiteX325" fmla="*/ 1014731 w 4940931"/>
                <a:gd name="connsiteY325" fmla="*/ 43179 h 138429"/>
                <a:gd name="connsiteX326" fmla="*/ 1002032 w 4940931"/>
                <a:gd name="connsiteY326" fmla="*/ 49529 h 138429"/>
                <a:gd name="connsiteX327" fmla="*/ 997587 w 4940931"/>
                <a:gd name="connsiteY327" fmla="*/ 67944 h 138429"/>
                <a:gd name="connsiteX328" fmla="*/ 1002032 w 4940931"/>
                <a:gd name="connsiteY328" fmla="*/ 88899 h 138429"/>
                <a:gd name="connsiteX329" fmla="*/ 1015367 w 4940931"/>
                <a:gd name="connsiteY329" fmla="*/ 95884 h 138429"/>
                <a:gd name="connsiteX330" fmla="*/ 1024891 w 4940931"/>
                <a:gd name="connsiteY330" fmla="*/ 93344 h 138429"/>
                <a:gd name="connsiteX331" fmla="*/ 1033147 w 4940931"/>
                <a:gd name="connsiteY331" fmla="*/ 86359 h 138429"/>
                <a:gd name="connsiteX332" fmla="*/ 1033147 w 4940931"/>
                <a:gd name="connsiteY332" fmla="*/ 53339 h 138429"/>
                <a:gd name="connsiteX333" fmla="*/ 1029971 w 4940931"/>
                <a:gd name="connsiteY333" fmla="*/ 49529 h 138429"/>
                <a:gd name="connsiteX334" fmla="*/ 1025526 w 4940931"/>
                <a:gd name="connsiteY334" fmla="*/ 46354 h 138429"/>
                <a:gd name="connsiteX335" fmla="*/ 1020446 w 4940931"/>
                <a:gd name="connsiteY335" fmla="*/ 43814 h 138429"/>
                <a:gd name="connsiteX336" fmla="*/ 1014731 w 4940931"/>
                <a:gd name="connsiteY336" fmla="*/ 43179 h 138429"/>
                <a:gd name="connsiteX337" fmla="*/ 4524370 w 4940931"/>
                <a:gd name="connsiteY337" fmla="*/ 31114 h 138429"/>
                <a:gd name="connsiteX338" fmla="*/ 4538975 w 4940931"/>
                <a:gd name="connsiteY338" fmla="*/ 31114 h 138429"/>
                <a:gd name="connsiteX339" fmla="*/ 4552310 w 4940931"/>
                <a:gd name="connsiteY339" fmla="*/ 84454 h 138429"/>
                <a:gd name="connsiteX340" fmla="*/ 4566915 w 4940931"/>
                <a:gd name="connsiteY340" fmla="*/ 31114 h 138429"/>
                <a:gd name="connsiteX341" fmla="*/ 4579615 w 4940931"/>
                <a:gd name="connsiteY341" fmla="*/ 31114 h 138429"/>
                <a:gd name="connsiteX342" fmla="*/ 4594220 w 4940931"/>
                <a:gd name="connsiteY342" fmla="*/ 84454 h 138429"/>
                <a:gd name="connsiteX343" fmla="*/ 4606920 w 4940931"/>
                <a:gd name="connsiteY343" fmla="*/ 31114 h 138429"/>
                <a:gd name="connsiteX344" fmla="*/ 4622160 w 4940931"/>
                <a:gd name="connsiteY344" fmla="*/ 31114 h 138429"/>
                <a:gd name="connsiteX345" fmla="*/ 4600570 w 4940931"/>
                <a:gd name="connsiteY345" fmla="*/ 108584 h 138429"/>
                <a:gd name="connsiteX346" fmla="*/ 4587235 w 4940931"/>
                <a:gd name="connsiteY346" fmla="*/ 108584 h 138429"/>
                <a:gd name="connsiteX347" fmla="*/ 4572630 w 4940931"/>
                <a:gd name="connsiteY347" fmla="*/ 54609 h 138429"/>
                <a:gd name="connsiteX348" fmla="*/ 4558660 w 4940931"/>
                <a:gd name="connsiteY348" fmla="*/ 108584 h 138429"/>
                <a:gd name="connsiteX349" fmla="*/ 4545325 w 4940931"/>
                <a:gd name="connsiteY349" fmla="*/ 108584 h 138429"/>
                <a:gd name="connsiteX350" fmla="*/ 4123686 w 4940931"/>
                <a:gd name="connsiteY350" fmla="*/ 31114 h 138429"/>
                <a:gd name="connsiteX351" fmla="*/ 4138926 w 4940931"/>
                <a:gd name="connsiteY351" fmla="*/ 31114 h 138429"/>
                <a:gd name="connsiteX352" fmla="*/ 4152261 w 4940931"/>
                <a:gd name="connsiteY352" fmla="*/ 84454 h 138429"/>
                <a:gd name="connsiteX353" fmla="*/ 4166866 w 4940931"/>
                <a:gd name="connsiteY353" fmla="*/ 31114 h 138429"/>
                <a:gd name="connsiteX354" fmla="*/ 4178931 w 4940931"/>
                <a:gd name="connsiteY354" fmla="*/ 31114 h 138429"/>
                <a:gd name="connsiteX355" fmla="*/ 4193536 w 4940931"/>
                <a:gd name="connsiteY355" fmla="*/ 84454 h 138429"/>
                <a:gd name="connsiteX356" fmla="*/ 4206871 w 4940931"/>
                <a:gd name="connsiteY356" fmla="*/ 31114 h 138429"/>
                <a:gd name="connsiteX357" fmla="*/ 4222111 w 4940931"/>
                <a:gd name="connsiteY357" fmla="*/ 31114 h 138429"/>
                <a:gd name="connsiteX358" fmla="*/ 4200521 w 4940931"/>
                <a:gd name="connsiteY358" fmla="*/ 108584 h 138429"/>
                <a:gd name="connsiteX359" fmla="*/ 4187186 w 4940931"/>
                <a:gd name="connsiteY359" fmla="*/ 108584 h 138429"/>
                <a:gd name="connsiteX360" fmla="*/ 4172581 w 4940931"/>
                <a:gd name="connsiteY360" fmla="*/ 54609 h 138429"/>
                <a:gd name="connsiteX361" fmla="*/ 4157976 w 4940931"/>
                <a:gd name="connsiteY361" fmla="*/ 108584 h 138429"/>
                <a:gd name="connsiteX362" fmla="*/ 4145276 w 4940931"/>
                <a:gd name="connsiteY362" fmla="*/ 108584 h 138429"/>
                <a:gd name="connsiteX363" fmla="*/ 2837811 w 4940931"/>
                <a:gd name="connsiteY363" fmla="*/ 31114 h 138429"/>
                <a:gd name="connsiteX364" fmla="*/ 2852416 w 4940931"/>
                <a:gd name="connsiteY364" fmla="*/ 31114 h 138429"/>
                <a:gd name="connsiteX365" fmla="*/ 2865751 w 4940931"/>
                <a:gd name="connsiteY365" fmla="*/ 84454 h 138429"/>
                <a:gd name="connsiteX366" fmla="*/ 2880356 w 4940931"/>
                <a:gd name="connsiteY366" fmla="*/ 31114 h 138429"/>
                <a:gd name="connsiteX367" fmla="*/ 2893056 w 4940931"/>
                <a:gd name="connsiteY367" fmla="*/ 31114 h 138429"/>
                <a:gd name="connsiteX368" fmla="*/ 2907661 w 4940931"/>
                <a:gd name="connsiteY368" fmla="*/ 84454 h 138429"/>
                <a:gd name="connsiteX369" fmla="*/ 2920361 w 4940931"/>
                <a:gd name="connsiteY369" fmla="*/ 31114 h 138429"/>
                <a:gd name="connsiteX370" fmla="*/ 2935601 w 4940931"/>
                <a:gd name="connsiteY370" fmla="*/ 31114 h 138429"/>
                <a:gd name="connsiteX371" fmla="*/ 2914011 w 4940931"/>
                <a:gd name="connsiteY371" fmla="*/ 108584 h 138429"/>
                <a:gd name="connsiteX372" fmla="*/ 2900676 w 4940931"/>
                <a:gd name="connsiteY372" fmla="*/ 108584 h 138429"/>
                <a:gd name="connsiteX373" fmla="*/ 2886706 w 4940931"/>
                <a:gd name="connsiteY373" fmla="*/ 54609 h 138429"/>
                <a:gd name="connsiteX374" fmla="*/ 2872101 w 4940931"/>
                <a:gd name="connsiteY374" fmla="*/ 108584 h 138429"/>
                <a:gd name="connsiteX375" fmla="*/ 2858766 w 4940931"/>
                <a:gd name="connsiteY375" fmla="*/ 108584 h 138429"/>
                <a:gd name="connsiteX376" fmla="*/ 1354455 w 4940931"/>
                <a:gd name="connsiteY376" fmla="*/ 31114 h 138429"/>
                <a:gd name="connsiteX377" fmla="*/ 1369695 w 4940931"/>
                <a:gd name="connsiteY377" fmla="*/ 31114 h 138429"/>
                <a:gd name="connsiteX378" fmla="*/ 1369695 w 4940931"/>
                <a:gd name="connsiteY378" fmla="*/ 109219 h 138429"/>
                <a:gd name="connsiteX379" fmla="*/ 1354455 w 4940931"/>
                <a:gd name="connsiteY379" fmla="*/ 109219 h 138429"/>
                <a:gd name="connsiteX380" fmla="*/ 2646040 w 4940931"/>
                <a:gd name="connsiteY380" fmla="*/ 29844 h 138429"/>
                <a:gd name="connsiteX381" fmla="*/ 2658105 w 4940931"/>
                <a:gd name="connsiteY381" fmla="*/ 31749 h 138429"/>
                <a:gd name="connsiteX382" fmla="*/ 2667630 w 4940931"/>
                <a:gd name="connsiteY382" fmla="*/ 36829 h 138429"/>
                <a:gd name="connsiteX383" fmla="*/ 2673345 w 4940931"/>
                <a:gd name="connsiteY383" fmla="*/ 45084 h 138429"/>
                <a:gd name="connsiteX384" fmla="*/ 2675250 w 4940931"/>
                <a:gd name="connsiteY384" fmla="*/ 56514 h 138429"/>
                <a:gd name="connsiteX385" fmla="*/ 2675250 w 4940931"/>
                <a:gd name="connsiteY385" fmla="*/ 109854 h 138429"/>
                <a:gd name="connsiteX386" fmla="*/ 2660010 w 4940931"/>
                <a:gd name="connsiteY386" fmla="*/ 109854 h 138429"/>
                <a:gd name="connsiteX387" fmla="*/ 2660010 w 4940931"/>
                <a:gd name="connsiteY387" fmla="*/ 108584 h 138429"/>
                <a:gd name="connsiteX388" fmla="*/ 2660010 w 4940931"/>
                <a:gd name="connsiteY388" fmla="*/ 100964 h 138429"/>
                <a:gd name="connsiteX389" fmla="*/ 2654930 w 4940931"/>
                <a:gd name="connsiteY389" fmla="*/ 104774 h 138429"/>
                <a:gd name="connsiteX390" fmla="*/ 2651120 w 4940931"/>
                <a:gd name="connsiteY390" fmla="*/ 107314 h 138429"/>
                <a:gd name="connsiteX391" fmla="*/ 2646040 w 4940931"/>
                <a:gd name="connsiteY391" fmla="*/ 109219 h 138429"/>
                <a:gd name="connsiteX392" fmla="*/ 2639055 w 4940931"/>
                <a:gd name="connsiteY392" fmla="*/ 109854 h 138429"/>
                <a:gd name="connsiteX393" fmla="*/ 2629530 w 4940931"/>
                <a:gd name="connsiteY393" fmla="*/ 108584 h 138429"/>
                <a:gd name="connsiteX394" fmla="*/ 2620640 w 4940931"/>
                <a:gd name="connsiteY394" fmla="*/ 104139 h 138429"/>
                <a:gd name="connsiteX395" fmla="*/ 2614290 w 4940931"/>
                <a:gd name="connsiteY395" fmla="*/ 95884 h 138429"/>
                <a:gd name="connsiteX396" fmla="*/ 2611750 w 4940931"/>
                <a:gd name="connsiteY396" fmla="*/ 83819 h 138429"/>
                <a:gd name="connsiteX397" fmla="*/ 2614290 w 4940931"/>
                <a:gd name="connsiteY397" fmla="*/ 72389 h 138429"/>
                <a:gd name="connsiteX398" fmla="*/ 2620640 w 4940931"/>
                <a:gd name="connsiteY398" fmla="*/ 64769 h 138429"/>
                <a:gd name="connsiteX399" fmla="*/ 2630800 w 4940931"/>
                <a:gd name="connsiteY399" fmla="*/ 60324 h 138429"/>
                <a:gd name="connsiteX400" fmla="*/ 2642865 w 4940931"/>
                <a:gd name="connsiteY400" fmla="*/ 59054 h 138429"/>
                <a:gd name="connsiteX401" fmla="*/ 2653025 w 4940931"/>
                <a:gd name="connsiteY401" fmla="*/ 59689 h 138429"/>
                <a:gd name="connsiteX402" fmla="*/ 2660010 w 4940931"/>
                <a:gd name="connsiteY402" fmla="*/ 61594 h 138429"/>
                <a:gd name="connsiteX403" fmla="*/ 2660010 w 4940931"/>
                <a:gd name="connsiteY403" fmla="*/ 55879 h 138429"/>
                <a:gd name="connsiteX404" fmla="*/ 2656200 w 4940931"/>
                <a:gd name="connsiteY404" fmla="*/ 46354 h 138429"/>
                <a:gd name="connsiteX405" fmla="*/ 2645405 w 4940931"/>
                <a:gd name="connsiteY405" fmla="*/ 43179 h 138429"/>
                <a:gd name="connsiteX406" fmla="*/ 2634610 w 4940931"/>
                <a:gd name="connsiteY406" fmla="*/ 44449 h 138429"/>
                <a:gd name="connsiteX407" fmla="*/ 2625085 w 4940931"/>
                <a:gd name="connsiteY407" fmla="*/ 48259 h 138429"/>
                <a:gd name="connsiteX408" fmla="*/ 2619370 w 4940931"/>
                <a:gd name="connsiteY408" fmla="*/ 36829 h 138429"/>
                <a:gd name="connsiteX409" fmla="*/ 2631435 w 4940931"/>
                <a:gd name="connsiteY409" fmla="*/ 31749 h 138429"/>
                <a:gd name="connsiteX410" fmla="*/ 2646040 w 4940931"/>
                <a:gd name="connsiteY410" fmla="*/ 29844 h 138429"/>
                <a:gd name="connsiteX411" fmla="*/ 1114426 w 4940931"/>
                <a:gd name="connsiteY411" fmla="*/ 29844 h 138429"/>
                <a:gd name="connsiteX412" fmla="*/ 1129666 w 4940931"/>
                <a:gd name="connsiteY412" fmla="*/ 29844 h 138429"/>
                <a:gd name="connsiteX413" fmla="*/ 1129666 w 4940931"/>
                <a:gd name="connsiteY413" fmla="*/ 107949 h 138429"/>
                <a:gd name="connsiteX414" fmla="*/ 1114426 w 4940931"/>
                <a:gd name="connsiteY414" fmla="*/ 107949 h 138429"/>
                <a:gd name="connsiteX415" fmla="*/ 1114426 w 4940931"/>
                <a:gd name="connsiteY415" fmla="*/ 100964 h 138429"/>
                <a:gd name="connsiteX416" fmla="*/ 1106171 w 4940931"/>
                <a:gd name="connsiteY416" fmla="*/ 107314 h 138429"/>
                <a:gd name="connsiteX417" fmla="*/ 1094741 w 4940931"/>
                <a:gd name="connsiteY417" fmla="*/ 109854 h 138429"/>
                <a:gd name="connsiteX418" fmla="*/ 1073786 w 4940931"/>
                <a:gd name="connsiteY418" fmla="*/ 100964 h 138429"/>
                <a:gd name="connsiteX419" fmla="*/ 1066800 w 4940931"/>
                <a:gd name="connsiteY419" fmla="*/ 74929 h 138429"/>
                <a:gd name="connsiteX420" fmla="*/ 1066800 w 4940931"/>
                <a:gd name="connsiteY420" fmla="*/ 30479 h 138429"/>
                <a:gd name="connsiteX421" fmla="*/ 1082040 w 4940931"/>
                <a:gd name="connsiteY421" fmla="*/ 30479 h 138429"/>
                <a:gd name="connsiteX422" fmla="*/ 1082040 w 4940931"/>
                <a:gd name="connsiteY422" fmla="*/ 74294 h 138429"/>
                <a:gd name="connsiteX423" fmla="*/ 1085851 w 4940931"/>
                <a:gd name="connsiteY423" fmla="*/ 90169 h 138429"/>
                <a:gd name="connsiteX424" fmla="*/ 1097916 w 4940931"/>
                <a:gd name="connsiteY424" fmla="*/ 95249 h 138429"/>
                <a:gd name="connsiteX425" fmla="*/ 1109981 w 4940931"/>
                <a:gd name="connsiteY425" fmla="*/ 90169 h 138429"/>
                <a:gd name="connsiteX426" fmla="*/ 1114426 w 4940931"/>
                <a:gd name="connsiteY426" fmla="*/ 75564 h 138429"/>
                <a:gd name="connsiteX427" fmla="*/ 1011556 w 4940931"/>
                <a:gd name="connsiteY427" fmla="*/ 29844 h 138429"/>
                <a:gd name="connsiteX428" fmla="*/ 1017272 w 4940931"/>
                <a:gd name="connsiteY428" fmla="*/ 30479 h 138429"/>
                <a:gd name="connsiteX429" fmla="*/ 1022352 w 4940931"/>
                <a:gd name="connsiteY429" fmla="*/ 32384 h 138429"/>
                <a:gd name="connsiteX430" fmla="*/ 1026797 w 4940931"/>
                <a:gd name="connsiteY430" fmla="*/ 35559 h 138429"/>
                <a:gd name="connsiteX431" fmla="*/ 1030607 w 4940931"/>
                <a:gd name="connsiteY431" fmla="*/ 38734 h 138429"/>
                <a:gd name="connsiteX432" fmla="*/ 1030607 w 4940931"/>
                <a:gd name="connsiteY432" fmla="*/ 31749 h 138429"/>
                <a:gd name="connsiteX433" fmla="*/ 1045847 w 4940931"/>
                <a:gd name="connsiteY433" fmla="*/ 31749 h 138429"/>
                <a:gd name="connsiteX434" fmla="*/ 1045847 w 4940931"/>
                <a:gd name="connsiteY434" fmla="*/ 130809 h 138429"/>
                <a:gd name="connsiteX435" fmla="*/ 1032512 w 4940931"/>
                <a:gd name="connsiteY435" fmla="*/ 137477 h 138429"/>
                <a:gd name="connsiteX436" fmla="*/ 1032512 w 4940931"/>
                <a:gd name="connsiteY436" fmla="*/ 101599 h 138429"/>
                <a:gd name="connsiteX437" fmla="*/ 1022986 w 4940931"/>
                <a:gd name="connsiteY437" fmla="*/ 107949 h 138429"/>
                <a:gd name="connsiteX438" fmla="*/ 1011556 w 4940931"/>
                <a:gd name="connsiteY438" fmla="*/ 110489 h 138429"/>
                <a:gd name="connsiteX439" fmla="*/ 999491 w 4940931"/>
                <a:gd name="connsiteY439" fmla="*/ 107949 h 138429"/>
                <a:gd name="connsiteX440" fmla="*/ 989966 w 4940931"/>
                <a:gd name="connsiteY440" fmla="*/ 100329 h 138429"/>
                <a:gd name="connsiteX441" fmla="*/ 983616 w 4940931"/>
                <a:gd name="connsiteY441" fmla="*/ 87629 h 138429"/>
                <a:gd name="connsiteX442" fmla="*/ 981076 w 4940931"/>
                <a:gd name="connsiteY442" fmla="*/ 68579 h 138429"/>
                <a:gd name="connsiteX443" fmla="*/ 983616 w 4940931"/>
                <a:gd name="connsiteY443" fmla="*/ 51434 h 138429"/>
                <a:gd name="connsiteX444" fmla="*/ 990601 w 4940931"/>
                <a:gd name="connsiteY444" fmla="*/ 39369 h 138429"/>
                <a:gd name="connsiteX445" fmla="*/ 1000126 w 4940931"/>
                <a:gd name="connsiteY445" fmla="*/ 32384 h 138429"/>
                <a:gd name="connsiteX446" fmla="*/ 1011556 w 4940931"/>
                <a:gd name="connsiteY446" fmla="*/ 29844 h 138429"/>
                <a:gd name="connsiteX447" fmla="*/ 4871716 w 4940931"/>
                <a:gd name="connsiteY447" fmla="*/ 29210 h 138429"/>
                <a:gd name="connsiteX448" fmla="*/ 4885686 w 4940931"/>
                <a:gd name="connsiteY448" fmla="*/ 31750 h 138429"/>
                <a:gd name="connsiteX449" fmla="*/ 4897751 w 4940931"/>
                <a:gd name="connsiteY449" fmla="*/ 38100 h 138429"/>
                <a:gd name="connsiteX450" fmla="*/ 4899021 w 4940931"/>
                <a:gd name="connsiteY450" fmla="*/ 38100 h 138429"/>
                <a:gd name="connsiteX451" fmla="*/ 4892036 w 4940931"/>
                <a:gd name="connsiteY451" fmla="*/ 50165 h 138429"/>
                <a:gd name="connsiteX452" fmla="*/ 4882511 w 4940931"/>
                <a:gd name="connsiteY452" fmla="*/ 45085 h 138429"/>
                <a:gd name="connsiteX453" fmla="*/ 4872351 w 4940931"/>
                <a:gd name="connsiteY453" fmla="*/ 43180 h 138429"/>
                <a:gd name="connsiteX454" fmla="*/ 4864096 w 4940931"/>
                <a:gd name="connsiteY454" fmla="*/ 45085 h 138429"/>
                <a:gd name="connsiteX455" fmla="*/ 4861556 w 4940931"/>
                <a:gd name="connsiteY455" fmla="*/ 50165 h 138429"/>
                <a:gd name="connsiteX456" fmla="*/ 4861556 w 4940931"/>
                <a:gd name="connsiteY456" fmla="*/ 52705 h 138429"/>
                <a:gd name="connsiteX457" fmla="*/ 4863461 w 4940931"/>
                <a:gd name="connsiteY457" fmla="*/ 55245 h 138429"/>
                <a:gd name="connsiteX458" fmla="*/ 4867906 w 4940931"/>
                <a:gd name="connsiteY458" fmla="*/ 57785 h 138429"/>
                <a:gd name="connsiteX459" fmla="*/ 4874891 w 4940931"/>
                <a:gd name="connsiteY459" fmla="*/ 60960 h 138429"/>
                <a:gd name="connsiteX460" fmla="*/ 4886321 w 4940931"/>
                <a:gd name="connsiteY460" fmla="*/ 66040 h 138429"/>
                <a:gd name="connsiteX461" fmla="*/ 4894576 w 4940931"/>
                <a:gd name="connsiteY461" fmla="*/ 71120 h 138429"/>
                <a:gd name="connsiteX462" fmla="*/ 4899656 w 4940931"/>
                <a:gd name="connsiteY462" fmla="*/ 78105 h 138429"/>
                <a:gd name="connsiteX463" fmla="*/ 4901561 w 4940931"/>
                <a:gd name="connsiteY463" fmla="*/ 87630 h 138429"/>
                <a:gd name="connsiteX464" fmla="*/ 4899021 w 4940931"/>
                <a:gd name="connsiteY464" fmla="*/ 98425 h 138429"/>
                <a:gd name="connsiteX465" fmla="*/ 4892671 w 4940931"/>
                <a:gd name="connsiteY465" fmla="*/ 105410 h 138429"/>
                <a:gd name="connsiteX466" fmla="*/ 4883146 w 4940931"/>
                <a:gd name="connsiteY466" fmla="*/ 109220 h 138429"/>
                <a:gd name="connsiteX467" fmla="*/ 4872351 w 4940931"/>
                <a:gd name="connsiteY467" fmla="*/ 110490 h 138429"/>
                <a:gd name="connsiteX468" fmla="*/ 4857111 w 4940931"/>
                <a:gd name="connsiteY468" fmla="*/ 107950 h 138429"/>
                <a:gd name="connsiteX469" fmla="*/ 4842506 w 4940931"/>
                <a:gd name="connsiteY469" fmla="*/ 100965 h 138429"/>
                <a:gd name="connsiteX470" fmla="*/ 4849491 w 4940931"/>
                <a:gd name="connsiteY470" fmla="*/ 89535 h 138429"/>
                <a:gd name="connsiteX471" fmla="*/ 4860921 w 4940931"/>
                <a:gd name="connsiteY471" fmla="*/ 95250 h 138429"/>
                <a:gd name="connsiteX472" fmla="*/ 4872351 w 4940931"/>
                <a:gd name="connsiteY472" fmla="*/ 97155 h 138429"/>
                <a:gd name="connsiteX473" fmla="*/ 4883146 w 4940931"/>
                <a:gd name="connsiteY473" fmla="*/ 94615 h 138429"/>
                <a:gd name="connsiteX474" fmla="*/ 4886321 w 4940931"/>
                <a:gd name="connsiteY474" fmla="*/ 88265 h 138429"/>
                <a:gd name="connsiteX475" fmla="*/ 4885051 w 4940931"/>
                <a:gd name="connsiteY475" fmla="*/ 84455 h 138429"/>
                <a:gd name="connsiteX476" fmla="*/ 4881241 w 4940931"/>
                <a:gd name="connsiteY476" fmla="*/ 81280 h 138429"/>
                <a:gd name="connsiteX477" fmla="*/ 4875526 w 4940931"/>
                <a:gd name="connsiteY477" fmla="*/ 78105 h 138429"/>
                <a:gd name="connsiteX478" fmla="*/ 4867906 w 4940931"/>
                <a:gd name="connsiteY478" fmla="*/ 74930 h 138429"/>
                <a:gd name="connsiteX479" fmla="*/ 4857111 w 4940931"/>
                <a:gd name="connsiteY479" fmla="*/ 69850 h 138429"/>
                <a:gd name="connsiteX480" fmla="*/ 4850126 w 4940931"/>
                <a:gd name="connsiteY480" fmla="*/ 64770 h 138429"/>
                <a:gd name="connsiteX481" fmla="*/ 4846316 w 4940931"/>
                <a:gd name="connsiteY481" fmla="*/ 58420 h 138429"/>
                <a:gd name="connsiteX482" fmla="*/ 4845046 w 4940931"/>
                <a:gd name="connsiteY482" fmla="*/ 50165 h 138429"/>
                <a:gd name="connsiteX483" fmla="*/ 4846951 w 4940931"/>
                <a:gd name="connsiteY483" fmla="*/ 40640 h 138429"/>
                <a:gd name="connsiteX484" fmla="*/ 4852666 w 4940931"/>
                <a:gd name="connsiteY484" fmla="*/ 34290 h 138429"/>
                <a:gd name="connsiteX485" fmla="*/ 4860921 w 4940931"/>
                <a:gd name="connsiteY485" fmla="*/ 30480 h 138429"/>
                <a:gd name="connsiteX486" fmla="*/ 4871716 w 4940931"/>
                <a:gd name="connsiteY486" fmla="*/ 29210 h 138429"/>
                <a:gd name="connsiteX487" fmla="*/ 4749796 w 4940931"/>
                <a:gd name="connsiteY487" fmla="*/ 29210 h 138429"/>
                <a:gd name="connsiteX488" fmla="*/ 4757416 w 4940931"/>
                <a:gd name="connsiteY488" fmla="*/ 29845 h 138429"/>
                <a:gd name="connsiteX489" fmla="*/ 4763131 w 4940931"/>
                <a:gd name="connsiteY489" fmla="*/ 32385 h 138429"/>
                <a:gd name="connsiteX490" fmla="*/ 4759321 w 4940931"/>
                <a:gd name="connsiteY490" fmla="*/ 46990 h 138429"/>
                <a:gd name="connsiteX491" fmla="*/ 4758051 w 4940931"/>
                <a:gd name="connsiteY491" fmla="*/ 46990 h 138429"/>
                <a:gd name="connsiteX492" fmla="*/ 4752971 w 4940931"/>
                <a:gd name="connsiteY492" fmla="*/ 45085 h 138429"/>
                <a:gd name="connsiteX493" fmla="*/ 4746621 w 4940931"/>
                <a:gd name="connsiteY493" fmla="*/ 44450 h 138429"/>
                <a:gd name="connsiteX494" fmla="*/ 4735191 w 4940931"/>
                <a:gd name="connsiteY494" fmla="*/ 49530 h 138429"/>
                <a:gd name="connsiteX495" fmla="*/ 4731381 w 4940931"/>
                <a:gd name="connsiteY495" fmla="*/ 64770 h 138429"/>
                <a:gd name="connsiteX496" fmla="*/ 4731381 w 4940931"/>
                <a:gd name="connsiteY496" fmla="*/ 109220 h 138429"/>
                <a:gd name="connsiteX497" fmla="*/ 4716141 w 4940931"/>
                <a:gd name="connsiteY497" fmla="*/ 109220 h 138429"/>
                <a:gd name="connsiteX498" fmla="*/ 4716141 w 4940931"/>
                <a:gd name="connsiteY498" fmla="*/ 31115 h 138429"/>
                <a:gd name="connsiteX499" fmla="*/ 4731381 w 4940931"/>
                <a:gd name="connsiteY499" fmla="*/ 31115 h 138429"/>
                <a:gd name="connsiteX500" fmla="*/ 4731381 w 4940931"/>
                <a:gd name="connsiteY500" fmla="*/ 38735 h 138429"/>
                <a:gd name="connsiteX501" fmla="*/ 4734556 w 4940931"/>
                <a:gd name="connsiteY501" fmla="*/ 34925 h 138429"/>
                <a:gd name="connsiteX502" fmla="*/ 4739001 w 4940931"/>
                <a:gd name="connsiteY502" fmla="*/ 31750 h 138429"/>
                <a:gd name="connsiteX503" fmla="*/ 4744081 w 4940931"/>
                <a:gd name="connsiteY503" fmla="*/ 29845 h 138429"/>
                <a:gd name="connsiteX504" fmla="*/ 4749796 w 4940931"/>
                <a:gd name="connsiteY504" fmla="*/ 29210 h 138429"/>
                <a:gd name="connsiteX505" fmla="*/ 4349110 w 4940931"/>
                <a:gd name="connsiteY505" fmla="*/ 29210 h 138429"/>
                <a:gd name="connsiteX506" fmla="*/ 4356730 w 4940931"/>
                <a:gd name="connsiteY506" fmla="*/ 29845 h 138429"/>
                <a:gd name="connsiteX507" fmla="*/ 4362445 w 4940931"/>
                <a:gd name="connsiteY507" fmla="*/ 32385 h 138429"/>
                <a:gd name="connsiteX508" fmla="*/ 4358635 w 4940931"/>
                <a:gd name="connsiteY508" fmla="*/ 46990 h 138429"/>
                <a:gd name="connsiteX509" fmla="*/ 4357365 w 4940931"/>
                <a:gd name="connsiteY509" fmla="*/ 46990 h 138429"/>
                <a:gd name="connsiteX510" fmla="*/ 4352285 w 4940931"/>
                <a:gd name="connsiteY510" fmla="*/ 45085 h 138429"/>
                <a:gd name="connsiteX511" fmla="*/ 4345935 w 4940931"/>
                <a:gd name="connsiteY511" fmla="*/ 44450 h 138429"/>
                <a:gd name="connsiteX512" fmla="*/ 4334505 w 4940931"/>
                <a:gd name="connsiteY512" fmla="*/ 49530 h 138429"/>
                <a:gd name="connsiteX513" fmla="*/ 4330695 w 4940931"/>
                <a:gd name="connsiteY513" fmla="*/ 64770 h 138429"/>
                <a:gd name="connsiteX514" fmla="*/ 4330695 w 4940931"/>
                <a:gd name="connsiteY514" fmla="*/ 109220 h 138429"/>
                <a:gd name="connsiteX515" fmla="*/ 4315455 w 4940931"/>
                <a:gd name="connsiteY515" fmla="*/ 109220 h 138429"/>
                <a:gd name="connsiteX516" fmla="*/ 4315455 w 4940931"/>
                <a:gd name="connsiteY516" fmla="*/ 31115 h 138429"/>
                <a:gd name="connsiteX517" fmla="*/ 4330695 w 4940931"/>
                <a:gd name="connsiteY517" fmla="*/ 31115 h 138429"/>
                <a:gd name="connsiteX518" fmla="*/ 4330695 w 4940931"/>
                <a:gd name="connsiteY518" fmla="*/ 38735 h 138429"/>
                <a:gd name="connsiteX519" fmla="*/ 4333870 w 4940931"/>
                <a:gd name="connsiteY519" fmla="*/ 34925 h 138429"/>
                <a:gd name="connsiteX520" fmla="*/ 4338315 w 4940931"/>
                <a:gd name="connsiteY520" fmla="*/ 31750 h 138429"/>
                <a:gd name="connsiteX521" fmla="*/ 4343395 w 4940931"/>
                <a:gd name="connsiteY521" fmla="*/ 29845 h 138429"/>
                <a:gd name="connsiteX522" fmla="*/ 4349110 w 4940931"/>
                <a:gd name="connsiteY522" fmla="*/ 29210 h 138429"/>
                <a:gd name="connsiteX523" fmla="*/ 4044310 w 4940931"/>
                <a:gd name="connsiteY523" fmla="*/ 29210 h 138429"/>
                <a:gd name="connsiteX524" fmla="*/ 4058915 w 4940931"/>
                <a:gd name="connsiteY524" fmla="*/ 32385 h 138429"/>
                <a:gd name="connsiteX525" fmla="*/ 4069075 w 4940931"/>
                <a:gd name="connsiteY525" fmla="*/ 40640 h 138429"/>
                <a:gd name="connsiteX526" fmla="*/ 4075425 w 4940931"/>
                <a:gd name="connsiteY526" fmla="*/ 53340 h 138429"/>
                <a:gd name="connsiteX527" fmla="*/ 4077330 w 4940931"/>
                <a:gd name="connsiteY527" fmla="*/ 68580 h 138429"/>
                <a:gd name="connsiteX528" fmla="*/ 4076060 w 4940931"/>
                <a:gd name="connsiteY528" fmla="*/ 68580 h 138429"/>
                <a:gd name="connsiteX529" fmla="*/ 4076060 w 4940931"/>
                <a:gd name="connsiteY529" fmla="*/ 72390 h 138429"/>
                <a:gd name="connsiteX530" fmla="*/ 4076060 w 4940931"/>
                <a:gd name="connsiteY530" fmla="*/ 75565 h 138429"/>
                <a:gd name="connsiteX531" fmla="*/ 4024625 w 4940931"/>
                <a:gd name="connsiteY531" fmla="*/ 75565 h 138429"/>
                <a:gd name="connsiteX532" fmla="*/ 4027165 w 4940931"/>
                <a:gd name="connsiteY532" fmla="*/ 85090 h 138429"/>
                <a:gd name="connsiteX533" fmla="*/ 4031610 w 4940931"/>
                <a:gd name="connsiteY533" fmla="*/ 91440 h 138429"/>
                <a:gd name="connsiteX534" fmla="*/ 4037325 w 4940931"/>
                <a:gd name="connsiteY534" fmla="*/ 95250 h 138429"/>
                <a:gd name="connsiteX535" fmla="*/ 4044310 w 4940931"/>
                <a:gd name="connsiteY535" fmla="*/ 96520 h 138429"/>
                <a:gd name="connsiteX536" fmla="*/ 4049390 w 4940931"/>
                <a:gd name="connsiteY536" fmla="*/ 96520 h 138429"/>
                <a:gd name="connsiteX537" fmla="*/ 4053835 w 4940931"/>
                <a:gd name="connsiteY537" fmla="*/ 95250 h 138429"/>
                <a:gd name="connsiteX538" fmla="*/ 4057645 w 4940931"/>
                <a:gd name="connsiteY538" fmla="*/ 93345 h 138429"/>
                <a:gd name="connsiteX539" fmla="*/ 4062090 w 4940931"/>
                <a:gd name="connsiteY539" fmla="*/ 90805 h 138429"/>
                <a:gd name="connsiteX540" fmla="*/ 4070980 w 4940931"/>
                <a:gd name="connsiteY540" fmla="*/ 100330 h 138429"/>
                <a:gd name="connsiteX541" fmla="*/ 4065265 w 4940931"/>
                <a:gd name="connsiteY541" fmla="*/ 104775 h 138429"/>
                <a:gd name="connsiteX542" fmla="*/ 4059550 w 4940931"/>
                <a:gd name="connsiteY542" fmla="*/ 107950 h 138429"/>
                <a:gd name="connsiteX543" fmla="*/ 4052565 w 4940931"/>
                <a:gd name="connsiteY543" fmla="*/ 109855 h 138429"/>
                <a:gd name="connsiteX544" fmla="*/ 4043675 w 4940931"/>
                <a:gd name="connsiteY544" fmla="*/ 110490 h 138429"/>
                <a:gd name="connsiteX545" fmla="*/ 4034150 w 4940931"/>
                <a:gd name="connsiteY545" fmla="*/ 109220 h 138429"/>
                <a:gd name="connsiteX546" fmla="*/ 4026530 w 4940931"/>
                <a:gd name="connsiteY546" fmla="*/ 105410 h 138429"/>
                <a:gd name="connsiteX547" fmla="*/ 4020180 w 4940931"/>
                <a:gd name="connsiteY547" fmla="*/ 100330 h 138429"/>
                <a:gd name="connsiteX548" fmla="*/ 4015100 w 4940931"/>
                <a:gd name="connsiteY548" fmla="*/ 92710 h 138429"/>
                <a:gd name="connsiteX549" fmla="*/ 4011290 w 4940931"/>
                <a:gd name="connsiteY549" fmla="*/ 82550 h 138429"/>
                <a:gd name="connsiteX550" fmla="*/ 4010020 w 4940931"/>
                <a:gd name="connsiteY550" fmla="*/ 69850 h 138429"/>
                <a:gd name="connsiteX551" fmla="*/ 4012560 w 4940931"/>
                <a:gd name="connsiteY551" fmla="*/ 52070 h 138429"/>
                <a:gd name="connsiteX552" fmla="*/ 4019545 w 4940931"/>
                <a:gd name="connsiteY552" fmla="*/ 39370 h 138429"/>
                <a:gd name="connsiteX553" fmla="*/ 4030340 w 4940931"/>
                <a:gd name="connsiteY553" fmla="*/ 31750 h 138429"/>
                <a:gd name="connsiteX554" fmla="*/ 4044310 w 4940931"/>
                <a:gd name="connsiteY554" fmla="*/ 29210 h 138429"/>
                <a:gd name="connsiteX555" fmla="*/ 3811900 w 4940931"/>
                <a:gd name="connsiteY555" fmla="*/ 29210 h 138429"/>
                <a:gd name="connsiteX556" fmla="*/ 3819520 w 4940931"/>
                <a:gd name="connsiteY556" fmla="*/ 29845 h 138429"/>
                <a:gd name="connsiteX557" fmla="*/ 3825235 w 4940931"/>
                <a:gd name="connsiteY557" fmla="*/ 32385 h 138429"/>
                <a:gd name="connsiteX558" fmla="*/ 3821425 w 4940931"/>
                <a:gd name="connsiteY558" fmla="*/ 46990 h 138429"/>
                <a:gd name="connsiteX559" fmla="*/ 3820155 w 4940931"/>
                <a:gd name="connsiteY559" fmla="*/ 46990 h 138429"/>
                <a:gd name="connsiteX560" fmla="*/ 3815075 w 4940931"/>
                <a:gd name="connsiteY560" fmla="*/ 45085 h 138429"/>
                <a:gd name="connsiteX561" fmla="*/ 3808725 w 4940931"/>
                <a:gd name="connsiteY561" fmla="*/ 44450 h 138429"/>
                <a:gd name="connsiteX562" fmla="*/ 3797295 w 4940931"/>
                <a:gd name="connsiteY562" fmla="*/ 49530 h 138429"/>
                <a:gd name="connsiteX563" fmla="*/ 3793485 w 4940931"/>
                <a:gd name="connsiteY563" fmla="*/ 64770 h 138429"/>
                <a:gd name="connsiteX564" fmla="*/ 3793485 w 4940931"/>
                <a:gd name="connsiteY564" fmla="*/ 109220 h 138429"/>
                <a:gd name="connsiteX565" fmla="*/ 3778245 w 4940931"/>
                <a:gd name="connsiteY565" fmla="*/ 109220 h 138429"/>
                <a:gd name="connsiteX566" fmla="*/ 3778245 w 4940931"/>
                <a:gd name="connsiteY566" fmla="*/ 31115 h 138429"/>
                <a:gd name="connsiteX567" fmla="*/ 3793485 w 4940931"/>
                <a:gd name="connsiteY567" fmla="*/ 31115 h 138429"/>
                <a:gd name="connsiteX568" fmla="*/ 3793485 w 4940931"/>
                <a:gd name="connsiteY568" fmla="*/ 38735 h 138429"/>
                <a:gd name="connsiteX569" fmla="*/ 3796660 w 4940931"/>
                <a:gd name="connsiteY569" fmla="*/ 34925 h 138429"/>
                <a:gd name="connsiteX570" fmla="*/ 3801105 w 4940931"/>
                <a:gd name="connsiteY570" fmla="*/ 31750 h 138429"/>
                <a:gd name="connsiteX571" fmla="*/ 3806185 w 4940931"/>
                <a:gd name="connsiteY571" fmla="*/ 29845 h 138429"/>
                <a:gd name="connsiteX572" fmla="*/ 3811900 w 4940931"/>
                <a:gd name="connsiteY572" fmla="*/ 29210 h 138429"/>
                <a:gd name="connsiteX573" fmla="*/ 3729986 w 4940931"/>
                <a:gd name="connsiteY573" fmla="*/ 29210 h 138429"/>
                <a:gd name="connsiteX574" fmla="*/ 3744591 w 4940931"/>
                <a:gd name="connsiteY574" fmla="*/ 32385 h 138429"/>
                <a:gd name="connsiteX575" fmla="*/ 3754751 w 4940931"/>
                <a:gd name="connsiteY575" fmla="*/ 40640 h 138429"/>
                <a:gd name="connsiteX576" fmla="*/ 3761101 w 4940931"/>
                <a:gd name="connsiteY576" fmla="*/ 53340 h 138429"/>
                <a:gd name="connsiteX577" fmla="*/ 3763006 w 4940931"/>
                <a:gd name="connsiteY577" fmla="*/ 68580 h 138429"/>
                <a:gd name="connsiteX578" fmla="*/ 3761736 w 4940931"/>
                <a:gd name="connsiteY578" fmla="*/ 68580 h 138429"/>
                <a:gd name="connsiteX579" fmla="*/ 3761736 w 4940931"/>
                <a:gd name="connsiteY579" fmla="*/ 72390 h 138429"/>
                <a:gd name="connsiteX580" fmla="*/ 3761736 w 4940931"/>
                <a:gd name="connsiteY580" fmla="*/ 75565 h 138429"/>
                <a:gd name="connsiteX581" fmla="*/ 3710301 w 4940931"/>
                <a:gd name="connsiteY581" fmla="*/ 75565 h 138429"/>
                <a:gd name="connsiteX582" fmla="*/ 3712841 w 4940931"/>
                <a:gd name="connsiteY582" fmla="*/ 85090 h 138429"/>
                <a:gd name="connsiteX583" fmla="*/ 3717286 w 4940931"/>
                <a:gd name="connsiteY583" fmla="*/ 91440 h 138429"/>
                <a:gd name="connsiteX584" fmla="*/ 3723001 w 4940931"/>
                <a:gd name="connsiteY584" fmla="*/ 95250 h 138429"/>
                <a:gd name="connsiteX585" fmla="*/ 3729986 w 4940931"/>
                <a:gd name="connsiteY585" fmla="*/ 96520 h 138429"/>
                <a:gd name="connsiteX586" fmla="*/ 3735066 w 4940931"/>
                <a:gd name="connsiteY586" fmla="*/ 96520 h 138429"/>
                <a:gd name="connsiteX587" fmla="*/ 3739511 w 4940931"/>
                <a:gd name="connsiteY587" fmla="*/ 95250 h 138429"/>
                <a:gd name="connsiteX588" fmla="*/ 3743321 w 4940931"/>
                <a:gd name="connsiteY588" fmla="*/ 93345 h 138429"/>
                <a:gd name="connsiteX589" fmla="*/ 3747766 w 4940931"/>
                <a:gd name="connsiteY589" fmla="*/ 90805 h 138429"/>
                <a:gd name="connsiteX590" fmla="*/ 3756656 w 4940931"/>
                <a:gd name="connsiteY590" fmla="*/ 100330 h 138429"/>
                <a:gd name="connsiteX591" fmla="*/ 3750941 w 4940931"/>
                <a:gd name="connsiteY591" fmla="*/ 104775 h 138429"/>
                <a:gd name="connsiteX592" fmla="*/ 3745226 w 4940931"/>
                <a:gd name="connsiteY592" fmla="*/ 107950 h 138429"/>
                <a:gd name="connsiteX593" fmla="*/ 3738241 w 4940931"/>
                <a:gd name="connsiteY593" fmla="*/ 109855 h 138429"/>
                <a:gd name="connsiteX594" fmla="*/ 3729351 w 4940931"/>
                <a:gd name="connsiteY594" fmla="*/ 110490 h 138429"/>
                <a:gd name="connsiteX595" fmla="*/ 3719826 w 4940931"/>
                <a:gd name="connsiteY595" fmla="*/ 109220 h 138429"/>
                <a:gd name="connsiteX596" fmla="*/ 3712206 w 4940931"/>
                <a:gd name="connsiteY596" fmla="*/ 105410 h 138429"/>
                <a:gd name="connsiteX597" fmla="*/ 3705856 w 4940931"/>
                <a:gd name="connsiteY597" fmla="*/ 100330 h 138429"/>
                <a:gd name="connsiteX598" fmla="*/ 3700776 w 4940931"/>
                <a:gd name="connsiteY598" fmla="*/ 92710 h 138429"/>
                <a:gd name="connsiteX599" fmla="*/ 3696966 w 4940931"/>
                <a:gd name="connsiteY599" fmla="*/ 82550 h 138429"/>
                <a:gd name="connsiteX600" fmla="*/ 3695696 w 4940931"/>
                <a:gd name="connsiteY600" fmla="*/ 69850 h 138429"/>
                <a:gd name="connsiteX601" fmla="*/ 3698236 w 4940931"/>
                <a:gd name="connsiteY601" fmla="*/ 52070 h 138429"/>
                <a:gd name="connsiteX602" fmla="*/ 3705221 w 4940931"/>
                <a:gd name="connsiteY602" fmla="*/ 39370 h 138429"/>
                <a:gd name="connsiteX603" fmla="*/ 3716016 w 4940931"/>
                <a:gd name="connsiteY603" fmla="*/ 31750 h 138429"/>
                <a:gd name="connsiteX604" fmla="*/ 3729986 w 4940931"/>
                <a:gd name="connsiteY604" fmla="*/ 29210 h 138429"/>
                <a:gd name="connsiteX605" fmla="*/ 3543296 w 4940931"/>
                <a:gd name="connsiteY605" fmla="*/ 29210 h 138429"/>
                <a:gd name="connsiteX606" fmla="*/ 3557901 w 4940931"/>
                <a:gd name="connsiteY606" fmla="*/ 32385 h 138429"/>
                <a:gd name="connsiteX607" fmla="*/ 3568061 w 4940931"/>
                <a:gd name="connsiteY607" fmla="*/ 40640 h 138429"/>
                <a:gd name="connsiteX608" fmla="*/ 3574411 w 4940931"/>
                <a:gd name="connsiteY608" fmla="*/ 53340 h 138429"/>
                <a:gd name="connsiteX609" fmla="*/ 3576316 w 4940931"/>
                <a:gd name="connsiteY609" fmla="*/ 68580 h 138429"/>
                <a:gd name="connsiteX610" fmla="*/ 3575046 w 4940931"/>
                <a:gd name="connsiteY610" fmla="*/ 68580 h 138429"/>
                <a:gd name="connsiteX611" fmla="*/ 3575046 w 4940931"/>
                <a:gd name="connsiteY611" fmla="*/ 72390 h 138429"/>
                <a:gd name="connsiteX612" fmla="*/ 3575046 w 4940931"/>
                <a:gd name="connsiteY612" fmla="*/ 75565 h 138429"/>
                <a:gd name="connsiteX613" fmla="*/ 3523611 w 4940931"/>
                <a:gd name="connsiteY613" fmla="*/ 75565 h 138429"/>
                <a:gd name="connsiteX614" fmla="*/ 3526151 w 4940931"/>
                <a:gd name="connsiteY614" fmla="*/ 85090 h 138429"/>
                <a:gd name="connsiteX615" fmla="*/ 3530596 w 4940931"/>
                <a:gd name="connsiteY615" fmla="*/ 91440 h 138429"/>
                <a:gd name="connsiteX616" fmla="*/ 3536311 w 4940931"/>
                <a:gd name="connsiteY616" fmla="*/ 95250 h 138429"/>
                <a:gd name="connsiteX617" fmla="*/ 3543296 w 4940931"/>
                <a:gd name="connsiteY617" fmla="*/ 96520 h 138429"/>
                <a:gd name="connsiteX618" fmla="*/ 3548376 w 4940931"/>
                <a:gd name="connsiteY618" fmla="*/ 96520 h 138429"/>
                <a:gd name="connsiteX619" fmla="*/ 3552821 w 4940931"/>
                <a:gd name="connsiteY619" fmla="*/ 95250 h 138429"/>
                <a:gd name="connsiteX620" fmla="*/ 3556631 w 4940931"/>
                <a:gd name="connsiteY620" fmla="*/ 93345 h 138429"/>
                <a:gd name="connsiteX621" fmla="*/ 3561076 w 4940931"/>
                <a:gd name="connsiteY621" fmla="*/ 90805 h 138429"/>
                <a:gd name="connsiteX622" fmla="*/ 3569966 w 4940931"/>
                <a:gd name="connsiteY622" fmla="*/ 100330 h 138429"/>
                <a:gd name="connsiteX623" fmla="*/ 3564251 w 4940931"/>
                <a:gd name="connsiteY623" fmla="*/ 104775 h 138429"/>
                <a:gd name="connsiteX624" fmla="*/ 3558536 w 4940931"/>
                <a:gd name="connsiteY624" fmla="*/ 107950 h 138429"/>
                <a:gd name="connsiteX625" fmla="*/ 3551551 w 4940931"/>
                <a:gd name="connsiteY625" fmla="*/ 109855 h 138429"/>
                <a:gd name="connsiteX626" fmla="*/ 3542661 w 4940931"/>
                <a:gd name="connsiteY626" fmla="*/ 110490 h 138429"/>
                <a:gd name="connsiteX627" fmla="*/ 3533136 w 4940931"/>
                <a:gd name="connsiteY627" fmla="*/ 109220 h 138429"/>
                <a:gd name="connsiteX628" fmla="*/ 3525516 w 4940931"/>
                <a:gd name="connsiteY628" fmla="*/ 105410 h 138429"/>
                <a:gd name="connsiteX629" fmla="*/ 3519166 w 4940931"/>
                <a:gd name="connsiteY629" fmla="*/ 100330 h 138429"/>
                <a:gd name="connsiteX630" fmla="*/ 3514086 w 4940931"/>
                <a:gd name="connsiteY630" fmla="*/ 92710 h 138429"/>
                <a:gd name="connsiteX631" fmla="*/ 3510276 w 4940931"/>
                <a:gd name="connsiteY631" fmla="*/ 82550 h 138429"/>
                <a:gd name="connsiteX632" fmla="*/ 3509006 w 4940931"/>
                <a:gd name="connsiteY632" fmla="*/ 69850 h 138429"/>
                <a:gd name="connsiteX633" fmla="*/ 3511546 w 4940931"/>
                <a:gd name="connsiteY633" fmla="*/ 52070 h 138429"/>
                <a:gd name="connsiteX634" fmla="*/ 3518531 w 4940931"/>
                <a:gd name="connsiteY634" fmla="*/ 39370 h 138429"/>
                <a:gd name="connsiteX635" fmla="*/ 3529326 w 4940931"/>
                <a:gd name="connsiteY635" fmla="*/ 31750 h 138429"/>
                <a:gd name="connsiteX636" fmla="*/ 3543296 w 4940931"/>
                <a:gd name="connsiteY636" fmla="*/ 29210 h 138429"/>
                <a:gd name="connsiteX637" fmla="*/ 3345176 w 4940931"/>
                <a:gd name="connsiteY637" fmla="*/ 29210 h 138429"/>
                <a:gd name="connsiteX638" fmla="*/ 3359781 w 4940931"/>
                <a:gd name="connsiteY638" fmla="*/ 32385 h 138429"/>
                <a:gd name="connsiteX639" fmla="*/ 3369941 w 4940931"/>
                <a:gd name="connsiteY639" fmla="*/ 40640 h 138429"/>
                <a:gd name="connsiteX640" fmla="*/ 3376291 w 4940931"/>
                <a:gd name="connsiteY640" fmla="*/ 53340 h 138429"/>
                <a:gd name="connsiteX641" fmla="*/ 3378196 w 4940931"/>
                <a:gd name="connsiteY641" fmla="*/ 68580 h 138429"/>
                <a:gd name="connsiteX642" fmla="*/ 3376926 w 4940931"/>
                <a:gd name="connsiteY642" fmla="*/ 68580 h 138429"/>
                <a:gd name="connsiteX643" fmla="*/ 3376926 w 4940931"/>
                <a:gd name="connsiteY643" fmla="*/ 72390 h 138429"/>
                <a:gd name="connsiteX644" fmla="*/ 3376926 w 4940931"/>
                <a:gd name="connsiteY644" fmla="*/ 75565 h 138429"/>
                <a:gd name="connsiteX645" fmla="*/ 3325491 w 4940931"/>
                <a:gd name="connsiteY645" fmla="*/ 75565 h 138429"/>
                <a:gd name="connsiteX646" fmla="*/ 3328031 w 4940931"/>
                <a:gd name="connsiteY646" fmla="*/ 85090 h 138429"/>
                <a:gd name="connsiteX647" fmla="*/ 3332476 w 4940931"/>
                <a:gd name="connsiteY647" fmla="*/ 91440 h 138429"/>
                <a:gd name="connsiteX648" fmla="*/ 3338191 w 4940931"/>
                <a:gd name="connsiteY648" fmla="*/ 95250 h 138429"/>
                <a:gd name="connsiteX649" fmla="*/ 3345176 w 4940931"/>
                <a:gd name="connsiteY649" fmla="*/ 96520 h 138429"/>
                <a:gd name="connsiteX650" fmla="*/ 3350256 w 4940931"/>
                <a:gd name="connsiteY650" fmla="*/ 96520 h 138429"/>
                <a:gd name="connsiteX651" fmla="*/ 3354701 w 4940931"/>
                <a:gd name="connsiteY651" fmla="*/ 95250 h 138429"/>
                <a:gd name="connsiteX652" fmla="*/ 3358511 w 4940931"/>
                <a:gd name="connsiteY652" fmla="*/ 93345 h 138429"/>
                <a:gd name="connsiteX653" fmla="*/ 3362956 w 4940931"/>
                <a:gd name="connsiteY653" fmla="*/ 90805 h 138429"/>
                <a:gd name="connsiteX654" fmla="*/ 3371846 w 4940931"/>
                <a:gd name="connsiteY654" fmla="*/ 100330 h 138429"/>
                <a:gd name="connsiteX655" fmla="*/ 3366131 w 4940931"/>
                <a:gd name="connsiteY655" fmla="*/ 104775 h 138429"/>
                <a:gd name="connsiteX656" fmla="*/ 3360416 w 4940931"/>
                <a:gd name="connsiteY656" fmla="*/ 107950 h 138429"/>
                <a:gd name="connsiteX657" fmla="*/ 3353431 w 4940931"/>
                <a:gd name="connsiteY657" fmla="*/ 109855 h 138429"/>
                <a:gd name="connsiteX658" fmla="*/ 3344541 w 4940931"/>
                <a:gd name="connsiteY658" fmla="*/ 110490 h 138429"/>
                <a:gd name="connsiteX659" fmla="*/ 3335016 w 4940931"/>
                <a:gd name="connsiteY659" fmla="*/ 109220 h 138429"/>
                <a:gd name="connsiteX660" fmla="*/ 3327396 w 4940931"/>
                <a:gd name="connsiteY660" fmla="*/ 105410 h 138429"/>
                <a:gd name="connsiteX661" fmla="*/ 3321046 w 4940931"/>
                <a:gd name="connsiteY661" fmla="*/ 100330 h 138429"/>
                <a:gd name="connsiteX662" fmla="*/ 3315966 w 4940931"/>
                <a:gd name="connsiteY662" fmla="*/ 92710 h 138429"/>
                <a:gd name="connsiteX663" fmla="*/ 3312156 w 4940931"/>
                <a:gd name="connsiteY663" fmla="*/ 82550 h 138429"/>
                <a:gd name="connsiteX664" fmla="*/ 3310886 w 4940931"/>
                <a:gd name="connsiteY664" fmla="*/ 69850 h 138429"/>
                <a:gd name="connsiteX665" fmla="*/ 3313426 w 4940931"/>
                <a:gd name="connsiteY665" fmla="*/ 52070 h 138429"/>
                <a:gd name="connsiteX666" fmla="*/ 3320411 w 4940931"/>
                <a:gd name="connsiteY666" fmla="*/ 39370 h 138429"/>
                <a:gd name="connsiteX667" fmla="*/ 3331206 w 4940931"/>
                <a:gd name="connsiteY667" fmla="*/ 31750 h 138429"/>
                <a:gd name="connsiteX668" fmla="*/ 3345176 w 4940931"/>
                <a:gd name="connsiteY668" fmla="*/ 29210 h 138429"/>
                <a:gd name="connsiteX669" fmla="*/ 3060696 w 4940931"/>
                <a:gd name="connsiteY669" fmla="*/ 29210 h 138429"/>
                <a:gd name="connsiteX670" fmla="*/ 3068316 w 4940931"/>
                <a:gd name="connsiteY670" fmla="*/ 29845 h 138429"/>
                <a:gd name="connsiteX671" fmla="*/ 3074031 w 4940931"/>
                <a:gd name="connsiteY671" fmla="*/ 32385 h 138429"/>
                <a:gd name="connsiteX672" fmla="*/ 3070221 w 4940931"/>
                <a:gd name="connsiteY672" fmla="*/ 46990 h 138429"/>
                <a:gd name="connsiteX673" fmla="*/ 3068951 w 4940931"/>
                <a:gd name="connsiteY673" fmla="*/ 46990 h 138429"/>
                <a:gd name="connsiteX674" fmla="*/ 3063871 w 4940931"/>
                <a:gd name="connsiteY674" fmla="*/ 45085 h 138429"/>
                <a:gd name="connsiteX675" fmla="*/ 3057521 w 4940931"/>
                <a:gd name="connsiteY675" fmla="*/ 44450 h 138429"/>
                <a:gd name="connsiteX676" fmla="*/ 3046091 w 4940931"/>
                <a:gd name="connsiteY676" fmla="*/ 49530 h 138429"/>
                <a:gd name="connsiteX677" fmla="*/ 3042281 w 4940931"/>
                <a:gd name="connsiteY677" fmla="*/ 64770 h 138429"/>
                <a:gd name="connsiteX678" fmla="*/ 3042281 w 4940931"/>
                <a:gd name="connsiteY678" fmla="*/ 109220 h 138429"/>
                <a:gd name="connsiteX679" fmla="*/ 3027041 w 4940931"/>
                <a:gd name="connsiteY679" fmla="*/ 109220 h 138429"/>
                <a:gd name="connsiteX680" fmla="*/ 3027041 w 4940931"/>
                <a:gd name="connsiteY680" fmla="*/ 31115 h 138429"/>
                <a:gd name="connsiteX681" fmla="*/ 3042281 w 4940931"/>
                <a:gd name="connsiteY681" fmla="*/ 31115 h 138429"/>
                <a:gd name="connsiteX682" fmla="*/ 3042281 w 4940931"/>
                <a:gd name="connsiteY682" fmla="*/ 38735 h 138429"/>
                <a:gd name="connsiteX683" fmla="*/ 3045456 w 4940931"/>
                <a:gd name="connsiteY683" fmla="*/ 34925 h 138429"/>
                <a:gd name="connsiteX684" fmla="*/ 3049901 w 4940931"/>
                <a:gd name="connsiteY684" fmla="*/ 31750 h 138429"/>
                <a:gd name="connsiteX685" fmla="*/ 3054981 w 4940931"/>
                <a:gd name="connsiteY685" fmla="*/ 29845 h 138429"/>
                <a:gd name="connsiteX686" fmla="*/ 3060696 w 4940931"/>
                <a:gd name="connsiteY686" fmla="*/ 29210 h 138429"/>
                <a:gd name="connsiteX687" fmla="*/ 2978781 w 4940931"/>
                <a:gd name="connsiteY687" fmla="*/ 29210 h 138429"/>
                <a:gd name="connsiteX688" fmla="*/ 2993386 w 4940931"/>
                <a:gd name="connsiteY688" fmla="*/ 32385 h 138429"/>
                <a:gd name="connsiteX689" fmla="*/ 3003546 w 4940931"/>
                <a:gd name="connsiteY689" fmla="*/ 40640 h 138429"/>
                <a:gd name="connsiteX690" fmla="*/ 3009896 w 4940931"/>
                <a:gd name="connsiteY690" fmla="*/ 53340 h 138429"/>
                <a:gd name="connsiteX691" fmla="*/ 3011801 w 4940931"/>
                <a:gd name="connsiteY691" fmla="*/ 68580 h 138429"/>
                <a:gd name="connsiteX692" fmla="*/ 3010531 w 4940931"/>
                <a:gd name="connsiteY692" fmla="*/ 68580 h 138429"/>
                <a:gd name="connsiteX693" fmla="*/ 3010531 w 4940931"/>
                <a:gd name="connsiteY693" fmla="*/ 72390 h 138429"/>
                <a:gd name="connsiteX694" fmla="*/ 3010531 w 4940931"/>
                <a:gd name="connsiteY694" fmla="*/ 75565 h 138429"/>
                <a:gd name="connsiteX695" fmla="*/ 2959096 w 4940931"/>
                <a:gd name="connsiteY695" fmla="*/ 75565 h 138429"/>
                <a:gd name="connsiteX696" fmla="*/ 2961636 w 4940931"/>
                <a:gd name="connsiteY696" fmla="*/ 85090 h 138429"/>
                <a:gd name="connsiteX697" fmla="*/ 2966081 w 4940931"/>
                <a:gd name="connsiteY697" fmla="*/ 91440 h 138429"/>
                <a:gd name="connsiteX698" fmla="*/ 2971796 w 4940931"/>
                <a:gd name="connsiteY698" fmla="*/ 95250 h 138429"/>
                <a:gd name="connsiteX699" fmla="*/ 2978781 w 4940931"/>
                <a:gd name="connsiteY699" fmla="*/ 96520 h 138429"/>
                <a:gd name="connsiteX700" fmla="*/ 2983861 w 4940931"/>
                <a:gd name="connsiteY700" fmla="*/ 96520 h 138429"/>
                <a:gd name="connsiteX701" fmla="*/ 2988306 w 4940931"/>
                <a:gd name="connsiteY701" fmla="*/ 95250 h 138429"/>
                <a:gd name="connsiteX702" fmla="*/ 2992116 w 4940931"/>
                <a:gd name="connsiteY702" fmla="*/ 93345 h 138429"/>
                <a:gd name="connsiteX703" fmla="*/ 2996561 w 4940931"/>
                <a:gd name="connsiteY703" fmla="*/ 90805 h 138429"/>
                <a:gd name="connsiteX704" fmla="*/ 3005451 w 4940931"/>
                <a:gd name="connsiteY704" fmla="*/ 100330 h 138429"/>
                <a:gd name="connsiteX705" fmla="*/ 2999736 w 4940931"/>
                <a:gd name="connsiteY705" fmla="*/ 104775 h 138429"/>
                <a:gd name="connsiteX706" fmla="*/ 2994021 w 4940931"/>
                <a:gd name="connsiteY706" fmla="*/ 107950 h 138429"/>
                <a:gd name="connsiteX707" fmla="*/ 2987036 w 4940931"/>
                <a:gd name="connsiteY707" fmla="*/ 109855 h 138429"/>
                <a:gd name="connsiteX708" fmla="*/ 2978146 w 4940931"/>
                <a:gd name="connsiteY708" fmla="*/ 110490 h 138429"/>
                <a:gd name="connsiteX709" fmla="*/ 2968621 w 4940931"/>
                <a:gd name="connsiteY709" fmla="*/ 109220 h 138429"/>
                <a:gd name="connsiteX710" fmla="*/ 2961001 w 4940931"/>
                <a:gd name="connsiteY710" fmla="*/ 105410 h 138429"/>
                <a:gd name="connsiteX711" fmla="*/ 2954651 w 4940931"/>
                <a:gd name="connsiteY711" fmla="*/ 100330 h 138429"/>
                <a:gd name="connsiteX712" fmla="*/ 2949571 w 4940931"/>
                <a:gd name="connsiteY712" fmla="*/ 92710 h 138429"/>
                <a:gd name="connsiteX713" fmla="*/ 2945761 w 4940931"/>
                <a:gd name="connsiteY713" fmla="*/ 82550 h 138429"/>
                <a:gd name="connsiteX714" fmla="*/ 2944491 w 4940931"/>
                <a:gd name="connsiteY714" fmla="*/ 69850 h 138429"/>
                <a:gd name="connsiteX715" fmla="*/ 2947031 w 4940931"/>
                <a:gd name="connsiteY715" fmla="*/ 52070 h 138429"/>
                <a:gd name="connsiteX716" fmla="*/ 2954016 w 4940931"/>
                <a:gd name="connsiteY716" fmla="*/ 39370 h 138429"/>
                <a:gd name="connsiteX717" fmla="*/ 2964811 w 4940931"/>
                <a:gd name="connsiteY717" fmla="*/ 31750 h 138429"/>
                <a:gd name="connsiteX718" fmla="*/ 2978781 w 4940931"/>
                <a:gd name="connsiteY718" fmla="*/ 29210 h 138429"/>
                <a:gd name="connsiteX719" fmla="*/ 2798440 w 4940931"/>
                <a:gd name="connsiteY719" fmla="*/ 29210 h 138429"/>
                <a:gd name="connsiteX720" fmla="*/ 2813045 w 4940931"/>
                <a:gd name="connsiteY720" fmla="*/ 31750 h 138429"/>
                <a:gd name="connsiteX721" fmla="*/ 2825110 w 4940931"/>
                <a:gd name="connsiteY721" fmla="*/ 38100 h 138429"/>
                <a:gd name="connsiteX722" fmla="*/ 2827015 w 4940931"/>
                <a:gd name="connsiteY722" fmla="*/ 38100 h 138429"/>
                <a:gd name="connsiteX723" fmla="*/ 2820030 w 4940931"/>
                <a:gd name="connsiteY723" fmla="*/ 50165 h 138429"/>
                <a:gd name="connsiteX724" fmla="*/ 2810505 w 4940931"/>
                <a:gd name="connsiteY724" fmla="*/ 45085 h 138429"/>
                <a:gd name="connsiteX725" fmla="*/ 2799710 w 4940931"/>
                <a:gd name="connsiteY725" fmla="*/ 43180 h 138429"/>
                <a:gd name="connsiteX726" fmla="*/ 2791455 w 4940931"/>
                <a:gd name="connsiteY726" fmla="*/ 45085 h 138429"/>
                <a:gd name="connsiteX727" fmla="*/ 2788915 w 4940931"/>
                <a:gd name="connsiteY727" fmla="*/ 50165 h 138429"/>
                <a:gd name="connsiteX728" fmla="*/ 2788915 w 4940931"/>
                <a:gd name="connsiteY728" fmla="*/ 52705 h 138429"/>
                <a:gd name="connsiteX729" fmla="*/ 2790820 w 4940931"/>
                <a:gd name="connsiteY729" fmla="*/ 55245 h 138429"/>
                <a:gd name="connsiteX730" fmla="*/ 2795265 w 4940931"/>
                <a:gd name="connsiteY730" fmla="*/ 57785 h 138429"/>
                <a:gd name="connsiteX731" fmla="*/ 2802250 w 4940931"/>
                <a:gd name="connsiteY731" fmla="*/ 60960 h 138429"/>
                <a:gd name="connsiteX732" fmla="*/ 2813680 w 4940931"/>
                <a:gd name="connsiteY732" fmla="*/ 66040 h 138429"/>
                <a:gd name="connsiteX733" fmla="*/ 2821935 w 4940931"/>
                <a:gd name="connsiteY733" fmla="*/ 71120 h 138429"/>
                <a:gd name="connsiteX734" fmla="*/ 2827015 w 4940931"/>
                <a:gd name="connsiteY734" fmla="*/ 78105 h 138429"/>
                <a:gd name="connsiteX735" fmla="*/ 2828920 w 4940931"/>
                <a:gd name="connsiteY735" fmla="*/ 87630 h 138429"/>
                <a:gd name="connsiteX736" fmla="*/ 2826380 w 4940931"/>
                <a:gd name="connsiteY736" fmla="*/ 98425 h 138429"/>
                <a:gd name="connsiteX737" fmla="*/ 2820030 w 4940931"/>
                <a:gd name="connsiteY737" fmla="*/ 105410 h 138429"/>
                <a:gd name="connsiteX738" fmla="*/ 2810505 w 4940931"/>
                <a:gd name="connsiteY738" fmla="*/ 109220 h 138429"/>
                <a:gd name="connsiteX739" fmla="*/ 2799710 w 4940931"/>
                <a:gd name="connsiteY739" fmla="*/ 110490 h 138429"/>
                <a:gd name="connsiteX740" fmla="*/ 2783835 w 4940931"/>
                <a:gd name="connsiteY740" fmla="*/ 107950 h 138429"/>
                <a:gd name="connsiteX741" fmla="*/ 2769230 w 4940931"/>
                <a:gd name="connsiteY741" fmla="*/ 100965 h 138429"/>
                <a:gd name="connsiteX742" fmla="*/ 2776215 w 4940931"/>
                <a:gd name="connsiteY742" fmla="*/ 89535 h 138429"/>
                <a:gd name="connsiteX743" fmla="*/ 2787645 w 4940931"/>
                <a:gd name="connsiteY743" fmla="*/ 95250 h 138429"/>
                <a:gd name="connsiteX744" fmla="*/ 2799075 w 4940931"/>
                <a:gd name="connsiteY744" fmla="*/ 97155 h 138429"/>
                <a:gd name="connsiteX745" fmla="*/ 2809870 w 4940931"/>
                <a:gd name="connsiteY745" fmla="*/ 94615 h 138429"/>
                <a:gd name="connsiteX746" fmla="*/ 2813045 w 4940931"/>
                <a:gd name="connsiteY746" fmla="*/ 88265 h 138429"/>
                <a:gd name="connsiteX747" fmla="*/ 2811775 w 4940931"/>
                <a:gd name="connsiteY747" fmla="*/ 84455 h 138429"/>
                <a:gd name="connsiteX748" fmla="*/ 2807965 w 4940931"/>
                <a:gd name="connsiteY748" fmla="*/ 81280 h 138429"/>
                <a:gd name="connsiteX749" fmla="*/ 2802250 w 4940931"/>
                <a:gd name="connsiteY749" fmla="*/ 78105 h 138429"/>
                <a:gd name="connsiteX750" fmla="*/ 2794630 w 4940931"/>
                <a:gd name="connsiteY750" fmla="*/ 74930 h 138429"/>
                <a:gd name="connsiteX751" fmla="*/ 2783835 w 4940931"/>
                <a:gd name="connsiteY751" fmla="*/ 69850 h 138429"/>
                <a:gd name="connsiteX752" fmla="*/ 2776850 w 4940931"/>
                <a:gd name="connsiteY752" fmla="*/ 64770 h 138429"/>
                <a:gd name="connsiteX753" fmla="*/ 2773040 w 4940931"/>
                <a:gd name="connsiteY753" fmla="*/ 58420 h 138429"/>
                <a:gd name="connsiteX754" fmla="*/ 2771770 w 4940931"/>
                <a:gd name="connsiteY754" fmla="*/ 50165 h 138429"/>
                <a:gd name="connsiteX755" fmla="*/ 2773675 w 4940931"/>
                <a:gd name="connsiteY755" fmla="*/ 40640 h 138429"/>
                <a:gd name="connsiteX756" fmla="*/ 2779390 w 4940931"/>
                <a:gd name="connsiteY756" fmla="*/ 34290 h 138429"/>
                <a:gd name="connsiteX757" fmla="*/ 2787645 w 4940931"/>
                <a:gd name="connsiteY757" fmla="*/ 30480 h 138429"/>
                <a:gd name="connsiteX758" fmla="*/ 2798440 w 4940931"/>
                <a:gd name="connsiteY758" fmla="*/ 29210 h 138429"/>
                <a:gd name="connsiteX759" fmla="*/ 2723510 w 4940931"/>
                <a:gd name="connsiteY759" fmla="*/ 29210 h 138429"/>
                <a:gd name="connsiteX760" fmla="*/ 2729225 w 4940931"/>
                <a:gd name="connsiteY760" fmla="*/ 29210 h 138429"/>
                <a:gd name="connsiteX761" fmla="*/ 2741290 w 4940931"/>
                <a:gd name="connsiteY761" fmla="*/ 31750 h 138429"/>
                <a:gd name="connsiteX762" fmla="*/ 2750180 w 4940931"/>
                <a:gd name="connsiteY762" fmla="*/ 38100 h 138429"/>
                <a:gd name="connsiteX763" fmla="*/ 2755260 w 4940931"/>
                <a:gd name="connsiteY763" fmla="*/ 48895 h 138429"/>
                <a:gd name="connsiteX764" fmla="*/ 2757165 w 4940931"/>
                <a:gd name="connsiteY764" fmla="*/ 64135 h 138429"/>
                <a:gd name="connsiteX765" fmla="*/ 2757165 w 4940931"/>
                <a:gd name="connsiteY765" fmla="*/ 108585 h 138429"/>
                <a:gd name="connsiteX766" fmla="*/ 2741925 w 4940931"/>
                <a:gd name="connsiteY766" fmla="*/ 108585 h 138429"/>
                <a:gd name="connsiteX767" fmla="*/ 2741290 w 4940931"/>
                <a:gd name="connsiteY767" fmla="*/ 108585 h 138429"/>
                <a:gd name="connsiteX768" fmla="*/ 2741290 w 4940931"/>
                <a:gd name="connsiteY768" fmla="*/ 64770 h 138429"/>
                <a:gd name="connsiteX769" fmla="*/ 2737480 w 4940931"/>
                <a:gd name="connsiteY769" fmla="*/ 48895 h 138429"/>
                <a:gd name="connsiteX770" fmla="*/ 2725415 w 4940931"/>
                <a:gd name="connsiteY770" fmla="*/ 43180 h 138429"/>
                <a:gd name="connsiteX771" fmla="*/ 2718430 w 4940931"/>
                <a:gd name="connsiteY771" fmla="*/ 44450 h 138429"/>
                <a:gd name="connsiteX772" fmla="*/ 2713350 w 4940931"/>
                <a:gd name="connsiteY772" fmla="*/ 48260 h 138429"/>
                <a:gd name="connsiteX773" fmla="*/ 2710175 w 4940931"/>
                <a:gd name="connsiteY773" fmla="*/ 54610 h 138429"/>
                <a:gd name="connsiteX774" fmla="*/ 2709540 w 4940931"/>
                <a:gd name="connsiteY774" fmla="*/ 62865 h 138429"/>
                <a:gd name="connsiteX775" fmla="*/ 2709540 w 4940931"/>
                <a:gd name="connsiteY775" fmla="*/ 108585 h 138429"/>
                <a:gd name="connsiteX776" fmla="*/ 2694300 w 4940931"/>
                <a:gd name="connsiteY776" fmla="*/ 108585 h 138429"/>
                <a:gd name="connsiteX777" fmla="*/ 2694300 w 4940931"/>
                <a:gd name="connsiteY777" fmla="*/ 30480 h 138429"/>
                <a:gd name="connsiteX778" fmla="*/ 2709540 w 4940931"/>
                <a:gd name="connsiteY778" fmla="*/ 30480 h 138429"/>
                <a:gd name="connsiteX779" fmla="*/ 2709540 w 4940931"/>
                <a:gd name="connsiteY779" fmla="*/ 38100 h 138429"/>
                <a:gd name="connsiteX780" fmla="*/ 2713350 w 4940931"/>
                <a:gd name="connsiteY780" fmla="*/ 34290 h 138429"/>
                <a:gd name="connsiteX781" fmla="*/ 2717795 w 4940931"/>
                <a:gd name="connsiteY781" fmla="*/ 31115 h 138429"/>
                <a:gd name="connsiteX782" fmla="*/ 2723510 w 4940931"/>
                <a:gd name="connsiteY782" fmla="*/ 29210 h 138429"/>
                <a:gd name="connsiteX783" fmla="*/ 2530470 w 4940931"/>
                <a:gd name="connsiteY783" fmla="*/ 29210 h 138429"/>
                <a:gd name="connsiteX784" fmla="*/ 2545075 w 4940931"/>
                <a:gd name="connsiteY784" fmla="*/ 32385 h 138429"/>
                <a:gd name="connsiteX785" fmla="*/ 2555235 w 4940931"/>
                <a:gd name="connsiteY785" fmla="*/ 40640 h 138429"/>
                <a:gd name="connsiteX786" fmla="*/ 2561585 w 4940931"/>
                <a:gd name="connsiteY786" fmla="*/ 53340 h 138429"/>
                <a:gd name="connsiteX787" fmla="*/ 2563490 w 4940931"/>
                <a:gd name="connsiteY787" fmla="*/ 68580 h 138429"/>
                <a:gd name="connsiteX788" fmla="*/ 2562220 w 4940931"/>
                <a:gd name="connsiteY788" fmla="*/ 68580 h 138429"/>
                <a:gd name="connsiteX789" fmla="*/ 2562220 w 4940931"/>
                <a:gd name="connsiteY789" fmla="*/ 72390 h 138429"/>
                <a:gd name="connsiteX790" fmla="*/ 2562220 w 4940931"/>
                <a:gd name="connsiteY790" fmla="*/ 75565 h 138429"/>
                <a:gd name="connsiteX791" fmla="*/ 2510785 w 4940931"/>
                <a:gd name="connsiteY791" fmla="*/ 75565 h 138429"/>
                <a:gd name="connsiteX792" fmla="*/ 2513325 w 4940931"/>
                <a:gd name="connsiteY792" fmla="*/ 85090 h 138429"/>
                <a:gd name="connsiteX793" fmla="*/ 2517770 w 4940931"/>
                <a:gd name="connsiteY793" fmla="*/ 91440 h 138429"/>
                <a:gd name="connsiteX794" fmla="*/ 2523485 w 4940931"/>
                <a:gd name="connsiteY794" fmla="*/ 95250 h 138429"/>
                <a:gd name="connsiteX795" fmla="*/ 2530470 w 4940931"/>
                <a:gd name="connsiteY795" fmla="*/ 96520 h 138429"/>
                <a:gd name="connsiteX796" fmla="*/ 2535550 w 4940931"/>
                <a:gd name="connsiteY796" fmla="*/ 96520 h 138429"/>
                <a:gd name="connsiteX797" fmla="*/ 2539995 w 4940931"/>
                <a:gd name="connsiteY797" fmla="*/ 95250 h 138429"/>
                <a:gd name="connsiteX798" fmla="*/ 2543805 w 4940931"/>
                <a:gd name="connsiteY798" fmla="*/ 93345 h 138429"/>
                <a:gd name="connsiteX799" fmla="*/ 2548250 w 4940931"/>
                <a:gd name="connsiteY799" fmla="*/ 90805 h 138429"/>
                <a:gd name="connsiteX800" fmla="*/ 2557140 w 4940931"/>
                <a:gd name="connsiteY800" fmla="*/ 100330 h 138429"/>
                <a:gd name="connsiteX801" fmla="*/ 2551425 w 4940931"/>
                <a:gd name="connsiteY801" fmla="*/ 104775 h 138429"/>
                <a:gd name="connsiteX802" fmla="*/ 2545710 w 4940931"/>
                <a:gd name="connsiteY802" fmla="*/ 107950 h 138429"/>
                <a:gd name="connsiteX803" fmla="*/ 2538725 w 4940931"/>
                <a:gd name="connsiteY803" fmla="*/ 109855 h 138429"/>
                <a:gd name="connsiteX804" fmla="*/ 2529835 w 4940931"/>
                <a:gd name="connsiteY804" fmla="*/ 110490 h 138429"/>
                <a:gd name="connsiteX805" fmla="*/ 2520310 w 4940931"/>
                <a:gd name="connsiteY805" fmla="*/ 109220 h 138429"/>
                <a:gd name="connsiteX806" fmla="*/ 2512690 w 4940931"/>
                <a:gd name="connsiteY806" fmla="*/ 105410 h 138429"/>
                <a:gd name="connsiteX807" fmla="*/ 2506340 w 4940931"/>
                <a:gd name="connsiteY807" fmla="*/ 100330 h 138429"/>
                <a:gd name="connsiteX808" fmla="*/ 2501260 w 4940931"/>
                <a:gd name="connsiteY808" fmla="*/ 92710 h 138429"/>
                <a:gd name="connsiteX809" fmla="*/ 2497450 w 4940931"/>
                <a:gd name="connsiteY809" fmla="*/ 82550 h 138429"/>
                <a:gd name="connsiteX810" fmla="*/ 2496180 w 4940931"/>
                <a:gd name="connsiteY810" fmla="*/ 69850 h 138429"/>
                <a:gd name="connsiteX811" fmla="*/ 2498720 w 4940931"/>
                <a:gd name="connsiteY811" fmla="*/ 52070 h 138429"/>
                <a:gd name="connsiteX812" fmla="*/ 2505705 w 4940931"/>
                <a:gd name="connsiteY812" fmla="*/ 39370 h 138429"/>
                <a:gd name="connsiteX813" fmla="*/ 2516500 w 4940931"/>
                <a:gd name="connsiteY813" fmla="*/ 31750 h 138429"/>
                <a:gd name="connsiteX814" fmla="*/ 2530470 w 4940931"/>
                <a:gd name="connsiteY814" fmla="*/ 29210 h 138429"/>
                <a:gd name="connsiteX815" fmla="*/ 2298061 w 4940931"/>
                <a:gd name="connsiteY815" fmla="*/ 29210 h 138429"/>
                <a:gd name="connsiteX816" fmla="*/ 2305681 w 4940931"/>
                <a:gd name="connsiteY816" fmla="*/ 29845 h 138429"/>
                <a:gd name="connsiteX817" fmla="*/ 2311396 w 4940931"/>
                <a:gd name="connsiteY817" fmla="*/ 32385 h 138429"/>
                <a:gd name="connsiteX818" fmla="*/ 2307586 w 4940931"/>
                <a:gd name="connsiteY818" fmla="*/ 46990 h 138429"/>
                <a:gd name="connsiteX819" fmla="*/ 2306316 w 4940931"/>
                <a:gd name="connsiteY819" fmla="*/ 46990 h 138429"/>
                <a:gd name="connsiteX820" fmla="*/ 2301236 w 4940931"/>
                <a:gd name="connsiteY820" fmla="*/ 45085 h 138429"/>
                <a:gd name="connsiteX821" fmla="*/ 2294886 w 4940931"/>
                <a:gd name="connsiteY821" fmla="*/ 44450 h 138429"/>
                <a:gd name="connsiteX822" fmla="*/ 2283456 w 4940931"/>
                <a:gd name="connsiteY822" fmla="*/ 49530 h 138429"/>
                <a:gd name="connsiteX823" fmla="*/ 2279646 w 4940931"/>
                <a:gd name="connsiteY823" fmla="*/ 64770 h 138429"/>
                <a:gd name="connsiteX824" fmla="*/ 2279646 w 4940931"/>
                <a:gd name="connsiteY824" fmla="*/ 109220 h 138429"/>
                <a:gd name="connsiteX825" fmla="*/ 2264406 w 4940931"/>
                <a:gd name="connsiteY825" fmla="*/ 109220 h 138429"/>
                <a:gd name="connsiteX826" fmla="*/ 2264406 w 4940931"/>
                <a:gd name="connsiteY826" fmla="*/ 31115 h 138429"/>
                <a:gd name="connsiteX827" fmla="*/ 2279646 w 4940931"/>
                <a:gd name="connsiteY827" fmla="*/ 31115 h 138429"/>
                <a:gd name="connsiteX828" fmla="*/ 2279646 w 4940931"/>
                <a:gd name="connsiteY828" fmla="*/ 38735 h 138429"/>
                <a:gd name="connsiteX829" fmla="*/ 2282821 w 4940931"/>
                <a:gd name="connsiteY829" fmla="*/ 34925 h 138429"/>
                <a:gd name="connsiteX830" fmla="*/ 2287266 w 4940931"/>
                <a:gd name="connsiteY830" fmla="*/ 31750 h 138429"/>
                <a:gd name="connsiteX831" fmla="*/ 2292346 w 4940931"/>
                <a:gd name="connsiteY831" fmla="*/ 29845 h 138429"/>
                <a:gd name="connsiteX832" fmla="*/ 2298061 w 4940931"/>
                <a:gd name="connsiteY832" fmla="*/ 29210 h 138429"/>
                <a:gd name="connsiteX833" fmla="*/ 2216145 w 4940931"/>
                <a:gd name="connsiteY833" fmla="*/ 29210 h 138429"/>
                <a:gd name="connsiteX834" fmla="*/ 2230750 w 4940931"/>
                <a:gd name="connsiteY834" fmla="*/ 32385 h 138429"/>
                <a:gd name="connsiteX835" fmla="*/ 2240910 w 4940931"/>
                <a:gd name="connsiteY835" fmla="*/ 40640 h 138429"/>
                <a:gd name="connsiteX836" fmla="*/ 2247260 w 4940931"/>
                <a:gd name="connsiteY836" fmla="*/ 53340 h 138429"/>
                <a:gd name="connsiteX837" fmla="*/ 2249165 w 4940931"/>
                <a:gd name="connsiteY837" fmla="*/ 68580 h 138429"/>
                <a:gd name="connsiteX838" fmla="*/ 2247895 w 4940931"/>
                <a:gd name="connsiteY838" fmla="*/ 68580 h 138429"/>
                <a:gd name="connsiteX839" fmla="*/ 2247895 w 4940931"/>
                <a:gd name="connsiteY839" fmla="*/ 72390 h 138429"/>
                <a:gd name="connsiteX840" fmla="*/ 2247895 w 4940931"/>
                <a:gd name="connsiteY840" fmla="*/ 75565 h 138429"/>
                <a:gd name="connsiteX841" fmla="*/ 2196460 w 4940931"/>
                <a:gd name="connsiteY841" fmla="*/ 75565 h 138429"/>
                <a:gd name="connsiteX842" fmla="*/ 2199000 w 4940931"/>
                <a:gd name="connsiteY842" fmla="*/ 85090 h 138429"/>
                <a:gd name="connsiteX843" fmla="*/ 2203445 w 4940931"/>
                <a:gd name="connsiteY843" fmla="*/ 91440 h 138429"/>
                <a:gd name="connsiteX844" fmla="*/ 2209160 w 4940931"/>
                <a:gd name="connsiteY844" fmla="*/ 95250 h 138429"/>
                <a:gd name="connsiteX845" fmla="*/ 2216145 w 4940931"/>
                <a:gd name="connsiteY845" fmla="*/ 96520 h 138429"/>
                <a:gd name="connsiteX846" fmla="*/ 2221225 w 4940931"/>
                <a:gd name="connsiteY846" fmla="*/ 96520 h 138429"/>
                <a:gd name="connsiteX847" fmla="*/ 2225670 w 4940931"/>
                <a:gd name="connsiteY847" fmla="*/ 95250 h 138429"/>
                <a:gd name="connsiteX848" fmla="*/ 2229480 w 4940931"/>
                <a:gd name="connsiteY848" fmla="*/ 93345 h 138429"/>
                <a:gd name="connsiteX849" fmla="*/ 2233925 w 4940931"/>
                <a:gd name="connsiteY849" fmla="*/ 90805 h 138429"/>
                <a:gd name="connsiteX850" fmla="*/ 2242815 w 4940931"/>
                <a:gd name="connsiteY850" fmla="*/ 100330 h 138429"/>
                <a:gd name="connsiteX851" fmla="*/ 2237100 w 4940931"/>
                <a:gd name="connsiteY851" fmla="*/ 104775 h 138429"/>
                <a:gd name="connsiteX852" fmla="*/ 2231385 w 4940931"/>
                <a:gd name="connsiteY852" fmla="*/ 107950 h 138429"/>
                <a:gd name="connsiteX853" fmla="*/ 2224400 w 4940931"/>
                <a:gd name="connsiteY853" fmla="*/ 109855 h 138429"/>
                <a:gd name="connsiteX854" fmla="*/ 2215510 w 4940931"/>
                <a:gd name="connsiteY854" fmla="*/ 110490 h 138429"/>
                <a:gd name="connsiteX855" fmla="*/ 2205985 w 4940931"/>
                <a:gd name="connsiteY855" fmla="*/ 109220 h 138429"/>
                <a:gd name="connsiteX856" fmla="*/ 2198365 w 4940931"/>
                <a:gd name="connsiteY856" fmla="*/ 105410 h 138429"/>
                <a:gd name="connsiteX857" fmla="*/ 2192015 w 4940931"/>
                <a:gd name="connsiteY857" fmla="*/ 100330 h 138429"/>
                <a:gd name="connsiteX858" fmla="*/ 2186935 w 4940931"/>
                <a:gd name="connsiteY858" fmla="*/ 92710 h 138429"/>
                <a:gd name="connsiteX859" fmla="*/ 2183125 w 4940931"/>
                <a:gd name="connsiteY859" fmla="*/ 82550 h 138429"/>
                <a:gd name="connsiteX860" fmla="*/ 2181855 w 4940931"/>
                <a:gd name="connsiteY860" fmla="*/ 69850 h 138429"/>
                <a:gd name="connsiteX861" fmla="*/ 2184395 w 4940931"/>
                <a:gd name="connsiteY861" fmla="*/ 52070 h 138429"/>
                <a:gd name="connsiteX862" fmla="*/ 2191380 w 4940931"/>
                <a:gd name="connsiteY862" fmla="*/ 39370 h 138429"/>
                <a:gd name="connsiteX863" fmla="*/ 2202175 w 4940931"/>
                <a:gd name="connsiteY863" fmla="*/ 31750 h 138429"/>
                <a:gd name="connsiteX864" fmla="*/ 2216145 w 4940931"/>
                <a:gd name="connsiteY864" fmla="*/ 29210 h 138429"/>
                <a:gd name="connsiteX865" fmla="*/ 2029456 w 4940931"/>
                <a:gd name="connsiteY865" fmla="*/ 29210 h 138429"/>
                <a:gd name="connsiteX866" fmla="*/ 2044061 w 4940931"/>
                <a:gd name="connsiteY866" fmla="*/ 32385 h 138429"/>
                <a:gd name="connsiteX867" fmla="*/ 2054221 w 4940931"/>
                <a:gd name="connsiteY867" fmla="*/ 40640 h 138429"/>
                <a:gd name="connsiteX868" fmla="*/ 2060571 w 4940931"/>
                <a:gd name="connsiteY868" fmla="*/ 53340 h 138429"/>
                <a:gd name="connsiteX869" fmla="*/ 2062476 w 4940931"/>
                <a:gd name="connsiteY869" fmla="*/ 68580 h 138429"/>
                <a:gd name="connsiteX870" fmla="*/ 2061206 w 4940931"/>
                <a:gd name="connsiteY870" fmla="*/ 68580 h 138429"/>
                <a:gd name="connsiteX871" fmla="*/ 2061206 w 4940931"/>
                <a:gd name="connsiteY871" fmla="*/ 72390 h 138429"/>
                <a:gd name="connsiteX872" fmla="*/ 2061206 w 4940931"/>
                <a:gd name="connsiteY872" fmla="*/ 75565 h 138429"/>
                <a:gd name="connsiteX873" fmla="*/ 2009771 w 4940931"/>
                <a:gd name="connsiteY873" fmla="*/ 75565 h 138429"/>
                <a:gd name="connsiteX874" fmla="*/ 2012311 w 4940931"/>
                <a:gd name="connsiteY874" fmla="*/ 85090 h 138429"/>
                <a:gd name="connsiteX875" fmla="*/ 2016756 w 4940931"/>
                <a:gd name="connsiteY875" fmla="*/ 91440 h 138429"/>
                <a:gd name="connsiteX876" fmla="*/ 2022471 w 4940931"/>
                <a:gd name="connsiteY876" fmla="*/ 95250 h 138429"/>
                <a:gd name="connsiteX877" fmla="*/ 2029456 w 4940931"/>
                <a:gd name="connsiteY877" fmla="*/ 96520 h 138429"/>
                <a:gd name="connsiteX878" fmla="*/ 2034536 w 4940931"/>
                <a:gd name="connsiteY878" fmla="*/ 96520 h 138429"/>
                <a:gd name="connsiteX879" fmla="*/ 2038981 w 4940931"/>
                <a:gd name="connsiteY879" fmla="*/ 95250 h 138429"/>
                <a:gd name="connsiteX880" fmla="*/ 2042791 w 4940931"/>
                <a:gd name="connsiteY880" fmla="*/ 93345 h 138429"/>
                <a:gd name="connsiteX881" fmla="*/ 2047236 w 4940931"/>
                <a:gd name="connsiteY881" fmla="*/ 90805 h 138429"/>
                <a:gd name="connsiteX882" fmla="*/ 2056126 w 4940931"/>
                <a:gd name="connsiteY882" fmla="*/ 100330 h 138429"/>
                <a:gd name="connsiteX883" fmla="*/ 2050411 w 4940931"/>
                <a:gd name="connsiteY883" fmla="*/ 104775 h 138429"/>
                <a:gd name="connsiteX884" fmla="*/ 2044696 w 4940931"/>
                <a:gd name="connsiteY884" fmla="*/ 107950 h 138429"/>
                <a:gd name="connsiteX885" fmla="*/ 2037711 w 4940931"/>
                <a:gd name="connsiteY885" fmla="*/ 109855 h 138429"/>
                <a:gd name="connsiteX886" fmla="*/ 2028821 w 4940931"/>
                <a:gd name="connsiteY886" fmla="*/ 110490 h 138429"/>
                <a:gd name="connsiteX887" fmla="*/ 2019296 w 4940931"/>
                <a:gd name="connsiteY887" fmla="*/ 109220 h 138429"/>
                <a:gd name="connsiteX888" fmla="*/ 2011676 w 4940931"/>
                <a:gd name="connsiteY888" fmla="*/ 105410 h 138429"/>
                <a:gd name="connsiteX889" fmla="*/ 2005326 w 4940931"/>
                <a:gd name="connsiteY889" fmla="*/ 100330 h 138429"/>
                <a:gd name="connsiteX890" fmla="*/ 2000246 w 4940931"/>
                <a:gd name="connsiteY890" fmla="*/ 92710 h 138429"/>
                <a:gd name="connsiteX891" fmla="*/ 1996436 w 4940931"/>
                <a:gd name="connsiteY891" fmla="*/ 82550 h 138429"/>
                <a:gd name="connsiteX892" fmla="*/ 1995166 w 4940931"/>
                <a:gd name="connsiteY892" fmla="*/ 69850 h 138429"/>
                <a:gd name="connsiteX893" fmla="*/ 1997706 w 4940931"/>
                <a:gd name="connsiteY893" fmla="*/ 52070 h 138429"/>
                <a:gd name="connsiteX894" fmla="*/ 2004691 w 4940931"/>
                <a:gd name="connsiteY894" fmla="*/ 39370 h 138429"/>
                <a:gd name="connsiteX895" fmla="*/ 2015486 w 4940931"/>
                <a:gd name="connsiteY895" fmla="*/ 31750 h 138429"/>
                <a:gd name="connsiteX896" fmla="*/ 2029456 w 4940931"/>
                <a:gd name="connsiteY896" fmla="*/ 29210 h 138429"/>
                <a:gd name="connsiteX897" fmla="*/ 1831336 w 4940931"/>
                <a:gd name="connsiteY897" fmla="*/ 29210 h 138429"/>
                <a:gd name="connsiteX898" fmla="*/ 1845941 w 4940931"/>
                <a:gd name="connsiteY898" fmla="*/ 32385 h 138429"/>
                <a:gd name="connsiteX899" fmla="*/ 1856101 w 4940931"/>
                <a:gd name="connsiteY899" fmla="*/ 40640 h 138429"/>
                <a:gd name="connsiteX900" fmla="*/ 1862451 w 4940931"/>
                <a:gd name="connsiteY900" fmla="*/ 53340 h 138429"/>
                <a:gd name="connsiteX901" fmla="*/ 1864356 w 4940931"/>
                <a:gd name="connsiteY901" fmla="*/ 68580 h 138429"/>
                <a:gd name="connsiteX902" fmla="*/ 1863086 w 4940931"/>
                <a:gd name="connsiteY902" fmla="*/ 68580 h 138429"/>
                <a:gd name="connsiteX903" fmla="*/ 1863086 w 4940931"/>
                <a:gd name="connsiteY903" fmla="*/ 72390 h 138429"/>
                <a:gd name="connsiteX904" fmla="*/ 1863086 w 4940931"/>
                <a:gd name="connsiteY904" fmla="*/ 75565 h 138429"/>
                <a:gd name="connsiteX905" fmla="*/ 1811651 w 4940931"/>
                <a:gd name="connsiteY905" fmla="*/ 75565 h 138429"/>
                <a:gd name="connsiteX906" fmla="*/ 1814191 w 4940931"/>
                <a:gd name="connsiteY906" fmla="*/ 85090 h 138429"/>
                <a:gd name="connsiteX907" fmla="*/ 1818636 w 4940931"/>
                <a:gd name="connsiteY907" fmla="*/ 91440 h 138429"/>
                <a:gd name="connsiteX908" fmla="*/ 1824351 w 4940931"/>
                <a:gd name="connsiteY908" fmla="*/ 95250 h 138429"/>
                <a:gd name="connsiteX909" fmla="*/ 1831336 w 4940931"/>
                <a:gd name="connsiteY909" fmla="*/ 96520 h 138429"/>
                <a:gd name="connsiteX910" fmla="*/ 1836416 w 4940931"/>
                <a:gd name="connsiteY910" fmla="*/ 96520 h 138429"/>
                <a:gd name="connsiteX911" fmla="*/ 1840861 w 4940931"/>
                <a:gd name="connsiteY911" fmla="*/ 95250 h 138429"/>
                <a:gd name="connsiteX912" fmla="*/ 1844671 w 4940931"/>
                <a:gd name="connsiteY912" fmla="*/ 93345 h 138429"/>
                <a:gd name="connsiteX913" fmla="*/ 1849116 w 4940931"/>
                <a:gd name="connsiteY913" fmla="*/ 90805 h 138429"/>
                <a:gd name="connsiteX914" fmla="*/ 1858006 w 4940931"/>
                <a:gd name="connsiteY914" fmla="*/ 100330 h 138429"/>
                <a:gd name="connsiteX915" fmla="*/ 1852291 w 4940931"/>
                <a:gd name="connsiteY915" fmla="*/ 104775 h 138429"/>
                <a:gd name="connsiteX916" fmla="*/ 1846576 w 4940931"/>
                <a:gd name="connsiteY916" fmla="*/ 107950 h 138429"/>
                <a:gd name="connsiteX917" fmla="*/ 1839591 w 4940931"/>
                <a:gd name="connsiteY917" fmla="*/ 109855 h 138429"/>
                <a:gd name="connsiteX918" fmla="*/ 1830701 w 4940931"/>
                <a:gd name="connsiteY918" fmla="*/ 110490 h 138429"/>
                <a:gd name="connsiteX919" fmla="*/ 1821176 w 4940931"/>
                <a:gd name="connsiteY919" fmla="*/ 109220 h 138429"/>
                <a:gd name="connsiteX920" fmla="*/ 1813556 w 4940931"/>
                <a:gd name="connsiteY920" fmla="*/ 105410 h 138429"/>
                <a:gd name="connsiteX921" fmla="*/ 1807206 w 4940931"/>
                <a:gd name="connsiteY921" fmla="*/ 100330 h 138429"/>
                <a:gd name="connsiteX922" fmla="*/ 1802126 w 4940931"/>
                <a:gd name="connsiteY922" fmla="*/ 92710 h 138429"/>
                <a:gd name="connsiteX923" fmla="*/ 1798316 w 4940931"/>
                <a:gd name="connsiteY923" fmla="*/ 82550 h 138429"/>
                <a:gd name="connsiteX924" fmla="*/ 1797046 w 4940931"/>
                <a:gd name="connsiteY924" fmla="*/ 69850 h 138429"/>
                <a:gd name="connsiteX925" fmla="*/ 1799586 w 4940931"/>
                <a:gd name="connsiteY925" fmla="*/ 52070 h 138429"/>
                <a:gd name="connsiteX926" fmla="*/ 1806571 w 4940931"/>
                <a:gd name="connsiteY926" fmla="*/ 39370 h 138429"/>
                <a:gd name="connsiteX927" fmla="*/ 1817366 w 4940931"/>
                <a:gd name="connsiteY927" fmla="*/ 31750 h 138429"/>
                <a:gd name="connsiteX928" fmla="*/ 1831336 w 4940931"/>
                <a:gd name="connsiteY928" fmla="*/ 29210 h 138429"/>
                <a:gd name="connsiteX929" fmla="*/ 1501140 w 4940931"/>
                <a:gd name="connsiteY929" fmla="*/ 29210 h 138429"/>
                <a:gd name="connsiteX930" fmla="*/ 1506856 w 4940931"/>
                <a:gd name="connsiteY930" fmla="*/ 29210 h 138429"/>
                <a:gd name="connsiteX931" fmla="*/ 1518920 w 4940931"/>
                <a:gd name="connsiteY931" fmla="*/ 31750 h 138429"/>
                <a:gd name="connsiteX932" fmla="*/ 1527811 w 4940931"/>
                <a:gd name="connsiteY932" fmla="*/ 38100 h 138429"/>
                <a:gd name="connsiteX933" fmla="*/ 1532891 w 4940931"/>
                <a:gd name="connsiteY933" fmla="*/ 48895 h 138429"/>
                <a:gd name="connsiteX934" fmla="*/ 1534796 w 4940931"/>
                <a:gd name="connsiteY934" fmla="*/ 64135 h 138429"/>
                <a:gd name="connsiteX935" fmla="*/ 1534796 w 4940931"/>
                <a:gd name="connsiteY935" fmla="*/ 108585 h 138429"/>
                <a:gd name="connsiteX936" fmla="*/ 1519556 w 4940931"/>
                <a:gd name="connsiteY936" fmla="*/ 108585 h 138429"/>
                <a:gd name="connsiteX937" fmla="*/ 1518920 w 4940931"/>
                <a:gd name="connsiteY937" fmla="*/ 108585 h 138429"/>
                <a:gd name="connsiteX938" fmla="*/ 1518920 w 4940931"/>
                <a:gd name="connsiteY938" fmla="*/ 64770 h 138429"/>
                <a:gd name="connsiteX939" fmla="*/ 1515111 w 4940931"/>
                <a:gd name="connsiteY939" fmla="*/ 48895 h 138429"/>
                <a:gd name="connsiteX940" fmla="*/ 1503046 w 4940931"/>
                <a:gd name="connsiteY940" fmla="*/ 43180 h 138429"/>
                <a:gd name="connsiteX941" fmla="*/ 1496061 w 4940931"/>
                <a:gd name="connsiteY941" fmla="*/ 44450 h 138429"/>
                <a:gd name="connsiteX942" fmla="*/ 1490981 w 4940931"/>
                <a:gd name="connsiteY942" fmla="*/ 48260 h 138429"/>
                <a:gd name="connsiteX943" fmla="*/ 1487806 w 4940931"/>
                <a:gd name="connsiteY943" fmla="*/ 54610 h 138429"/>
                <a:gd name="connsiteX944" fmla="*/ 1487170 w 4940931"/>
                <a:gd name="connsiteY944" fmla="*/ 62865 h 138429"/>
                <a:gd name="connsiteX945" fmla="*/ 1487170 w 4940931"/>
                <a:gd name="connsiteY945" fmla="*/ 108585 h 138429"/>
                <a:gd name="connsiteX946" fmla="*/ 1471931 w 4940931"/>
                <a:gd name="connsiteY946" fmla="*/ 108585 h 138429"/>
                <a:gd name="connsiteX947" fmla="*/ 1471931 w 4940931"/>
                <a:gd name="connsiteY947" fmla="*/ 30480 h 138429"/>
                <a:gd name="connsiteX948" fmla="*/ 1487170 w 4940931"/>
                <a:gd name="connsiteY948" fmla="*/ 30480 h 138429"/>
                <a:gd name="connsiteX949" fmla="*/ 1487170 w 4940931"/>
                <a:gd name="connsiteY949" fmla="*/ 38100 h 138429"/>
                <a:gd name="connsiteX950" fmla="*/ 1490981 w 4940931"/>
                <a:gd name="connsiteY950" fmla="*/ 34290 h 138429"/>
                <a:gd name="connsiteX951" fmla="*/ 1495426 w 4940931"/>
                <a:gd name="connsiteY951" fmla="*/ 31115 h 138429"/>
                <a:gd name="connsiteX952" fmla="*/ 1501140 w 4940931"/>
                <a:gd name="connsiteY952" fmla="*/ 29210 h 138429"/>
                <a:gd name="connsiteX953" fmla="*/ 1250316 w 4940931"/>
                <a:gd name="connsiteY953" fmla="*/ 29210 h 138429"/>
                <a:gd name="connsiteX954" fmla="*/ 1264286 w 4940931"/>
                <a:gd name="connsiteY954" fmla="*/ 31750 h 138429"/>
                <a:gd name="connsiteX955" fmla="*/ 1276350 w 4940931"/>
                <a:gd name="connsiteY955" fmla="*/ 38100 h 138429"/>
                <a:gd name="connsiteX956" fmla="*/ 1278256 w 4940931"/>
                <a:gd name="connsiteY956" fmla="*/ 38100 h 138429"/>
                <a:gd name="connsiteX957" fmla="*/ 1271271 w 4940931"/>
                <a:gd name="connsiteY957" fmla="*/ 50165 h 138429"/>
                <a:gd name="connsiteX958" fmla="*/ 1261746 w 4940931"/>
                <a:gd name="connsiteY958" fmla="*/ 45085 h 138429"/>
                <a:gd name="connsiteX959" fmla="*/ 1250951 w 4940931"/>
                <a:gd name="connsiteY959" fmla="*/ 43180 h 138429"/>
                <a:gd name="connsiteX960" fmla="*/ 1242696 w 4940931"/>
                <a:gd name="connsiteY960" fmla="*/ 45085 h 138429"/>
                <a:gd name="connsiteX961" fmla="*/ 1240156 w 4940931"/>
                <a:gd name="connsiteY961" fmla="*/ 50165 h 138429"/>
                <a:gd name="connsiteX962" fmla="*/ 1240156 w 4940931"/>
                <a:gd name="connsiteY962" fmla="*/ 52705 h 138429"/>
                <a:gd name="connsiteX963" fmla="*/ 1242061 w 4940931"/>
                <a:gd name="connsiteY963" fmla="*/ 55245 h 138429"/>
                <a:gd name="connsiteX964" fmla="*/ 1246506 w 4940931"/>
                <a:gd name="connsiteY964" fmla="*/ 57785 h 138429"/>
                <a:gd name="connsiteX965" fmla="*/ 1253491 w 4940931"/>
                <a:gd name="connsiteY965" fmla="*/ 60960 h 138429"/>
                <a:gd name="connsiteX966" fmla="*/ 1264921 w 4940931"/>
                <a:gd name="connsiteY966" fmla="*/ 66040 h 138429"/>
                <a:gd name="connsiteX967" fmla="*/ 1273176 w 4940931"/>
                <a:gd name="connsiteY967" fmla="*/ 71120 h 138429"/>
                <a:gd name="connsiteX968" fmla="*/ 1278256 w 4940931"/>
                <a:gd name="connsiteY968" fmla="*/ 78105 h 138429"/>
                <a:gd name="connsiteX969" fmla="*/ 1280161 w 4940931"/>
                <a:gd name="connsiteY969" fmla="*/ 87630 h 138429"/>
                <a:gd name="connsiteX970" fmla="*/ 1277621 w 4940931"/>
                <a:gd name="connsiteY970" fmla="*/ 98425 h 138429"/>
                <a:gd name="connsiteX971" fmla="*/ 1271271 w 4940931"/>
                <a:gd name="connsiteY971" fmla="*/ 105410 h 138429"/>
                <a:gd name="connsiteX972" fmla="*/ 1261746 w 4940931"/>
                <a:gd name="connsiteY972" fmla="*/ 109220 h 138429"/>
                <a:gd name="connsiteX973" fmla="*/ 1250951 w 4940931"/>
                <a:gd name="connsiteY973" fmla="*/ 110490 h 138429"/>
                <a:gd name="connsiteX974" fmla="*/ 1235711 w 4940931"/>
                <a:gd name="connsiteY974" fmla="*/ 107950 h 138429"/>
                <a:gd name="connsiteX975" fmla="*/ 1221106 w 4940931"/>
                <a:gd name="connsiteY975" fmla="*/ 100965 h 138429"/>
                <a:gd name="connsiteX976" fmla="*/ 1228091 w 4940931"/>
                <a:gd name="connsiteY976" fmla="*/ 89535 h 138429"/>
                <a:gd name="connsiteX977" fmla="*/ 1239521 w 4940931"/>
                <a:gd name="connsiteY977" fmla="*/ 95250 h 138429"/>
                <a:gd name="connsiteX978" fmla="*/ 1250951 w 4940931"/>
                <a:gd name="connsiteY978" fmla="*/ 97155 h 138429"/>
                <a:gd name="connsiteX979" fmla="*/ 1261746 w 4940931"/>
                <a:gd name="connsiteY979" fmla="*/ 94615 h 138429"/>
                <a:gd name="connsiteX980" fmla="*/ 1264921 w 4940931"/>
                <a:gd name="connsiteY980" fmla="*/ 88265 h 138429"/>
                <a:gd name="connsiteX981" fmla="*/ 1263650 w 4940931"/>
                <a:gd name="connsiteY981" fmla="*/ 84455 h 138429"/>
                <a:gd name="connsiteX982" fmla="*/ 1259841 w 4940931"/>
                <a:gd name="connsiteY982" fmla="*/ 81280 h 138429"/>
                <a:gd name="connsiteX983" fmla="*/ 1254125 w 4940931"/>
                <a:gd name="connsiteY983" fmla="*/ 78105 h 138429"/>
                <a:gd name="connsiteX984" fmla="*/ 1246506 w 4940931"/>
                <a:gd name="connsiteY984" fmla="*/ 74930 h 138429"/>
                <a:gd name="connsiteX985" fmla="*/ 1235711 w 4940931"/>
                <a:gd name="connsiteY985" fmla="*/ 69850 h 138429"/>
                <a:gd name="connsiteX986" fmla="*/ 1228726 w 4940931"/>
                <a:gd name="connsiteY986" fmla="*/ 64770 h 138429"/>
                <a:gd name="connsiteX987" fmla="*/ 1224916 w 4940931"/>
                <a:gd name="connsiteY987" fmla="*/ 58420 h 138429"/>
                <a:gd name="connsiteX988" fmla="*/ 1223646 w 4940931"/>
                <a:gd name="connsiteY988" fmla="*/ 50165 h 138429"/>
                <a:gd name="connsiteX989" fmla="*/ 1225551 w 4940931"/>
                <a:gd name="connsiteY989" fmla="*/ 40640 h 138429"/>
                <a:gd name="connsiteX990" fmla="*/ 1231266 w 4940931"/>
                <a:gd name="connsiteY990" fmla="*/ 34290 h 138429"/>
                <a:gd name="connsiteX991" fmla="*/ 1239521 w 4940931"/>
                <a:gd name="connsiteY991" fmla="*/ 30480 h 138429"/>
                <a:gd name="connsiteX992" fmla="*/ 1250316 w 4940931"/>
                <a:gd name="connsiteY992" fmla="*/ 29210 h 138429"/>
                <a:gd name="connsiteX993" fmla="*/ 1180466 w 4940931"/>
                <a:gd name="connsiteY993" fmla="*/ 29210 h 138429"/>
                <a:gd name="connsiteX994" fmla="*/ 1195071 w 4940931"/>
                <a:gd name="connsiteY994" fmla="*/ 32385 h 138429"/>
                <a:gd name="connsiteX995" fmla="*/ 1205231 w 4940931"/>
                <a:gd name="connsiteY995" fmla="*/ 40640 h 138429"/>
                <a:gd name="connsiteX996" fmla="*/ 1211581 w 4940931"/>
                <a:gd name="connsiteY996" fmla="*/ 53340 h 138429"/>
                <a:gd name="connsiteX997" fmla="*/ 1213486 w 4940931"/>
                <a:gd name="connsiteY997" fmla="*/ 68580 h 138429"/>
                <a:gd name="connsiteX998" fmla="*/ 1212216 w 4940931"/>
                <a:gd name="connsiteY998" fmla="*/ 68580 h 138429"/>
                <a:gd name="connsiteX999" fmla="*/ 1212216 w 4940931"/>
                <a:gd name="connsiteY999" fmla="*/ 72390 h 138429"/>
                <a:gd name="connsiteX1000" fmla="*/ 1212216 w 4940931"/>
                <a:gd name="connsiteY1000" fmla="*/ 75565 h 138429"/>
                <a:gd name="connsiteX1001" fmla="*/ 1160781 w 4940931"/>
                <a:gd name="connsiteY1001" fmla="*/ 75565 h 138429"/>
                <a:gd name="connsiteX1002" fmla="*/ 1163321 w 4940931"/>
                <a:gd name="connsiteY1002" fmla="*/ 85090 h 138429"/>
                <a:gd name="connsiteX1003" fmla="*/ 1167766 w 4940931"/>
                <a:gd name="connsiteY1003" fmla="*/ 91440 h 138429"/>
                <a:gd name="connsiteX1004" fmla="*/ 1173481 w 4940931"/>
                <a:gd name="connsiteY1004" fmla="*/ 95250 h 138429"/>
                <a:gd name="connsiteX1005" fmla="*/ 1180466 w 4940931"/>
                <a:gd name="connsiteY1005" fmla="*/ 96520 h 138429"/>
                <a:gd name="connsiteX1006" fmla="*/ 1185546 w 4940931"/>
                <a:gd name="connsiteY1006" fmla="*/ 96520 h 138429"/>
                <a:gd name="connsiteX1007" fmla="*/ 1189991 w 4940931"/>
                <a:gd name="connsiteY1007" fmla="*/ 95250 h 138429"/>
                <a:gd name="connsiteX1008" fmla="*/ 1193801 w 4940931"/>
                <a:gd name="connsiteY1008" fmla="*/ 93345 h 138429"/>
                <a:gd name="connsiteX1009" fmla="*/ 1198246 w 4940931"/>
                <a:gd name="connsiteY1009" fmla="*/ 90805 h 138429"/>
                <a:gd name="connsiteX1010" fmla="*/ 1207136 w 4940931"/>
                <a:gd name="connsiteY1010" fmla="*/ 100330 h 138429"/>
                <a:gd name="connsiteX1011" fmla="*/ 1201421 w 4940931"/>
                <a:gd name="connsiteY1011" fmla="*/ 104775 h 138429"/>
                <a:gd name="connsiteX1012" fmla="*/ 1195706 w 4940931"/>
                <a:gd name="connsiteY1012" fmla="*/ 107950 h 138429"/>
                <a:gd name="connsiteX1013" fmla="*/ 1188721 w 4940931"/>
                <a:gd name="connsiteY1013" fmla="*/ 109855 h 138429"/>
                <a:gd name="connsiteX1014" fmla="*/ 1179831 w 4940931"/>
                <a:gd name="connsiteY1014" fmla="*/ 110490 h 138429"/>
                <a:gd name="connsiteX1015" fmla="*/ 1170306 w 4940931"/>
                <a:gd name="connsiteY1015" fmla="*/ 109220 h 138429"/>
                <a:gd name="connsiteX1016" fmla="*/ 1162686 w 4940931"/>
                <a:gd name="connsiteY1016" fmla="*/ 105410 h 138429"/>
                <a:gd name="connsiteX1017" fmla="*/ 1156336 w 4940931"/>
                <a:gd name="connsiteY1017" fmla="*/ 100330 h 138429"/>
                <a:gd name="connsiteX1018" fmla="*/ 1151256 w 4940931"/>
                <a:gd name="connsiteY1018" fmla="*/ 92710 h 138429"/>
                <a:gd name="connsiteX1019" fmla="*/ 1147446 w 4940931"/>
                <a:gd name="connsiteY1019" fmla="*/ 82550 h 138429"/>
                <a:gd name="connsiteX1020" fmla="*/ 1146176 w 4940931"/>
                <a:gd name="connsiteY1020" fmla="*/ 69850 h 138429"/>
                <a:gd name="connsiteX1021" fmla="*/ 1148716 w 4940931"/>
                <a:gd name="connsiteY1021" fmla="*/ 52070 h 138429"/>
                <a:gd name="connsiteX1022" fmla="*/ 1155701 w 4940931"/>
                <a:gd name="connsiteY1022" fmla="*/ 39370 h 138429"/>
                <a:gd name="connsiteX1023" fmla="*/ 1166496 w 4940931"/>
                <a:gd name="connsiteY1023" fmla="*/ 31750 h 138429"/>
                <a:gd name="connsiteX1024" fmla="*/ 1180466 w 4940931"/>
                <a:gd name="connsiteY1024" fmla="*/ 29210 h 138429"/>
                <a:gd name="connsiteX1025" fmla="*/ 901065 w 4940931"/>
                <a:gd name="connsiteY1025" fmla="*/ 29210 h 138429"/>
                <a:gd name="connsiteX1026" fmla="*/ 915670 w 4940931"/>
                <a:gd name="connsiteY1026" fmla="*/ 32385 h 138429"/>
                <a:gd name="connsiteX1027" fmla="*/ 925830 w 4940931"/>
                <a:gd name="connsiteY1027" fmla="*/ 40640 h 138429"/>
                <a:gd name="connsiteX1028" fmla="*/ 932180 w 4940931"/>
                <a:gd name="connsiteY1028" fmla="*/ 53340 h 138429"/>
                <a:gd name="connsiteX1029" fmla="*/ 934085 w 4940931"/>
                <a:gd name="connsiteY1029" fmla="*/ 68580 h 138429"/>
                <a:gd name="connsiteX1030" fmla="*/ 932815 w 4940931"/>
                <a:gd name="connsiteY1030" fmla="*/ 68580 h 138429"/>
                <a:gd name="connsiteX1031" fmla="*/ 932815 w 4940931"/>
                <a:gd name="connsiteY1031" fmla="*/ 72390 h 138429"/>
                <a:gd name="connsiteX1032" fmla="*/ 932815 w 4940931"/>
                <a:gd name="connsiteY1032" fmla="*/ 75565 h 138429"/>
                <a:gd name="connsiteX1033" fmla="*/ 881380 w 4940931"/>
                <a:gd name="connsiteY1033" fmla="*/ 75565 h 138429"/>
                <a:gd name="connsiteX1034" fmla="*/ 883920 w 4940931"/>
                <a:gd name="connsiteY1034" fmla="*/ 85090 h 138429"/>
                <a:gd name="connsiteX1035" fmla="*/ 888365 w 4940931"/>
                <a:gd name="connsiteY1035" fmla="*/ 91440 h 138429"/>
                <a:gd name="connsiteX1036" fmla="*/ 894080 w 4940931"/>
                <a:gd name="connsiteY1036" fmla="*/ 95250 h 138429"/>
                <a:gd name="connsiteX1037" fmla="*/ 901065 w 4940931"/>
                <a:gd name="connsiteY1037" fmla="*/ 96520 h 138429"/>
                <a:gd name="connsiteX1038" fmla="*/ 906145 w 4940931"/>
                <a:gd name="connsiteY1038" fmla="*/ 96520 h 138429"/>
                <a:gd name="connsiteX1039" fmla="*/ 910590 w 4940931"/>
                <a:gd name="connsiteY1039" fmla="*/ 95250 h 138429"/>
                <a:gd name="connsiteX1040" fmla="*/ 914400 w 4940931"/>
                <a:gd name="connsiteY1040" fmla="*/ 93345 h 138429"/>
                <a:gd name="connsiteX1041" fmla="*/ 918845 w 4940931"/>
                <a:gd name="connsiteY1041" fmla="*/ 90805 h 138429"/>
                <a:gd name="connsiteX1042" fmla="*/ 927735 w 4940931"/>
                <a:gd name="connsiteY1042" fmla="*/ 100330 h 138429"/>
                <a:gd name="connsiteX1043" fmla="*/ 922020 w 4940931"/>
                <a:gd name="connsiteY1043" fmla="*/ 104775 h 138429"/>
                <a:gd name="connsiteX1044" fmla="*/ 916305 w 4940931"/>
                <a:gd name="connsiteY1044" fmla="*/ 107950 h 138429"/>
                <a:gd name="connsiteX1045" fmla="*/ 909320 w 4940931"/>
                <a:gd name="connsiteY1045" fmla="*/ 109855 h 138429"/>
                <a:gd name="connsiteX1046" fmla="*/ 900430 w 4940931"/>
                <a:gd name="connsiteY1046" fmla="*/ 110490 h 138429"/>
                <a:gd name="connsiteX1047" fmla="*/ 890905 w 4940931"/>
                <a:gd name="connsiteY1047" fmla="*/ 109220 h 138429"/>
                <a:gd name="connsiteX1048" fmla="*/ 883285 w 4940931"/>
                <a:gd name="connsiteY1048" fmla="*/ 105410 h 138429"/>
                <a:gd name="connsiteX1049" fmla="*/ 876935 w 4940931"/>
                <a:gd name="connsiteY1049" fmla="*/ 100330 h 138429"/>
                <a:gd name="connsiteX1050" fmla="*/ 871855 w 4940931"/>
                <a:gd name="connsiteY1050" fmla="*/ 92710 h 138429"/>
                <a:gd name="connsiteX1051" fmla="*/ 868045 w 4940931"/>
                <a:gd name="connsiteY1051" fmla="*/ 82550 h 138429"/>
                <a:gd name="connsiteX1052" fmla="*/ 866775 w 4940931"/>
                <a:gd name="connsiteY1052" fmla="*/ 69850 h 138429"/>
                <a:gd name="connsiteX1053" fmla="*/ 869315 w 4940931"/>
                <a:gd name="connsiteY1053" fmla="*/ 52070 h 138429"/>
                <a:gd name="connsiteX1054" fmla="*/ 876300 w 4940931"/>
                <a:gd name="connsiteY1054" fmla="*/ 39370 h 138429"/>
                <a:gd name="connsiteX1055" fmla="*/ 887095 w 4940931"/>
                <a:gd name="connsiteY1055" fmla="*/ 31750 h 138429"/>
                <a:gd name="connsiteX1056" fmla="*/ 901065 w 4940931"/>
                <a:gd name="connsiteY1056" fmla="*/ 29210 h 138429"/>
                <a:gd name="connsiteX1057" fmla="*/ 668656 w 4940931"/>
                <a:gd name="connsiteY1057" fmla="*/ 29210 h 138429"/>
                <a:gd name="connsiteX1058" fmla="*/ 676275 w 4940931"/>
                <a:gd name="connsiteY1058" fmla="*/ 29845 h 138429"/>
                <a:gd name="connsiteX1059" fmla="*/ 681991 w 4940931"/>
                <a:gd name="connsiteY1059" fmla="*/ 32385 h 138429"/>
                <a:gd name="connsiteX1060" fmla="*/ 678181 w 4940931"/>
                <a:gd name="connsiteY1060" fmla="*/ 46990 h 138429"/>
                <a:gd name="connsiteX1061" fmla="*/ 676910 w 4940931"/>
                <a:gd name="connsiteY1061" fmla="*/ 46990 h 138429"/>
                <a:gd name="connsiteX1062" fmla="*/ 671830 w 4940931"/>
                <a:gd name="connsiteY1062" fmla="*/ 45085 h 138429"/>
                <a:gd name="connsiteX1063" fmla="*/ 665480 w 4940931"/>
                <a:gd name="connsiteY1063" fmla="*/ 44450 h 138429"/>
                <a:gd name="connsiteX1064" fmla="*/ 654050 w 4940931"/>
                <a:gd name="connsiteY1064" fmla="*/ 49530 h 138429"/>
                <a:gd name="connsiteX1065" fmla="*/ 650240 w 4940931"/>
                <a:gd name="connsiteY1065" fmla="*/ 64770 h 138429"/>
                <a:gd name="connsiteX1066" fmla="*/ 650240 w 4940931"/>
                <a:gd name="connsiteY1066" fmla="*/ 109220 h 138429"/>
                <a:gd name="connsiteX1067" fmla="*/ 635000 w 4940931"/>
                <a:gd name="connsiteY1067" fmla="*/ 109220 h 138429"/>
                <a:gd name="connsiteX1068" fmla="*/ 635000 w 4940931"/>
                <a:gd name="connsiteY1068" fmla="*/ 31115 h 138429"/>
                <a:gd name="connsiteX1069" fmla="*/ 650240 w 4940931"/>
                <a:gd name="connsiteY1069" fmla="*/ 31115 h 138429"/>
                <a:gd name="connsiteX1070" fmla="*/ 650240 w 4940931"/>
                <a:gd name="connsiteY1070" fmla="*/ 38735 h 138429"/>
                <a:gd name="connsiteX1071" fmla="*/ 653416 w 4940931"/>
                <a:gd name="connsiteY1071" fmla="*/ 34925 h 138429"/>
                <a:gd name="connsiteX1072" fmla="*/ 657861 w 4940931"/>
                <a:gd name="connsiteY1072" fmla="*/ 31750 h 138429"/>
                <a:gd name="connsiteX1073" fmla="*/ 662940 w 4940931"/>
                <a:gd name="connsiteY1073" fmla="*/ 29845 h 138429"/>
                <a:gd name="connsiteX1074" fmla="*/ 668656 w 4940931"/>
                <a:gd name="connsiteY1074" fmla="*/ 29210 h 138429"/>
                <a:gd name="connsiteX1075" fmla="*/ 586739 w 4940931"/>
                <a:gd name="connsiteY1075" fmla="*/ 29210 h 138429"/>
                <a:gd name="connsiteX1076" fmla="*/ 601344 w 4940931"/>
                <a:gd name="connsiteY1076" fmla="*/ 32385 h 138429"/>
                <a:gd name="connsiteX1077" fmla="*/ 611504 w 4940931"/>
                <a:gd name="connsiteY1077" fmla="*/ 40640 h 138429"/>
                <a:gd name="connsiteX1078" fmla="*/ 617854 w 4940931"/>
                <a:gd name="connsiteY1078" fmla="*/ 53340 h 138429"/>
                <a:gd name="connsiteX1079" fmla="*/ 619759 w 4940931"/>
                <a:gd name="connsiteY1079" fmla="*/ 68580 h 138429"/>
                <a:gd name="connsiteX1080" fmla="*/ 618489 w 4940931"/>
                <a:gd name="connsiteY1080" fmla="*/ 68580 h 138429"/>
                <a:gd name="connsiteX1081" fmla="*/ 618489 w 4940931"/>
                <a:gd name="connsiteY1081" fmla="*/ 72390 h 138429"/>
                <a:gd name="connsiteX1082" fmla="*/ 618489 w 4940931"/>
                <a:gd name="connsiteY1082" fmla="*/ 75565 h 138429"/>
                <a:gd name="connsiteX1083" fmla="*/ 567054 w 4940931"/>
                <a:gd name="connsiteY1083" fmla="*/ 75565 h 138429"/>
                <a:gd name="connsiteX1084" fmla="*/ 569594 w 4940931"/>
                <a:gd name="connsiteY1084" fmla="*/ 85090 h 138429"/>
                <a:gd name="connsiteX1085" fmla="*/ 574039 w 4940931"/>
                <a:gd name="connsiteY1085" fmla="*/ 91440 h 138429"/>
                <a:gd name="connsiteX1086" fmla="*/ 579754 w 4940931"/>
                <a:gd name="connsiteY1086" fmla="*/ 95250 h 138429"/>
                <a:gd name="connsiteX1087" fmla="*/ 586739 w 4940931"/>
                <a:gd name="connsiteY1087" fmla="*/ 96520 h 138429"/>
                <a:gd name="connsiteX1088" fmla="*/ 591819 w 4940931"/>
                <a:gd name="connsiteY1088" fmla="*/ 96520 h 138429"/>
                <a:gd name="connsiteX1089" fmla="*/ 596264 w 4940931"/>
                <a:gd name="connsiteY1089" fmla="*/ 95250 h 138429"/>
                <a:gd name="connsiteX1090" fmla="*/ 600074 w 4940931"/>
                <a:gd name="connsiteY1090" fmla="*/ 93345 h 138429"/>
                <a:gd name="connsiteX1091" fmla="*/ 604519 w 4940931"/>
                <a:gd name="connsiteY1091" fmla="*/ 90805 h 138429"/>
                <a:gd name="connsiteX1092" fmla="*/ 613409 w 4940931"/>
                <a:gd name="connsiteY1092" fmla="*/ 100330 h 138429"/>
                <a:gd name="connsiteX1093" fmla="*/ 607694 w 4940931"/>
                <a:gd name="connsiteY1093" fmla="*/ 104775 h 138429"/>
                <a:gd name="connsiteX1094" fmla="*/ 601979 w 4940931"/>
                <a:gd name="connsiteY1094" fmla="*/ 107950 h 138429"/>
                <a:gd name="connsiteX1095" fmla="*/ 594994 w 4940931"/>
                <a:gd name="connsiteY1095" fmla="*/ 109855 h 138429"/>
                <a:gd name="connsiteX1096" fmla="*/ 586104 w 4940931"/>
                <a:gd name="connsiteY1096" fmla="*/ 110490 h 138429"/>
                <a:gd name="connsiteX1097" fmla="*/ 576579 w 4940931"/>
                <a:gd name="connsiteY1097" fmla="*/ 109220 h 138429"/>
                <a:gd name="connsiteX1098" fmla="*/ 568959 w 4940931"/>
                <a:gd name="connsiteY1098" fmla="*/ 105410 h 138429"/>
                <a:gd name="connsiteX1099" fmla="*/ 562609 w 4940931"/>
                <a:gd name="connsiteY1099" fmla="*/ 100330 h 138429"/>
                <a:gd name="connsiteX1100" fmla="*/ 557529 w 4940931"/>
                <a:gd name="connsiteY1100" fmla="*/ 92710 h 138429"/>
                <a:gd name="connsiteX1101" fmla="*/ 553719 w 4940931"/>
                <a:gd name="connsiteY1101" fmla="*/ 82550 h 138429"/>
                <a:gd name="connsiteX1102" fmla="*/ 552449 w 4940931"/>
                <a:gd name="connsiteY1102" fmla="*/ 69850 h 138429"/>
                <a:gd name="connsiteX1103" fmla="*/ 554989 w 4940931"/>
                <a:gd name="connsiteY1103" fmla="*/ 52070 h 138429"/>
                <a:gd name="connsiteX1104" fmla="*/ 561974 w 4940931"/>
                <a:gd name="connsiteY1104" fmla="*/ 39370 h 138429"/>
                <a:gd name="connsiteX1105" fmla="*/ 572769 w 4940931"/>
                <a:gd name="connsiteY1105" fmla="*/ 31750 h 138429"/>
                <a:gd name="connsiteX1106" fmla="*/ 586739 w 4940931"/>
                <a:gd name="connsiteY1106" fmla="*/ 29210 h 138429"/>
                <a:gd name="connsiteX1107" fmla="*/ 400050 w 4940931"/>
                <a:gd name="connsiteY1107" fmla="*/ 29210 h 138429"/>
                <a:gd name="connsiteX1108" fmla="*/ 414655 w 4940931"/>
                <a:gd name="connsiteY1108" fmla="*/ 32385 h 138429"/>
                <a:gd name="connsiteX1109" fmla="*/ 424815 w 4940931"/>
                <a:gd name="connsiteY1109" fmla="*/ 40640 h 138429"/>
                <a:gd name="connsiteX1110" fmla="*/ 431165 w 4940931"/>
                <a:gd name="connsiteY1110" fmla="*/ 53340 h 138429"/>
                <a:gd name="connsiteX1111" fmla="*/ 433070 w 4940931"/>
                <a:gd name="connsiteY1111" fmla="*/ 68580 h 138429"/>
                <a:gd name="connsiteX1112" fmla="*/ 431800 w 4940931"/>
                <a:gd name="connsiteY1112" fmla="*/ 68580 h 138429"/>
                <a:gd name="connsiteX1113" fmla="*/ 431800 w 4940931"/>
                <a:gd name="connsiteY1113" fmla="*/ 72390 h 138429"/>
                <a:gd name="connsiteX1114" fmla="*/ 431800 w 4940931"/>
                <a:gd name="connsiteY1114" fmla="*/ 75565 h 138429"/>
                <a:gd name="connsiteX1115" fmla="*/ 380365 w 4940931"/>
                <a:gd name="connsiteY1115" fmla="*/ 75565 h 138429"/>
                <a:gd name="connsiteX1116" fmla="*/ 382905 w 4940931"/>
                <a:gd name="connsiteY1116" fmla="*/ 85090 h 138429"/>
                <a:gd name="connsiteX1117" fmla="*/ 387350 w 4940931"/>
                <a:gd name="connsiteY1117" fmla="*/ 91440 h 138429"/>
                <a:gd name="connsiteX1118" fmla="*/ 393065 w 4940931"/>
                <a:gd name="connsiteY1118" fmla="*/ 95250 h 138429"/>
                <a:gd name="connsiteX1119" fmla="*/ 400050 w 4940931"/>
                <a:gd name="connsiteY1119" fmla="*/ 96520 h 138429"/>
                <a:gd name="connsiteX1120" fmla="*/ 405130 w 4940931"/>
                <a:gd name="connsiteY1120" fmla="*/ 96520 h 138429"/>
                <a:gd name="connsiteX1121" fmla="*/ 409575 w 4940931"/>
                <a:gd name="connsiteY1121" fmla="*/ 95250 h 138429"/>
                <a:gd name="connsiteX1122" fmla="*/ 413385 w 4940931"/>
                <a:gd name="connsiteY1122" fmla="*/ 93345 h 138429"/>
                <a:gd name="connsiteX1123" fmla="*/ 417830 w 4940931"/>
                <a:gd name="connsiteY1123" fmla="*/ 90805 h 138429"/>
                <a:gd name="connsiteX1124" fmla="*/ 426720 w 4940931"/>
                <a:gd name="connsiteY1124" fmla="*/ 100330 h 138429"/>
                <a:gd name="connsiteX1125" fmla="*/ 421005 w 4940931"/>
                <a:gd name="connsiteY1125" fmla="*/ 104775 h 138429"/>
                <a:gd name="connsiteX1126" fmla="*/ 415290 w 4940931"/>
                <a:gd name="connsiteY1126" fmla="*/ 107950 h 138429"/>
                <a:gd name="connsiteX1127" fmla="*/ 408305 w 4940931"/>
                <a:gd name="connsiteY1127" fmla="*/ 109855 h 138429"/>
                <a:gd name="connsiteX1128" fmla="*/ 399415 w 4940931"/>
                <a:gd name="connsiteY1128" fmla="*/ 110490 h 138429"/>
                <a:gd name="connsiteX1129" fmla="*/ 389890 w 4940931"/>
                <a:gd name="connsiteY1129" fmla="*/ 109220 h 138429"/>
                <a:gd name="connsiteX1130" fmla="*/ 382270 w 4940931"/>
                <a:gd name="connsiteY1130" fmla="*/ 105410 h 138429"/>
                <a:gd name="connsiteX1131" fmla="*/ 375920 w 4940931"/>
                <a:gd name="connsiteY1131" fmla="*/ 100330 h 138429"/>
                <a:gd name="connsiteX1132" fmla="*/ 370840 w 4940931"/>
                <a:gd name="connsiteY1132" fmla="*/ 92710 h 138429"/>
                <a:gd name="connsiteX1133" fmla="*/ 367030 w 4940931"/>
                <a:gd name="connsiteY1133" fmla="*/ 82550 h 138429"/>
                <a:gd name="connsiteX1134" fmla="*/ 365760 w 4940931"/>
                <a:gd name="connsiteY1134" fmla="*/ 69850 h 138429"/>
                <a:gd name="connsiteX1135" fmla="*/ 368300 w 4940931"/>
                <a:gd name="connsiteY1135" fmla="*/ 52070 h 138429"/>
                <a:gd name="connsiteX1136" fmla="*/ 375285 w 4940931"/>
                <a:gd name="connsiteY1136" fmla="*/ 39370 h 138429"/>
                <a:gd name="connsiteX1137" fmla="*/ 386080 w 4940931"/>
                <a:gd name="connsiteY1137" fmla="*/ 31750 h 138429"/>
                <a:gd name="connsiteX1138" fmla="*/ 400050 w 4940931"/>
                <a:gd name="connsiteY1138" fmla="*/ 29210 h 138429"/>
                <a:gd name="connsiteX1139" fmla="*/ 201930 w 4940931"/>
                <a:gd name="connsiteY1139" fmla="*/ 29210 h 138429"/>
                <a:gd name="connsiteX1140" fmla="*/ 216535 w 4940931"/>
                <a:gd name="connsiteY1140" fmla="*/ 32385 h 138429"/>
                <a:gd name="connsiteX1141" fmla="*/ 226695 w 4940931"/>
                <a:gd name="connsiteY1141" fmla="*/ 40640 h 138429"/>
                <a:gd name="connsiteX1142" fmla="*/ 233045 w 4940931"/>
                <a:gd name="connsiteY1142" fmla="*/ 53340 h 138429"/>
                <a:gd name="connsiteX1143" fmla="*/ 234950 w 4940931"/>
                <a:gd name="connsiteY1143" fmla="*/ 68580 h 138429"/>
                <a:gd name="connsiteX1144" fmla="*/ 233680 w 4940931"/>
                <a:gd name="connsiteY1144" fmla="*/ 68580 h 138429"/>
                <a:gd name="connsiteX1145" fmla="*/ 233680 w 4940931"/>
                <a:gd name="connsiteY1145" fmla="*/ 72390 h 138429"/>
                <a:gd name="connsiteX1146" fmla="*/ 233680 w 4940931"/>
                <a:gd name="connsiteY1146" fmla="*/ 75565 h 138429"/>
                <a:gd name="connsiteX1147" fmla="*/ 182245 w 4940931"/>
                <a:gd name="connsiteY1147" fmla="*/ 75565 h 138429"/>
                <a:gd name="connsiteX1148" fmla="*/ 184785 w 4940931"/>
                <a:gd name="connsiteY1148" fmla="*/ 85090 h 138429"/>
                <a:gd name="connsiteX1149" fmla="*/ 189230 w 4940931"/>
                <a:gd name="connsiteY1149" fmla="*/ 91440 h 138429"/>
                <a:gd name="connsiteX1150" fmla="*/ 194945 w 4940931"/>
                <a:gd name="connsiteY1150" fmla="*/ 95250 h 138429"/>
                <a:gd name="connsiteX1151" fmla="*/ 201930 w 4940931"/>
                <a:gd name="connsiteY1151" fmla="*/ 96520 h 138429"/>
                <a:gd name="connsiteX1152" fmla="*/ 207010 w 4940931"/>
                <a:gd name="connsiteY1152" fmla="*/ 96520 h 138429"/>
                <a:gd name="connsiteX1153" fmla="*/ 211455 w 4940931"/>
                <a:gd name="connsiteY1153" fmla="*/ 95250 h 138429"/>
                <a:gd name="connsiteX1154" fmla="*/ 215265 w 4940931"/>
                <a:gd name="connsiteY1154" fmla="*/ 93345 h 138429"/>
                <a:gd name="connsiteX1155" fmla="*/ 219710 w 4940931"/>
                <a:gd name="connsiteY1155" fmla="*/ 90805 h 138429"/>
                <a:gd name="connsiteX1156" fmla="*/ 228600 w 4940931"/>
                <a:gd name="connsiteY1156" fmla="*/ 100330 h 138429"/>
                <a:gd name="connsiteX1157" fmla="*/ 222885 w 4940931"/>
                <a:gd name="connsiteY1157" fmla="*/ 104775 h 138429"/>
                <a:gd name="connsiteX1158" fmla="*/ 217170 w 4940931"/>
                <a:gd name="connsiteY1158" fmla="*/ 107950 h 138429"/>
                <a:gd name="connsiteX1159" fmla="*/ 210185 w 4940931"/>
                <a:gd name="connsiteY1159" fmla="*/ 109855 h 138429"/>
                <a:gd name="connsiteX1160" fmla="*/ 201295 w 4940931"/>
                <a:gd name="connsiteY1160" fmla="*/ 110490 h 138429"/>
                <a:gd name="connsiteX1161" fmla="*/ 191770 w 4940931"/>
                <a:gd name="connsiteY1161" fmla="*/ 109220 h 138429"/>
                <a:gd name="connsiteX1162" fmla="*/ 184150 w 4940931"/>
                <a:gd name="connsiteY1162" fmla="*/ 105410 h 138429"/>
                <a:gd name="connsiteX1163" fmla="*/ 177800 w 4940931"/>
                <a:gd name="connsiteY1163" fmla="*/ 100330 h 138429"/>
                <a:gd name="connsiteX1164" fmla="*/ 172720 w 4940931"/>
                <a:gd name="connsiteY1164" fmla="*/ 92710 h 138429"/>
                <a:gd name="connsiteX1165" fmla="*/ 168910 w 4940931"/>
                <a:gd name="connsiteY1165" fmla="*/ 82550 h 138429"/>
                <a:gd name="connsiteX1166" fmla="*/ 167640 w 4940931"/>
                <a:gd name="connsiteY1166" fmla="*/ 69850 h 138429"/>
                <a:gd name="connsiteX1167" fmla="*/ 170180 w 4940931"/>
                <a:gd name="connsiteY1167" fmla="*/ 52070 h 138429"/>
                <a:gd name="connsiteX1168" fmla="*/ 177165 w 4940931"/>
                <a:gd name="connsiteY1168" fmla="*/ 39370 h 138429"/>
                <a:gd name="connsiteX1169" fmla="*/ 187960 w 4940931"/>
                <a:gd name="connsiteY1169" fmla="*/ 31750 h 138429"/>
                <a:gd name="connsiteX1170" fmla="*/ 201930 w 4940931"/>
                <a:gd name="connsiteY1170" fmla="*/ 29210 h 138429"/>
                <a:gd name="connsiteX1171" fmla="*/ 4664706 w 4940931"/>
                <a:gd name="connsiteY1171" fmla="*/ 28574 h 138429"/>
                <a:gd name="connsiteX1172" fmla="*/ 4678676 w 4940931"/>
                <a:gd name="connsiteY1172" fmla="*/ 31749 h 138429"/>
                <a:gd name="connsiteX1173" fmla="*/ 4689471 w 4940931"/>
                <a:gd name="connsiteY1173" fmla="*/ 40004 h 138429"/>
                <a:gd name="connsiteX1174" fmla="*/ 4696456 w 4940931"/>
                <a:gd name="connsiteY1174" fmla="*/ 52704 h 138429"/>
                <a:gd name="connsiteX1175" fmla="*/ 4698996 w 4940931"/>
                <a:gd name="connsiteY1175" fmla="*/ 69214 h 138429"/>
                <a:gd name="connsiteX1176" fmla="*/ 4699631 w 4940931"/>
                <a:gd name="connsiteY1176" fmla="*/ 69214 h 138429"/>
                <a:gd name="connsiteX1177" fmla="*/ 4697091 w 4940931"/>
                <a:gd name="connsiteY1177" fmla="*/ 86359 h 138429"/>
                <a:gd name="connsiteX1178" fmla="*/ 4689471 w 4940931"/>
                <a:gd name="connsiteY1178" fmla="*/ 99059 h 138429"/>
                <a:gd name="connsiteX1179" fmla="*/ 4678041 w 4940931"/>
                <a:gd name="connsiteY1179" fmla="*/ 107314 h 138429"/>
                <a:gd name="connsiteX1180" fmla="*/ 4664071 w 4940931"/>
                <a:gd name="connsiteY1180" fmla="*/ 109854 h 138429"/>
                <a:gd name="connsiteX1181" fmla="*/ 4650101 w 4940931"/>
                <a:gd name="connsiteY1181" fmla="*/ 106679 h 138429"/>
                <a:gd name="connsiteX1182" fmla="*/ 4639306 w 4940931"/>
                <a:gd name="connsiteY1182" fmla="*/ 98424 h 138429"/>
                <a:gd name="connsiteX1183" fmla="*/ 4632321 w 4940931"/>
                <a:gd name="connsiteY1183" fmla="*/ 85724 h 138429"/>
                <a:gd name="connsiteX1184" fmla="*/ 4629781 w 4940931"/>
                <a:gd name="connsiteY1184" fmla="*/ 69214 h 138429"/>
                <a:gd name="connsiteX1185" fmla="*/ 4632321 w 4940931"/>
                <a:gd name="connsiteY1185" fmla="*/ 52069 h 138429"/>
                <a:gd name="connsiteX1186" fmla="*/ 4639941 w 4940931"/>
                <a:gd name="connsiteY1186" fmla="*/ 39369 h 138429"/>
                <a:gd name="connsiteX1187" fmla="*/ 4650736 w 4940931"/>
                <a:gd name="connsiteY1187" fmla="*/ 31114 h 138429"/>
                <a:gd name="connsiteX1188" fmla="*/ 4664706 w 4940931"/>
                <a:gd name="connsiteY1188" fmla="*/ 28574 h 138429"/>
                <a:gd name="connsiteX1189" fmla="*/ 4264655 w 4940931"/>
                <a:gd name="connsiteY1189" fmla="*/ 28574 h 138429"/>
                <a:gd name="connsiteX1190" fmla="*/ 4278625 w 4940931"/>
                <a:gd name="connsiteY1190" fmla="*/ 31749 h 138429"/>
                <a:gd name="connsiteX1191" fmla="*/ 4289420 w 4940931"/>
                <a:gd name="connsiteY1191" fmla="*/ 40004 h 138429"/>
                <a:gd name="connsiteX1192" fmla="*/ 4296405 w 4940931"/>
                <a:gd name="connsiteY1192" fmla="*/ 52704 h 138429"/>
                <a:gd name="connsiteX1193" fmla="*/ 4298945 w 4940931"/>
                <a:gd name="connsiteY1193" fmla="*/ 69214 h 138429"/>
                <a:gd name="connsiteX1194" fmla="*/ 4299580 w 4940931"/>
                <a:gd name="connsiteY1194" fmla="*/ 69214 h 138429"/>
                <a:gd name="connsiteX1195" fmla="*/ 4297040 w 4940931"/>
                <a:gd name="connsiteY1195" fmla="*/ 86359 h 138429"/>
                <a:gd name="connsiteX1196" fmla="*/ 4289420 w 4940931"/>
                <a:gd name="connsiteY1196" fmla="*/ 99059 h 138429"/>
                <a:gd name="connsiteX1197" fmla="*/ 4277990 w 4940931"/>
                <a:gd name="connsiteY1197" fmla="*/ 107314 h 138429"/>
                <a:gd name="connsiteX1198" fmla="*/ 4264020 w 4940931"/>
                <a:gd name="connsiteY1198" fmla="*/ 109854 h 138429"/>
                <a:gd name="connsiteX1199" fmla="*/ 4250050 w 4940931"/>
                <a:gd name="connsiteY1199" fmla="*/ 106679 h 138429"/>
                <a:gd name="connsiteX1200" fmla="*/ 4239255 w 4940931"/>
                <a:gd name="connsiteY1200" fmla="*/ 98424 h 138429"/>
                <a:gd name="connsiteX1201" fmla="*/ 4232270 w 4940931"/>
                <a:gd name="connsiteY1201" fmla="*/ 85724 h 138429"/>
                <a:gd name="connsiteX1202" fmla="*/ 4229730 w 4940931"/>
                <a:gd name="connsiteY1202" fmla="*/ 69214 h 138429"/>
                <a:gd name="connsiteX1203" fmla="*/ 4232270 w 4940931"/>
                <a:gd name="connsiteY1203" fmla="*/ 52069 h 138429"/>
                <a:gd name="connsiteX1204" fmla="*/ 4239890 w 4940931"/>
                <a:gd name="connsiteY1204" fmla="*/ 39369 h 138429"/>
                <a:gd name="connsiteX1205" fmla="*/ 4250685 w 4940931"/>
                <a:gd name="connsiteY1205" fmla="*/ 31114 h 138429"/>
                <a:gd name="connsiteX1206" fmla="*/ 4264655 w 4940931"/>
                <a:gd name="connsiteY1206" fmla="*/ 28574 h 138429"/>
                <a:gd name="connsiteX1207" fmla="*/ 1420495 w 4940931"/>
                <a:gd name="connsiteY1207" fmla="*/ 28574 h 138429"/>
                <a:gd name="connsiteX1208" fmla="*/ 1434465 w 4940931"/>
                <a:gd name="connsiteY1208" fmla="*/ 31749 h 138429"/>
                <a:gd name="connsiteX1209" fmla="*/ 1445260 w 4940931"/>
                <a:gd name="connsiteY1209" fmla="*/ 40004 h 138429"/>
                <a:gd name="connsiteX1210" fmla="*/ 1452245 w 4940931"/>
                <a:gd name="connsiteY1210" fmla="*/ 52704 h 138429"/>
                <a:gd name="connsiteX1211" fmla="*/ 1454785 w 4940931"/>
                <a:gd name="connsiteY1211" fmla="*/ 69214 h 138429"/>
                <a:gd name="connsiteX1212" fmla="*/ 1455420 w 4940931"/>
                <a:gd name="connsiteY1212" fmla="*/ 69214 h 138429"/>
                <a:gd name="connsiteX1213" fmla="*/ 1452880 w 4940931"/>
                <a:gd name="connsiteY1213" fmla="*/ 86359 h 138429"/>
                <a:gd name="connsiteX1214" fmla="*/ 1445260 w 4940931"/>
                <a:gd name="connsiteY1214" fmla="*/ 99059 h 138429"/>
                <a:gd name="connsiteX1215" fmla="*/ 1433830 w 4940931"/>
                <a:gd name="connsiteY1215" fmla="*/ 107314 h 138429"/>
                <a:gd name="connsiteX1216" fmla="*/ 1419860 w 4940931"/>
                <a:gd name="connsiteY1216" fmla="*/ 109854 h 138429"/>
                <a:gd name="connsiteX1217" fmla="*/ 1405890 w 4940931"/>
                <a:gd name="connsiteY1217" fmla="*/ 106679 h 138429"/>
                <a:gd name="connsiteX1218" fmla="*/ 1395095 w 4940931"/>
                <a:gd name="connsiteY1218" fmla="*/ 98424 h 138429"/>
                <a:gd name="connsiteX1219" fmla="*/ 1388110 w 4940931"/>
                <a:gd name="connsiteY1219" fmla="*/ 85724 h 138429"/>
                <a:gd name="connsiteX1220" fmla="*/ 1385570 w 4940931"/>
                <a:gd name="connsiteY1220" fmla="*/ 69214 h 138429"/>
                <a:gd name="connsiteX1221" fmla="*/ 1388110 w 4940931"/>
                <a:gd name="connsiteY1221" fmla="*/ 52069 h 138429"/>
                <a:gd name="connsiteX1222" fmla="*/ 1395730 w 4940931"/>
                <a:gd name="connsiteY1222" fmla="*/ 39369 h 138429"/>
                <a:gd name="connsiteX1223" fmla="*/ 1406525 w 4940931"/>
                <a:gd name="connsiteY1223" fmla="*/ 31114 h 138429"/>
                <a:gd name="connsiteX1224" fmla="*/ 1420495 w 4940931"/>
                <a:gd name="connsiteY1224" fmla="*/ 28574 h 138429"/>
                <a:gd name="connsiteX1225" fmla="*/ 3143245 w 4940931"/>
                <a:gd name="connsiteY1225" fmla="*/ 5079 h 138429"/>
                <a:gd name="connsiteX1226" fmla="*/ 3219445 w 4940931"/>
                <a:gd name="connsiteY1226" fmla="*/ 5079 h 138429"/>
                <a:gd name="connsiteX1227" fmla="*/ 3219445 w 4940931"/>
                <a:gd name="connsiteY1227" fmla="*/ 20319 h 138429"/>
                <a:gd name="connsiteX1228" fmla="*/ 3188965 w 4940931"/>
                <a:gd name="connsiteY1228" fmla="*/ 20319 h 138429"/>
                <a:gd name="connsiteX1229" fmla="*/ 3188965 w 4940931"/>
                <a:gd name="connsiteY1229" fmla="*/ 108584 h 138429"/>
                <a:gd name="connsiteX1230" fmla="*/ 3173090 w 4940931"/>
                <a:gd name="connsiteY1230" fmla="*/ 108584 h 138429"/>
                <a:gd name="connsiteX1231" fmla="*/ 3173090 w 4940931"/>
                <a:gd name="connsiteY1231" fmla="*/ 20319 h 138429"/>
                <a:gd name="connsiteX1232" fmla="*/ 3143245 w 4940931"/>
                <a:gd name="connsiteY1232" fmla="*/ 20319 h 138429"/>
                <a:gd name="connsiteX1233" fmla="*/ 1628774 w 4940931"/>
                <a:gd name="connsiteY1233" fmla="*/ 5079 h 138429"/>
                <a:gd name="connsiteX1234" fmla="*/ 1704970 w 4940931"/>
                <a:gd name="connsiteY1234" fmla="*/ 5079 h 138429"/>
                <a:gd name="connsiteX1235" fmla="*/ 1704970 w 4940931"/>
                <a:gd name="connsiteY1235" fmla="*/ 20319 h 138429"/>
                <a:gd name="connsiteX1236" fmla="*/ 1675129 w 4940931"/>
                <a:gd name="connsiteY1236" fmla="*/ 20319 h 138429"/>
                <a:gd name="connsiteX1237" fmla="*/ 1675129 w 4940931"/>
                <a:gd name="connsiteY1237" fmla="*/ 108584 h 138429"/>
                <a:gd name="connsiteX1238" fmla="*/ 1659255 w 4940931"/>
                <a:gd name="connsiteY1238" fmla="*/ 108584 h 138429"/>
                <a:gd name="connsiteX1239" fmla="*/ 1659255 w 4940931"/>
                <a:gd name="connsiteY1239" fmla="*/ 20319 h 138429"/>
                <a:gd name="connsiteX1240" fmla="*/ 1628774 w 4940931"/>
                <a:gd name="connsiteY1240" fmla="*/ 20319 h 138429"/>
                <a:gd name="connsiteX1241" fmla="*/ 0 w 4940931"/>
                <a:gd name="connsiteY1241" fmla="*/ 5079 h 138429"/>
                <a:gd name="connsiteX1242" fmla="*/ 76200 w 4940931"/>
                <a:gd name="connsiteY1242" fmla="*/ 5079 h 138429"/>
                <a:gd name="connsiteX1243" fmla="*/ 76200 w 4940931"/>
                <a:gd name="connsiteY1243" fmla="*/ 20319 h 138429"/>
                <a:gd name="connsiteX1244" fmla="*/ 45720 w 4940931"/>
                <a:gd name="connsiteY1244" fmla="*/ 20319 h 138429"/>
                <a:gd name="connsiteX1245" fmla="*/ 45720 w 4940931"/>
                <a:gd name="connsiteY1245" fmla="*/ 108584 h 138429"/>
                <a:gd name="connsiteX1246" fmla="*/ 29845 w 4940931"/>
                <a:gd name="connsiteY1246" fmla="*/ 108584 h 138429"/>
                <a:gd name="connsiteX1247" fmla="*/ 29845 w 4940931"/>
                <a:gd name="connsiteY1247" fmla="*/ 20319 h 138429"/>
                <a:gd name="connsiteX1248" fmla="*/ 0 w 4940931"/>
                <a:gd name="connsiteY1248" fmla="*/ 20319 h 138429"/>
                <a:gd name="connsiteX1249" fmla="*/ 1362075 w 4940931"/>
                <a:gd name="connsiteY1249" fmla="*/ 1269 h 138429"/>
                <a:gd name="connsiteX1250" fmla="*/ 1365885 w 4940931"/>
                <a:gd name="connsiteY1250" fmla="*/ 1904 h 138429"/>
                <a:gd name="connsiteX1251" fmla="*/ 1369060 w 4940931"/>
                <a:gd name="connsiteY1251" fmla="*/ 3809 h 138429"/>
                <a:gd name="connsiteX1252" fmla="*/ 1370965 w 4940931"/>
                <a:gd name="connsiteY1252" fmla="*/ 6984 h 138429"/>
                <a:gd name="connsiteX1253" fmla="*/ 1371600 w 4940931"/>
                <a:gd name="connsiteY1253" fmla="*/ 10794 h 138429"/>
                <a:gd name="connsiteX1254" fmla="*/ 1370965 w 4940931"/>
                <a:gd name="connsiteY1254" fmla="*/ 14604 h 138429"/>
                <a:gd name="connsiteX1255" fmla="*/ 1369060 w 4940931"/>
                <a:gd name="connsiteY1255" fmla="*/ 17779 h 138429"/>
                <a:gd name="connsiteX1256" fmla="*/ 1365885 w 4940931"/>
                <a:gd name="connsiteY1256" fmla="*/ 19684 h 138429"/>
                <a:gd name="connsiteX1257" fmla="*/ 1362075 w 4940931"/>
                <a:gd name="connsiteY1257" fmla="*/ 20319 h 138429"/>
                <a:gd name="connsiteX1258" fmla="*/ 1358265 w 4940931"/>
                <a:gd name="connsiteY1258" fmla="*/ 19684 h 138429"/>
                <a:gd name="connsiteX1259" fmla="*/ 1355090 w 4940931"/>
                <a:gd name="connsiteY1259" fmla="*/ 17779 h 138429"/>
                <a:gd name="connsiteX1260" fmla="*/ 1353185 w 4940931"/>
                <a:gd name="connsiteY1260" fmla="*/ 14604 h 138429"/>
                <a:gd name="connsiteX1261" fmla="*/ 1352550 w 4940931"/>
                <a:gd name="connsiteY1261" fmla="*/ 10794 h 138429"/>
                <a:gd name="connsiteX1262" fmla="*/ 1353185 w 4940931"/>
                <a:gd name="connsiteY1262" fmla="*/ 6984 h 138429"/>
                <a:gd name="connsiteX1263" fmla="*/ 1355090 w 4940931"/>
                <a:gd name="connsiteY1263" fmla="*/ 3809 h 138429"/>
                <a:gd name="connsiteX1264" fmla="*/ 1358265 w 4940931"/>
                <a:gd name="connsiteY1264" fmla="*/ 1904 h 138429"/>
                <a:gd name="connsiteX1265" fmla="*/ 1362075 w 4940931"/>
                <a:gd name="connsiteY1265" fmla="*/ 1269 h 138429"/>
                <a:gd name="connsiteX1266" fmla="*/ 4789801 w 4940931"/>
                <a:gd name="connsiteY1266" fmla="*/ 634 h 138429"/>
                <a:gd name="connsiteX1267" fmla="*/ 4789801 w 4940931"/>
                <a:gd name="connsiteY1267" fmla="*/ 65404 h 138429"/>
                <a:gd name="connsiteX1268" fmla="*/ 4814566 w 4940931"/>
                <a:gd name="connsiteY1268" fmla="*/ 31114 h 138429"/>
                <a:gd name="connsiteX1269" fmla="*/ 4831711 w 4940931"/>
                <a:gd name="connsiteY1269" fmla="*/ 31114 h 138429"/>
                <a:gd name="connsiteX1270" fmla="*/ 4812026 w 4940931"/>
                <a:gd name="connsiteY1270" fmla="*/ 57149 h 138429"/>
                <a:gd name="connsiteX1271" fmla="*/ 4835521 w 4940931"/>
                <a:gd name="connsiteY1271" fmla="*/ 108584 h 138429"/>
                <a:gd name="connsiteX1272" fmla="*/ 4819011 w 4940931"/>
                <a:gd name="connsiteY1272" fmla="*/ 108584 h 138429"/>
                <a:gd name="connsiteX1273" fmla="*/ 4801866 w 4940931"/>
                <a:gd name="connsiteY1273" fmla="*/ 69849 h 138429"/>
                <a:gd name="connsiteX1274" fmla="*/ 4789801 w 4940931"/>
                <a:gd name="connsiteY1274" fmla="*/ 85724 h 138429"/>
                <a:gd name="connsiteX1275" fmla="*/ 4789801 w 4940931"/>
                <a:gd name="connsiteY1275" fmla="*/ 108584 h 138429"/>
                <a:gd name="connsiteX1276" fmla="*/ 4774561 w 4940931"/>
                <a:gd name="connsiteY1276" fmla="*/ 108584 h 138429"/>
                <a:gd name="connsiteX1277" fmla="*/ 4774561 w 4940931"/>
                <a:gd name="connsiteY1277" fmla="*/ 8889 h 138429"/>
                <a:gd name="connsiteX1278" fmla="*/ 4472301 w 4940931"/>
                <a:gd name="connsiteY1278" fmla="*/ 634 h 138429"/>
                <a:gd name="connsiteX1279" fmla="*/ 4472301 w 4940931"/>
                <a:gd name="connsiteY1279" fmla="*/ 109219 h 138429"/>
                <a:gd name="connsiteX1280" fmla="*/ 4457061 w 4940931"/>
                <a:gd name="connsiteY1280" fmla="*/ 109219 h 138429"/>
                <a:gd name="connsiteX1281" fmla="*/ 4457696 w 4940931"/>
                <a:gd name="connsiteY1281" fmla="*/ 108584 h 138429"/>
                <a:gd name="connsiteX1282" fmla="*/ 4457696 w 4940931"/>
                <a:gd name="connsiteY1282" fmla="*/ 100964 h 138429"/>
                <a:gd name="connsiteX1283" fmla="*/ 4453251 w 4940931"/>
                <a:gd name="connsiteY1283" fmla="*/ 104774 h 138429"/>
                <a:gd name="connsiteX1284" fmla="*/ 4448171 w 4940931"/>
                <a:gd name="connsiteY1284" fmla="*/ 107949 h 138429"/>
                <a:gd name="connsiteX1285" fmla="*/ 4443091 w 4940931"/>
                <a:gd name="connsiteY1285" fmla="*/ 109854 h 138429"/>
                <a:gd name="connsiteX1286" fmla="*/ 4437376 w 4940931"/>
                <a:gd name="connsiteY1286" fmla="*/ 109854 h 138429"/>
                <a:gd name="connsiteX1287" fmla="*/ 4425946 w 4940931"/>
                <a:gd name="connsiteY1287" fmla="*/ 107314 h 138429"/>
                <a:gd name="connsiteX1288" fmla="*/ 4416421 w 4940931"/>
                <a:gd name="connsiteY1288" fmla="*/ 99694 h 138429"/>
                <a:gd name="connsiteX1289" fmla="*/ 4410071 w 4940931"/>
                <a:gd name="connsiteY1289" fmla="*/ 86994 h 138429"/>
                <a:gd name="connsiteX1290" fmla="*/ 4407531 w 4940931"/>
                <a:gd name="connsiteY1290" fmla="*/ 67944 h 138429"/>
                <a:gd name="connsiteX1291" fmla="*/ 4410071 w 4940931"/>
                <a:gd name="connsiteY1291" fmla="*/ 50799 h 138429"/>
                <a:gd name="connsiteX1292" fmla="*/ 4417056 w 4940931"/>
                <a:gd name="connsiteY1292" fmla="*/ 38734 h 138429"/>
                <a:gd name="connsiteX1293" fmla="*/ 4426581 w 4940931"/>
                <a:gd name="connsiteY1293" fmla="*/ 31749 h 138429"/>
                <a:gd name="connsiteX1294" fmla="*/ 4438011 w 4940931"/>
                <a:gd name="connsiteY1294" fmla="*/ 29209 h 138429"/>
                <a:gd name="connsiteX1295" fmla="*/ 4443726 w 4940931"/>
                <a:gd name="connsiteY1295" fmla="*/ 29844 h 138429"/>
                <a:gd name="connsiteX1296" fmla="*/ 4448806 w 4940931"/>
                <a:gd name="connsiteY1296" fmla="*/ 31749 h 138429"/>
                <a:gd name="connsiteX1297" fmla="*/ 4453251 w 4940931"/>
                <a:gd name="connsiteY1297" fmla="*/ 34924 h 138429"/>
                <a:gd name="connsiteX1298" fmla="*/ 4457061 w 4940931"/>
                <a:gd name="connsiteY1298" fmla="*/ 38099 h 138429"/>
                <a:gd name="connsiteX1299" fmla="*/ 4457061 w 4940931"/>
                <a:gd name="connsiteY1299" fmla="*/ 8254 h 138429"/>
                <a:gd name="connsiteX1300" fmla="*/ 4390385 w 4940931"/>
                <a:gd name="connsiteY1300" fmla="*/ 634 h 138429"/>
                <a:gd name="connsiteX1301" fmla="*/ 4390385 w 4940931"/>
                <a:gd name="connsiteY1301" fmla="*/ 108584 h 138429"/>
                <a:gd name="connsiteX1302" fmla="*/ 4375145 w 4940931"/>
                <a:gd name="connsiteY1302" fmla="*/ 108584 h 138429"/>
                <a:gd name="connsiteX1303" fmla="*/ 4375145 w 4940931"/>
                <a:gd name="connsiteY1303" fmla="*/ 8889 h 138429"/>
                <a:gd name="connsiteX1304" fmla="*/ 3946521 w 4940931"/>
                <a:gd name="connsiteY1304" fmla="*/ 634 h 138429"/>
                <a:gd name="connsiteX1305" fmla="*/ 3946521 w 4940931"/>
                <a:gd name="connsiteY1305" fmla="*/ 38099 h 138429"/>
                <a:gd name="connsiteX1306" fmla="*/ 3950331 w 4940931"/>
                <a:gd name="connsiteY1306" fmla="*/ 34289 h 138429"/>
                <a:gd name="connsiteX1307" fmla="*/ 3954776 w 4940931"/>
                <a:gd name="connsiteY1307" fmla="*/ 31114 h 138429"/>
                <a:gd name="connsiteX1308" fmla="*/ 3960491 w 4940931"/>
                <a:gd name="connsiteY1308" fmla="*/ 29209 h 138429"/>
                <a:gd name="connsiteX1309" fmla="*/ 3966206 w 4940931"/>
                <a:gd name="connsiteY1309" fmla="*/ 29209 h 138429"/>
                <a:gd name="connsiteX1310" fmla="*/ 3978271 w 4940931"/>
                <a:gd name="connsiteY1310" fmla="*/ 31749 h 138429"/>
                <a:gd name="connsiteX1311" fmla="*/ 3987161 w 4940931"/>
                <a:gd name="connsiteY1311" fmla="*/ 38099 h 138429"/>
                <a:gd name="connsiteX1312" fmla="*/ 3992241 w 4940931"/>
                <a:gd name="connsiteY1312" fmla="*/ 49529 h 138429"/>
                <a:gd name="connsiteX1313" fmla="*/ 3994146 w 4940931"/>
                <a:gd name="connsiteY1313" fmla="*/ 64134 h 138429"/>
                <a:gd name="connsiteX1314" fmla="*/ 3994146 w 4940931"/>
                <a:gd name="connsiteY1314" fmla="*/ 108584 h 138429"/>
                <a:gd name="connsiteX1315" fmla="*/ 3978906 w 4940931"/>
                <a:gd name="connsiteY1315" fmla="*/ 108584 h 138429"/>
                <a:gd name="connsiteX1316" fmla="*/ 3978271 w 4940931"/>
                <a:gd name="connsiteY1316" fmla="*/ 108584 h 138429"/>
                <a:gd name="connsiteX1317" fmla="*/ 3978271 w 4940931"/>
                <a:gd name="connsiteY1317" fmla="*/ 64769 h 138429"/>
                <a:gd name="connsiteX1318" fmla="*/ 3974461 w 4940931"/>
                <a:gd name="connsiteY1318" fmla="*/ 48894 h 138429"/>
                <a:gd name="connsiteX1319" fmla="*/ 3962396 w 4940931"/>
                <a:gd name="connsiteY1319" fmla="*/ 43814 h 138429"/>
                <a:gd name="connsiteX1320" fmla="*/ 3956046 w 4940931"/>
                <a:gd name="connsiteY1320" fmla="*/ 45084 h 138429"/>
                <a:gd name="connsiteX1321" fmla="*/ 3950966 w 4940931"/>
                <a:gd name="connsiteY1321" fmla="*/ 48894 h 138429"/>
                <a:gd name="connsiteX1322" fmla="*/ 3947791 w 4940931"/>
                <a:gd name="connsiteY1322" fmla="*/ 55244 h 138429"/>
                <a:gd name="connsiteX1323" fmla="*/ 3946521 w 4940931"/>
                <a:gd name="connsiteY1323" fmla="*/ 63499 h 138429"/>
                <a:gd name="connsiteX1324" fmla="*/ 3946521 w 4940931"/>
                <a:gd name="connsiteY1324" fmla="*/ 109219 h 138429"/>
                <a:gd name="connsiteX1325" fmla="*/ 3931281 w 4940931"/>
                <a:gd name="connsiteY1325" fmla="*/ 109219 h 138429"/>
                <a:gd name="connsiteX1326" fmla="*/ 3931281 w 4940931"/>
                <a:gd name="connsiteY1326" fmla="*/ 8889 h 138429"/>
                <a:gd name="connsiteX1327" fmla="*/ 3248021 w 4940931"/>
                <a:gd name="connsiteY1327" fmla="*/ 634 h 138429"/>
                <a:gd name="connsiteX1328" fmla="*/ 3248021 w 4940931"/>
                <a:gd name="connsiteY1328" fmla="*/ 38099 h 138429"/>
                <a:gd name="connsiteX1329" fmla="*/ 3251831 w 4940931"/>
                <a:gd name="connsiteY1329" fmla="*/ 34289 h 138429"/>
                <a:gd name="connsiteX1330" fmla="*/ 3256276 w 4940931"/>
                <a:gd name="connsiteY1330" fmla="*/ 31114 h 138429"/>
                <a:gd name="connsiteX1331" fmla="*/ 3261991 w 4940931"/>
                <a:gd name="connsiteY1331" fmla="*/ 29209 h 138429"/>
                <a:gd name="connsiteX1332" fmla="*/ 3267706 w 4940931"/>
                <a:gd name="connsiteY1332" fmla="*/ 29209 h 138429"/>
                <a:gd name="connsiteX1333" fmla="*/ 3279771 w 4940931"/>
                <a:gd name="connsiteY1333" fmla="*/ 31749 h 138429"/>
                <a:gd name="connsiteX1334" fmla="*/ 3288661 w 4940931"/>
                <a:gd name="connsiteY1334" fmla="*/ 38099 h 138429"/>
                <a:gd name="connsiteX1335" fmla="*/ 3293741 w 4940931"/>
                <a:gd name="connsiteY1335" fmla="*/ 49529 h 138429"/>
                <a:gd name="connsiteX1336" fmla="*/ 3295646 w 4940931"/>
                <a:gd name="connsiteY1336" fmla="*/ 64134 h 138429"/>
                <a:gd name="connsiteX1337" fmla="*/ 3295646 w 4940931"/>
                <a:gd name="connsiteY1337" fmla="*/ 108584 h 138429"/>
                <a:gd name="connsiteX1338" fmla="*/ 3280406 w 4940931"/>
                <a:gd name="connsiteY1338" fmla="*/ 108584 h 138429"/>
                <a:gd name="connsiteX1339" fmla="*/ 3279771 w 4940931"/>
                <a:gd name="connsiteY1339" fmla="*/ 108584 h 138429"/>
                <a:gd name="connsiteX1340" fmla="*/ 3279771 w 4940931"/>
                <a:gd name="connsiteY1340" fmla="*/ 64769 h 138429"/>
                <a:gd name="connsiteX1341" fmla="*/ 3275961 w 4940931"/>
                <a:gd name="connsiteY1341" fmla="*/ 48894 h 138429"/>
                <a:gd name="connsiteX1342" fmla="*/ 3263896 w 4940931"/>
                <a:gd name="connsiteY1342" fmla="*/ 43814 h 138429"/>
                <a:gd name="connsiteX1343" fmla="*/ 3257546 w 4940931"/>
                <a:gd name="connsiteY1343" fmla="*/ 45084 h 138429"/>
                <a:gd name="connsiteX1344" fmla="*/ 3252466 w 4940931"/>
                <a:gd name="connsiteY1344" fmla="*/ 48894 h 138429"/>
                <a:gd name="connsiteX1345" fmla="*/ 3249291 w 4940931"/>
                <a:gd name="connsiteY1345" fmla="*/ 55244 h 138429"/>
                <a:gd name="connsiteX1346" fmla="*/ 3248021 w 4940931"/>
                <a:gd name="connsiteY1346" fmla="*/ 63499 h 138429"/>
                <a:gd name="connsiteX1347" fmla="*/ 3248021 w 4940931"/>
                <a:gd name="connsiteY1347" fmla="*/ 109219 h 138429"/>
                <a:gd name="connsiteX1348" fmla="*/ 3232781 w 4940931"/>
                <a:gd name="connsiteY1348" fmla="*/ 109219 h 138429"/>
                <a:gd name="connsiteX1349" fmla="*/ 3232781 w 4940931"/>
                <a:gd name="connsiteY1349" fmla="*/ 8889 h 138429"/>
                <a:gd name="connsiteX1350" fmla="*/ 2432681 w 4940931"/>
                <a:gd name="connsiteY1350" fmla="*/ 634 h 138429"/>
                <a:gd name="connsiteX1351" fmla="*/ 2432681 w 4940931"/>
                <a:gd name="connsiteY1351" fmla="*/ 38099 h 138429"/>
                <a:gd name="connsiteX1352" fmla="*/ 2436491 w 4940931"/>
                <a:gd name="connsiteY1352" fmla="*/ 34289 h 138429"/>
                <a:gd name="connsiteX1353" fmla="*/ 2440936 w 4940931"/>
                <a:gd name="connsiteY1353" fmla="*/ 31114 h 138429"/>
                <a:gd name="connsiteX1354" fmla="*/ 2446651 w 4940931"/>
                <a:gd name="connsiteY1354" fmla="*/ 29209 h 138429"/>
                <a:gd name="connsiteX1355" fmla="*/ 2452366 w 4940931"/>
                <a:gd name="connsiteY1355" fmla="*/ 29209 h 138429"/>
                <a:gd name="connsiteX1356" fmla="*/ 2464431 w 4940931"/>
                <a:gd name="connsiteY1356" fmla="*/ 31749 h 138429"/>
                <a:gd name="connsiteX1357" fmla="*/ 2473321 w 4940931"/>
                <a:gd name="connsiteY1357" fmla="*/ 38099 h 138429"/>
                <a:gd name="connsiteX1358" fmla="*/ 2478401 w 4940931"/>
                <a:gd name="connsiteY1358" fmla="*/ 49529 h 138429"/>
                <a:gd name="connsiteX1359" fmla="*/ 2480306 w 4940931"/>
                <a:gd name="connsiteY1359" fmla="*/ 64134 h 138429"/>
                <a:gd name="connsiteX1360" fmla="*/ 2480306 w 4940931"/>
                <a:gd name="connsiteY1360" fmla="*/ 108584 h 138429"/>
                <a:gd name="connsiteX1361" fmla="*/ 2465066 w 4940931"/>
                <a:gd name="connsiteY1361" fmla="*/ 108584 h 138429"/>
                <a:gd name="connsiteX1362" fmla="*/ 2464431 w 4940931"/>
                <a:gd name="connsiteY1362" fmla="*/ 108584 h 138429"/>
                <a:gd name="connsiteX1363" fmla="*/ 2464431 w 4940931"/>
                <a:gd name="connsiteY1363" fmla="*/ 64769 h 138429"/>
                <a:gd name="connsiteX1364" fmla="*/ 2460621 w 4940931"/>
                <a:gd name="connsiteY1364" fmla="*/ 48894 h 138429"/>
                <a:gd name="connsiteX1365" fmla="*/ 2448556 w 4940931"/>
                <a:gd name="connsiteY1365" fmla="*/ 43814 h 138429"/>
                <a:gd name="connsiteX1366" fmla="*/ 2442206 w 4940931"/>
                <a:gd name="connsiteY1366" fmla="*/ 45084 h 138429"/>
                <a:gd name="connsiteX1367" fmla="*/ 2437126 w 4940931"/>
                <a:gd name="connsiteY1367" fmla="*/ 48894 h 138429"/>
                <a:gd name="connsiteX1368" fmla="*/ 2433951 w 4940931"/>
                <a:gd name="connsiteY1368" fmla="*/ 55244 h 138429"/>
                <a:gd name="connsiteX1369" fmla="*/ 2432681 w 4940931"/>
                <a:gd name="connsiteY1369" fmla="*/ 63499 h 138429"/>
                <a:gd name="connsiteX1370" fmla="*/ 2432681 w 4940931"/>
                <a:gd name="connsiteY1370" fmla="*/ 109219 h 138429"/>
                <a:gd name="connsiteX1371" fmla="*/ 2417441 w 4940931"/>
                <a:gd name="connsiteY1371" fmla="*/ 109219 h 138429"/>
                <a:gd name="connsiteX1372" fmla="*/ 2417441 w 4940931"/>
                <a:gd name="connsiteY1372" fmla="*/ 8889 h 138429"/>
                <a:gd name="connsiteX1373" fmla="*/ 1734181 w 4940931"/>
                <a:gd name="connsiteY1373" fmla="*/ 634 h 138429"/>
                <a:gd name="connsiteX1374" fmla="*/ 1734181 w 4940931"/>
                <a:gd name="connsiteY1374" fmla="*/ 38099 h 138429"/>
                <a:gd name="connsiteX1375" fmla="*/ 1737991 w 4940931"/>
                <a:gd name="connsiteY1375" fmla="*/ 34289 h 138429"/>
                <a:gd name="connsiteX1376" fmla="*/ 1742436 w 4940931"/>
                <a:gd name="connsiteY1376" fmla="*/ 31114 h 138429"/>
                <a:gd name="connsiteX1377" fmla="*/ 1748151 w 4940931"/>
                <a:gd name="connsiteY1377" fmla="*/ 29209 h 138429"/>
                <a:gd name="connsiteX1378" fmla="*/ 1753866 w 4940931"/>
                <a:gd name="connsiteY1378" fmla="*/ 29209 h 138429"/>
                <a:gd name="connsiteX1379" fmla="*/ 1765931 w 4940931"/>
                <a:gd name="connsiteY1379" fmla="*/ 31749 h 138429"/>
                <a:gd name="connsiteX1380" fmla="*/ 1774821 w 4940931"/>
                <a:gd name="connsiteY1380" fmla="*/ 38099 h 138429"/>
                <a:gd name="connsiteX1381" fmla="*/ 1779901 w 4940931"/>
                <a:gd name="connsiteY1381" fmla="*/ 49529 h 138429"/>
                <a:gd name="connsiteX1382" fmla="*/ 1781806 w 4940931"/>
                <a:gd name="connsiteY1382" fmla="*/ 64134 h 138429"/>
                <a:gd name="connsiteX1383" fmla="*/ 1781806 w 4940931"/>
                <a:gd name="connsiteY1383" fmla="*/ 108584 h 138429"/>
                <a:gd name="connsiteX1384" fmla="*/ 1766566 w 4940931"/>
                <a:gd name="connsiteY1384" fmla="*/ 108584 h 138429"/>
                <a:gd name="connsiteX1385" fmla="*/ 1765931 w 4940931"/>
                <a:gd name="connsiteY1385" fmla="*/ 108584 h 138429"/>
                <a:gd name="connsiteX1386" fmla="*/ 1765931 w 4940931"/>
                <a:gd name="connsiteY1386" fmla="*/ 64769 h 138429"/>
                <a:gd name="connsiteX1387" fmla="*/ 1762121 w 4940931"/>
                <a:gd name="connsiteY1387" fmla="*/ 48894 h 138429"/>
                <a:gd name="connsiteX1388" fmla="*/ 1750056 w 4940931"/>
                <a:gd name="connsiteY1388" fmla="*/ 43814 h 138429"/>
                <a:gd name="connsiteX1389" fmla="*/ 1743706 w 4940931"/>
                <a:gd name="connsiteY1389" fmla="*/ 45084 h 138429"/>
                <a:gd name="connsiteX1390" fmla="*/ 1738626 w 4940931"/>
                <a:gd name="connsiteY1390" fmla="*/ 48894 h 138429"/>
                <a:gd name="connsiteX1391" fmla="*/ 1735451 w 4940931"/>
                <a:gd name="connsiteY1391" fmla="*/ 55244 h 138429"/>
                <a:gd name="connsiteX1392" fmla="*/ 1734181 w 4940931"/>
                <a:gd name="connsiteY1392" fmla="*/ 63499 h 138429"/>
                <a:gd name="connsiteX1393" fmla="*/ 1734181 w 4940931"/>
                <a:gd name="connsiteY1393" fmla="*/ 109219 h 138429"/>
                <a:gd name="connsiteX1394" fmla="*/ 1718941 w 4940931"/>
                <a:gd name="connsiteY1394" fmla="*/ 109219 h 138429"/>
                <a:gd name="connsiteX1395" fmla="*/ 1718941 w 4940931"/>
                <a:gd name="connsiteY1395" fmla="*/ 8889 h 138429"/>
                <a:gd name="connsiteX1396" fmla="*/ 803275 w 4940931"/>
                <a:gd name="connsiteY1396" fmla="*/ 634 h 138429"/>
                <a:gd name="connsiteX1397" fmla="*/ 803275 w 4940931"/>
                <a:gd name="connsiteY1397" fmla="*/ 38099 h 138429"/>
                <a:gd name="connsiteX1398" fmla="*/ 807085 w 4940931"/>
                <a:gd name="connsiteY1398" fmla="*/ 34289 h 138429"/>
                <a:gd name="connsiteX1399" fmla="*/ 811530 w 4940931"/>
                <a:gd name="connsiteY1399" fmla="*/ 31114 h 138429"/>
                <a:gd name="connsiteX1400" fmla="*/ 817245 w 4940931"/>
                <a:gd name="connsiteY1400" fmla="*/ 29209 h 138429"/>
                <a:gd name="connsiteX1401" fmla="*/ 822960 w 4940931"/>
                <a:gd name="connsiteY1401" fmla="*/ 29209 h 138429"/>
                <a:gd name="connsiteX1402" fmla="*/ 835025 w 4940931"/>
                <a:gd name="connsiteY1402" fmla="*/ 31749 h 138429"/>
                <a:gd name="connsiteX1403" fmla="*/ 843915 w 4940931"/>
                <a:gd name="connsiteY1403" fmla="*/ 38099 h 138429"/>
                <a:gd name="connsiteX1404" fmla="*/ 848995 w 4940931"/>
                <a:gd name="connsiteY1404" fmla="*/ 49529 h 138429"/>
                <a:gd name="connsiteX1405" fmla="*/ 850900 w 4940931"/>
                <a:gd name="connsiteY1405" fmla="*/ 64134 h 138429"/>
                <a:gd name="connsiteX1406" fmla="*/ 850900 w 4940931"/>
                <a:gd name="connsiteY1406" fmla="*/ 108584 h 138429"/>
                <a:gd name="connsiteX1407" fmla="*/ 835660 w 4940931"/>
                <a:gd name="connsiteY1407" fmla="*/ 108584 h 138429"/>
                <a:gd name="connsiteX1408" fmla="*/ 835025 w 4940931"/>
                <a:gd name="connsiteY1408" fmla="*/ 108584 h 138429"/>
                <a:gd name="connsiteX1409" fmla="*/ 835025 w 4940931"/>
                <a:gd name="connsiteY1409" fmla="*/ 64769 h 138429"/>
                <a:gd name="connsiteX1410" fmla="*/ 831215 w 4940931"/>
                <a:gd name="connsiteY1410" fmla="*/ 48894 h 138429"/>
                <a:gd name="connsiteX1411" fmla="*/ 819150 w 4940931"/>
                <a:gd name="connsiteY1411" fmla="*/ 43814 h 138429"/>
                <a:gd name="connsiteX1412" fmla="*/ 812800 w 4940931"/>
                <a:gd name="connsiteY1412" fmla="*/ 45084 h 138429"/>
                <a:gd name="connsiteX1413" fmla="*/ 807720 w 4940931"/>
                <a:gd name="connsiteY1413" fmla="*/ 48894 h 138429"/>
                <a:gd name="connsiteX1414" fmla="*/ 804545 w 4940931"/>
                <a:gd name="connsiteY1414" fmla="*/ 55244 h 138429"/>
                <a:gd name="connsiteX1415" fmla="*/ 803275 w 4940931"/>
                <a:gd name="connsiteY1415" fmla="*/ 63499 h 138429"/>
                <a:gd name="connsiteX1416" fmla="*/ 803275 w 4940931"/>
                <a:gd name="connsiteY1416" fmla="*/ 109219 h 138429"/>
                <a:gd name="connsiteX1417" fmla="*/ 788035 w 4940931"/>
                <a:gd name="connsiteY1417" fmla="*/ 109219 h 138429"/>
                <a:gd name="connsiteX1418" fmla="*/ 788035 w 4940931"/>
                <a:gd name="connsiteY1418" fmla="*/ 8889 h 138429"/>
                <a:gd name="connsiteX1419" fmla="*/ 104774 w 4940931"/>
                <a:gd name="connsiteY1419" fmla="*/ 634 h 138429"/>
                <a:gd name="connsiteX1420" fmla="*/ 104774 w 4940931"/>
                <a:gd name="connsiteY1420" fmla="*/ 38099 h 138429"/>
                <a:gd name="connsiteX1421" fmla="*/ 108584 w 4940931"/>
                <a:gd name="connsiteY1421" fmla="*/ 34289 h 138429"/>
                <a:gd name="connsiteX1422" fmla="*/ 113029 w 4940931"/>
                <a:gd name="connsiteY1422" fmla="*/ 31114 h 138429"/>
                <a:gd name="connsiteX1423" fmla="*/ 118744 w 4940931"/>
                <a:gd name="connsiteY1423" fmla="*/ 29209 h 138429"/>
                <a:gd name="connsiteX1424" fmla="*/ 124459 w 4940931"/>
                <a:gd name="connsiteY1424" fmla="*/ 29209 h 138429"/>
                <a:gd name="connsiteX1425" fmla="*/ 136524 w 4940931"/>
                <a:gd name="connsiteY1425" fmla="*/ 31749 h 138429"/>
                <a:gd name="connsiteX1426" fmla="*/ 145414 w 4940931"/>
                <a:gd name="connsiteY1426" fmla="*/ 38099 h 138429"/>
                <a:gd name="connsiteX1427" fmla="*/ 150494 w 4940931"/>
                <a:gd name="connsiteY1427" fmla="*/ 49529 h 138429"/>
                <a:gd name="connsiteX1428" fmla="*/ 152399 w 4940931"/>
                <a:gd name="connsiteY1428" fmla="*/ 64134 h 138429"/>
                <a:gd name="connsiteX1429" fmla="*/ 152399 w 4940931"/>
                <a:gd name="connsiteY1429" fmla="*/ 108584 h 138429"/>
                <a:gd name="connsiteX1430" fmla="*/ 137159 w 4940931"/>
                <a:gd name="connsiteY1430" fmla="*/ 108584 h 138429"/>
                <a:gd name="connsiteX1431" fmla="*/ 136524 w 4940931"/>
                <a:gd name="connsiteY1431" fmla="*/ 108584 h 138429"/>
                <a:gd name="connsiteX1432" fmla="*/ 136524 w 4940931"/>
                <a:gd name="connsiteY1432" fmla="*/ 64769 h 138429"/>
                <a:gd name="connsiteX1433" fmla="*/ 132714 w 4940931"/>
                <a:gd name="connsiteY1433" fmla="*/ 48894 h 138429"/>
                <a:gd name="connsiteX1434" fmla="*/ 120649 w 4940931"/>
                <a:gd name="connsiteY1434" fmla="*/ 43814 h 138429"/>
                <a:gd name="connsiteX1435" fmla="*/ 114299 w 4940931"/>
                <a:gd name="connsiteY1435" fmla="*/ 45084 h 138429"/>
                <a:gd name="connsiteX1436" fmla="*/ 109219 w 4940931"/>
                <a:gd name="connsiteY1436" fmla="*/ 48894 h 138429"/>
                <a:gd name="connsiteX1437" fmla="*/ 106044 w 4940931"/>
                <a:gd name="connsiteY1437" fmla="*/ 55244 h 138429"/>
                <a:gd name="connsiteX1438" fmla="*/ 104774 w 4940931"/>
                <a:gd name="connsiteY1438" fmla="*/ 63499 h 138429"/>
                <a:gd name="connsiteX1439" fmla="*/ 104774 w 4940931"/>
                <a:gd name="connsiteY1439" fmla="*/ 109219 h 138429"/>
                <a:gd name="connsiteX1440" fmla="*/ 89534 w 4940931"/>
                <a:gd name="connsiteY1440" fmla="*/ 109219 h 138429"/>
                <a:gd name="connsiteX1441" fmla="*/ 89534 w 4940931"/>
                <a:gd name="connsiteY1441" fmla="*/ 8889 h 138429"/>
                <a:gd name="connsiteX1442" fmla="*/ 3894450 w 4940931"/>
                <a:gd name="connsiteY1442" fmla="*/ 0 h 138429"/>
                <a:gd name="connsiteX1443" fmla="*/ 3894450 w 4940931"/>
                <a:gd name="connsiteY1443" fmla="*/ 30480 h 138429"/>
                <a:gd name="connsiteX1444" fmla="*/ 3913500 w 4940931"/>
                <a:gd name="connsiteY1444" fmla="*/ 30480 h 138429"/>
                <a:gd name="connsiteX1445" fmla="*/ 3913500 w 4940931"/>
                <a:gd name="connsiteY1445" fmla="*/ 44450 h 138429"/>
                <a:gd name="connsiteX1446" fmla="*/ 3894450 w 4940931"/>
                <a:gd name="connsiteY1446" fmla="*/ 44450 h 138429"/>
                <a:gd name="connsiteX1447" fmla="*/ 3894450 w 4940931"/>
                <a:gd name="connsiteY1447" fmla="*/ 86995 h 138429"/>
                <a:gd name="connsiteX1448" fmla="*/ 3894450 w 4940931"/>
                <a:gd name="connsiteY1448" fmla="*/ 91440 h 138429"/>
                <a:gd name="connsiteX1449" fmla="*/ 3895720 w 4940931"/>
                <a:gd name="connsiteY1449" fmla="*/ 94615 h 138429"/>
                <a:gd name="connsiteX1450" fmla="*/ 3898260 w 4940931"/>
                <a:gd name="connsiteY1450" fmla="*/ 95885 h 138429"/>
                <a:gd name="connsiteX1451" fmla="*/ 3902070 w 4940931"/>
                <a:gd name="connsiteY1451" fmla="*/ 95885 h 138429"/>
                <a:gd name="connsiteX1452" fmla="*/ 3908420 w 4940931"/>
                <a:gd name="connsiteY1452" fmla="*/ 95250 h 138429"/>
                <a:gd name="connsiteX1453" fmla="*/ 3913500 w 4940931"/>
                <a:gd name="connsiteY1453" fmla="*/ 93345 h 138429"/>
                <a:gd name="connsiteX1454" fmla="*/ 3911595 w 4940931"/>
                <a:gd name="connsiteY1454" fmla="*/ 106680 h 138429"/>
                <a:gd name="connsiteX1455" fmla="*/ 3905245 w 4940931"/>
                <a:gd name="connsiteY1455" fmla="*/ 109220 h 138429"/>
                <a:gd name="connsiteX1456" fmla="*/ 3896990 w 4940931"/>
                <a:gd name="connsiteY1456" fmla="*/ 110490 h 138429"/>
                <a:gd name="connsiteX1457" fmla="*/ 3890005 w 4940931"/>
                <a:gd name="connsiteY1457" fmla="*/ 109220 h 138429"/>
                <a:gd name="connsiteX1458" fmla="*/ 3884290 w 4940931"/>
                <a:gd name="connsiteY1458" fmla="*/ 105410 h 138429"/>
                <a:gd name="connsiteX1459" fmla="*/ 3880480 w 4940931"/>
                <a:gd name="connsiteY1459" fmla="*/ 99060 h 138429"/>
                <a:gd name="connsiteX1460" fmla="*/ 3879210 w 4940931"/>
                <a:gd name="connsiteY1460" fmla="*/ 89535 h 138429"/>
                <a:gd name="connsiteX1461" fmla="*/ 3879210 w 4940931"/>
                <a:gd name="connsiteY1461" fmla="*/ 44450 h 138429"/>
                <a:gd name="connsiteX1462" fmla="*/ 3868415 w 4940931"/>
                <a:gd name="connsiteY1462" fmla="*/ 44450 h 138429"/>
                <a:gd name="connsiteX1463" fmla="*/ 3868415 w 4940931"/>
                <a:gd name="connsiteY1463" fmla="*/ 30480 h 138429"/>
                <a:gd name="connsiteX1464" fmla="*/ 3879210 w 4940931"/>
                <a:gd name="connsiteY1464" fmla="*/ 30480 h 138429"/>
                <a:gd name="connsiteX1465" fmla="*/ 3879210 w 4940931"/>
                <a:gd name="connsiteY1465" fmla="*/ 8255 h 138429"/>
                <a:gd name="connsiteX1466" fmla="*/ 3664581 w 4940931"/>
                <a:gd name="connsiteY1466" fmla="*/ 0 h 138429"/>
                <a:gd name="connsiteX1467" fmla="*/ 3664581 w 4940931"/>
                <a:gd name="connsiteY1467" fmla="*/ 30480 h 138429"/>
                <a:gd name="connsiteX1468" fmla="*/ 3683631 w 4940931"/>
                <a:gd name="connsiteY1468" fmla="*/ 30480 h 138429"/>
                <a:gd name="connsiteX1469" fmla="*/ 3683631 w 4940931"/>
                <a:gd name="connsiteY1469" fmla="*/ 44450 h 138429"/>
                <a:gd name="connsiteX1470" fmla="*/ 3664581 w 4940931"/>
                <a:gd name="connsiteY1470" fmla="*/ 44450 h 138429"/>
                <a:gd name="connsiteX1471" fmla="*/ 3664581 w 4940931"/>
                <a:gd name="connsiteY1471" fmla="*/ 86995 h 138429"/>
                <a:gd name="connsiteX1472" fmla="*/ 3664581 w 4940931"/>
                <a:gd name="connsiteY1472" fmla="*/ 91440 h 138429"/>
                <a:gd name="connsiteX1473" fmla="*/ 3665851 w 4940931"/>
                <a:gd name="connsiteY1473" fmla="*/ 94615 h 138429"/>
                <a:gd name="connsiteX1474" fmla="*/ 3668391 w 4940931"/>
                <a:gd name="connsiteY1474" fmla="*/ 95885 h 138429"/>
                <a:gd name="connsiteX1475" fmla="*/ 3672201 w 4940931"/>
                <a:gd name="connsiteY1475" fmla="*/ 95885 h 138429"/>
                <a:gd name="connsiteX1476" fmla="*/ 3678551 w 4940931"/>
                <a:gd name="connsiteY1476" fmla="*/ 95250 h 138429"/>
                <a:gd name="connsiteX1477" fmla="*/ 3683631 w 4940931"/>
                <a:gd name="connsiteY1477" fmla="*/ 93345 h 138429"/>
                <a:gd name="connsiteX1478" fmla="*/ 3681726 w 4940931"/>
                <a:gd name="connsiteY1478" fmla="*/ 106680 h 138429"/>
                <a:gd name="connsiteX1479" fmla="*/ 3675376 w 4940931"/>
                <a:gd name="connsiteY1479" fmla="*/ 109220 h 138429"/>
                <a:gd name="connsiteX1480" fmla="*/ 3667121 w 4940931"/>
                <a:gd name="connsiteY1480" fmla="*/ 110490 h 138429"/>
                <a:gd name="connsiteX1481" fmla="*/ 3660136 w 4940931"/>
                <a:gd name="connsiteY1481" fmla="*/ 109220 h 138429"/>
                <a:gd name="connsiteX1482" fmla="*/ 3654421 w 4940931"/>
                <a:gd name="connsiteY1482" fmla="*/ 105410 h 138429"/>
                <a:gd name="connsiteX1483" fmla="*/ 3650611 w 4940931"/>
                <a:gd name="connsiteY1483" fmla="*/ 99060 h 138429"/>
                <a:gd name="connsiteX1484" fmla="*/ 3649341 w 4940931"/>
                <a:gd name="connsiteY1484" fmla="*/ 89535 h 138429"/>
                <a:gd name="connsiteX1485" fmla="*/ 3649341 w 4940931"/>
                <a:gd name="connsiteY1485" fmla="*/ 44450 h 138429"/>
                <a:gd name="connsiteX1486" fmla="*/ 3638546 w 4940931"/>
                <a:gd name="connsiteY1486" fmla="*/ 44450 h 138429"/>
                <a:gd name="connsiteX1487" fmla="*/ 3638546 w 4940931"/>
                <a:gd name="connsiteY1487" fmla="*/ 30480 h 138429"/>
                <a:gd name="connsiteX1488" fmla="*/ 3649341 w 4940931"/>
                <a:gd name="connsiteY1488" fmla="*/ 30480 h 138429"/>
                <a:gd name="connsiteX1489" fmla="*/ 3649341 w 4940931"/>
                <a:gd name="connsiteY1489" fmla="*/ 8255 h 138429"/>
                <a:gd name="connsiteX1490" fmla="*/ 3610605 w 4940931"/>
                <a:gd name="connsiteY1490" fmla="*/ 0 h 138429"/>
                <a:gd name="connsiteX1491" fmla="*/ 3610605 w 4940931"/>
                <a:gd name="connsiteY1491" fmla="*/ 30480 h 138429"/>
                <a:gd name="connsiteX1492" fmla="*/ 3629655 w 4940931"/>
                <a:gd name="connsiteY1492" fmla="*/ 30480 h 138429"/>
                <a:gd name="connsiteX1493" fmla="*/ 3629655 w 4940931"/>
                <a:gd name="connsiteY1493" fmla="*/ 44450 h 138429"/>
                <a:gd name="connsiteX1494" fmla="*/ 3610605 w 4940931"/>
                <a:gd name="connsiteY1494" fmla="*/ 44450 h 138429"/>
                <a:gd name="connsiteX1495" fmla="*/ 3610605 w 4940931"/>
                <a:gd name="connsiteY1495" fmla="*/ 86995 h 138429"/>
                <a:gd name="connsiteX1496" fmla="*/ 3610605 w 4940931"/>
                <a:gd name="connsiteY1496" fmla="*/ 91440 h 138429"/>
                <a:gd name="connsiteX1497" fmla="*/ 3611875 w 4940931"/>
                <a:gd name="connsiteY1497" fmla="*/ 94615 h 138429"/>
                <a:gd name="connsiteX1498" fmla="*/ 3614415 w 4940931"/>
                <a:gd name="connsiteY1498" fmla="*/ 95885 h 138429"/>
                <a:gd name="connsiteX1499" fmla="*/ 3618225 w 4940931"/>
                <a:gd name="connsiteY1499" fmla="*/ 95885 h 138429"/>
                <a:gd name="connsiteX1500" fmla="*/ 3624575 w 4940931"/>
                <a:gd name="connsiteY1500" fmla="*/ 95250 h 138429"/>
                <a:gd name="connsiteX1501" fmla="*/ 3629655 w 4940931"/>
                <a:gd name="connsiteY1501" fmla="*/ 93345 h 138429"/>
                <a:gd name="connsiteX1502" fmla="*/ 3627750 w 4940931"/>
                <a:gd name="connsiteY1502" fmla="*/ 106680 h 138429"/>
                <a:gd name="connsiteX1503" fmla="*/ 3621400 w 4940931"/>
                <a:gd name="connsiteY1503" fmla="*/ 109220 h 138429"/>
                <a:gd name="connsiteX1504" fmla="*/ 3613145 w 4940931"/>
                <a:gd name="connsiteY1504" fmla="*/ 110490 h 138429"/>
                <a:gd name="connsiteX1505" fmla="*/ 3606160 w 4940931"/>
                <a:gd name="connsiteY1505" fmla="*/ 109220 h 138429"/>
                <a:gd name="connsiteX1506" fmla="*/ 3600445 w 4940931"/>
                <a:gd name="connsiteY1506" fmla="*/ 105410 h 138429"/>
                <a:gd name="connsiteX1507" fmla="*/ 3596635 w 4940931"/>
                <a:gd name="connsiteY1507" fmla="*/ 99060 h 138429"/>
                <a:gd name="connsiteX1508" fmla="*/ 3595365 w 4940931"/>
                <a:gd name="connsiteY1508" fmla="*/ 89535 h 138429"/>
                <a:gd name="connsiteX1509" fmla="*/ 3595365 w 4940931"/>
                <a:gd name="connsiteY1509" fmla="*/ 44450 h 138429"/>
                <a:gd name="connsiteX1510" fmla="*/ 3584570 w 4940931"/>
                <a:gd name="connsiteY1510" fmla="*/ 44450 h 138429"/>
                <a:gd name="connsiteX1511" fmla="*/ 3584570 w 4940931"/>
                <a:gd name="connsiteY1511" fmla="*/ 30480 h 138429"/>
                <a:gd name="connsiteX1512" fmla="*/ 3595365 w 4940931"/>
                <a:gd name="connsiteY1512" fmla="*/ 30480 h 138429"/>
                <a:gd name="connsiteX1513" fmla="*/ 3595365 w 4940931"/>
                <a:gd name="connsiteY1513" fmla="*/ 8255 h 138429"/>
                <a:gd name="connsiteX1514" fmla="*/ 3445505 w 4940931"/>
                <a:gd name="connsiteY1514" fmla="*/ 0 h 138429"/>
                <a:gd name="connsiteX1515" fmla="*/ 3445505 w 4940931"/>
                <a:gd name="connsiteY1515" fmla="*/ 37465 h 138429"/>
                <a:gd name="connsiteX1516" fmla="*/ 3449950 w 4940931"/>
                <a:gd name="connsiteY1516" fmla="*/ 33655 h 138429"/>
                <a:gd name="connsiteX1517" fmla="*/ 3453760 w 4940931"/>
                <a:gd name="connsiteY1517" fmla="*/ 31115 h 138429"/>
                <a:gd name="connsiteX1518" fmla="*/ 3458840 w 4940931"/>
                <a:gd name="connsiteY1518" fmla="*/ 29210 h 138429"/>
                <a:gd name="connsiteX1519" fmla="*/ 3465825 w 4940931"/>
                <a:gd name="connsiteY1519" fmla="*/ 28575 h 138429"/>
                <a:gd name="connsiteX1520" fmla="*/ 3477890 w 4940931"/>
                <a:gd name="connsiteY1520" fmla="*/ 31115 h 138429"/>
                <a:gd name="connsiteX1521" fmla="*/ 3487415 w 4940931"/>
                <a:gd name="connsiteY1521" fmla="*/ 38735 h 138429"/>
                <a:gd name="connsiteX1522" fmla="*/ 3493765 w 4940931"/>
                <a:gd name="connsiteY1522" fmla="*/ 51435 h 138429"/>
                <a:gd name="connsiteX1523" fmla="*/ 3496305 w 4940931"/>
                <a:gd name="connsiteY1523" fmla="*/ 70485 h 138429"/>
                <a:gd name="connsiteX1524" fmla="*/ 3495670 w 4940931"/>
                <a:gd name="connsiteY1524" fmla="*/ 71120 h 138429"/>
                <a:gd name="connsiteX1525" fmla="*/ 3493130 w 4940931"/>
                <a:gd name="connsiteY1525" fmla="*/ 88265 h 138429"/>
                <a:gd name="connsiteX1526" fmla="*/ 3486145 w 4940931"/>
                <a:gd name="connsiteY1526" fmla="*/ 100330 h 138429"/>
                <a:gd name="connsiteX1527" fmla="*/ 3476620 w 4940931"/>
                <a:gd name="connsiteY1527" fmla="*/ 107315 h 138429"/>
                <a:gd name="connsiteX1528" fmla="*/ 3465190 w 4940931"/>
                <a:gd name="connsiteY1528" fmla="*/ 109855 h 138429"/>
                <a:gd name="connsiteX1529" fmla="*/ 3454395 w 4940931"/>
                <a:gd name="connsiteY1529" fmla="*/ 107315 h 138429"/>
                <a:gd name="connsiteX1530" fmla="*/ 3445505 w 4940931"/>
                <a:gd name="connsiteY1530" fmla="*/ 100965 h 138429"/>
                <a:gd name="connsiteX1531" fmla="*/ 3445505 w 4940931"/>
                <a:gd name="connsiteY1531" fmla="*/ 107950 h 138429"/>
                <a:gd name="connsiteX1532" fmla="*/ 3430265 w 4940931"/>
                <a:gd name="connsiteY1532" fmla="*/ 107950 h 138429"/>
                <a:gd name="connsiteX1533" fmla="*/ 3430265 w 4940931"/>
                <a:gd name="connsiteY1533" fmla="*/ 7620 h 138429"/>
                <a:gd name="connsiteX1534" fmla="*/ 2380611 w 4940931"/>
                <a:gd name="connsiteY1534" fmla="*/ 0 h 138429"/>
                <a:gd name="connsiteX1535" fmla="*/ 2380611 w 4940931"/>
                <a:gd name="connsiteY1535" fmla="*/ 30480 h 138429"/>
                <a:gd name="connsiteX1536" fmla="*/ 2399661 w 4940931"/>
                <a:gd name="connsiteY1536" fmla="*/ 30480 h 138429"/>
                <a:gd name="connsiteX1537" fmla="*/ 2399661 w 4940931"/>
                <a:gd name="connsiteY1537" fmla="*/ 44450 h 138429"/>
                <a:gd name="connsiteX1538" fmla="*/ 2380611 w 4940931"/>
                <a:gd name="connsiteY1538" fmla="*/ 44450 h 138429"/>
                <a:gd name="connsiteX1539" fmla="*/ 2380611 w 4940931"/>
                <a:gd name="connsiteY1539" fmla="*/ 86995 h 138429"/>
                <a:gd name="connsiteX1540" fmla="*/ 2380611 w 4940931"/>
                <a:gd name="connsiteY1540" fmla="*/ 91440 h 138429"/>
                <a:gd name="connsiteX1541" fmla="*/ 2381881 w 4940931"/>
                <a:gd name="connsiteY1541" fmla="*/ 94615 h 138429"/>
                <a:gd name="connsiteX1542" fmla="*/ 2384421 w 4940931"/>
                <a:gd name="connsiteY1542" fmla="*/ 95885 h 138429"/>
                <a:gd name="connsiteX1543" fmla="*/ 2388231 w 4940931"/>
                <a:gd name="connsiteY1543" fmla="*/ 95885 h 138429"/>
                <a:gd name="connsiteX1544" fmla="*/ 2394581 w 4940931"/>
                <a:gd name="connsiteY1544" fmla="*/ 95250 h 138429"/>
                <a:gd name="connsiteX1545" fmla="*/ 2399661 w 4940931"/>
                <a:gd name="connsiteY1545" fmla="*/ 93345 h 138429"/>
                <a:gd name="connsiteX1546" fmla="*/ 2397756 w 4940931"/>
                <a:gd name="connsiteY1546" fmla="*/ 106680 h 138429"/>
                <a:gd name="connsiteX1547" fmla="*/ 2391406 w 4940931"/>
                <a:gd name="connsiteY1547" fmla="*/ 109220 h 138429"/>
                <a:gd name="connsiteX1548" fmla="*/ 2383151 w 4940931"/>
                <a:gd name="connsiteY1548" fmla="*/ 110490 h 138429"/>
                <a:gd name="connsiteX1549" fmla="*/ 2376166 w 4940931"/>
                <a:gd name="connsiteY1549" fmla="*/ 109220 h 138429"/>
                <a:gd name="connsiteX1550" fmla="*/ 2370451 w 4940931"/>
                <a:gd name="connsiteY1550" fmla="*/ 105410 h 138429"/>
                <a:gd name="connsiteX1551" fmla="*/ 2366641 w 4940931"/>
                <a:gd name="connsiteY1551" fmla="*/ 99060 h 138429"/>
                <a:gd name="connsiteX1552" fmla="*/ 2365371 w 4940931"/>
                <a:gd name="connsiteY1552" fmla="*/ 89535 h 138429"/>
                <a:gd name="connsiteX1553" fmla="*/ 2365371 w 4940931"/>
                <a:gd name="connsiteY1553" fmla="*/ 44450 h 138429"/>
                <a:gd name="connsiteX1554" fmla="*/ 2354576 w 4940931"/>
                <a:gd name="connsiteY1554" fmla="*/ 44450 h 138429"/>
                <a:gd name="connsiteX1555" fmla="*/ 2354576 w 4940931"/>
                <a:gd name="connsiteY1555" fmla="*/ 30480 h 138429"/>
                <a:gd name="connsiteX1556" fmla="*/ 2365371 w 4940931"/>
                <a:gd name="connsiteY1556" fmla="*/ 30480 h 138429"/>
                <a:gd name="connsiteX1557" fmla="*/ 2365371 w 4940931"/>
                <a:gd name="connsiteY1557" fmla="*/ 8255 h 138429"/>
                <a:gd name="connsiteX1558" fmla="*/ 2150741 w 4940931"/>
                <a:gd name="connsiteY1558" fmla="*/ 0 h 138429"/>
                <a:gd name="connsiteX1559" fmla="*/ 2150741 w 4940931"/>
                <a:gd name="connsiteY1559" fmla="*/ 30480 h 138429"/>
                <a:gd name="connsiteX1560" fmla="*/ 2169791 w 4940931"/>
                <a:gd name="connsiteY1560" fmla="*/ 30480 h 138429"/>
                <a:gd name="connsiteX1561" fmla="*/ 2169791 w 4940931"/>
                <a:gd name="connsiteY1561" fmla="*/ 44450 h 138429"/>
                <a:gd name="connsiteX1562" fmla="*/ 2150741 w 4940931"/>
                <a:gd name="connsiteY1562" fmla="*/ 44450 h 138429"/>
                <a:gd name="connsiteX1563" fmla="*/ 2150741 w 4940931"/>
                <a:gd name="connsiteY1563" fmla="*/ 86995 h 138429"/>
                <a:gd name="connsiteX1564" fmla="*/ 2150741 w 4940931"/>
                <a:gd name="connsiteY1564" fmla="*/ 91440 h 138429"/>
                <a:gd name="connsiteX1565" fmla="*/ 2152011 w 4940931"/>
                <a:gd name="connsiteY1565" fmla="*/ 94615 h 138429"/>
                <a:gd name="connsiteX1566" fmla="*/ 2154551 w 4940931"/>
                <a:gd name="connsiteY1566" fmla="*/ 95885 h 138429"/>
                <a:gd name="connsiteX1567" fmla="*/ 2158361 w 4940931"/>
                <a:gd name="connsiteY1567" fmla="*/ 95885 h 138429"/>
                <a:gd name="connsiteX1568" fmla="*/ 2164711 w 4940931"/>
                <a:gd name="connsiteY1568" fmla="*/ 95250 h 138429"/>
                <a:gd name="connsiteX1569" fmla="*/ 2169791 w 4940931"/>
                <a:gd name="connsiteY1569" fmla="*/ 93345 h 138429"/>
                <a:gd name="connsiteX1570" fmla="*/ 2167886 w 4940931"/>
                <a:gd name="connsiteY1570" fmla="*/ 106680 h 138429"/>
                <a:gd name="connsiteX1571" fmla="*/ 2161536 w 4940931"/>
                <a:gd name="connsiteY1571" fmla="*/ 109220 h 138429"/>
                <a:gd name="connsiteX1572" fmla="*/ 2153281 w 4940931"/>
                <a:gd name="connsiteY1572" fmla="*/ 110490 h 138429"/>
                <a:gd name="connsiteX1573" fmla="*/ 2146296 w 4940931"/>
                <a:gd name="connsiteY1573" fmla="*/ 109220 h 138429"/>
                <a:gd name="connsiteX1574" fmla="*/ 2140581 w 4940931"/>
                <a:gd name="connsiteY1574" fmla="*/ 105410 h 138429"/>
                <a:gd name="connsiteX1575" fmla="*/ 2136771 w 4940931"/>
                <a:gd name="connsiteY1575" fmla="*/ 99060 h 138429"/>
                <a:gd name="connsiteX1576" fmla="*/ 2135501 w 4940931"/>
                <a:gd name="connsiteY1576" fmla="*/ 89535 h 138429"/>
                <a:gd name="connsiteX1577" fmla="*/ 2135501 w 4940931"/>
                <a:gd name="connsiteY1577" fmla="*/ 44450 h 138429"/>
                <a:gd name="connsiteX1578" fmla="*/ 2124706 w 4940931"/>
                <a:gd name="connsiteY1578" fmla="*/ 44450 h 138429"/>
                <a:gd name="connsiteX1579" fmla="*/ 2124706 w 4940931"/>
                <a:gd name="connsiteY1579" fmla="*/ 30480 h 138429"/>
                <a:gd name="connsiteX1580" fmla="*/ 2135501 w 4940931"/>
                <a:gd name="connsiteY1580" fmla="*/ 30480 h 138429"/>
                <a:gd name="connsiteX1581" fmla="*/ 2135501 w 4940931"/>
                <a:gd name="connsiteY1581" fmla="*/ 8255 h 138429"/>
                <a:gd name="connsiteX1582" fmla="*/ 2096131 w 4940931"/>
                <a:gd name="connsiteY1582" fmla="*/ 0 h 138429"/>
                <a:gd name="connsiteX1583" fmla="*/ 2096131 w 4940931"/>
                <a:gd name="connsiteY1583" fmla="*/ 30480 h 138429"/>
                <a:gd name="connsiteX1584" fmla="*/ 2115181 w 4940931"/>
                <a:gd name="connsiteY1584" fmla="*/ 30480 h 138429"/>
                <a:gd name="connsiteX1585" fmla="*/ 2115181 w 4940931"/>
                <a:gd name="connsiteY1585" fmla="*/ 44450 h 138429"/>
                <a:gd name="connsiteX1586" fmla="*/ 2096131 w 4940931"/>
                <a:gd name="connsiteY1586" fmla="*/ 44450 h 138429"/>
                <a:gd name="connsiteX1587" fmla="*/ 2096131 w 4940931"/>
                <a:gd name="connsiteY1587" fmla="*/ 86995 h 138429"/>
                <a:gd name="connsiteX1588" fmla="*/ 2096131 w 4940931"/>
                <a:gd name="connsiteY1588" fmla="*/ 91440 h 138429"/>
                <a:gd name="connsiteX1589" fmla="*/ 2097401 w 4940931"/>
                <a:gd name="connsiteY1589" fmla="*/ 94615 h 138429"/>
                <a:gd name="connsiteX1590" fmla="*/ 2099941 w 4940931"/>
                <a:gd name="connsiteY1590" fmla="*/ 95885 h 138429"/>
                <a:gd name="connsiteX1591" fmla="*/ 2103751 w 4940931"/>
                <a:gd name="connsiteY1591" fmla="*/ 95885 h 138429"/>
                <a:gd name="connsiteX1592" fmla="*/ 2110101 w 4940931"/>
                <a:gd name="connsiteY1592" fmla="*/ 95250 h 138429"/>
                <a:gd name="connsiteX1593" fmla="*/ 2115181 w 4940931"/>
                <a:gd name="connsiteY1593" fmla="*/ 93345 h 138429"/>
                <a:gd name="connsiteX1594" fmla="*/ 2113276 w 4940931"/>
                <a:gd name="connsiteY1594" fmla="*/ 106680 h 138429"/>
                <a:gd name="connsiteX1595" fmla="*/ 2106926 w 4940931"/>
                <a:gd name="connsiteY1595" fmla="*/ 109220 h 138429"/>
                <a:gd name="connsiteX1596" fmla="*/ 2098671 w 4940931"/>
                <a:gd name="connsiteY1596" fmla="*/ 110490 h 138429"/>
                <a:gd name="connsiteX1597" fmla="*/ 2091686 w 4940931"/>
                <a:gd name="connsiteY1597" fmla="*/ 109220 h 138429"/>
                <a:gd name="connsiteX1598" fmla="*/ 2085971 w 4940931"/>
                <a:gd name="connsiteY1598" fmla="*/ 105410 h 138429"/>
                <a:gd name="connsiteX1599" fmla="*/ 2082161 w 4940931"/>
                <a:gd name="connsiteY1599" fmla="*/ 99060 h 138429"/>
                <a:gd name="connsiteX1600" fmla="*/ 2080891 w 4940931"/>
                <a:gd name="connsiteY1600" fmla="*/ 89535 h 138429"/>
                <a:gd name="connsiteX1601" fmla="*/ 2080891 w 4940931"/>
                <a:gd name="connsiteY1601" fmla="*/ 44450 h 138429"/>
                <a:gd name="connsiteX1602" fmla="*/ 2070096 w 4940931"/>
                <a:gd name="connsiteY1602" fmla="*/ 44450 h 138429"/>
                <a:gd name="connsiteX1603" fmla="*/ 2070096 w 4940931"/>
                <a:gd name="connsiteY1603" fmla="*/ 30480 h 138429"/>
                <a:gd name="connsiteX1604" fmla="*/ 2080891 w 4940931"/>
                <a:gd name="connsiteY1604" fmla="*/ 30480 h 138429"/>
                <a:gd name="connsiteX1605" fmla="*/ 2080891 w 4940931"/>
                <a:gd name="connsiteY1605" fmla="*/ 8255 h 138429"/>
                <a:gd name="connsiteX1606" fmla="*/ 1931665 w 4940931"/>
                <a:gd name="connsiteY1606" fmla="*/ 0 h 138429"/>
                <a:gd name="connsiteX1607" fmla="*/ 1931665 w 4940931"/>
                <a:gd name="connsiteY1607" fmla="*/ 37465 h 138429"/>
                <a:gd name="connsiteX1608" fmla="*/ 1936110 w 4940931"/>
                <a:gd name="connsiteY1608" fmla="*/ 33655 h 138429"/>
                <a:gd name="connsiteX1609" fmla="*/ 1939920 w 4940931"/>
                <a:gd name="connsiteY1609" fmla="*/ 31115 h 138429"/>
                <a:gd name="connsiteX1610" fmla="*/ 1945000 w 4940931"/>
                <a:gd name="connsiteY1610" fmla="*/ 29210 h 138429"/>
                <a:gd name="connsiteX1611" fmla="*/ 1951985 w 4940931"/>
                <a:gd name="connsiteY1611" fmla="*/ 28575 h 138429"/>
                <a:gd name="connsiteX1612" fmla="*/ 1964050 w 4940931"/>
                <a:gd name="connsiteY1612" fmla="*/ 31115 h 138429"/>
                <a:gd name="connsiteX1613" fmla="*/ 1973575 w 4940931"/>
                <a:gd name="connsiteY1613" fmla="*/ 38735 h 138429"/>
                <a:gd name="connsiteX1614" fmla="*/ 1979925 w 4940931"/>
                <a:gd name="connsiteY1614" fmla="*/ 51435 h 138429"/>
                <a:gd name="connsiteX1615" fmla="*/ 1982465 w 4940931"/>
                <a:gd name="connsiteY1615" fmla="*/ 70485 h 138429"/>
                <a:gd name="connsiteX1616" fmla="*/ 1981830 w 4940931"/>
                <a:gd name="connsiteY1616" fmla="*/ 71120 h 138429"/>
                <a:gd name="connsiteX1617" fmla="*/ 1979290 w 4940931"/>
                <a:gd name="connsiteY1617" fmla="*/ 88265 h 138429"/>
                <a:gd name="connsiteX1618" fmla="*/ 1972305 w 4940931"/>
                <a:gd name="connsiteY1618" fmla="*/ 100330 h 138429"/>
                <a:gd name="connsiteX1619" fmla="*/ 1962780 w 4940931"/>
                <a:gd name="connsiteY1619" fmla="*/ 107315 h 138429"/>
                <a:gd name="connsiteX1620" fmla="*/ 1951350 w 4940931"/>
                <a:gd name="connsiteY1620" fmla="*/ 109855 h 138429"/>
                <a:gd name="connsiteX1621" fmla="*/ 1940555 w 4940931"/>
                <a:gd name="connsiteY1621" fmla="*/ 107315 h 138429"/>
                <a:gd name="connsiteX1622" fmla="*/ 1931665 w 4940931"/>
                <a:gd name="connsiteY1622" fmla="*/ 100965 h 138429"/>
                <a:gd name="connsiteX1623" fmla="*/ 1931665 w 4940931"/>
                <a:gd name="connsiteY1623" fmla="*/ 107950 h 138429"/>
                <a:gd name="connsiteX1624" fmla="*/ 1916425 w 4940931"/>
                <a:gd name="connsiteY1624" fmla="*/ 107950 h 138429"/>
                <a:gd name="connsiteX1625" fmla="*/ 1916425 w 4940931"/>
                <a:gd name="connsiteY1625" fmla="*/ 7620 h 138429"/>
                <a:gd name="connsiteX1626" fmla="*/ 1316991 w 4940931"/>
                <a:gd name="connsiteY1626" fmla="*/ 0 h 138429"/>
                <a:gd name="connsiteX1627" fmla="*/ 1316991 w 4940931"/>
                <a:gd name="connsiteY1627" fmla="*/ 30480 h 138429"/>
                <a:gd name="connsiteX1628" fmla="*/ 1336041 w 4940931"/>
                <a:gd name="connsiteY1628" fmla="*/ 30480 h 138429"/>
                <a:gd name="connsiteX1629" fmla="*/ 1336041 w 4940931"/>
                <a:gd name="connsiteY1629" fmla="*/ 44450 h 138429"/>
                <a:gd name="connsiteX1630" fmla="*/ 1316991 w 4940931"/>
                <a:gd name="connsiteY1630" fmla="*/ 44450 h 138429"/>
                <a:gd name="connsiteX1631" fmla="*/ 1316991 w 4940931"/>
                <a:gd name="connsiteY1631" fmla="*/ 86995 h 138429"/>
                <a:gd name="connsiteX1632" fmla="*/ 1316991 w 4940931"/>
                <a:gd name="connsiteY1632" fmla="*/ 91440 h 138429"/>
                <a:gd name="connsiteX1633" fmla="*/ 1318261 w 4940931"/>
                <a:gd name="connsiteY1633" fmla="*/ 94615 h 138429"/>
                <a:gd name="connsiteX1634" fmla="*/ 1320801 w 4940931"/>
                <a:gd name="connsiteY1634" fmla="*/ 95885 h 138429"/>
                <a:gd name="connsiteX1635" fmla="*/ 1324611 w 4940931"/>
                <a:gd name="connsiteY1635" fmla="*/ 95885 h 138429"/>
                <a:gd name="connsiteX1636" fmla="*/ 1330961 w 4940931"/>
                <a:gd name="connsiteY1636" fmla="*/ 95250 h 138429"/>
                <a:gd name="connsiteX1637" fmla="*/ 1336041 w 4940931"/>
                <a:gd name="connsiteY1637" fmla="*/ 93345 h 138429"/>
                <a:gd name="connsiteX1638" fmla="*/ 1334136 w 4940931"/>
                <a:gd name="connsiteY1638" fmla="*/ 106680 h 138429"/>
                <a:gd name="connsiteX1639" fmla="*/ 1327786 w 4940931"/>
                <a:gd name="connsiteY1639" fmla="*/ 109220 h 138429"/>
                <a:gd name="connsiteX1640" fmla="*/ 1319531 w 4940931"/>
                <a:gd name="connsiteY1640" fmla="*/ 110490 h 138429"/>
                <a:gd name="connsiteX1641" fmla="*/ 1312546 w 4940931"/>
                <a:gd name="connsiteY1641" fmla="*/ 109220 h 138429"/>
                <a:gd name="connsiteX1642" fmla="*/ 1306831 w 4940931"/>
                <a:gd name="connsiteY1642" fmla="*/ 105410 h 138429"/>
                <a:gd name="connsiteX1643" fmla="*/ 1303021 w 4940931"/>
                <a:gd name="connsiteY1643" fmla="*/ 99060 h 138429"/>
                <a:gd name="connsiteX1644" fmla="*/ 1301751 w 4940931"/>
                <a:gd name="connsiteY1644" fmla="*/ 89535 h 138429"/>
                <a:gd name="connsiteX1645" fmla="*/ 1301751 w 4940931"/>
                <a:gd name="connsiteY1645" fmla="*/ 44450 h 138429"/>
                <a:gd name="connsiteX1646" fmla="*/ 1290956 w 4940931"/>
                <a:gd name="connsiteY1646" fmla="*/ 44450 h 138429"/>
                <a:gd name="connsiteX1647" fmla="*/ 1290956 w 4940931"/>
                <a:gd name="connsiteY1647" fmla="*/ 30480 h 138429"/>
                <a:gd name="connsiteX1648" fmla="*/ 1301751 w 4940931"/>
                <a:gd name="connsiteY1648" fmla="*/ 30480 h 138429"/>
                <a:gd name="connsiteX1649" fmla="*/ 1301751 w 4940931"/>
                <a:gd name="connsiteY1649" fmla="*/ 8255 h 138429"/>
                <a:gd name="connsiteX1650" fmla="*/ 751206 w 4940931"/>
                <a:gd name="connsiteY1650" fmla="*/ 0 h 138429"/>
                <a:gd name="connsiteX1651" fmla="*/ 751206 w 4940931"/>
                <a:gd name="connsiteY1651" fmla="*/ 30480 h 138429"/>
                <a:gd name="connsiteX1652" fmla="*/ 770256 w 4940931"/>
                <a:gd name="connsiteY1652" fmla="*/ 30480 h 138429"/>
                <a:gd name="connsiteX1653" fmla="*/ 770256 w 4940931"/>
                <a:gd name="connsiteY1653" fmla="*/ 44450 h 138429"/>
                <a:gd name="connsiteX1654" fmla="*/ 751206 w 4940931"/>
                <a:gd name="connsiteY1654" fmla="*/ 44450 h 138429"/>
                <a:gd name="connsiteX1655" fmla="*/ 751206 w 4940931"/>
                <a:gd name="connsiteY1655" fmla="*/ 86995 h 138429"/>
                <a:gd name="connsiteX1656" fmla="*/ 751206 w 4940931"/>
                <a:gd name="connsiteY1656" fmla="*/ 91440 h 138429"/>
                <a:gd name="connsiteX1657" fmla="*/ 752476 w 4940931"/>
                <a:gd name="connsiteY1657" fmla="*/ 94615 h 138429"/>
                <a:gd name="connsiteX1658" fmla="*/ 755016 w 4940931"/>
                <a:gd name="connsiteY1658" fmla="*/ 95885 h 138429"/>
                <a:gd name="connsiteX1659" fmla="*/ 758826 w 4940931"/>
                <a:gd name="connsiteY1659" fmla="*/ 95885 h 138429"/>
                <a:gd name="connsiteX1660" fmla="*/ 765176 w 4940931"/>
                <a:gd name="connsiteY1660" fmla="*/ 95250 h 138429"/>
                <a:gd name="connsiteX1661" fmla="*/ 770256 w 4940931"/>
                <a:gd name="connsiteY1661" fmla="*/ 93345 h 138429"/>
                <a:gd name="connsiteX1662" fmla="*/ 768351 w 4940931"/>
                <a:gd name="connsiteY1662" fmla="*/ 106680 h 138429"/>
                <a:gd name="connsiteX1663" fmla="*/ 762001 w 4940931"/>
                <a:gd name="connsiteY1663" fmla="*/ 109220 h 138429"/>
                <a:gd name="connsiteX1664" fmla="*/ 753746 w 4940931"/>
                <a:gd name="connsiteY1664" fmla="*/ 110490 h 138429"/>
                <a:gd name="connsiteX1665" fmla="*/ 746761 w 4940931"/>
                <a:gd name="connsiteY1665" fmla="*/ 109220 h 138429"/>
                <a:gd name="connsiteX1666" fmla="*/ 741045 w 4940931"/>
                <a:gd name="connsiteY1666" fmla="*/ 105410 h 138429"/>
                <a:gd name="connsiteX1667" fmla="*/ 737236 w 4940931"/>
                <a:gd name="connsiteY1667" fmla="*/ 99060 h 138429"/>
                <a:gd name="connsiteX1668" fmla="*/ 735966 w 4940931"/>
                <a:gd name="connsiteY1668" fmla="*/ 89535 h 138429"/>
                <a:gd name="connsiteX1669" fmla="*/ 735966 w 4940931"/>
                <a:gd name="connsiteY1669" fmla="*/ 44450 h 138429"/>
                <a:gd name="connsiteX1670" fmla="*/ 725171 w 4940931"/>
                <a:gd name="connsiteY1670" fmla="*/ 44450 h 138429"/>
                <a:gd name="connsiteX1671" fmla="*/ 725171 w 4940931"/>
                <a:gd name="connsiteY1671" fmla="*/ 30480 h 138429"/>
                <a:gd name="connsiteX1672" fmla="*/ 735966 w 4940931"/>
                <a:gd name="connsiteY1672" fmla="*/ 30480 h 138429"/>
                <a:gd name="connsiteX1673" fmla="*/ 735966 w 4940931"/>
                <a:gd name="connsiteY1673" fmla="*/ 8255 h 138429"/>
                <a:gd name="connsiteX1674" fmla="*/ 521335 w 4940931"/>
                <a:gd name="connsiteY1674" fmla="*/ 0 h 138429"/>
                <a:gd name="connsiteX1675" fmla="*/ 521335 w 4940931"/>
                <a:gd name="connsiteY1675" fmla="*/ 30480 h 138429"/>
                <a:gd name="connsiteX1676" fmla="*/ 540385 w 4940931"/>
                <a:gd name="connsiteY1676" fmla="*/ 30480 h 138429"/>
                <a:gd name="connsiteX1677" fmla="*/ 540385 w 4940931"/>
                <a:gd name="connsiteY1677" fmla="*/ 44450 h 138429"/>
                <a:gd name="connsiteX1678" fmla="*/ 521335 w 4940931"/>
                <a:gd name="connsiteY1678" fmla="*/ 44450 h 138429"/>
                <a:gd name="connsiteX1679" fmla="*/ 521335 w 4940931"/>
                <a:gd name="connsiteY1679" fmla="*/ 86995 h 138429"/>
                <a:gd name="connsiteX1680" fmla="*/ 521335 w 4940931"/>
                <a:gd name="connsiteY1680" fmla="*/ 91440 h 138429"/>
                <a:gd name="connsiteX1681" fmla="*/ 522605 w 4940931"/>
                <a:gd name="connsiteY1681" fmla="*/ 94615 h 138429"/>
                <a:gd name="connsiteX1682" fmla="*/ 525145 w 4940931"/>
                <a:gd name="connsiteY1682" fmla="*/ 95885 h 138429"/>
                <a:gd name="connsiteX1683" fmla="*/ 528955 w 4940931"/>
                <a:gd name="connsiteY1683" fmla="*/ 95885 h 138429"/>
                <a:gd name="connsiteX1684" fmla="*/ 535305 w 4940931"/>
                <a:gd name="connsiteY1684" fmla="*/ 95250 h 138429"/>
                <a:gd name="connsiteX1685" fmla="*/ 540385 w 4940931"/>
                <a:gd name="connsiteY1685" fmla="*/ 93345 h 138429"/>
                <a:gd name="connsiteX1686" fmla="*/ 538480 w 4940931"/>
                <a:gd name="connsiteY1686" fmla="*/ 106680 h 138429"/>
                <a:gd name="connsiteX1687" fmla="*/ 532130 w 4940931"/>
                <a:gd name="connsiteY1687" fmla="*/ 109220 h 138429"/>
                <a:gd name="connsiteX1688" fmla="*/ 523875 w 4940931"/>
                <a:gd name="connsiteY1688" fmla="*/ 110490 h 138429"/>
                <a:gd name="connsiteX1689" fmla="*/ 516890 w 4940931"/>
                <a:gd name="connsiteY1689" fmla="*/ 109220 h 138429"/>
                <a:gd name="connsiteX1690" fmla="*/ 511175 w 4940931"/>
                <a:gd name="connsiteY1690" fmla="*/ 105410 h 138429"/>
                <a:gd name="connsiteX1691" fmla="*/ 507365 w 4940931"/>
                <a:gd name="connsiteY1691" fmla="*/ 99060 h 138429"/>
                <a:gd name="connsiteX1692" fmla="*/ 506095 w 4940931"/>
                <a:gd name="connsiteY1692" fmla="*/ 89535 h 138429"/>
                <a:gd name="connsiteX1693" fmla="*/ 506095 w 4940931"/>
                <a:gd name="connsiteY1693" fmla="*/ 44450 h 138429"/>
                <a:gd name="connsiteX1694" fmla="*/ 495300 w 4940931"/>
                <a:gd name="connsiteY1694" fmla="*/ 44450 h 138429"/>
                <a:gd name="connsiteX1695" fmla="*/ 495300 w 4940931"/>
                <a:gd name="connsiteY1695" fmla="*/ 30480 h 138429"/>
                <a:gd name="connsiteX1696" fmla="*/ 506095 w 4940931"/>
                <a:gd name="connsiteY1696" fmla="*/ 30480 h 138429"/>
                <a:gd name="connsiteX1697" fmla="*/ 506095 w 4940931"/>
                <a:gd name="connsiteY1697" fmla="*/ 8255 h 138429"/>
                <a:gd name="connsiteX1698" fmla="*/ 466724 w 4940931"/>
                <a:gd name="connsiteY1698" fmla="*/ 0 h 138429"/>
                <a:gd name="connsiteX1699" fmla="*/ 466724 w 4940931"/>
                <a:gd name="connsiteY1699" fmla="*/ 30480 h 138429"/>
                <a:gd name="connsiteX1700" fmla="*/ 485774 w 4940931"/>
                <a:gd name="connsiteY1700" fmla="*/ 30480 h 138429"/>
                <a:gd name="connsiteX1701" fmla="*/ 485774 w 4940931"/>
                <a:gd name="connsiteY1701" fmla="*/ 44450 h 138429"/>
                <a:gd name="connsiteX1702" fmla="*/ 466724 w 4940931"/>
                <a:gd name="connsiteY1702" fmla="*/ 44450 h 138429"/>
                <a:gd name="connsiteX1703" fmla="*/ 466724 w 4940931"/>
                <a:gd name="connsiteY1703" fmla="*/ 86995 h 138429"/>
                <a:gd name="connsiteX1704" fmla="*/ 466724 w 4940931"/>
                <a:gd name="connsiteY1704" fmla="*/ 91440 h 138429"/>
                <a:gd name="connsiteX1705" fmla="*/ 467994 w 4940931"/>
                <a:gd name="connsiteY1705" fmla="*/ 94615 h 138429"/>
                <a:gd name="connsiteX1706" fmla="*/ 470534 w 4940931"/>
                <a:gd name="connsiteY1706" fmla="*/ 95885 h 138429"/>
                <a:gd name="connsiteX1707" fmla="*/ 474344 w 4940931"/>
                <a:gd name="connsiteY1707" fmla="*/ 95885 h 138429"/>
                <a:gd name="connsiteX1708" fmla="*/ 480694 w 4940931"/>
                <a:gd name="connsiteY1708" fmla="*/ 95250 h 138429"/>
                <a:gd name="connsiteX1709" fmla="*/ 485774 w 4940931"/>
                <a:gd name="connsiteY1709" fmla="*/ 93345 h 138429"/>
                <a:gd name="connsiteX1710" fmla="*/ 483869 w 4940931"/>
                <a:gd name="connsiteY1710" fmla="*/ 106680 h 138429"/>
                <a:gd name="connsiteX1711" fmla="*/ 477519 w 4940931"/>
                <a:gd name="connsiteY1711" fmla="*/ 109220 h 138429"/>
                <a:gd name="connsiteX1712" fmla="*/ 469264 w 4940931"/>
                <a:gd name="connsiteY1712" fmla="*/ 110490 h 138429"/>
                <a:gd name="connsiteX1713" fmla="*/ 462279 w 4940931"/>
                <a:gd name="connsiteY1713" fmla="*/ 109220 h 138429"/>
                <a:gd name="connsiteX1714" fmla="*/ 456564 w 4940931"/>
                <a:gd name="connsiteY1714" fmla="*/ 105410 h 138429"/>
                <a:gd name="connsiteX1715" fmla="*/ 452754 w 4940931"/>
                <a:gd name="connsiteY1715" fmla="*/ 99060 h 138429"/>
                <a:gd name="connsiteX1716" fmla="*/ 451484 w 4940931"/>
                <a:gd name="connsiteY1716" fmla="*/ 89535 h 138429"/>
                <a:gd name="connsiteX1717" fmla="*/ 451484 w 4940931"/>
                <a:gd name="connsiteY1717" fmla="*/ 44450 h 138429"/>
                <a:gd name="connsiteX1718" fmla="*/ 440689 w 4940931"/>
                <a:gd name="connsiteY1718" fmla="*/ 44450 h 138429"/>
                <a:gd name="connsiteX1719" fmla="*/ 440689 w 4940931"/>
                <a:gd name="connsiteY1719" fmla="*/ 30480 h 138429"/>
                <a:gd name="connsiteX1720" fmla="*/ 451484 w 4940931"/>
                <a:gd name="connsiteY1720" fmla="*/ 30480 h 138429"/>
                <a:gd name="connsiteX1721" fmla="*/ 451484 w 4940931"/>
                <a:gd name="connsiteY1721" fmla="*/ 8255 h 138429"/>
                <a:gd name="connsiteX1722" fmla="*/ 302259 w 4940931"/>
                <a:gd name="connsiteY1722" fmla="*/ 0 h 138429"/>
                <a:gd name="connsiteX1723" fmla="*/ 302259 w 4940931"/>
                <a:gd name="connsiteY1723" fmla="*/ 37465 h 138429"/>
                <a:gd name="connsiteX1724" fmla="*/ 306704 w 4940931"/>
                <a:gd name="connsiteY1724" fmla="*/ 33655 h 138429"/>
                <a:gd name="connsiteX1725" fmla="*/ 310514 w 4940931"/>
                <a:gd name="connsiteY1725" fmla="*/ 31115 h 138429"/>
                <a:gd name="connsiteX1726" fmla="*/ 315594 w 4940931"/>
                <a:gd name="connsiteY1726" fmla="*/ 29210 h 138429"/>
                <a:gd name="connsiteX1727" fmla="*/ 322579 w 4940931"/>
                <a:gd name="connsiteY1727" fmla="*/ 28575 h 138429"/>
                <a:gd name="connsiteX1728" fmla="*/ 334644 w 4940931"/>
                <a:gd name="connsiteY1728" fmla="*/ 31115 h 138429"/>
                <a:gd name="connsiteX1729" fmla="*/ 344169 w 4940931"/>
                <a:gd name="connsiteY1729" fmla="*/ 38735 h 138429"/>
                <a:gd name="connsiteX1730" fmla="*/ 350519 w 4940931"/>
                <a:gd name="connsiteY1730" fmla="*/ 51435 h 138429"/>
                <a:gd name="connsiteX1731" fmla="*/ 353059 w 4940931"/>
                <a:gd name="connsiteY1731" fmla="*/ 70485 h 138429"/>
                <a:gd name="connsiteX1732" fmla="*/ 352424 w 4940931"/>
                <a:gd name="connsiteY1732" fmla="*/ 71120 h 138429"/>
                <a:gd name="connsiteX1733" fmla="*/ 349884 w 4940931"/>
                <a:gd name="connsiteY1733" fmla="*/ 88265 h 138429"/>
                <a:gd name="connsiteX1734" fmla="*/ 342899 w 4940931"/>
                <a:gd name="connsiteY1734" fmla="*/ 100330 h 138429"/>
                <a:gd name="connsiteX1735" fmla="*/ 333374 w 4940931"/>
                <a:gd name="connsiteY1735" fmla="*/ 107315 h 138429"/>
                <a:gd name="connsiteX1736" fmla="*/ 321944 w 4940931"/>
                <a:gd name="connsiteY1736" fmla="*/ 109855 h 138429"/>
                <a:gd name="connsiteX1737" fmla="*/ 311149 w 4940931"/>
                <a:gd name="connsiteY1737" fmla="*/ 107315 h 138429"/>
                <a:gd name="connsiteX1738" fmla="*/ 302259 w 4940931"/>
                <a:gd name="connsiteY1738" fmla="*/ 100965 h 138429"/>
                <a:gd name="connsiteX1739" fmla="*/ 302259 w 4940931"/>
                <a:gd name="connsiteY1739" fmla="*/ 107950 h 138429"/>
                <a:gd name="connsiteX1740" fmla="*/ 287019 w 4940931"/>
                <a:gd name="connsiteY1740" fmla="*/ 107950 h 138429"/>
                <a:gd name="connsiteX1741" fmla="*/ 287019 w 4940931"/>
                <a:gd name="connsiteY1741" fmla="*/ 7620 h 138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  <a:cxn ang="0">
                  <a:pos x="connsiteX1535" y="connsiteY1535"/>
                </a:cxn>
                <a:cxn ang="0">
                  <a:pos x="connsiteX1536" y="connsiteY1536"/>
                </a:cxn>
                <a:cxn ang="0">
                  <a:pos x="connsiteX1537" y="connsiteY1537"/>
                </a:cxn>
                <a:cxn ang="0">
                  <a:pos x="connsiteX1538" y="connsiteY1538"/>
                </a:cxn>
                <a:cxn ang="0">
                  <a:pos x="connsiteX1539" y="connsiteY1539"/>
                </a:cxn>
                <a:cxn ang="0">
                  <a:pos x="connsiteX1540" y="connsiteY1540"/>
                </a:cxn>
                <a:cxn ang="0">
                  <a:pos x="connsiteX1541" y="connsiteY1541"/>
                </a:cxn>
                <a:cxn ang="0">
                  <a:pos x="connsiteX1542" y="connsiteY1542"/>
                </a:cxn>
                <a:cxn ang="0">
                  <a:pos x="connsiteX1543" y="connsiteY1543"/>
                </a:cxn>
                <a:cxn ang="0">
                  <a:pos x="connsiteX1544" y="connsiteY1544"/>
                </a:cxn>
                <a:cxn ang="0">
                  <a:pos x="connsiteX1545" y="connsiteY1545"/>
                </a:cxn>
                <a:cxn ang="0">
                  <a:pos x="connsiteX1546" y="connsiteY1546"/>
                </a:cxn>
                <a:cxn ang="0">
                  <a:pos x="connsiteX1547" y="connsiteY1547"/>
                </a:cxn>
                <a:cxn ang="0">
                  <a:pos x="connsiteX1548" y="connsiteY1548"/>
                </a:cxn>
                <a:cxn ang="0">
                  <a:pos x="connsiteX1549" y="connsiteY1549"/>
                </a:cxn>
                <a:cxn ang="0">
                  <a:pos x="connsiteX1550" y="connsiteY1550"/>
                </a:cxn>
                <a:cxn ang="0">
                  <a:pos x="connsiteX1551" y="connsiteY1551"/>
                </a:cxn>
                <a:cxn ang="0">
                  <a:pos x="connsiteX1552" y="connsiteY1552"/>
                </a:cxn>
                <a:cxn ang="0">
                  <a:pos x="connsiteX1553" y="connsiteY1553"/>
                </a:cxn>
                <a:cxn ang="0">
                  <a:pos x="connsiteX1554" y="connsiteY1554"/>
                </a:cxn>
                <a:cxn ang="0">
                  <a:pos x="connsiteX1555" y="connsiteY1555"/>
                </a:cxn>
                <a:cxn ang="0">
                  <a:pos x="connsiteX1556" y="connsiteY1556"/>
                </a:cxn>
                <a:cxn ang="0">
                  <a:pos x="connsiteX1557" y="connsiteY1557"/>
                </a:cxn>
                <a:cxn ang="0">
                  <a:pos x="connsiteX1558" y="connsiteY1558"/>
                </a:cxn>
                <a:cxn ang="0">
                  <a:pos x="connsiteX1559" y="connsiteY1559"/>
                </a:cxn>
                <a:cxn ang="0">
                  <a:pos x="connsiteX1560" y="connsiteY1560"/>
                </a:cxn>
                <a:cxn ang="0">
                  <a:pos x="connsiteX1561" y="connsiteY1561"/>
                </a:cxn>
                <a:cxn ang="0">
                  <a:pos x="connsiteX1562" y="connsiteY1562"/>
                </a:cxn>
                <a:cxn ang="0">
                  <a:pos x="connsiteX1563" y="connsiteY1563"/>
                </a:cxn>
                <a:cxn ang="0">
                  <a:pos x="connsiteX1564" y="connsiteY1564"/>
                </a:cxn>
                <a:cxn ang="0">
                  <a:pos x="connsiteX1565" y="connsiteY1565"/>
                </a:cxn>
                <a:cxn ang="0">
                  <a:pos x="connsiteX1566" y="connsiteY1566"/>
                </a:cxn>
                <a:cxn ang="0">
                  <a:pos x="connsiteX1567" y="connsiteY1567"/>
                </a:cxn>
                <a:cxn ang="0">
                  <a:pos x="connsiteX1568" y="connsiteY1568"/>
                </a:cxn>
                <a:cxn ang="0">
                  <a:pos x="connsiteX1569" y="connsiteY1569"/>
                </a:cxn>
                <a:cxn ang="0">
                  <a:pos x="connsiteX1570" y="connsiteY1570"/>
                </a:cxn>
                <a:cxn ang="0">
                  <a:pos x="connsiteX1571" y="connsiteY1571"/>
                </a:cxn>
                <a:cxn ang="0">
                  <a:pos x="connsiteX1572" y="connsiteY1572"/>
                </a:cxn>
                <a:cxn ang="0">
                  <a:pos x="connsiteX1573" y="connsiteY1573"/>
                </a:cxn>
                <a:cxn ang="0">
                  <a:pos x="connsiteX1574" y="connsiteY1574"/>
                </a:cxn>
                <a:cxn ang="0">
                  <a:pos x="connsiteX1575" y="connsiteY1575"/>
                </a:cxn>
                <a:cxn ang="0">
                  <a:pos x="connsiteX1576" y="connsiteY1576"/>
                </a:cxn>
                <a:cxn ang="0">
                  <a:pos x="connsiteX1577" y="connsiteY1577"/>
                </a:cxn>
                <a:cxn ang="0">
                  <a:pos x="connsiteX1578" y="connsiteY1578"/>
                </a:cxn>
                <a:cxn ang="0">
                  <a:pos x="connsiteX1579" y="connsiteY1579"/>
                </a:cxn>
                <a:cxn ang="0">
                  <a:pos x="connsiteX1580" y="connsiteY1580"/>
                </a:cxn>
                <a:cxn ang="0">
                  <a:pos x="connsiteX1581" y="connsiteY1581"/>
                </a:cxn>
                <a:cxn ang="0">
                  <a:pos x="connsiteX1582" y="connsiteY1582"/>
                </a:cxn>
                <a:cxn ang="0">
                  <a:pos x="connsiteX1583" y="connsiteY1583"/>
                </a:cxn>
                <a:cxn ang="0">
                  <a:pos x="connsiteX1584" y="connsiteY1584"/>
                </a:cxn>
                <a:cxn ang="0">
                  <a:pos x="connsiteX1585" y="connsiteY1585"/>
                </a:cxn>
                <a:cxn ang="0">
                  <a:pos x="connsiteX1586" y="connsiteY1586"/>
                </a:cxn>
                <a:cxn ang="0">
                  <a:pos x="connsiteX1587" y="connsiteY1587"/>
                </a:cxn>
                <a:cxn ang="0">
                  <a:pos x="connsiteX1588" y="connsiteY1588"/>
                </a:cxn>
                <a:cxn ang="0">
                  <a:pos x="connsiteX1589" y="connsiteY1589"/>
                </a:cxn>
                <a:cxn ang="0">
                  <a:pos x="connsiteX1590" y="connsiteY1590"/>
                </a:cxn>
                <a:cxn ang="0">
                  <a:pos x="connsiteX1591" y="connsiteY1591"/>
                </a:cxn>
                <a:cxn ang="0">
                  <a:pos x="connsiteX1592" y="connsiteY1592"/>
                </a:cxn>
                <a:cxn ang="0">
                  <a:pos x="connsiteX1593" y="connsiteY1593"/>
                </a:cxn>
                <a:cxn ang="0">
                  <a:pos x="connsiteX1594" y="connsiteY1594"/>
                </a:cxn>
                <a:cxn ang="0">
                  <a:pos x="connsiteX1595" y="connsiteY1595"/>
                </a:cxn>
                <a:cxn ang="0">
                  <a:pos x="connsiteX1596" y="connsiteY1596"/>
                </a:cxn>
                <a:cxn ang="0">
                  <a:pos x="connsiteX1597" y="connsiteY1597"/>
                </a:cxn>
                <a:cxn ang="0">
                  <a:pos x="connsiteX1598" y="connsiteY1598"/>
                </a:cxn>
                <a:cxn ang="0">
                  <a:pos x="connsiteX1599" y="connsiteY1599"/>
                </a:cxn>
                <a:cxn ang="0">
                  <a:pos x="connsiteX1600" y="connsiteY1600"/>
                </a:cxn>
                <a:cxn ang="0">
                  <a:pos x="connsiteX1601" y="connsiteY1601"/>
                </a:cxn>
                <a:cxn ang="0">
                  <a:pos x="connsiteX1602" y="connsiteY1602"/>
                </a:cxn>
                <a:cxn ang="0">
                  <a:pos x="connsiteX1603" y="connsiteY1603"/>
                </a:cxn>
                <a:cxn ang="0">
                  <a:pos x="connsiteX1604" y="connsiteY1604"/>
                </a:cxn>
                <a:cxn ang="0">
                  <a:pos x="connsiteX1605" y="connsiteY1605"/>
                </a:cxn>
                <a:cxn ang="0">
                  <a:pos x="connsiteX1606" y="connsiteY1606"/>
                </a:cxn>
                <a:cxn ang="0">
                  <a:pos x="connsiteX1607" y="connsiteY1607"/>
                </a:cxn>
                <a:cxn ang="0">
                  <a:pos x="connsiteX1608" y="connsiteY1608"/>
                </a:cxn>
                <a:cxn ang="0">
                  <a:pos x="connsiteX1609" y="connsiteY1609"/>
                </a:cxn>
                <a:cxn ang="0">
                  <a:pos x="connsiteX1610" y="connsiteY1610"/>
                </a:cxn>
                <a:cxn ang="0">
                  <a:pos x="connsiteX1611" y="connsiteY1611"/>
                </a:cxn>
                <a:cxn ang="0">
                  <a:pos x="connsiteX1612" y="connsiteY1612"/>
                </a:cxn>
                <a:cxn ang="0">
                  <a:pos x="connsiteX1613" y="connsiteY1613"/>
                </a:cxn>
                <a:cxn ang="0">
                  <a:pos x="connsiteX1614" y="connsiteY1614"/>
                </a:cxn>
                <a:cxn ang="0">
                  <a:pos x="connsiteX1615" y="connsiteY1615"/>
                </a:cxn>
                <a:cxn ang="0">
                  <a:pos x="connsiteX1616" y="connsiteY1616"/>
                </a:cxn>
                <a:cxn ang="0">
                  <a:pos x="connsiteX1617" y="connsiteY1617"/>
                </a:cxn>
                <a:cxn ang="0">
                  <a:pos x="connsiteX1618" y="connsiteY1618"/>
                </a:cxn>
                <a:cxn ang="0">
                  <a:pos x="connsiteX1619" y="connsiteY1619"/>
                </a:cxn>
                <a:cxn ang="0">
                  <a:pos x="connsiteX1620" y="connsiteY1620"/>
                </a:cxn>
                <a:cxn ang="0">
                  <a:pos x="connsiteX1621" y="connsiteY1621"/>
                </a:cxn>
                <a:cxn ang="0">
                  <a:pos x="connsiteX1622" y="connsiteY1622"/>
                </a:cxn>
                <a:cxn ang="0">
                  <a:pos x="connsiteX1623" y="connsiteY1623"/>
                </a:cxn>
                <a:cxn ang="0">
                  <a:pos x="connsiteX1624" y="connsiteY1624"/>
                </a:cxn>
                <a:cxn ang="0">
                  <a:pos x="connsiteX1625" y="connsiteY1625"/>
                </a:cxn>
                <a:cxn ang="0">
                  <a:pos x="connsiteX1626" y="connsiteY1626"/>
                </a:cxn>
                <a:cxn ang="0">
                  <a:pos x="connsiteX1627" y="connsiteY1627"/>
                </a:cxn>
                <a:cxn ang="0">
                  <a:pos x="connsiteX1628" y="connsiteY1628"/>
                </a:cxn>
                <a:cxn ang="0">
                  <a:pos x="connsiteX1629" y="connsiteY1629"/>
                </a:cxn>
                <a:cxn ang="0">
                  <a:pos x="connsiteX1630" y="connsiteY1630"/>
                </a:cxn>
                <a:cxn ang="0">
                  <a:pos x="connsiteX1631" y="connsiteY1631"/>
                </a:cxn>
                <a:cxn ang="0">
                  <a:pos x="connsiteX1632" y="connsiteY1632"/>
                </a:cxn>
                <a:cxn ang="0">
                  <a:pos x="connsiteX1633" y="connsiteY1633"/>
                </a:cxn>
                <a:cxn ang="0">
                  <a:pos x="connsiteX1634" y="connsiteY1634"/>
                </a:cxn>
                <a:cxn ang="0">
                  <a:pos x="connsiteX1635" y="connsiteY1635"/>
                </a:cxn>
                <a:cxn ang="0">
                  <a:pos x="connsiteX1636" y="connsiteY1636"/>
                </a:cxn>
                <a:cxn ang="0">
                  <a:pos x="connsiteX1637" y="connsiteY1637"/>
                </a:cxn>
                <a:cxn ang="0">
                  <a:pos x="connsiteX1638" y="connsiteY1638"/>
                </a:cxn>
                <a:cxn ang="0">
                  <a:pos x="connsiteX1639" y="connsiteY1639"/>
                </a:cxn>
                <a:cxn ang="0">
                  <a:pos x="connsiteX1640" y="connsiteY1640"/>
                </a:cxn>
                <a:cxn ang="0">
                  <a:pos x="connsiteX1641" y="connsiteY1641"/>
                </a:cxn>
                <a:cxn ang="0">
                  <a:pos x="connsiteX1642" y="connsiteY1642"/>
                </a:cxn>
                <a:cxn ang="0">
                  <a:pos x="connsiteX1643" y="connsiteY1643"/>
                </a:cxn>
                <a:cxn ang="0">
                  <a:pos x="connsiteX1644" y="connsiteY1644"/>
                </a:cxn>
                <a:cxn ang="0">
                  <a:pos x="connsiteX1645" y="connsiteY1645"/>
                </a:cxn>
                <a:cxn ang="0">
                  <a:pos x="connsiteX1646" y="connsiteY1646"/>
                </a:cxn>
                <a:cxn ang="0">
                  <a:pos x="connsiteX1647" y="connsiteY1647"/>
                </a:cxn>
                <a:cxn ang="0">
                  <a:pos x="connsiteX1648" y="connsiteY1648"/>
                </a:cxn>
                <a:cxn ang="0">
                  <a:pos x="connsiteX1649" y="connsiteY1649"/>
                </a:cxn>
                <a:cxn ang="0">
                  <a:pos x="connsiteX1650" y="connsiteY1650"/>
                </a:cxn>
                <a:cxn ang="0">
                  <a:pos x="connsiteX1651" y="connsiteY1651"/>
                </a:cxn>
                <a:cxn ang="0">
                  <a:pos x="connsiteX1652" y="connsiteY1652"/>
                </a:cxn>
                <a:cxn ang="0">
                  <a:pos x="connsiteX1653" y="connsiteY1653"/>
                </a:cxn>
                <a:cxn ang="0">
                  <a:pos x="connsiteX1654" y="connsiteY1654"/>
                </a:cxn>
                <a:cxn ang="0">
                  <a:pos x="connsiteX1655" y="connsiteY1655"/>
                </a:cxn>
                <a:cxn ang="0">
                  <a:pos x="connsiteX1656" y="connsiteY1656"/>
                </a:cxn>
                <a:cxn ang="0">
                  <a:pos x="connsiteX1657" y="connsiteY1657"/>
                </a:cxn>
                <a:cxn ang="0">
                  <a:pos x="connsiteX1658" y="connsiteY1658"/>
                </a:cxn>
                <a:cxn ang="0">
                  <a:pos x="connsiteX1659" y="connsiteY1659"/>
                </a:cxn>
                <a:cxn ang="0">
                  <a:pos x="connsiteX1660" y="connsiteY1660"/>
                </a:cxn>
                <a:cxn ang="0">
                  <a:pos x="connsiteX1661" y="connsiteY1661"/>
                </a:cxn>
                <a:cxn ang="0">
                  <a:pos x="connsiteX1662" y="connsiteY1662"/>
                </a:cxn>
                <a:cxn ang="0">
                  <a:pos x="connsiteX1663" y="connsiteY1663"/>
                </a:cxn>
                <a:cxn ang="0">
                  <a:pos x="connsiteX1664" y="connsiteY1664"/>
                </a:cxn>
                <a:cxn ang="0">
                  <a:pos x="connsiteX1665" y="connsiteY1665"/>
                </a:cxn>
                <a:cxn ang="0">
                  <a:pos x="connsiteX1666" y="connsiteY1666"/>
                </a:cxn>
                <a:cxn ang="0">
                  <a:pos x="connsiteX1667" y="connsiteY1667"/>
                </a:cxn>
                <a:cxn ang="0">
                  <a:pos x="connsiteX1668" y="connsiteY1668"/>
                </a:cxn>
                <a:cxn ang="0">
                  <a:pos x="connsiteX1669" y="connsiteY1669"/>
                </a:cxn>
                <a:cxn ang="0">
                  <a:pos x="connsiteX1670" y="connsiteY1670"/>
                </a:cxn>
                <a:cxn ang="0">
                  <a:pos x="connsiteX1671" y="connsiteY1671"/>
                </a:cxn>
                <a:cxn ang="0">
                  <a:pos x="connsiteX1672" y="connsiteY1672"/>
                </a:cxn>
                <a:cxn ang="0">
                  <a:pos x="connsiteX1673" y="connsiteY1673"/>
                </a:cxn>
                <a:cxn ang="0">
                  <a:pos x="connsiteX1674" y="connsiteY1674"/>
                </a:cxn>
                <a:cxn ang="0">
                  <a:pos x="connsiteX1675" y="connsiteY1675"/>
                </a:cxn>
                <a:cxn ang="0">
                  <a:pos x="connsiteX1676" y="connsiteY1676"/>
                </a:cxn>
                <a:cxn ang="0">
                  <a:pos x="connsiteX1677" y="connsiteY1677"/>
                </a:cxn>
                <a:cxn ang="0">
                  <a:pos x="connsiteX1678" y="connsiteY1678"/>
                </a:cxn>
                <a:cxn ang="0">
                  <a:pos x="connsiteX1679" y="connsiteY1679"/>
                </a:cxn>
                <a:cxn ang="0">
                  <a:pos x="connsiteX1680" y="connsiteY1680"/>
                </a:cxn>
                <a:cxn ang="0">
                  <a:pos x="connsiteX1681" y="connsiteY1681"/>
                </a:cxn>
                <a:cxn ang="0">
                  <a:pos x="connsiteX1682" y="connsiteY1682"/>
                </a:cxn>
                <a:cxn ang="0">
                  <a:pos x="connsiteX1683" y="connsiteY1683"/>
                </a:cxn>
                <a:cxn ang="0">
                  <a:pos x="connsiteX1684" y="connsiteY1684"/>
                </a:cxn>
                <a:cxn ang="0">
                  <a:pos x="connsiteX1685" y="connsiteY1685"/>
                </a:cxn>
                <a:cxn ang="0">
                  <a:pos x="connsiteX1686" y="connsiteY1686"/>
                </a:cxn>
                <a:cxn ang="0">
                  <a:pos x="connsiteX1687" y="connsiteY1687"/>
                </a:cxn>
                <a:cxn ang="0">
                  <a:pos x="connsiteX1688" y="connsiteY1688"/>
                </a:cxn>
                <a:cxn ang="0">
                  <a:pos x="connsiteX1689" y="connsiteY1689"/>
                </a:cxn>
                <a:cxn ang="0">
                  <a:pos x="connsiteX1690" y="connsiteY1690"/>
                </a:cxn>
                <a:cxn ang="0">
                  <a:pos x="connsiteX1691" y="connsiteY1691"/>
                </a:cxn>
                <a:cxn ang="0">
                  <a:pos x="connsiteX1692" y="connsiteY1692"/>
                </a:cxn>
                <a:cxn ang="0">
                  <a:pos x="connsiteX1693" y="connsiteY1693"/>
                </a:cxn>
                <a:cxn ang="0">
                  <a:pos x="connsiteX1694" y="connsiteY1694"/>
                </a:cxn>
                <a:cxn ang="0">
                  <a:pos x="connsiteX1695" y="connsiteY1695"/>
                </a:cxn>
                <a:cxn ang="0">
                  <a:pos x="connsiteX1696" y="connsiteY1696"/>
                </a:cxn>
                <a:cxn ang="0">
                  <a:pos x="connsiteX1697" y="connsiteY1697"/>
                </a:cxn>
                <a:cxn ang="0">
                  <a:pos x="connsiteX1698" y="connsiteY1698"/>
                </a:cxn>
                <a:cxn ang="0">
                  <a:pos x="connsiteX1699" y="connsiteY1699"/>
                </a:cxn>
                <a:cxn ang="0">
                  <a:pos x="connsiteX1700" y="connsiteY1700"/>
                </a:cxn>
                <a:cxn ang="0">
                  <a:pos x="connsiteX1701" y="connsiteY1701"/>
                </a:cxn>
                <a:cxn ang="0">
                  <a:pos x="connsiteX1702" y="connsiteY1702"/>
                </a:cxn>
                <a:cxn ang="0">
                  <a:pos x="connsiteX1703" y="connsiteY1703"/>
                </a:cxn>
                <a:cxn ang="0">
                  <a:pos x="connsiteX1704" y="connsiteY1704"/>
                </a:cxn>
                <a:cxn ang="0">
                  <a:pos x="connsiteX1705" y="connsiteY1705"/>
                </a:cxn>
                <a:cxn ang="0">
                  <a:pos x="connsiteX1706" y="connsiteY1706"/>
                </a:cxn>
                <a:cxn ang="0">
                  <a:pos x="connsiteX1707" y="connsiteY1707"/>
                </a:cxn>
                <a:cxn ang="0">
                  <a:pos x="connsiteX1708" y="connsiteY1708"/>
                </a:cxn>
                <a:cxn ang="0">
                  <a:pos x="connsiteX1709" y="connsiteY1709"/>
                </a:cxn>
                <a:cxn ang="0">
                  <a:pos x="connsiteX1710" y="connsiteY1710"/>
                </a:cxn>
                <a:cxn ang="0">
                  <a:pos x="connsiteX1711" y="connsiteY1711"/>
                </a:cxn>
                <a:cxn ang="0">
                  <a:pos x="connsiteX1712" y="connsiteY1712"/>
                </a:cxn>
                <a:cxn ang="0">
                  <a:pos x="connsiteX1713" y="connsiteY1713"/>
                </a:cxn>
                <a:cxn ang="0">
                  <a:pos x="connsiteX1714" y="connsiteY1714"/>
                </a:cxn>
                <a:cxn ang="0">
                  <a:pos x="connsiteX1715" y="connsiteY1715"/>
                </a:cxn>
                <a:cxn ang="0">
                  <a:pos x="connsiteX1716" y="connsiteY1716"/>
                </a:cxn>
                <a:cxn ang="0">
                  <a:pos x="connsiteX1717" y="connsiteY1717"/>
                </a:cxn>
                <a:cxn ang="0">
                  <a:pos x="connsiteX1718" y="connsiteY1718"/>
                </a:cxn>
                <a:cxn ang="0">
                  <a:pos x="connsiteX1719" y="connsiteY1719"/>
                </a:cxn>
                <a:cxn ang="0">
                  <a:pos x="connsiteX1720" y="connsiteY1720"/>
                </a:cxn>
                <a:cxn ang="0">
                  <a:pos x="connsiteX1721" y="connsiteY1721"/>
                </a:cxn>
                <a:cxn ang="0">
                  <a:pos x="connsiteX1722" y="connsiteY1722"/>
                </a:cxn>
                <a:cxn ang="0">
                  <a:pos x="connsiteX1723" y="connsiteY1723"/>
                </a:cxn>
                <a:cxn ang="0">
                  <a:pos x="connsiteX1724" y="connsiteY1724"/>
                </a:cxn>
                <a:cxn ang="0">
                  <a:pos x="connsiteX1725" y="connsiteY1725"/>
                </a:cxn>
                <a:cxn ang="0">
                  <a:pos x="connsiteX1726" y="connsiteY1726"/>
                </a:cxn>
                <a:cxn ang="0">
                  <a:pos x="connsiteX1727" y="connsiteY1727"/>
                </a:cxn>
                <a:cxn ang="0">
                  <a:pos x="connsiteX1728" y="connsiteY1728"/>
                </a:cxn>
                <a:cxn ang="0">
                  <a:pos x="connsiteX1729" y="connsiteY1729"/>
                </a:cxn>
                <a:cxn ang="0">
                  <a:pos x="connsiteX1730" y="connsiteY1730"/>
                </a:cxn>
                <a:cxn ang="0">
                  <a:pos x="connsiteX1731" y="connsiteY1731"/>
                </a:cxn>
                <a:cxn ang="0">
                  <a:pos x="connsiteX1732" y="connsiteY1732"/>
                </a:cxn>
                <a:cxn ang="0">
                  <a:pos x="connsiteX1733" y="connsiteY1733"/>
                </a:cxn>
                <a:cxn ang="0">
                  <a:pos x="connsiteX1734" y="connsiteY1734"/>
                </a:cxn>
                <a:cxn ang="0">
                  <a:pos x="connsiteX1735" y="connsiteY1735"/>
                </a:cxn>
                <a:cxn ang="0">
                  <a:pos x="connsiteX1736" y="connsiteY1736"/>
                </a:cxn>
                <a:cxn ang="0">
                  <a:pos x="connsiteX1737" y="connsiteY1737"/>
                </a:cxn>
                <a:cxn ang="0">
                  <a:pos x="connsiteX1738" y="connsiteY1738"/>
                </a:cxn>
                <a:cxn ang="0">
                  <a:pos x="connsiteX1739" y="connsiteY1739"/>
                </a:cxn>
                <a:cxn ang="0">
                  <a:pos x="connsiteX1740" y="connsiteY1740"/>
                </a:cxn>
                <a:cxn ang="0">
                  <a:pos x="connsiteX1741" y="connsiteY1741"/>
                </a:cxn>
              </a:cxnLst>
              <a:rect l="l" t="t" r="r" b="b"/>
              <a:pathLst>
                <a:path w="4940931" h="138429">
                  <a:moveTo>
                    <a:pt x="1032512" y="137477"/>
                  </a:moveTo>
                  <a:lnTo>
                    <a:pt x="1032512" y="137794"/>
                  </a:lnTo>
                  <a:lnTo>
                    <a:pt x="1030607" y="138429"/>
                  </a:lnTo>
                  <a:close/>
                  <a:moveTo>
                    <a:pt x="4929501" y="87629"/>
                  </a:moveTo>
                  <a:cubicBezTo>
                    <a:pt x="4930771" y="87629"/>
                    <a:pt x="4932676" y="87629"/>
                    <a:pt x="4933946" y="88264"/>
                  </a:cubicBezTo>
                  <a:cubicBezTo>
                    <a:pt x="4935216" y="88264"/>
                    <a:pt x="4936486" y="89534"/>
                    <a:pt x="4937756" y="90804"/>
                  </a:cubicBezTo>
                  <a:cubicBezTo>
                    <a:pt x="4939026" y="92074"/>
                    <a:pt x="4939661" y="93344"/>
                    <a:pt x="4940296" y="94614"/>
                  </a:cubicBezTo>
                  <a:cubicBezTo>
                    <a:pt x="4940296" y="95884"/>
                    <a:pt x="4940931" y="97789"/>
                    <a:pt x="4940931" y="99059"/>
                  </a:cubicBezTo>
                  <a:cubicBezTo>
                    <a:pt x="4940931" y="99059"/>
                    <a:pt x="4940931" y="102234"/>
                    <a:pt x="4940296" y="103504"/>
                  </a:cubicBezTo>
                  <a:cubicBezTo>
                    <a:pt x="4940296" y="104774"/>
                    <a:pt x="4939026" y="106044"/>
                    <a:pt x="4937756" y="107314"/>
                  </a:cubicBezTo>
                  <a:cubicBezTo>
                    <a:pt x="4936486" y="108584"/>
                    <a:pt x="4935216" y="109219"/>
                    <a:pt x="4933946" y="109854"/>
                  </a:cubicBezTo>
                  <a:cubicBezTo>
                    <a:pt x="4932676" y="109854"/>
                    <a:pt x="4930771" y="110489"/>
                    <a:pt x="4929501" y="110489"/>
                  </a:cubicBezTo>
                  <a:cubicBezTo>
                    <a:pt x="4928231" y="110489"/>
                    <a:pt x="4926326" y="110489"/>
                    <a:pt x="4925056" y="109854"/>
                  </a:cubicBezTo>
                  <a:cubicBezTo>
                    <a:pt x="4923786" y="109854"/>
                    <a:pt x="4922516" y="108584"/>
                    <a:pt x="4921246" y="107314"/>
                  </a:cubicBezTo>
                  <a:cubicBezTo>
                    <a:pt x="4919976" y="106044"/>
                    <a:pt x="4919341" y="104774"/>
                    <a:pt x="4918706" y="103504"/>
                  </a:cubicBezTo>
                  <a:cubicBezTo>
                    <a:pt x="4918706" y="102234"/>
                    <a:pt x="4918071" y="100329"/>
                    <a:pt x="4918071" y="99059"/>
                  </a:cubicBezTo>
                  <a:cubicBezTo>
                    <a:pt x="4918071" y="97789"/>
                    <a:pt x="4918071" y="95884"/>
                    <a:pt x="4918706" y="94614"/>
                  </a:cubicBezTo>
                  <a:cubicBezTo>
                    <a:pt x="4918706" y="93344"/>
                    <a:pt x="4919976" y="92074"/>
                    <a:pt x="4921246" y="90804"/>
                  </a:cubicBezTo>
                  <a:cubicBezTo>
                    <a:pt x="4922516" y="89534"/>
                    <a:pt x="4923786" y="88899"/>
                    <a:pt x="4925056" y="88264"/>
                  </a:cubicBezTo>
                  <a:cubicBezTo>
                    <a:pt x="4926326" y="88264"/>
                    <a:pt x="4928231" y="87629"/>
                    <a:pt x="4929501" y="87629"/>
                  </a:cubicBezTo>
                  <a:close/>
                  <a:moveTo>
                    <a:pt x="3079110" y="87629"/>
                  </a:moveTo>
                  <a:cubicBezTo>
                    <a:pt x="3080380" y="87629"/>
                    <a:pt x="3082285" y="87629"/>
                    <a:pt x="3083555" y="88264"/>
                  </a:cubicBezTo>
                  <a:cubicBezTo>
                    <a:pt x="3084825" y="88264"/>
                    <a:pt x="3086095" y="89534"/>
                    <a:pt x="3087365" y="90804"/>
                  </a:cubicBezTo>
                  <a:cubicBezTo>
                    <a:pt x="3088635" y="92074"/>
                    <a:pt x="3089270" y="93344"/>
                    <a:pt x="3089905" y="94614"/>
                  </a:cubicBezTo>
                  <a:cubicBezTo>
                    <a:pt x="3089905" y="95884"/>
                    <a:pt x="3090540" y="97789"/>
                    <a:pt x="3090540" y="99059"/>
                  </a:cubicBezTo>
                  <a:cubicBezTo>
                    <a:pt x="3090540" y="99059"/>
                    <a:pt x="3090540" y="102234"/>
                    <a:pt x="3089905" y="103504"/>
                  </a:cubicBezTo>
                  <a:cubicBezTo>
                    <a:pt x="3089905" y="104774"/>
                    <a:pt x="3088635" y="106044"/>
                    <a:pt x="3087365" y="107314"/>
                  </a:cubicBezTo>
                  <a:cubicBezTo>
                    <a:pt x="3086095" y="108584"/>
                    <a:pt x="3084825" y="109219"/>
                    <a:pt x="3083555" y="109854"/>
                  </a:cubicBezTo>
                  <a:cubicBezTo>
                    <a:pt x="3082285" y="109854"/>
                    <a:pt x="3080380" y="110489"/>
                    <a:pt x="3079110" y="110489"/>
                  </a:cubicBezTo>
                  <a:cubicBezTo>
                    <a:pt x="3077840" y="110489"/>
                    <a:pt x="3075935" y="110489"/>
                    <a:pt x="3074665" y="109854"/>
                  </a:cubicBezTo>
                  <a:cubicBezTo>
                    <a:pt x="3073395" y="109854"/>
                    <a:pt x="3072125" y="108584"/>
                    <a:pt x="3070855" y="107314"/>
                  </a:cubicBezTo>
                  <a:cubicBezTo>
                    <a:pt x="3069585" y="106044"/>
                    <a:pt x="3068950" y="104774"/>
                    <a:pt x="3068315" y="103504"/>
                  </a:cubicBezTo>
                  <a:cubicBezTo>
                    <a:pt x="3068315" y="102234"/>
                    <a:pt x="3067680" y="100329"/>
                    <a:pt x="3067680" y="99059"/>
                  </a:cubicBezTo>
                  <a:cubicBezTo>
                    <a:pt x="3067680" y="97789"/>
                    <a:pt x="3067680" y="95884"/>
                    <a:pt x="3068315" y="94614"/>
                  </a:cubicBezTo>
                  <a:cubicBezTo>
                    <a:pt x="3068315" y="93344"/>
                    <a:pt x="3069585" y="92074"/>
                    <a:pt x="3070855" y="90804"/>
                  </a:cubicBezTo>
                  <a:cubicBezTo>
                    <a:pt x="3072125" y="89534"/>
                    <a:pt x="3073395" y="88899"/>
                    <a:pt x="3074665" y="88264"/>
                  </a:cubicBezTo>
                  <a:cubicBezTo>
                    <a:pt x="3075935" y="88264"/>
                    <a:pt x="3077840" y="87629"/>
                    <a:pt x="3079110" y="87629"/>
                  </a:cubicBezTo>
                  <a:close/>
                  <a:moveTo>
                    <a:pt x="1565275" y="87629"/>
                  </a:moveTo>
                  <a:cubicBezTo>
                    <a:pt x="1566545" y="87629"/>
                    <a:pt x="1568450" y="87629"/>
                    <a:pt x="1569720" y="88264"/>
                  </a:cubicBezTo>
                  <a:cubicBezTo>
                    <a:pt x="1570990" y="88264"/>
                    <a:pt x="1572260" y="89534"/>
                    <a:pt x="1573529" y="90804"/>
                  </a:cubicBezTo>
                  <a:cubicBezTo>
                    <a:pt x="1574800" y="92074"/>
                    <a:pt x="1575435" y="93344"/>
                    <a:pt x="1576069" y="94614"/>
                  </a:cubicBezTo>
                  <a:cubicBezTo>
                    <a:pt x="1576069" y="95884"/>
                    <a:pt x="1576705" y="97789"/>
                    <a:pt x="1576705" y="99059"/>
                  </a:cubicBezTo>
                  <a:cubicBezTo>
                    <a:pt x="1576705" y="99059"/>
                    <a:pt x="1576705" y="102234"/>
                    <a:pt x="1576069" y="103504"/>
                  </a:cubicBezTo>
                  <a:cubicBezTo>
                    <a:pt x="1576069" y="104774"/>
                    <a:pt x="1574800" y="106044"/>
                    <a:pt x="1573529" y="107314"/>
                  </a:cubicBezTo>
                  <a:cubicBezTo>
                    <a:pt x="1572260" y="108584"/>
                    <a:pt x="1570990" y="109219"/>
                    <a:pt x="1569720" y="109854"/>
                  </a:cubicBezTo>
                  <a:cubicBezTo>
                    <a:pt x="1568450" y="109854"/>
                    <a:pt x="1566545" y="110489"/>
                    <a:pt x="1565275" y="110489"/>
                  </a:cubicBezTo>
                  <a:cubicBezTo>
                    <a:pt x="1564005" y="110489"/>
                    <a:pt x="1562099" y="110489"/>
                    <a:pt x="1560830" y="109854"/>
                  </a:cubicBezTo>
                  <a:cubicBezTo>
                    <a:pt x="1559559" y="109854"/>
                    <a:pt x="1558289" y="108584"/>
                    <a:pt x="1557020" y="107314"/>
                  </a:cubicBezTo>
                  <a:cubicBezTo>
                    <a:pt x="1555750" y="106044"/>
                    <a:pt x="1555114" y="104774"/>
                    <a:pt x="1554479" y="103504"/>
                  </a:cubicBezTo>
                  <a:cubicBezTo>
                    <a:pt x="1554479" y="102234"/>
                    <a:pt x="1553844" y="100329"/>
                    <a:pt x="1553844" y="99059"/>
                  </a:cubicBezTo>
                  <a:cubicBezTo>
                    <a:pt x="1553844" y="97789"/>
                    <a:pt x="1553844" y="95884"/>
                    <a:pt x="1554479" y="94614"/>
                  </a:cubicBezTo>
                  <a:cubicBezTo>
                    <a:pt x="1554479" y="93344"/>
                    <a:pt x="1555750" y="92074"/>
                    <a:pt x="1557020" y="90804"/>
                  </a:cubicBezTo>
                  <a:cubicBezTo>
                    <a:pt x="1558289" y="89534"/>
                    <a:pt x="1559559" y="88899"/>
                    <a:pt x="1560830" y="88264"/>
                  </a:cubicBezTo>
                  <a:cubicBezTo>
                    <a:pt x="1562099" y="88264"/>
                    <a:pt x="1564005" y="87629"/>
                    <a:pt x="1565275" y="87629"/>
                  </a:cubicBezTo>
                  <a:close/>
                  <a:moveTo>
                    <a:pt x="2642230" y="73024"/>
                  </a:moveTo>
                  <a:cubicBezTo>
                    <a:pt x="2637150" y="73024"/>
                    <a:pt x="2633340" y="74294"/>
                    <a:pt x="2630800" y="76199"/>
                  </a:cubicBezTo>
                  <a:cubicBezTo>
                    <a:pt x="2627625" y="78104"/>
                    <a:pt x="2626355" y="81279"/>
                    <a:pt x="2626355" y="84454"/>
                  </a:cubicBezTo>
                  <a:cubicBezTo>
                    <a:pt x="2626355" y="86994"/>
                    <a:pt x="2626355" y="88899"/>
                    <a:pt x="2627625" y="90169"/>
                  </a:cubicBezTo>
                  <a:cubicBezTo>
                    <a:pt x="2628260" y="92074"/>
                    <a:pt x="2629530" y="93344"/>
                    <a:pt x="2630800" y="93979"/>
                  </a:cubicBezTo>
                  <a:cubicBezTo>
                    <a:pt x="2632070" y="95249"/>
                    <a:pt x="2633340" y="95884"/>
                    <a:pt x="2635245" y="96519"/>
                  </a:cubicBezTo>
                  <a:cubicBezTo>
                    <a:pt x="2637150" y="96519"/>
                    <a:pt x="2639055" y="97154"/>
                    <a:pt x="2641595" y="97154"/>
                  </a:cubicBezTo>
                  <a:cubicBezTo>
                    <a:pt x="2643500" y="97154"/>
                    <a:pt x="2645405" y="97154"/>
                    <a:pt x="2647310" y="96519"/>
                  </a:cubicBezTo>
                  <a:cubicBezTo>
                    <a:pt x="2649215" y="96519"/>
                    <a:pt x="2651120" y="95249"/>
                    <a:pt x="2652390" y="93979"/>
                  </a:cubicBezTo>
                  <a:cubicBezTo>
                    <a:pt x="2654295" y="93344"/>
                    <a:pt x="2655565" y="92074"/>
                    <a:pt x="2656835" y="90804"/>
                  </a:cubicBezTo>
                  <a:cubicBezTo>
                    <a:pt x="2658105" y="89534"/>
                    <a:pt x="2659375" y="88264"/>
                    <a:pt x="2660010" y="86994"/>
                  </a:cubicBezTo>
                  <a:lnTo>
                    <a:pt x="2660010" y="75564"/>
                  </a:lnTo>
                  <a:cubicBezTo>
                    <a:pt x="2660010" y="75564"/>
                    <a:pt x="2657470" y="74294"/>
                    <a:pt x="2656200" y="74294"/>
                  </a:cubicBezTo>
                  <a:cubicBezTo>
                    <a:pt x="2654930" y="74294"/>
                    <a:pt x="2653660" y="73659"/>
                    <a:pt x="2652390" y="73659"/>
                  </a:cubicBezTo>
                  <a:cubicBezTo>
                    <a:pt x="2651120" y="73659"/>
                    <a:pt x="2649850" y="73659"/>
                    <a:pt x="2647945" y="73024"/>
                  </a:cubicBezTo>
                  <a:cubicBezTo>
                    <a:pt x="2646040" y="73024"/>
                    <a:pt x="2644135" y="73024"/>
                    <a:pt x="2642230" y="73024"/>
                  </a:cubicBezTo>
                  <a:close/>
                  <a:moveTo>
                    <a:pt x="4664706" y="43814"/>
                  </a:moveTo>
                  <a:cubicBezTo>
                    <a:pt x="4661531" y="43814"/>
                    <a:pt x="4658991" y="43814"/>
                    <a:pt x="4657086" y="45719"/>
                  </a:cubicBezTo>
                  <a:cubicBezTo>
                    <a:pt x="4654546" y="46989"/>
                    <a:pt x="4652641" y="48894"/>
                    <a:pt x="4651371" y="50799"/>
                  </a:cubicBezTo>
                  <a:cubicBezTo>
                    <a:pt x="4649466" y="53339"/>
                    <a:pt x="4648831" y="55879"/>
                    <a:pt x="4647561" y="59054"/>
                  </a:cubicBezTo>
                  <a:cubicBezTo>
                    <a:pt x="4646926" y="62229"/>
                    <a:pt x="4646291" y="65404"/>
                    <a:pt x="4646291" y="69849"/>
                  </a:cubicBezTo>
                  <a:cubicBezTo>
                    <a:pt x="4646291" y="74294"/>
                    <a:pt x="4646291" y="78104"/>
                    <a:pt x="4647561" y="81279"/>
                  </a:cubicBezTo>
                  <a:cubicBezTo>
                    <a:pt x="4648196" y="84454"/>
                    <a:pt x="4650101" y="87629"/>
                    <a:pt x="4651371" y="89534"/>
                  </a:cubicBezTo>
                  <a:cubicBezTo>
                    <a:pt x="4653276" y="92074"/>
                    <a:pt x="4655181" y="93344"/>
                    <a:pt x="4657721" y="94614"/>
                  </a:cubicBezTo>
                  <a:cubicBezTo>
                    <a:pt x="4660261" y="95884"/>
                    <a:pt x="4662801" y="96519"/>
                    <a:pt x="4665341" y="96519"/>
                  </a:cubicBezTo>
                  <a:cubicBezTo>
                    <a:pt x="4667881" y="96519"/>
                    <a:pt x="4671056" y="95884"/>
                    <a:pt x="4672961" y="94614"/>
                  </a:cubicBezTo>
                  <a:cubicBezTo>
                    <a:pt x="4675501" y="93344"/>
                    <a:pt x="4677406" y="91439"/>
                    <a:pt x="4678676" y="88899"/>
                  </a:cubicBezTo>
                  <a:cubicBezTo>
                    <a:pt x="4680581" y="86359"/>
                    <a:pt x="4681851" y="83819"/>
                    <a:pt x="4682486" y="80644"/>
                  </a:cubicBezTo>
                  <a:cubicBezTo>
                    <a:pt x="4683121" y="77469"/>
                    <a:pt x="4683756" y="74294"/>
                    <a:pt x="4683756" y="70484"/>
                  </a:cubicBezTo>
                  <a:lnTo>
                    <a:pt x="4684391" y="69849"/>
                  </a:lnTo>
                  <a:cubicBezTo>
                    <a:pt x="4684391" y="66039"/>
                    <a:pt x="4684391" y="62229"/>
                    <a:pt x="4683121" y="59054"/>
                  </a:cubicBezTo>
                  <a:cubicBezTo>
                    <a:pt x="4682486" y="55879"/>
                    <a:pt x="4680581" y="53339"/>
                    <a:pt x="4679311" y="50799"/>
                  </a:cubicBezTo>
                  <a:cubicBezTo>
                    <a:pt x="4677406" y="48259"/>
                    <a:pt x="4675501" y="46989"/>
                    <a:pt x="4672961" y="45719"/>
                  </a:cubicBezTo>
                  <a:cubicBezTo>
                    <a:pt x="4670421" y="44449"/>
                    <a:pt x="4667881" y="43814"/>
                    <a:pt x="4664706" y="43814"/>
                  </a:cubicBezTo>
                  <a:close/>
                  <a:moveTo>
                    <a:pt x="4264020" y="43814"/>
                  </a:moveTo>
                  <a:cubicBezTo>
                    <a:pt x="4260845" y="43814"/>
                    <a:pt x="4258305" y="43814"/>
                    <a:pt x="4256400" y="45719"/>
                  </a:cubicBezTo>
                  <a:cubicBezTo>
                    <a:pt x="4253860" y="46989"/>
                    <a:pt x="4251955" y="48894"/>
                    <a:pt x="4250685" y="50799"/>
                  </a:cubicBezTo>
                  <a:cubicBezTo>
                    <a:pt x="4248780" y="53339"/>
                    <a:pt x="4247510" y="55879"/>
                    <a:pt x="4246875" y="59054"/>
                  </a:cubicBezTo>
                  <a:cubicBezTo>
                    <a:pt x="4246240" y="62229"/>
                    <a:pt x="4245605" y="65404"/>
                    <a:pt x="4245605" y="69849"/>
                  </a:cubicBezTo>
                  <a:cubicBezTo>
                    <a:pt x="4245605" y="74294"/>
                    <a:pt x="4245605" y="78104"/>
                    <a:pt x="4246875" y="81279"/>
                  </a:cubicBezTo>
                  <a:cubicBezTo>
                    <a:pt x="4247510" y="84454"/>
                    <a:pt x="4249415" y="87629"/>
                    <a:pt x="4250685" y="89534"/>
                  </a:cubicBezTo>
                  <a:cubicBezTo>
                    <a:pt x="4252590" y="92074"/>
                    <a:pt x="4254495" y="93344"/>
                    <a:pt x="4257035" y="94614"/>
                  </a:cubicBezTo>
                  <a:cubicBezTo>
                    <a:pt x="4259575" y="95884"/>
                    <a:pt x="4262115" y="96519"/>
                    <a:pt x="4264655" y="96519"/>
                  </a:cubicBezTo>
                  <a:cubicBezTo>
                    <a:pt x="4267195" y="96519"/>
                    <a:pt x="4270370" y="95884"/>
                    <a:pt x="4272275" y="94614"/>
                  </a:cubicBezTo>
                  <a:cubicBezTo>
                    <a:pt x="4274815" y="93344"/>
                    <a:pt x="4276720" y="91439"/>
                    <a:pt x="4277990" y="88899"/>
                  </a:cubicBezTo>
                  <a:cubicBezTo>
                    <a:pt x="4279895" y="86359"/>
                    <a:pt x="4281165" y="83819"/>
                    <a:pt x="4281800" y="80644"/>
                  </a:cubicBezTo>
                  <a:cubicBezTo>
                    <a:pt x="4282435" y="77469"/>
                    <a:pt x="4283070" y="74294"/>
                    <a:pt x="4283070" y="70484"/>
                  </a:cubicBezTo>
                  <a:lnTo>
                    <a:pt x="4283705" y="69849"/>
                  </a:lnTo>
                  <a:cubicBezTo>
                    <a:pt x="4283705" y="66039"/>
                    <a:pt x="4283705" y="62229"/>
                    <a:pt x="4282435" y="59054"/>
                  </a:cubicBezTo>
                  <a:cubicBezTo>
                    <a:pt x="4281800" y="55879"/>
                    <a:pt x="4279895" y="53339"/>
                    <a:pt x="4278625" y="50799"/>
                  </a:cubicBezTo>
                  <a:cubicBezTo>
                    <a:pt x="4276720" y="48259"/>
                    <a:pt x="4274815" y="46989"/>
                    <a:pt x="4272275" y="45719"/>
                  </a:cubicBezTo>
                  <a:cubicBezTo>
                    <a:pt x="4269735" y="44449"/>
                    <a:pt x="4267195" y="43814"/>
                    <a:pt x="4264020" y="43814"/>
                  </a:cubicBezTo>
                  <a:close/>
                  <a:moveTo>
                    <a:pt x="1420495" y="43814"/>
                  </a:moveTo>
                  <a:cubicBezTo>
                    <a:pt x="1417320" y="43814"/>
                    <a:pt x="1414780" y="43814"/>
                    <a:pt x="1412875" y="45719"/>
                  </a:cubicBezTo>
                  <a:cubicBezTo>
                    <a:pt x="1410335" y="46989"/>
                    <a:pt x="1408430" y="48894"/>
                    <a:pt x="1407160" y="50799"/>
                  </a:cubicBezTo>
                  <a:cubicBezTo>
                    <a:pt x="1405255" y="53339"/>
                    <a:pt x="1403985" y="55879"/>
                    <a:pt x="1403350" y="59054"/>
                  </a:cubicBezTo>
                  <a:cubicBezTo>
                    <a:pt x="1402715" y="62229"/>
                    <a:pt x="1402080" y="65404"/>
                    <a:pt x="1402080" y="69849"/>
                  </a:cubicBezTo>
                  <a:cubicBezTo>
                    <a:pt x="1402080" y="74294"/>
                    <a:pt x="1402080" y="78104"/>
                    <a:pt x="1403350" y="81279"/>
                  </a:cubicBezTo>
                  <a:cubicBezTo>
                    <a:pt x="1403985" y="84454"/>
                    <a:pt x="1405890" y="87629"/>
                    <a:pt x="1407160" y="89534"/>
                  </a:cubicBezTo>
                  <a:cubicBezTo>
                    <a:pt x="1409065" y="92074"/>
                    <a:pt x="1410970" y="93344"/>
                    <a:pt x="1413510" y="94614"/>
                  </a:cubicBezTo>
                  <a:cubicBezTo>
                    <a:pt x="1416050" y="95884"/>
                    <a:pt x="1418590" y="96519"/>
                    <a:pt x="1421130" y="96519"/>
                  </a:cubicBezTo>
                  <a:cubicBezTo>
                    <a:pt x="1423670" y="96519"/>
                    <a:pt x="1426845" y="95884"/>
                    <a:pt x="1428750" y="94614"/>
                  </a:cubicBezTo>
                  <a:cubicBezTo>
                    <a:pt x="1431290" y="93344"/>
                    <a:pt x="1433195" y="91439"/>
                    <a:pt x="1434465" y="88899"/>
                  </a:cubicBezTo>
                  <a:cubicBezTo>
                    <a:pt x="1436370" y="86359"/>
                    <a:pt x="1437640" y="83819"/>
                    <a:pt x="1438275" y="80644"/>
                  </a:cubicBezTo>
                  <a:cubicBezTo>
                    <a:pt x="1438910" y="77469"/>
                    <a:pt x="1439545" y="74294"/>
                    <a:pt x="1439545" y="70484"/>
                  </a:cubicBezTo>
                  <a:lnTo>
                    <a:pt x="1440180" y="69849"/>
                  </a:lnTo>
                  <a:cubicBezTo>
                    <a:pt x="1440180" y="66039"/>
                    <a:pt x="1440180" y="62229"/>
                    <a:pt x="1438910" y="59054"/>
                  </a:cubicBezTo>
                  <a:cubicBezTo>
                    <a:pt x="1438275" y="55879"/>
                    <a:pt x="1436370" y="53339"/>
                    <a:pt x="1435100" y="50799"/>
                  </a:cubicBezTo>
                  <a:cubicBezTo>
                    <a:pt x="1433195" y="48259"/>
                    <a:pt x="1431290" y="46989"/>
                    <a:pt x="1428750" y="45719"/>
                  </a:cubicBezTo>
                  <a:cubicBezTo>
                    <a:pt x="1426210" y="44449"/>
                    <a:pt x="1423670" y="43814"/>
                    <a:pt x="1420495" y="43814"/>
                  </a:cubicBezTo>
                  <a:close/>
                  <a:moveTo>
                    <a:pt x="4041770" y="43180"/>
                  </a:moveTo>
                  <a:cubicBezTo>
                    <a:pt x="4039230" y="43180"/>
                    <a:pt x="4036690" y="43180"/>
                    <a:pt x="4034785" y="44450"/>
                  </a:cubicBezTo>
                  <a:cubicBezTo>
                    <a:pt x="4032880" y="45085"/>
                    <a:pt x="4030975" y="46355"/>
                    <a:pt x="4029705" y="48260"/>
                  </a:cubicBezTo>
                  <a:cubicBezTo>
                    <a:pt x="4028435" y="50165"/>
                    <a:pt x="4027165" y="52070"/>
                    <a:pt x="4025895" y="54610"/>
                  </a:cubicBezTo>
                  <a:cubicBezTo>
                    <a:pt x="4025260" y="57150"/>
                    <a:pt x="4023990" y="59690"/>
                    <a:pt x="4023990" y="62865"/>
                  </a:cubicBezTo>
                  <a:lnTo>
                    <a:pt x="4060185" y="62865"/>
                  </a:lnTo>
                  <a:cubicBezTo>
                    <a:pt x="4060185" y="62865"/>
                    <a:pt x="4059550" y="57785"/>
                    <a:pt x="4058915" y="55245"/>
                  </a:cubicBezTo>
                  <a:cubicBezTo>
                    <a:pt x="4058280" y="52705"/>
                    <a:pt x="4057010" y="50800"/>
                    <a:pt x="4055740" y="48895"/>
                  </a:cubicBezTo>
                  <a:cubicBezTo>
                    <a:pt x="4054470" y="46990"/>
                    <a:pt x="4052565" y="45720"/>
                    <a:pt x="4050025" y="44450"/>
                  </a:cubicBezTo>
                  <a:cubicBezTo>
                    <a:pt x="4047485" y="43180"/>
                    <a:pt x="4044945" y="43180"/>
                    <a:pt x="4041770" y="43180"/>
                  </a:cubicBezTo>
                  <a:close/>
                  <a:moveTo>
                    <a:pt x="3728081" y="43180"/>
                  </a:moveTo>
                  <a:cubicBezTo>
                    <a:pt x="3725541" y="43180"/>
                    <a:pt x="3723001" y="43180"/>
                    <a:pt x="3721096" y="44450"/>
                  </a:cubicBezTo>
                  <a:cubicBezTo>
                    <a:pt x="3719191" y="45085"/>
                    <a:pt x="3717286" y="46355"/>
                    <a:pt x="3716016" y="48260"/>
                  </a:cubicBezTo>
                  <a:cubicBezTo>
                    <a:pt x="3714746" y="50165"/>
                    <a:pt x="3713476" y="52070"/>
                    <a:pt x="3712206" y="54610"/>
                  </a:cubicBezTo>
                  <a:cubicBezTo>
                    <a:pt x="3711571" y="57150"/>
                    <a:pt x="3710301" y="59690"/>
                    <a:pt x="3710301" y="62865"/>
                  </a:cubicBezTo>
                  <a:lnTo>
                    <a:pt x="3746496" y="62865"/>
                  </a:lnTo>
                  <a:cubicBezTo>
                    <a:pt x="3746496" y="62865"/>
                    <a:pt x="3745861" y="57785"/>
                    <a:pt x="3745226" y="55245"/>
                  </a:cubicBezTo>
                  <a:cubicBezTo>
                    <a:pt x="3744591" y="52705"/>
                    <a:pt x="3743321" y="50800"/>
                    <a:pt x="3742051" y="48895"/>
                  </a:cubicBezTo>
                  <a:cubicBezTo>
                    <a:pt x="3740781" y="46990"/>
                    <a:pt x="3738876" y="45720"/>
                    <a:pt x="3736336" y="44450"/>
                  </a:cubicBezTo>
                  <a:cubicBezTo>
                    <a:pt x="3733796" y="43180"/>
                    <a:pt x="3731256" y="43180"/>
                    <a:pt x="3728081" y="43180"/>
                  </a:cubicBezTo>
                  <a:close/>
                  <a:moveTo>
                    <a:pt x="3541391" y="43180"/>
                  </a:moveTo>
                  <a:cubicBezTo>
                    <a:pt x="3538851" y="43180"/>
                    <a:pt x="3536311" y="43180"/>
                    <a:pt x="3534406" y="44450"/>
                  </a:cubicBezTo>
                  <a:cubicBezTo>
                    <a:pt x="3532501" y="45085"/>
                    <a:pt x="3530596" y="46355"/>
                    <a:pt x="3529326" y="48260"/>
                  </a:cubicBezTo>
                  <a:cubicBezTo>
                    <a:pt x="3528056" y="50165"/>
                    <a:pt x="3526786" y="52070"/>
                    <a:pt x="3525516" y="54610"/>
                  </a:cubicBezTo>
                  <a:cubicBezTo>
                    <a:pt x="3524881" y="57150"/>
                    <a:pt x="3524246" y="59690"/>
                    <a:pt x="3523611" y="62865"/>
                  </a:cubicBezTo>
                  <a:lnTo>
                    <a:pt x="3559806" y="62865"/>
                  </a:lnTo>
                  <a:cubicBezTo>
                    <a:pt x="3559806" y="62865"/>
                    <a:pt x="3559171" y="57785"/>
                    <a:pt x="3558536" y="55245"/>
                  </a:cubicBezTo>
                  <a:cubicBezTo>
                    <a:pt x="3557901" y="52705"/>
                    <a:pt x="3556631" y="50800"/>
                    <a:pt x="3555361" y="48895"/>
                  </a:cubicBezTo>
                  <a:cubicBezTo>
                    <a:pt x="3554091" y="46990"/>
                    <a:pt x="3552186" y="45720"/>
                    <a:pt x="3549646" y="44450"/>
                  </a:cubicBezTo>
                  <a:cubicBezTo>
                    <a:pt x="3547106" y="43180"/>
                    <a:pt x="3544566" y="43180"/>
                    <a:pt x="3541391" y="43180"/>
                  </a:cubicBezTo>
                  <a:close/>
                  <a:moveTo>
                    <a:pt x="3463285" y="43180"/>
                  </a:moveTo>
                  <a:cubicBezTo>
                    <a:pt x="3461380" y="43180"/>
                    <a:pt x="3459475" y="43180"/>
                    <a:pt x="3458205" y="43815"/>
                  </a:cubicBezTo>
                  <a:cubicBezTo>
                    <a:pt x="3456300" y="43815"/>
                    <a:pt x="3455030" y="45085"/>
                    <a:pt x="3453125" y="45720"/>
                  </a:cubicBezTo>
                  <a:cubicBezTo>
                    <a:pt x="3451855" y="46355"/>
                    <a:pt x="3449950" y="47625"/>
                    <a:pt x="3448680" y="48895"/>
                  </a:cubicBezTo>
                  <a:cubicBezTo>
                    <a:pt x="3447410" y="50165"/>
                    <a:pt x="3446140" y="51435"/>
                    <a:pt x="3445505" y="52705"/>
                  </a:cubicBezTo>
                  <a:lnTo>
                    <a:pt x="3445505" y="85725"/>
                  </a:lnTo>
                  <a:cubicBezTo>
                    <a:pt x="3445505" y="85725"/>
                    <a:pt x="3447410" y="88265"/>
                    <a:pt x="3448680" y="89535"/>
                  </a:cubicBezTo>
                  <a:cubicBezTo>
                    <a:pt x="3449950" y="90805"/>
                    <a:pt x="3451220" y="92075"/>
                    <a:pt x="3453125" y="92710"/>
                  </a:cubicBezTo>
                  <a:cubicBezTo>
                    <a:pt x="3455030" y="93980"/>
                    <a:pt x="3456300" y="94615"/>
                    <a:pt x="3458205" y="95250"/>
                  </a:cubicBezTo>
                  <a:cubicBezTo>
                    <a:pt x="3460110" y="95250"/>
                    <a:pt x="3462015" y="95885"/>
                    <a:pt x="3463920" y="95885"/>
                  </a:cubicBezTo>
                  <a:cubicBezTo>
                    <a:pt x="3469635" y="95885"/>
                    <a:pt x="3473445" y="93980"/>
                    <a:pt x="3476620" y="89535"/>
                  </a:cubicBezTo>
                  <a:cubicBezTo>
                    <a:pt x="3479795" y="85090"/>
                    <a:pt x="3481065" y="79375"/>
                    <a:pt x="3481065" y="71120"/>
                  </a:cubicBezTo>
                  <a:lnTo>
                    <a:pt x="3480430" y="71755"/>
                  </a:lnTo>
                  <a:cubicBezTo>
                    <a:pt x="3480430" y="62230"/>
                    <a:pt x="3479160" y="54610"/>
                    <a:pt x="3475985" y="50165"/>
                  </a:cubicBezTo>
                  <a:cubicBezTo>
                    <a:pt x="3472810" y="45720"/>
                    <a:pt x="3468365" y="43180"/>
                    <a:pt x="3463285" y="43180"/>
                  </a:cubicBezTo>
                  <a:close/>
                  <a:moveTo>
                    <a:pt x="3343271" y="43180"/>
                  </a:moveTo>
                  <a:cubicBezTo>
                    <a:pt x="3340731" y="43180"/>
                    <a:pt x="3338191" y="43180"/>
                    <a:pt x="3336286" y="44450"/>
                  </a:cubicBezTo>
                  <a:cubicBezTo>
                    <a:pt x="3334381" y="45085"/>
                    <a:pt x="3332476" y="46355"/>
                    <a:pt x="3331206" y="48260"/>
                  </a:cubicBezTo>
                  <a:cubicBezTo>
                    <a:pt x="3329936" y="50165"/>
                    <a:pt x="3328666" y="52070"/>
                    <a:pt x="3327396" y="54610"/>
                  </a:cubicBezTo>
                  <a:cubicBezTo>
                    <a:pt x="3326761" y="57150"/>
                    <a:pt x="3326126" y="59690"/>
                    <a:pt x="3325491" y="62865"/>
                  </a:cubicBezTo>
                  <a:lnTo>
                    <a:pt x="3361686" y="62865"/>
                  </a:lnTo>
                  <a:cubicBezTo>
                    <a:pt x="3361686" y="62865"/>
                    <a:pt x="3361051" y="57785"/>
                    <a:pt x="3360416" y="55245"/>
                  </a:cubicBezTo>
                  <a:cubicBezTo>
                    <a:pt x="3359781" y="52705"/>
                    <a:pt x="3358511" y="50800"/>
                    <a:pt x="3357241" y="48895"/>
                  </a:cubicBezTo>
                  <a:cubicBezTo>
                    <a:pt x="3355971" y="46990"/>
                    <a:pt x="3354066" y="45720"/>
                    <a:pt x="3351526" y="44450"/>
                  </a:cubicBezTo>
                  <a:cubicBezTo>
                    <a:pt x="3348986" y="43180"/>
                    <a:pt x="3346446" y="43180"/>
                    <a:pt x="3343271" y="43180"/>
                  </a:cubicBezTo>
                  <a:close/>
                  <a:moveTo>
                    <a:pt x="2976876" y="43180"/>
                  </a:moveTo>
                  <a:cubicBezTo>
                    <a:pt x="2974336" y="43180"/>
                    <a:pt x="2971796" y="43180"/>
                    <a:pt x="2969891" y="44450"/>
                  </a:cubicBezTo>
                  <a:cubicBezTo>
                    <a:pt x="2967986" y="45085"/>
                    <a:pt x="2966081" y="46355"/>
                    <a:pt x="2964811" y="48260"/>
                  </a:cubicBezTo>
                  <a:cubicBezTo>
                    <a:pt x="2963541" y="50165"/>
                    <a:pt x="2962271" y="52070"/>
                    <a:pt x="2961001" y="54610"/>
                  </a:cubicBezTo>
                  <a:cubicBezTo>
                    <a:pt x="2960366" y="57150"/>
                    <a:pt x="2959731" y="59690"/>
                    <a:pt x="2959096" y="62865"/>
                  </a:cubicBezTo>
                  <a:lnTo>
                    <a:pt x="2995291" y="62865"/>
                  </a:lnTo>
                  <a:cubicBezTo>
                    <a:pt x="2995291" y="62865"/>
                    <a:pt x="2994656" y="57785"/>
                    <a:pt x="2994021" y="55245"/>
                  </a:cubicBezTo>
                  <a:cubicBezTo>
                    <a:pt x="2993386" y="52705"/>
                    <a:pt x="2992116" y="50800"/>
                    <a:pt x="2990846" y="48895"/>
                  </a:cubicBezTo>
                  <a:cubicBezTo>
                    <a:pt x="2989576" y="46990"/>
                    <a:pt x="2987671" y="45720"/>
                    <a:pt x="2985131" y="44450"/>
                  </a:cubicBezTo>
                  <a:cubicBezTo>
                    <a:pt x="2982591" y="43180"/>
                    <a:pt x="2980051" y="43180"/>
                    <a:pt x="2976876" y="43180"/>
                  </a:cubicBezTo>
                  <a:close/>
                  <a:moveTo>
                    <a:pt x="2527930" y="43180"/>
                  </a:moveTo>
                  <a:cubicBezTo>
                    <a:pt x="2525390" y="43180"/>
                    <a:pt x="2522850" y="43180"/>
                    <a:pt x="2520945" y="44450"/>
                  </a:cubicBezTo>
                  <a:cubicBezTo>
                    <a:pt x="2519040" y="45085"/>
                    <a:pt x="2517135" y="46355"/>
                    <a:pt x="2515865" y="48260"/>
                  </a:cubicBezTo>
                  <a:cubicBezTo>
                    <a:pt x="2514595" y="50165"/>
                    <a:pt x="2513325" y="52070"/>
                    <a:pt x="2512055" y="54610"/>
                  </a:cubicBezTo>
                  <a:cubicBezTo>
                    <a:pt x="2511420" y="57150"/>
                    <a:pt x="2510150" y="59690"/>
                    <a:pt x="2510150" y="62865"/>
                  </a:cubicBezTo>
                  <a:lnTo>
                    <a:pt x="2546345" y="62865"/>
                  </a:lnTo>
                  <a:cubicBezTo>
                    <a:pt x="2546345" y="62865"/>
                    <a:pt x="2545710" y="57785"/>
                    <a:pt x="2545075" y="55245"/>
                  </a:cubicBezTo>
                  <a:cubicBezTo>
                    <a:pt x="2544440" y="52705"/>
                    <a:pt x="2543170" y="50800"/>
                    <a:pt x="2541900" y="48895"/>
                  </a:cubicBezTo>
                  <a:cubicBezTo>
                    <a:pt x="2540630" y="46990"/>
                    <a:pt x="2538725" y="45720"/>
                    <a:pt x="2536185" y="44450"/>
                  </a:cubicBezTo>
                  <a:cubicBezTo>
                    <a:pt x="2533645" y="43180"/>
                    <a:pt x="2531105" y="43180"/>
                    <a:pt x="2527930" y="43180"/>
                  </a:cubicBezTo>
                  <a:close/>
                  <a:moveTo>
                    <a:pt x="2214240" y="43180"/>
                  </a:moveTo>
                  <a:cubicBezTo>
                    <a:pt x="2211700" y="43180"/>
                    <a:pt x="2209160" y="43180"/>
                    <a:pt x="2207255" y="44450"/>
                  </a:cubicBezTo>
                  <a:cubicBezTo>
                    <a:pt x="2205350" y="45085"/>
                    <a:pt x="2203445" y="46355"/>
                    <a:pt x="2202175" y="48260"/>
                  </a:cubicBezTo>
                  <a:cubicBezTo>
                    <a:pt x="2200905" y="50165"/>
                    <a:pt x="2199635" y="52070"/>
                    <a:pt x="2198365" y="54610"/>
                  </a:cubicBezTo>
                  <a:cubicBezTo>
                    <a:pt x="2197730" y="57150"/>
                    <a:pt x="2196460" y="59690"/>
                    <a:pt x="2196460" y="62865"/>
                  </a:cubicBezTo>
                  <a:lnTo>
                    <a:pt x="2232655" y="62865"/>
                  </a:lnTo>
                  <a:cubicBezTo>
                    <a:pt x="2232655" y="62865"/>
                    <a:pt x="2232020" y="57785"/>
                    <a:pt x="2231385" y="55245"/>
                  </a:cubicBezTo>
                  <a:cubicBezTo>
                    <a:pt x="2230750" y="52705"/>
                    <a:pt x="2229480" y="50800"/>
                    <a:pt x="2228210" y="48895"/>
                  </a:cubicBezTo>
                  <a:cubicBezTo>
                    <a:pt x="2226940" y="46990"/>
                    <a:pt x="2225035" y="45720"/>
                    <a:pt x="2222495" y="44450"/>
                  </a:cubicBezTo>
                  <a:cubicBezTo>
                    <a:pt x="2219955" y="43180"/>
                    <a:pt x="2217415" y="43180"/>
                    <a:pt x="2214240" y="43180"/>
                  </a:cubicBezTo>
                  <a:close/>
                  <a:moveTo>
                    <a:pt x="2027551" y="43180"/>
                  </a:moveTo>
                  <a:cubicBezTo>
                    <a:pt x="2025011" y="43180"/>
                    <a:pt x="2022471" y="43180"/>
                    <a:pt x="2020566" y="44450"/>
                  </a:cubicBezTo>
                  <a:cubicBezTo>
                    <a:pt x="2018661" y="45085"/>
                    <a:pt x="2016756" y="46355"/>
                    <a:pt x="2015486" y="48260"/>
                  </a:cubicBezTo>
                  <a:cubicBezTo>
                    <a:pt x="2014216" y="50165"/>
                    <a:pt x="2012946" y="52070"/>
                    <a:pt x="2011676" y="54610"/>
                  </a:cubicBezTo>
                  <a:cubicBezTo>
                    <a:pt x="2011041" y="57150"/>
                    <a:pt x="2010406" y="59690"/>
                    <a:pt x="2009771" y="62865"/>
                  </a:cubicBezTo>
                  <a:lnTo>
                    <a:pt x="2045966" y="62865"/>
                  </a:lnTo>
                  <a:cubicBezTo>
                    <a:pt x="2045966" y="62865"/>
                    <a:pt x="2045331" y="57785"/>
                    <a:pt x="2044696" y="55245"/>
                  </a:cubicBezTo>
                  <a:cubicBezTo>
                    <a:pt x="2044061" y="52705"/>
                    <a:pt x="2042791" y="50800"/>
                    <a:pt x="2041521" y="48895"/>
                  </a:cubicBezTo>
                  <a:cubicBezTo>
                    <a:pt x="2040251" y="46990"/>
                    <a:pt x="2038346" y="45720"/>
                    <a:pt x="2035806" y="44450"/>
                  </a:cubicBezTo>
                  <a:cubicBezTo>
                    <a:pt x="2033266" y="43180"/>
                    <a:pt x="2030726" y="43180"/>
                    <a:pt x="2027551" y="43180"/>
                  </a:cubicBezTo>
                  <a:close/>
                  <a:moveTo>
                    <a:pt x="1949445" y="43180"/>
                  </a:moveTo>
                  <a:cubicBezTo>
                    <a:pt x="1947540" y="43180"/>
                    <a:pt x="1945635" y="43180"/>
                    <a:pt x="1944365" y="43815"/>
                  </a:cubicBezTo>
                  <a:cubicBezTo>
                    <a:pt x="1942460" y="43815"/>
                    <a:pt x="1941190" y="45085"/>
                    <a:pt x="1939285" y="45720"/>
                  </a:cubicBezTo>
                  <a:cubicBezTo>
                    <a:pt x="1938015" y="46355"/>
                    <a:pt x="1936110" y="47625"/>
                    <a:pt x="1934840" y="48895"/>
                  </a:cubicBezTo>
                  <a:cubicBezTo>
                    <a:pt x="1933570" y="50165"/>
                    <a:pt x="1932300" y="51435"/>
                    <a:pt x="1931665" y="52705"/>
                  </a:cubicBezTo>
                  <a:lnTo>
                    <a:pt x="1931665" y="85725"/>
                  </a:lnTo>
                  <a:cubicBezTo>
                    <a:pt x="1931665" y="85725"/>
                    <a:pt x="1933570" y="88265"/>
                    <a:pt x="1934840" y="89535"/>
                  </a:cubicBezTo>
                  <a:cubicBezTo>
                    <a:pt x="1936110" y="90805"/>
                    <a:pt x="1937380" y="92075"/>
                    <a:pt x="1939285" y="92710"/>
                  </a:cubicBezTo>
                  <a:cubicBezTo>
                    <a:pt x="1941190" y="93980"/>
                    <a:pt x="1942460" y="94615"/>
                    <a:pt x="1944365" y="95250"/>
                  </a:cubicBezTo>
                  <a:cubicBezTo>
                    <a:pt x="1946270" y="95250"/>
                    <a:pt x="1948175" y="95885"/>
                    <a:pt x="1950080" y="95885"/>
                  </a:cubicBezTo>
                  <a:cubicBezTo>
                    <a:pt x="1955795" y="95885"/>
                    <a:pt x="1959605" y="93980"/>
                    <a:pt x="1962780" y="89535"/>
                  </a:cubicBezTo>
                  <a:cubicBezTo>
                    <a:pt x="1965955" y="85090"/>
                    <a:pt x="1967225" y="79375"/>
                    <a:pt x="1967225" y="71120"/>
                  </a:cubicBezTo>
                  <a:lnTo>
                    <a:pt x="1966590" y="71755"/>
                  </a:lnTo>
                  <a:cubicBezTo>
                    <a:pt x="1966590" y="62230"/>
                    <a:pt x="1965320" y="54610"/>
                    <a:pt x="1962145" y="50165"/>
                  </a:cubicBezTo>
                  <a:cubicBezTo>
                    <a:pt x="1958970" y="45720"/>
                    <a:pt x="1954525" y="43180"/>
                    <a:pt x="1949445" y="43180"/>
                  </a:cubicBezTo>
                  <a:close/>
                  <a:moveTo>
                    <a:pt x="1829431" y="43180"/>
                  </a:moveTo>
                  <a:cubicBezTo>
                    <a:pt x="1826891" y="43180"/>
                    <a:pt x="1824351" y="43180"/>
                    <a:pt x="1822446" y="44450"/>
                  </a:cubicBezTo>
                  <a:cubicBezTo>
                    <a:pt x="1820541" y="45085"/>
                    <a:pt x="1818636" y="46355"/>
                    <a:pt x="1817366" y="48260"/>
                  </a:cubicBezTo>
                  <a:cubicBezTo>
                    <a:pt x="1816096" y="50165"/>
                    <a:pt x="1814826" y="52070"/>
                    <a:pt x="1813556" y="54610"/>
                  </a:cubicBezTo>
                  <a:cubicBezTo>
                    <a:pt x="1812921" y="57150"/>
                    <a:pt x="1811651" y="59690"/>
                    <a:pt x="1811651" y="62865"/>
                  </a:cubicBezTo>
                  <a:lnTo>
                    <a:pt x="1847846" y="62865"/>
                  </a:lnTo>
                  <a:cubicBezTo>
                    <a:pt x="1847846" y="62865"/>
                    <a:pt x="1847211" y="57785"/>
                    <a:pt x="1846576" y="55245"/>
                  </a:cubicBezTo>
                  <a:cubicBezTo>
                    <a:pt x="1845941" y="52705"/>
                    <a:pt x="1844671" y="50800"/>
                    <a:pt x="1843401" y="48895"/>
                  </a:cubicBezTo>
                  <a:cubicBezTo>
                    <a:pt x="1842131" y="46990"/>
                    <a:pt x="1840226" y="45720"/>
                    <a:pt x="1837686" y="44450"/>
                  </a:cubicBezTo>
                  <a:cubicBezTo>
                    <a:pt x="1835146" y="43180"/>
                    <a:pt x="1832606" y="43180"/>
                    <a:pt x="1829431" y="43180"/>
                  </a:cubicBezTo>
                  <a:close/>
                  <a:moveTo>
                    <a:pt x="1178561" y="43180"/>
                  </a:moveTo>
                  <a:cubicBezTo>
                    <a:pt x="1176021" y="43180"/>
                    <a:pt x="1173481" y="43180"/>
                    <a:pt x="1171576" y="44450"/>
                  </a:cubicBezTo>
                  <a:cubicBezTo>
                    <a:pt x="1169671" y="45085"/>
                    <a:pt x="1167766" y="46355"/>
                    <a:pt x="1166496" y="48260"/>
                  </a:cubicBezTo>
                  <a:cubicBezTo>
                    <a:pt x="1165226" y="50165"/>
                    <a:pt x="1163956" y="52070"/>
                    <a:pt x="1162686" y="54610"/>
                  </a:cubicBezTo>
                  <a:cubicBezTo>
                    <a:pt x="1162051" y="57150"/>
                    <a:pt x="1160781" y="59690"/>
                    <a:pt x="1160781" y="62865"/>
                  </a:cubicBezTo>
                  <a:lnTo>
                    <a:pt x="1196976" y="62865"/>
                  </a:lnTo>
                  <a:cubicBezTo>
                    <a:pt x="1196976" y="62865"/>
                    <a:pt x="1196341" y="57785"/>
                    <a:pt x="1195706" y="55245"/>
                  </a:cubicBezTo>
                  <a:cubicBezTo>
                    <a:pt x="1195071" y="52705"/>
                    <a:pt x="1193801" y="50800"/>
                    <a:pt x="1192531" y="48895"/>
                  </a:cubicBezTo>
                  <a:cubicBezTo>
                    <a:pt x="1191261" y="46990"/>
                    <a:pt x="1189356" y="45720"/>
                    <a:pt x="1186816" y="44450"/>
                  </a:cubicBezTo>
                  <a:cubicBezTo>
                    <a:pt x="1184276" y="43180"/>
                    <a:pt x="1181736" y="43180"/>
                    <a:pt x="1178561" y="43180"/>
                  </a:cubicBezTo>
                  <a:close/>
                  <a:moveTo>
                    <a:pt x="898525" y="43180"/>
                  </a:moveTo>
                  <a:cubicBezTo>
                    <a:pt x="895985" y="43180"/>
                    <a:pt x="893445" y="43180"/>
                    <a:pt x="891540" y="44450"/>
                  </a:cubicBezTo>
                  <a:cubicBezTo>
                    <a:pt x="889635" y="45085"/>
                    <a:pt x="887730" y="46355"/>
                    <a:pt x="886460" y="48260"/>
                  </a:cubicBezTo>
                  <a:cubicBezTo>
                    <a:pt x="885190" y="50165"/>
                    <a:pt x="883920" y="52070"/>
                    <a:pt x="882650" y="54610"/>
                  </a:cubicBezTo>
                  <a:cubicBezTo>
                    <a:pt x="882015" y="57150"/>
                    <a:pt x="881380" y="59690"/>
                    <a:pt x="880745" y="62865"/>
                  </a:cubicBezTo>
                  <a:lnTo>
                    <a:pt x="916940" y="62865"/>
                  </a:lnTo>
                  <a:cubicBezTo>
                    <a:pt x="916940" y="62865"/>
                    <a:pt x="916305" y="57785"/>
                    <a:pt x="915670" y="55245"/>
                  </a:cubicBezTo>
                  <a:cubicBezTo>
                    <a:pt x="915035" y="52705"/>
                    <a:pt x="913765" y="50800"/>
                    <a:pt x="912495" y="48895"/>
                  </a:cubicBezTo>
                  <a:cubicBezTo>
                    <a:pt x="911225" y="46990"/>
                    <a:pt x="909320" y="45720"/>
                    <a:pt x="906780" y="44450"/>
                  </a:cubicBezTo>
                  <a:cubicBezTo>
                    <a:pt x="904240" y="43180"/>
                    <a:pt x="901700" y="43180"/>
                    <a:pt x="898525" y="43180"/>
                  </a:cubicBezTo>
                  <a:close/>
                  <a:moveTo>
                    <a:pt x="584834" y="43180"/>
                  </a:moveTo>
                  <a:cubicBezTo>
                    <a:pt x="582294" y="43180"/>
                    <a:pt x="579754" y="43180"/>
                    <a:pt x="577849" y="44450"/>
                  </a:cubicBezTo>
                  <a:cubicBezTo>
                    <a:pt x="575944" y="45085"/>
                    <a:pt x="574039" y="46355"/>
                    <a:pt x="572769" y="48260"/>
                  </a:cubicBezTo>
                  <a:cubicBezTo>
                    <a:pt x="571499" y="50165"/>
                    <a:pt x="570229" y="52070"/>
                    <a:pt x="568959" y="54610"/>
                  </a:cubicBezTo>
                  <a:cubicBezTo>
                    <a:pt x="568324" y="57150"/>
                    <a:pt x="567689" y="59690"/>
                    <a:pt x="567054" y="62865"/>
                  </a:cubicBezTo>
                  <a:lnTo>
                    <a:pt x="603249" y="62865"/>
                  </a:lnTo>
                  <a:cubicBezTo>
                    <a:pt x="603249" y="62865"/>
                    <a:pt x="602614" y="57785"/>
                    <a:pt x="601979" y="55245"/>
                  </a:cubicBezTo>
                  <a:cubicBezTo>
                    <a:pt x="601344" y="52705"/>
                    <a:pt x="600074" y="50800"/>
                    <a:pt x="598804" y="48895"/>
                  </a:cubicBezTo>
                  <a:cubicBezTo>
                    <a:pt x="597534" y="46990"/>
                    <a:pt x="595629" y="45720"/>
                    <a:pt x="593089" y="44450"/>
                  </a:cubicBezTo>
                  <a:cubicBezTo>
                    <a:pt x="590549" y="43180"/>
                    <a:pt x="588009" y="43180"/>
                    <a:pt x="584834" y="43180"/>
                  </a:cubicBezTo>
                  <a:close/>
                  <a:moveTo>
                    <a:pt x="398145" y="43180"/>
                  </a:moveTo>
                  <a:cubicBezTo>
                    <a:pt x="395605" y="43180"/>
                    <a:pt x="393065" y="43180"/>
                    <a:pt x="391160" y="44450"/>
                  </a:cubicBezTo>
                  <a:cubicBezTo>
                    <a:pt x="389255" y="45085"/>
                    <a:pt x="387350" y="46355"/>
                    <a:pt x="386080" y="48260"/>
                  </a:cubicBezTo>
                  <a:cubicBezTo>
                    <a:pt x="384810" y="50165"/>
                    <a:pt x="383540" y="52070"/>
                    <a:pt x="382270" y="54610"/>
                  </a:cubicBezTo>
                  <a:cubicBezTo>
                    <a:pt x="381635" y="57150"/>
                    <a:pt x="380365" y="59690"/>
                    <a:pt x="380365" y="62865"/>
                  </a:cubicBezTo>
                  <a:lnTo>
                    <a:pt x="416560" y="62865"/>
                  </a:lnTo>
                  <a:cubicBezTo>
                    <a:pt x="416560" y="62865"/>
                    <a:pt x="415925" y="57785"/>
                    <a:pt x="415290" y="55245"/>
                  </a:cubicBezTo>
                  <a:cubicBezTo>
                    <a:pt x="414655" y="52705"/>
                    <a:pt x="413385" y="50800"/>
                    <a:pt x="412115" y="48895"/>
                  </a:cubicBezTo>
                  <a:cubicBezTo>
                    <a:pt x="410845" y="46990"/>
                    <a:pt x="408940" y="45720"/>
                    <a:pt x="406400" y="44450"/>
                  </a:cubicBezTo>
                  <a:cubicBezTo>
                    <a:pt x="403860" y="43180"/>
                    <a:pt x="401320" y="43180"/>
                    <a:pt x="398145" y="43180"/>
                  </a:cubicBezTo>
                  <a:close/>
                  <a:moveTo>
                    <a:pt x="320039" y="43180"/>
                  </a:moveTo>
                  <a:cubicBezTo>
                    <a:pt x="318134" y="43180"/>
                    <a:pt x="316229" y="43180"/>
                    <a:pt x="314959" y="43815"/>
                  </a:cubicBezTo>
                  <a:cubicBezTo>
                    <a:pt x="313054" y="43815"/>
                    <a:pt x="311784" y="45085"/>
                    <a:pt x="309879" y="45720"/>
                  </a:cubicBezTo>
                  <a:cubicBezTo>
                    <a:pt x="308609" y="46355"/>
                    <a:pt x="306704" y="47625"/>
                    <a:pt x="305434" y="48895"/>
                  </a:cubicBezTo>
                  <a:cubicBezTo>
                    <a:pt x="304164" y="50165"/>
                    <a:pt x="302894" y="51435"/>
                    <a:pt x="302259" y="52705"/>
                  </a:cubicBezTo>
                  <a:lnTo>
                    <a:pt x="302259" y="85725"/>
                  </a:lnTo>
                  <a:cubicBezTo>
                    <a:pt x="302259" y="85725"/>
                    <a:pt x="304164" y="88265"/>
                    <a:pt x="305434" y="89535"/>
                  </a:cubicBezTo>
                  <a:cubicBezTo>
                    <a:pt x="306704" y="90805"/>
                    <a:pt x="307974" y="92075"/>
                    <a:pt x="309879" y="92710"/>
                  </a:cubicBezTo>
                  <a:cubicBezTo>
                    <a:pt x="311784" y="93980"/>
                    <a:pt x="313054" y="94615"/>
                    <a:pt x="314959" y="95250"/>
                  </a:cubicBezTo>
                  <a:cubicBezTo>
                    <a:pt x="316864" y="95250"/>
                    <a:pt x="318769" y="95885"/>
                    <a:pt x="320674" y="95885"/>
                  </a:cubicBezTo>
                  <a:cubicBezTo>
                    <a:pt x="326389" y="95885"/>
                    <a:pt x="330199" y="93980"/>
                    <a:pt x="333374" y="89535"/>
                  </a:cubicBezTo>
                  <a:cubicBezTo>
                    <a:pt x="336549" y="85090"/>
                    <a:pt x="337819" y="79375"/>
                    <a:pt x="337819" y="71120"/>
                  </a:cubicBezTo>
                  <a:lnTo>
                    <a:pt x="337184" y="71755"/>
                  </a:lnTo>
                  <a:cubicBezTo>
                    <a:pt x="337184" y="62230"/>
                    <a:pt x="335914" y="54610"/>
                    <a:pt x="332739" y="50165"/>
                  </a:cubicBezTo>
                  <a:cubicBezTo>
                    <a:pt x="329564" y="45720"/>
                    <a:pt x="325119" y="43180"/>
                    <a:pt x="320039" y="43180"/>
                  </a:cubicBezTo>
                  <a:close/>
                  <a:moveTo>
                    <a:pt x="200025" y="43180"/>
                  </a:moveTo>
                  <a:cubicBezTo>
                    <a:pt x="197485" y="43180"/>
                    <a:pt x="194945" y="43180"/>
                    <a:pt x="193040" y="44450"/>
                  </a:cubicBezTo>
                  <a:cubicBezTo>
                    <a:pt x="191135" y="45085"/>
                    <a:pt x="189230" y="46355"/>
                    <a:pt x="187960" y="48260"/>
                  </a:cubicBezTo>
                  <a:cubicBezTo>
                    <a:pt x="186690" y="50165"/>
                    <a:pt x="185420" y="52070"/>
                    <a:pt x="184150" y="54610"/>
                  </a:cubicBezTo>
                  <a:cubicBezTo>
                    <a:pt x="183515" y="57150"/>
                    <a:pt x="182880" y="59690"/>
                    <a:pt x="182245" y="62865"/>
                  </a:cubicBezTo>
                  <a:lnTo>
                    <a:pt x="218440" y="62865"/>
                  </a:lnTo>
                  <a:cubicBezTo>
                    <a:pt x="218440" y="62865"/>
                    <a:pt x="217805" y="57785"/>
                    <a:pt x="217170" y="55245"/>
                  </a:cubicBezTo>
                  <a:cubicBezTo>
                    <a:pt x="216535" y="52705"/>
                    <a:pt x="215265" y="50800"/>
                    <a:pt x="213995" y="48895"/>
                  </a:cubicBezTo>
                  <a:cubicBezTo>
                    <a:pt x="212725" y="46990"/>
                    <a:pt x="210820" y="45720"/>
                    <a:pt x="208280" y="44450"/>
                  </a:cubicBezTo>
                  <a:cubicBezTo>
                    <a:pt x="205740" y="43180"/>
                    <a:pt x="203200" y="43180"/>
                    <a:pt x="200025" y="43180"/>
                  </a:cubicBezTo>
                  <a:close/>
                  <a:moveTo>
                    <a:pt x="4439281" y="43179"/>
                  </a:moveTo>
                  <a:cubicBezTo>
                    <a:pt x="4433566" y="43179"/>
                    <a:pt x="4429756" y="45084"/>
                    <a:pt x="4426581" y="49529"/>
                  </a:cubicBezTo>
                  <a:cubicBezTo>
                    <a:pt x="4423406" y="53974"/>
                    <a:pt x="4422136" y="59689"/>
                    <a:pt x="4422136" y="67944"/>
                  </a:cubicBezTo>
                  <a:cubicBezTo>
                    <a:pt x="4422136" y="73024"/>
                    <a:pt x="4422136" y="76834"/>
                    <a:pt x="4423406" y="80644"/>
                  </a:cubicBezTo>
                  <a:cubicBezTo>
                    <a:pt x="4424041" y="84454"/>
                    <a:pt x="4425311" y="86994"/>
                    <a:pt x="4426581" y="89534"/>
                  </a:cubicBezTo>
                  <a:cubicBezTo>
                    <a:pt x="4427851" y="92074"/>
                    <a:pt x="4429756" y="93344"/>
                    <a:pt x="4432296" y="94614"/>
                  </a:cubicBezTo>
                  <a:cubicBezTo>
                    <a:pt x="4434201" y="95884"/>
                    <a:pt x="4436741" y="96519"/>
                    <a:pt x="4439916" y="96519"/>
                  </a:cubicBezTo>
                  <a:cubicBezTo>
                    <a:pt x="4441821" y="96519"/>
                    <a:pt x="4443726" y="96519"/>
                    <a:pt x="4444996" y="95884"/>
                  </a:cubicBezTo>
                  <a:cubicBezTo>
                    <a:pt x="4446901" y="95884"/>
                    <a:pt x="4448171" y="94614"/>
                    <a:pt x="4450076" y="93344"/>
                  </a:cubicBezTo>
                  <a:cubicBezTo>
                    <a:pt x="4451346" y="92709"/>
                    <a:pt x="4453251" y="91439"/>
                    <a:pt x="4454521" y="90169"/>
                  </a:cubicBezTo>
                  <a:cubicBezTo>
                    <a:pt x="4455791" y="88899"/>
                    <a:pt x="4457061" y="87629"/>
                    <a:pt x="4457696" y="86359"/>
                  </a:cubicBezTo>
                  <a:lnTo>
                    <a:pt x="4457696" y="53339"/>
                  </a:lnTo>
                  <a:cubicBezTo>
                    <a:pt x="4457696" y="53339"/>
                    <a:pt x="4455791" y="50799"/>
                    <a:pt x="4454521" y="49529"/>
                  </a:cubicBezTo>
                  <a:cubicBezTo>
                    <a:pt x="4453251" y="48259"/>
                    <a:pt x="4451981" y="46989"/>
                    <a:pt x="4450076" y="46354"/>
                  </a:cubicBezTo>
                  <a:cubicBezTo>
                    <a:pt x="4448806" y="45084"/>
                    <a:pt x="4446901" y="44449"/>
                    <a:pt x="4444996" y="43814"/>
                  </a:cubicBezTo>
                  <a:cubicBezTo>
                    <a:pt x="4443091" y="43814"/>
                    <a:pt x="4441186" y="43179"/>
                    <a:pt x="4439281" y="43179"/>
                  </a:cubicBezTo>
                  <a:close/>
                  <a:moveTo>
                    <a:pt x="1014731" y="43179"/>
                  </a:moveTo>
                  <a:cubicBezTo>
                    <a:pt x="1009016" y="43179"/>
                    <a:pt x="1005206" y="45084"/>
                    <a:pt x="1002032" y="49529"/>
                  </a:cubicBezTo>
                  <a:cubicBezTo>
                    <a:pt x="998856" y="53974"/>
                    <a:pt x="997587" y="59689"/>
                    <a:pt x="997587" y="67944"/>
                  </a:cubicBezTo>
                  <a:cubicBezTo>
                    <a:pt x="997587" y="77469"/>
                    <a:pt x="998856" y="84454"/>
                    <a:pt x="1002032" y="88899"/>
                  </a:cubicBezTo>
                  <a:cubicBezTo>
                    <a:pt x="1005206" y="93979"/>
                    <a:pt x="1009016" y="95884"/>
                    <a:pt x="1015367" y="95884"/>
                  </a:cubicBezTo>
                  <a:cubicBezTo>
                    <a:pt x="1018541" y="95884"/>
                    <a:pt x="1022352" y="95249"/>
                    <a:pt x="1024891" y="93344"/>
                  </a:cubicBezTo>
                  <a:cubicBezTo>
                    <a:pt x="1028067" y="91439"/>
                    <a:pt x="1030607" y="88899"/>
                    <a:pt x="1033147" y="86359"/>
                  </a:cubicBezTo>
                  <a:lnTo>
                    <a:pt x="1033147" y="53339"/>
                  </a:lnTo>
                  <a:cubicBezTo>
                    <a:pt x="1033147" y="53339"/>
                    <a:pt x="1031242" y="50799"/>
                    <a:pt x="1029971" y="49529"/>
                  </a:cubicBezTo>
                  <a:cubicBezTo>
                    <a:pt x="1028702" y="48259"/>
                    <a:pt x="1027431" y="46989"/>
                    <a:pt x="1025526" y="46354"/>
                  </a:cubicBezTo>
                  <a:cubicBezTo>
                    <a:pt x="1023621" y="45084"/>
                    <a:pt x="1022352" y="44449"/>
                    <a:pt x="1020446" y="43814"/>
                  </a:cubicBezTo>
                  <a:cubicBezTo>
                    <a:pt x="1018541" y="43179"/>
                    <a:pt x="1016636" y="43179"/>
                    <a:pt x="1014731" y="43179"/>
                  </a:cubicBezTo>
                  <a:close/>
                  <a:moveTo>
                    <a:pt x="4524370" y="31114"/>
                  </a:moveTo>
                  <a:lnTo>
                    <a:pt x="4538975" y="31114"/>
                  </a:lnTo>
                  <a:lnTo>
                    <a:pt x="4552310" y="84454"/>
                  </a:lnTo>
                  <a:lnTo>
                    <a:pt x="4566915" y="31114"/>
                  </a:lnTo>
                  <a:lnTo>
                    <a:pt x="4579615" y="31114"/>
                  </a:lnTo>
                  <a:lnTo>
                    <a:pt x="4594220" y="84454"/>
                  </a:lnTo>
                  <a:lnTo>
                    <a:pt x="4606920" y="31114"/>
                  </a:lnTo>
                  <a:lnTo>
                    <a:pt x="4622160" y="31114"/>
                  </a:lnTo>
                  <a:lnTo>
                    <a:pt x="4600570" y="108584"/>
                  </a:lnTo>
                  <a:lnTo>
                    <a:pt x="4587235" y="108584"/>
                  </a:lnTo>
                  <a:lnTo>
                    <a:pt x="4572630" y="54609"/>
                  </a:lnTo>
                  <a:lnTo>
                    <a:pt x="4558660" y="108584"/>
                  </a:lnTo>
                  <a:lnTo>
                    <a:pt x="4545325" y="108584"/>
                  </a:lnTo>
                  <a:close/>
                  <a:moveTo>
                    <a:pt x="4123686" y="31114"/>
                  </a:moveTo>
                  <a:lnTo>
                    <a:pt x="4138926" y="31114"/>
                  </a:lnTo>
                  <a:lnTo>
                    <a:pt x="4152261" y="84454"/>
                  </a:lnTo>
                  <a:lnTo>
                    <a:pt x="4166866" y="31114"/>
                  </a:lnTo>
                  <a:lnTo>
                    <a:pt x="4178931" y="31114"/>
                  </a:lnTo>
                  <a:lnTo>
                    <a:pt x="4193536" y="84454"/>
                  </a:lnTo>
                  <a:lnTo>
                    <a:pt x="4206871" y="31114"/>
                  </a:lnTo>
                  <a:lnTo>
                    <a:pt x="4222111" y="31114"/>
                  </a:lnTo>
                  <a:lnTo>
                    <a:pt x="4200521" y="108584"/>
                  </a:lnTo>
                  <a:lnTo>
                    <a:pt x="4187186" y="108584"/>
                  </a:lnTo>
                  <a:lnTo>
                    <a:pt x="4172581" y="54609"/>
                  </a:lnTo>
                  <a:lnTo>
                    <a:pt x="4157976" y="108584"/>
                  </a:lnTo>
                  <a:lnTo>
                    <a:pt x="4145276" y="108584"/>
                  </a:lnTo>
                  <a:close/>
                  <a:moveTo>
                    <a:pt x="2837811" y="31114"/>
                  </a:moveTo>
                  <a:lnTo>
                    <a:pt x="2852416" y="31114"/>
                  </a:lnTo>
                  <a:lnTo>
                    <a:pt x="2865751" y="84454"/>
                  </a:lnTo>
                  <a:lnTo>
                    <a:pt x="2880356" y="31114"/>
                  </a:lnTo>
                  <a:lnTo>
                    <a:pt x="2893056" y="31114"/>
                  </a:lnTo>
                  <a:lnTo>
                    <a:pt x="2907661" y="84454"/>
                  </a:lnTo>
                  <a:lnTo>
                    <a:pt x="2920361" y="31114"/>
                  </a:lnTo>
                  <a:lnTo>
                    <a:pt x="2935601" y="31114"/>
                  </a:lnTo>
                  <a:lnTo>
                    <a:pt x="2914011" y="108584"/>
                  </a:lnTo>
                  <a:lnTo>
                    <a:pt x="2900676" y="108584"/>
                  </a:lnTo>
                  <a:lnTo>
                    <a:pt x="2886706" y="54609"/>
                  </a:lnTo>
                  <a:lnTo>
                    <a:pt x="2872101" y="108584"/>
                  </a:lnTo>
                  <a:lnTo>
                    <a:pt x="2858766" y="108584"/>
                  </a:lnTo>
                  <a:close/>
                  <a:moveTo>
                    <a:pt x="1354455" y="31114"/>
                  </a:moveTo>
                  <a:lnTo>
                    <a:pt x="1369695" y="31114"/>
                  </a:lnTo>
                  <a:lnTo>
                    <a:pt x="1369695" y="109219"/>
                  </a:lnTo>
                  <a:lnTo>
                    <a:pt x="1354455" y="109219"/>
                  </a:lnTo>
                  <a:close/>
                  <a:moveTo>
                    <a:pt x="2646040" y="29844"/>
                  </a:moveTo>
                  <a:cubicBezTo>
                    <a:pt x="2650485" y="29844"/>
                    <a:pt x="2654295" y="29844"/>
                    <a:pt x="2658105" y="31749"/>
                  </a:cubicBezTo>
                  <a:cubicBezTo>
                    <a:pt x="2661915" y="33019"/>
                    <a:pt x="2665090" y="34289"/>
                    <a:pt x="2667630" y="36829"/>
                  </a:cubicBezTo>
                  <a:cubicBezTo>
                    <a:pt x="2670170" y="38734"/>
                    <a:pt x="2672075" y="41909"/>
                    <a:pt x="2673345" y="45084"/>
                  </a:cubicBezTo>
                  <a:cubicBezTo>
                    <a:pt x="2674615" y="48259"/>
                    <a:pt x="2675250" y="52069"/>
                    <a:pt x="2675250" y="56514"/>
                  </a:cubicBezTo>
                  <a:lnTo>
                    <a:pt x="2675250" y="109854"/>
                  </a:lnTo>
                  <a:lnTo>
                    <a:pt x="2660010" y="109854"/>
                  </a:lnTo>
                  <a:lnTo>
                    <a:pt x="2660010" y="108584"/>
                  </a:lnTo>
                  <a:lnTo>
                    <a:pt x="2660010" y="100964"/>
                  </a:lnTo>
                  <a:cubicBezTo>
                    <a:pt x="2660010" y="100964"/>
                    <a:pt x="2656200" y="104139"/>
                    <a:pt x="2654930" y="104774"/>
                  </a:cubicBezTo>
                  <a:cubicBezTo>
                    <a:pt x="2653660" y="105409"/>
                    <a:pt x="2652390" y="106679"/>
                    <a:pt x="2651120" y="107314"/>
                  </a:cubicBezTo>
                  <a:cubicBezTo>
                    <a:pt x="2649850" y="107949"/>
                    <a:pt x="2647945" y="108584"/>
                    <a:pt x="2646040" y="109219"/>
                  </a:cubicBezTo>
                  <a:cubicBezTo>
                    <a:pt x="2644135" y="109219"/>
                    <a:pt x="2641595" y="109854"/>
                    <a:pt x="2639055" y="109854"/>
                  </a:cubicBezTo>
                  <a:cubicBezTo>
                    <a:pt x="2635880" y="109854"/>
                    <a:pt x="2632705" y="109854"/>
                    <a:pt x="2629530" y="108584"/>
                  </a:cubicBezTo>
                  <a:cubicBezTo>
                    <a:pt x="2626355" y="107949"/>
                    <a:pt x="2623180" y="106044"/>
                    <a:pt x="2620640" y="104139"/>
                  </a:cubicBezTo>
                  <a:cubicBezTo>
                    <a:pt x="2618100" y="102234"/>
                    <a:pt x="2616195" y="99059"/>
                    <a:pt x="2614290" y="95884"/>
                  </a:cubicBezTo>
                  <a:cubicBezTo>
                    <a:pt x="2612385" y="92709"/>
                    <a:pt x="2611750" y="88264"/>
                    <a:pt x="2611750" y="83819"/>
                  </a:cubicBezTo>
                  <a:cubicBezTo>
                    <a:pt x="2611750" y="79374"/>
                    <a:pt x="2612385" y="75564"/>
                    <a:pt x="2614290" y="72389"/>
                  </a:cubicBezTo>
                  <a:cubicBezTo>
                    <a:pt x="2615560" y="69214"/>
                    <a:pt x="2618100" y="66674"/>
                    <a:pt x="2620640" y="64769"/>
                  </a:cubicBezTo>
                  <a:cubicBezTo>
                    <a:pt x="2623180" y="62864"/>
                    <a:pt x="2626990" y="60959"/>
                    <a:pt x="2630800" y="60324"/>
                  </a:cubicBezTo>
                  <a:cubicBezTo>
                    <a:pt x="2634610" y="59054"/>
                    <a:pt x="2638420" y="59054"/>
                    <a:pt x="2642865" y="59054"/>
                  </a:cubicBezTo>
                  <a:cubicBezTo>
                    <a:pt x="2646675" y="59054"/>
                    <a:pt x="2650485" y="59054"/>
                    <a:pt x="2653025" y="59689"/>
                  </a:cubicBezTo>
                  <a:cubicBezTo>
                    <a:pt x="2655565" y="59689"/>
                    <a:pt x="2658105" y="60959"/>
                    <a:pt x="2660010" y="61594"/>
                  </a:cubicBezTo>
                  <a:lnTo>
                    <a:pt x="2660010" y="55879"/>
                  </a:lnTo>
                  <a:cubicBezTo>
                    <a:pt x="2660010" y="51434"/>
                    <a:pt x="2658740" y="48259"/>
                    <a:pt x="2656200" y="46354"/>
                  </a:cubicBezTo>
                  <a:cubicBezTo>
                    <a:pt x="2653660" y="43814"/>
                    <a:pt x="2649850" y="43179"/>
                    <a:pt x="2645405" y="43179"/>
                  </a:cubicBezTo>
                  <a:cubicBezTo>
                    <a:pt x="2641595" y="43179"/>
                    <a:pt x="2637785" y="43179"/>
                    <a:pt x="2634610" y="44449"/>
                  </a:cubicBezTo>
                  <a:cubicBezTo>
                    <a:pt x="2631435" y="45084"/>
                    <a:pt x="2628260" y="46354"/>
                    <a:pt x="2625085" y="48259"/>
                  </a:cubicBezTo>
                  <a:lnTo>
                    <a:pt x="2619370" y="36829"/>
                  </a:lnTo>
                  <a:cubicBezTo>
                    <a:pt x="2623180" y="34289"/>
                    <a:pt x="2626990" y="33019"/>
                    <a:pt x="2631435" y="31749"/>
                  </a:cubicBezTo>
                  <a:cubicBezTo>
                    <a:pt x="2635880" y="30479"/>
                    <a:pt x="2640325" y="29844"/>
                    <a:pt x="2646040" y="29844"/>
                  </a:cubicBezTo>
                  <a:close/>
                  <a:moveTo>
                    <a:pt x="1114426" y="29844"/>
                  </a:moveTo>
                  <a:lnTo>
                    <a:pt x="1129666" y="29844"/>
                  </a:lnTo>
                  <a:lnTo>
                    <a:pt x="1129666" y="107949"/>
                  </a:lnTo>
                  <a:lnTo>
                    <a:pt x="1114426" y="107949"/>
                  </a:lnTo>
                  <a:lnTo>
                    <a:pt x="1114426" y="100964"/>
                  </a:lnTo>
                  <a:cubicBezTo>
                    <a:pt x="1114426" y="100964"/>
                    <a:pt x="1109981" y="106044"/>
                    <a:pt x="1106171" y="107314"/>
                  </a:cubicBezTo>
                  <a:cubicBezTo>
                    <a:pt x="1102996" y="109219"/>
                    <a:pt x="1098551" y="109854"/>
                    <a:pt x="1094741" y="109854"/>
                  </a:cubicBezTo>
                  <a:cubicBezTo>
                    <a:pt x="1085851" y="109854"/>
                    <a:pt x="1078866" y="106679"/>
                    <a:pt x="1073786" y="100964"/>
                  </a:cubicBezTo>
                  <a:cubicBezTo>
                    <a:pt x="1069341" y="95249"/>
                    <a:pt x="1066800" y="86359"/>
                    <a:pt x="1066800" y="74929"/>
                  </a:cubicBezTo>
                  <a:lnTo>
                    <a:pt x="1066800" y="30479"/>
                  </a:lnTo>
                  <a:lnTo>
                    <a:pt x="1082040" y="30479"/>
                  </a:lnTo>
                  <a:lnTo>
                    <a:pt x="1082040" y="74294"/>
                  </a:lnTo>
                  <a:cubicBezTo>
                    <a:pt x="1082040" y="81279"/>
                    <a:pt x="1083311" y="86994"/>
                    <a:pt x="1085851" y="90169"/>
                  </a:cubicBezTo>
                  <a:cubicBezTo>
                    <a:pt x="1088390" y="93979"/>
                    <a:pt x="1092201" y="95249"/>
                    <a:pt x="1097916" y="95249"/>
                  </a:cubicBezTo>
                  <a:cubicBezTo>
                    <a:pt x="1102996" y="95249"/>
                    <a:pt x="1106806" y="93344"/>
                    <a:pt x="1109981" y="90169"/>
                  </a:cubicBezTo>
                  <a:cubicBezTo>
                    <a:pt x="1112521" y="86994"/>
                    <a:pt x="1114426" y="81914"/>
                    <a:pt x="1114426" y="75564"/>
                  </a:cubicBezTo>
                  <a:close/>
                  <a:moveTo>
                    <a:pt x="1011556" y="29844"/>
                  </a:moveTo>
                  <a:cubicBezTo>
                    <a:pt x="1013461" y="29844"/>
                    <a:pt x="1015367" y="29844"/>
                    <a:pt x="1017272" y="30479"/>
                  </a:cubicBezTo>
                  <a:cubicBezTo>
                    <a:pt x="1019176" y="30479"/>
                    <a:pt x="1021081" y="31749"/>
                    <a:pt x="1022352" y="32384"/>
                  </a:cubicBezTo>
                  <a:cubicBezTo>
                    <a:pt x="1024257" y="33019"/>
                    <a:pt x="1025526" y="34289"/>
                    <a:pt x="1026797" y="35559"/>
                  </a:cubicBezTo>
                  <a:cubicBezTo>
                    <a:pt x="1028067" y="36829"/>
                    <a:pt x="1029336" y="37464"/>
                    <a:pt x="1030607" y="38734"/>
                  </a:cubicBezTo>
                  <a:lnTo>
                    <a:pt x="1030607" y="31749"/>
                  </a:lnTo>
                  <a:lnTo>
                    <a:pt x="1045847" y="31749"/>
                  </a:lnTo>
                  <a:lnTo>
                    <a:pt x="1045847" y="130809"/>
                  </a:lnTo>
                  <a:lnTo>
                    <a:pt x="1032512" y="137477"/>
                  </a:lnTo>
                  <a:lnTo>
                    <a:pt x="1032512" y="101599"/>
                  </a:lnTo>
                  <a:cubicBezTo>
                    <a:pt x="1032512" y="101599"/>
                    <a:pt x="1026797" y="106679"/>
                    <a:pt x="1022986" y="107949"/>
                  </a:cubicBezTo>
                  <a:cubicBezTo>
                    <a:pt x="1019812" y="109854"/>
                    <a:pt x="1016001" y="110489"/>
                    <a:pt x="1011556" y="110489"/>
                  </a:cubicBezTo>
                  <a:cubicBezTo>
                    <a:pt x="1007111" y="110489"/>
                    <a:pt x="1003301" y="109854"/>
                    <a:pt x="999491" y="107949"/>
                  </a:cubicBezTo>
                  <a:cubicBezTo>
                    <a:pt x="995681" y="106679"/>
                    <a:pt x="992506" y="104139"/>
                    <a:pt x="989966" y="100329"/>
                  </a:cubicBezTo>
                  <a:cubicBezTo>
                    <a:pt x="987426" y="97154"/>
                    <a:pt x="984886" y="92709"/>
                    <a:pt x="983616" y="87629"/>
                  </a:cubicBezTo>
                  <a:cubicBezTo>
                    <a:pt x="982346" y="82549"/>
                    <a:pt x="981076" y="76199"/>
                    <a:pt x="981076" y="68579"/>
                  </a:cubicBezTo>
                  <a:cubicBezTo>
                    <a:pt x="981076" y="61594"/>
                    <a:pt x="981711" y="55879"/>
                    <a:pt x="983616" y="51434"/>
                  </a:cubicBezTo>
                  <a:cubicBezTo>
                    <a:pt x="985521" y="46354"/>
                    <a:pt x="987426" y="42544"/>
                    <a:pt x="990601" y="39369"/>
                  </a:cubicBezTo>
                  <a:cubicBezTo>
                    <a:pt x="993142" y="36194"/>
                    <a:pt x="996951" y="33654"/>
                    <a:pt x="1000126" y="32384"/>
                  </a:cubicBezTo>
                  <a:cubicBezTo>
                    <a:pt x="1003937" y="31114"/>
                    <a:pt x="1007746" y="29844"/>
                    <a:pt x="1011556" y="29844"/>
                  </a:cubicBezTo>
                  <a:close/>
                  <a:moveTo>
                    <a:pt x="4871716" y="29210"/>
                  </a:moveTo>
                  <a:cubicBezTo>
                    <a:pt x="4876796" y="29210"/>
                    <a:pt x="4881241" y="29845"/>
                    <a:pt x="4885686" y="31750"/>
                  </a:cubicBezTo>
                  <a:cubicBezTo>
                    <a:pt x="4890131" y="33655"/>
                    <a:pt x="4894576" y="35560"/>
                    <a:pt x="4897751" y="38100"/>
                  </a:cubicBezTo>
                  <a:lnTo>
                    <a:pt x="4899021" y="38100"/>
                  </a:lnTo>
                  <a:lnTo>
                    <a:pt x="4892036" y="50165"/>
                  </a:lnTo>
                  <a:cubicBezTo>
                    <a:pt x="4888861" y="47625"/>
                    <a:pt x="4885686" y="46355"/>
                    <a:pt x="4882511" y="45085"/>
                  </a:cubicBezTo>
                  <a:cubicBezTo>
                    <a:pt x="4879336" y="43815"/>
                    <a:pt x="4875526" y="43180"/>
                    <a:pt x="4872351" y="43180"/>
                  </a:cubicBezTo>
                  <a:cubicBezTo>
                    <a:pt x="4869176" y="43180"/>
                    <a:pt x="4866001" y="43815"/>
                    <a:pt x="4864096" y="45085"/>
                  </a:cubicBezTo>
                  <a:cubicBezTo>
                    <a:pt x="4862191" y="46355"/>
                    <a:pt x="4861556" y="48260"/>
                    <a:pt x="4861556" y="50165"/>
                  </a:cubicBezTo>
                  <a:cubicBezTo>
                    <a:pt x="4861556" y="51435"/>
                    <a:pt x="4861556" y="52070"/>
                    <a:pt x="4861556" y="52705"/>
                  </a:cubicBezTo>
                  <a:cubicBezTo>
                    <a:pt x="4861556" y="53340"/>
                    <a:pt x="4862826" y="54610"/>
                    <a:pt x="4863461" y="55245"/>
                  </a:cubicBezTo>
                  <a:cubicBezTo>
                    <a:pt x="4864731" y="55880"/>
                    <a:pt x="4866001" y="57150"/>
                    <a:pt x="4867906" y="57785"/>
                  </a:cubicBezTo>
                  <a:cubicBezTo>
                    <a:pt x="4869811" y="59055"/>
                    <a:pt x="4872351" y="59690"/>
                    <a:pt x="4874891" y="60960"/>
                  </a:cubicBezTo>
                  <a:cubicBezTo>
                    <a:pt x="4879336" y="62865"/>
                    <a:pt x="4883146" y="64135"/>
                    <a:pt x="4886321" y="66040"/>
                  </a:cubicBezTo>
                  <a:cubicBezTo>
                    <a:pt x="4889496" y="67310"/>
                    <a:pt x="4892036" y="69215"/>
                    <a:pt x="4894576" y="71120"/>
                  </a:cubicBezTo>
                  <a:cubicBezTo>
                    <a:pt x="4896481" y="73025"/>
                    <a:pt x="4898386" y="75565"/>
                    <a:pt x="4899656" y="78105"/>
                  </a:cubicBezTo>
                  <a:cubicBezTo>
                    <a:pt x="4900926" y="80645"/>
                    <a:pt x="4901561" y="83820"/>
                    <a:pt x="4901561" y="87630"/>
                  </a:cubicBezTo>
                  <a:cubicBezTo>
                    <a:pt x="4901561" y="92075"/>
                    <a:pt x="4900926" y="95250"/>
                    <a:pt x="4899021" y="98425"/>
                  </a:cubicBezTo>
                  <a:cubicBezTo>
                    <a:pt x="4897116" y="101600"/>
                    <a:pt x="4895211" y="103505"/>
                    <a:pt x="4892671" y="105410"/>
                  </a:cubicBezTo>
                  <a:cubicBezTo>
                    <a:pt x="4890131" y="107315"/>
                    <a:pt x="4886956" y="108585"/>
                    <a:pt x="4883146" y="109220"/>
                  </a:cubicBezTo>
                  <a:cubicBezTo>
                    <a:pt x="4879336" y="109855"/>
                    <a:pt x="4876161" y="110490"/>
                    <a:pt x="4872351" y="110490"/>
                  </a:cubicBezTo>
                  <a:cubicBezTo>
                    <a:pt x="4867271" y="110490"/>
                    <a:pt x="4862191" y="109855"/>
                    <a:pt x="4857111" y="107950"/>
                  </a:cubicBezTo>
                  <a:cubicBezTo>
                    <a:pt x="4851396" y="106045"/>
                    <a:pt x="4846951" y="103505"/>
                    <a:pt x="4842506" y="100965"/>
                  </a:cubicBezTo>
                  <a:lnTo>
                    <a:pt x="4849491" y="89535"/>
                  </a:lnTo>
                  <a:cubicBezTo>
                    <a:pt x="4853301" y="92075"/>
                    <a:pt x="4857111" y="93980"/>
                    <a:pt x="4860921" y="95250"/>
                  </a:cubicBezTo>
                  <a:cubicBezTo>
                    <a:pt x="4864731" y="96520"/>
                    <a:pt x="4868541" y="97155"/>
                    <a:pt x="4872351" y="97155"/>
                  </a:cubicBezTo>
                  <a:cubicBezTo>
                    <a:pt x="4877431" y="97155"/>
                    <a:pt x="4880606" y="96520"/>
                    <a:pt x="4883146" y="94615"/>
                  </a:cubicBezTo>
                  <a:cubicBezTo>
                    <a:pt x="4885686" y="93345"/>
                    <a:pt x="4886321" y="90805"/>
                    <a:pt x="4886321" y="88265"/>
                  </a:cubicBezTo>
                  <a:cubicBezTo>
                    <a:pt x="4886321" y="86995"/>
                    <a:pt x="4886321" y="85725"/>
                    <a:pt x="4885051" y="84455"/>
                  </a:cubicBezTo>
                  <a:cubicBezTo>
                    <a:pt x="4884416" y="83185"/>
                    <a:pt x="4883146" y="82550"/>
                    <a:pt x="4881241" y="81280"/>
                  </a:cubicBezTo>
                  <a:cubicBezTo>
                    <a:pt x="4879971" y="80010"/>
                    <a:pt x="4878066" y="79375"/>
                    <a:pt x="4875526" y="78105"/>
                  </a:cubicBezTo>
                  <a:cubicBezTo>
                    <a:pt x="4872986" y="77470"/>
                    <a:pt x="4871081" y="76200"/>
                    <a:pt x="4867906" y="74930"/>
                  </a:cubicBezTo>
                  <a:cubicBezTo>
                    <a:pt x="4863461" y="73025"/>
                    <a:pt x="4860286" y="71755"/>
                    <a:pt x="4857111" y="69850"/>
                  </a:cubicBezTo>
                  <a:cubicBezTo>
                    <a:pt x="4853936" y="67945"/>
                    <a:pt x="4852031" y="66675"/>
                    <a:pt x="4850126" y="64770"/>
                  </a:cubicBezTo>
                  <a:cubicBezTo>
                    <a:pt x="4848221" y="62865"/>
                    <a:pt x="4846951" y="60960"/>
                    <a:pt x="4846316" y="58420"/>
                  </a:cubicBezTo>
                  <a:cubicBezTo>
                    <a:pt x="4845681" y="55880"/>
                    <a:pt x="4845046" y="53340"/>
                    <a:pt x="4845046" y="50165"/>
                  </a:cubicBezTo>
                  <a:cubicBezTo>
                    <a:pt x="4845046" y="46990"/>
                    <a:pt x="4845681" y="43815"/>
                    <a:pt x="4846951" y="40640"/>
                  </a:cubicBezTo>
                  <a:cubicBezTo>
                    <a:pt x="4848221" y="38100"/>
                    <a:pt x="4850126" y="35560"/>
                    <a:pt x="4852666" y="34290"/>
                  </a:cubicBezTo>
                  <a:cubicBezTo>
                    <a:pt x="4855206" y="32385"/>
                    <a:pt x="4857746" y="31115"/>
                    <a:pt x="4860921" y="30480"/>
                  </a:cubicBezTo>
                  <a:cubicBezTo>
                    <a:pt x="4864096" y="29845"/>
                    <a:pt x="4867906" y="29210"/>
                    <a:pt x="4871716" y="29210"/>
                  </a:cubicBezTo>
                  <a:close/>
                  <a:moveTo>
                    <a:pt x="4749796" y="29210"/>
                  </a:moveTo>
                  <a:cubicBezTo>
                    <a:pt x="4752971" y="29210"/>
                    <a:pt x="4755511" y="29210"/>
                    <a:pt x="4757416" y="29845"/>
                  </a:cubicBezTo>
                  <a:cubicBezTo>
                    <a:pt x="4759321" y="30480"/>
                    <a:pt x="4761226" y="31115"/>
                    <a:pt x="4763131" y="32385"/>
                  </a:cubicBezTo>
                  <a:lnTo>
                    <a:pt x="4759321" y="46990"/>
                  </a:lnTo>
                  <a:lnTo>
                    <a:pt x="4758051" y="46990"/>
                  </a:lnTo>
                  <a:cubicBezTo>
                    <a:pt x="4758051" y="46990"/>
                    <a:pt x="4754876" y="45085"/>
                    <a:pt x="4752971" y="45085"/>
                  </a:cubicBezTo>
                  <a:cubicBezTo>
                    <a:pt x="4751066" y="45085"/>
                    <a:pt x="4749161" y="44450"/>
                    <a:pt x="4746621" y="44450"/>
                  </a:cubicBezTo>
                  <a:cubicBezTo>
                    <a:pt x="4741541" y="44450"/>
                    <a:pt x="4737731" y="46355"/>
                    <a:pt x="4735191" y="49530"/>
                  </a:cubicBezTo>
                  <a:cubicBezTo>
                    <a:pt x="4732651" y="52705"/>
                    <a:pt x="4731381" y="57785"/>
                    <a:pt x="4731381" y="64770"/>
                  </a:cubicBezTo>
                  <a:lnTo>
                    <a:pt x="4731381" y="109220"/>
                  </a:lnTo>
                  <a:lnTo>
                    <a:pt x="4716141" y="109220"/>
                  </a:lnTo>
                  <a:lnTo>
                    <a:pt x="4716141" y="31115"/>
                  </a:lnTo>
                  <a:lnTo>
                    <a:pt x="4731381" y="31115"/>
                  </a:lnTo>
                  <a:lnTo>
                    <a:pt x="4731381" y="38735"/>
                  </a:lnTo>
                  <a:cubicBezTo>
                    <a:pt x="4731381" y="38735"/>
                    <a:pt x="4733286" y="36195"/>
                    <a:pt x="4734556" y="34925"/>
                  </a:cubicBezTo>
                  <a:cubicBezTo>
                    <a:pt x="4735826" y="33655"/>
                    <a:pt x="4737096" y="33020"/>
                    <a:pt x="4739001" y="31750"/>
                  </a:cubicBezTo>
                  <a:cubicBezTo>
                    <a:pt x="4740271" y="31115"/>
                    <a:pt x="4742176" y="30480"/>
                    <a:pt x="4744081" y="29845"/>
                  </a:cubicBezTo>
                  <a:cubicBezTo>
                    <a:pt x="4745986" y="29845"/>
                    <a:pt x="4747891" y="29210"/>
                    <a:pt x="4749796" y="29210"/>
                  </a:cubicBezTo>
                  <a:close/>
                  <a:moveTo>
                    <a:pt x="4349110" y="29210"/>
                  </a:moveTo>
                  <a:cubicBezTo>
                    <a:pt x="4352285" y="29210"/>
                    <a:pt x="4354825" y="29210"/>
                    <a:pt x="4356730" y="29845"/>
                  </a:cubicBezTo>
                  <a:cubicBezTo>
                    <a:pt x="4358635" y="29845"/>
                    <a:pt x="4360540" y="31115"/>
                    <a:pt x="4362445" y="32385"/>
                  </a:cubicBezTo>
                  <a:lnTo>
                    <a:pt x="4358635" y="46990"/>
                  </a:lnTo>
                  <a:lnTo>
                    <a:pt x="4357365" y="46990"/>
                  </a:lnTo>
                  <a:cubicBezTo>
                    <a:pt x="4357365" y="46990"/>
                    <a:pt x="4354190" y="45085"/>
                    <a:pt x="4352285" y="45085"/>
                  </a:cubicBezTo>
                  <a:cubicBezTo>
                    <a:pt x="4350380" y="45085"/>
                    <a:pt x="4348475" y="44450"/>
                    <a:pt x="4345935" y="44450"/>
                  </a:cubicBezTo>
                  <a:cubicBezTo>
                    <a:pt x="4340855" y="44450"/>
                    <a:pt x="4337045" y="46355"/>
                    <a:pt x="4334505" y="49530"/>
                  </a:cubicBezTo>
                  <a:cubicBezTo>
                    <a:pt x="4331965" y="52705"/>
                    <a:pt x="4330695" y="57785"/>
                    <a:pt x="4330695" y="64770"/>
                  </a:cubicBezTo>
                  <a:lnTo>
                    <a:pt x="4330695" y="109220"/>
                  </a:lnTo>
                  <a:lnTo>
                    <a:pt x="4315455" y="109220"/>
                  </a:lnTo>
                  <a:lnTo>
                    <a:pt x="4315455" y="31115"/>
                  </a:lnTo>
                  <a:lnTo>
                    <a:pt x="4330695" y="31115"/>
                  </a:lnTo>
                  <a:lnTo>
                    <a:pt x="4330695" y="38735"/>
                  </a:lnTo>
                  <a:cubicBezTo>
                    <a:pt x="4330695" y="38735"/>
                    <a:pt x="4332600" y="36195"/>
                    <a:pt x="4333870" y="34925"/>
                  </a:cubicBezTo>
                  <a:cubicBezTo>
                    <a:pt x="4335140" y="33655"/>
                    <a:pt x="4336410" y="33020"/>
                    <a:pt x="4338315" y="31750"/>
                  </a:cubicBezTo>
                  <a:cubicBezTo>
                    <a:pt x="4339585" y="31115"/>
                    <a:pt x="4341490" y="30480"/>
                    <a:pt x="4343395" y="29845"/>
                  </a:cubicBezTo>
                  <a:cubicBezTo>
                    <a:pt x="4345300" y="29845"/>
                    <a:pt x="4347205" y="29210"/>
                    <a:pt x="4349110" y="29210"/>
                  </a:cubicBezTo>
                  <a:close/>
                  <a:moveTo>
                    <a:pt x="4044310" y="29210"/>
                  </a:moveTo>
                  <a:cubicBezTo>
                    <a:pt x="4050025" y="29210"/>
                    <a:pt x="4054470" y="30480"/>
                    <a:pt x="4058915" y="32385"/>
                  </a:cubicBezTo>
                  <a:cubicBezTo>
                    <a:pt x="4062725" y="34290"/>
                    <a:pt x="4066535" y="37465"/>
                    <a:pt x="4069075" y="40640"/>
                  </a:cubicBezTo>
                  <a:cubicBezTo>
                    <a:pt x="4071615" y="44450"/>
                    <a:pt x="4073520" y="48260"/>
                    <a:pt x="4075425" y="53340"/>
                  </a:cubicBezTo>
                  <a:cubicBezTo>
                    <a:pt x="4076695" y="57785"/>
                    <a:pt x="4077330" y="62865"/>
                    <a:pt x="4077330" y="68580"/>
                  </a:cubicBezTo>
                  <a:lnTo>
                    <a:pt x="4076060" y="68580"/>
                  </a:lnTo>
                  <a:cubicBezTo>
                    <a:pt x="4076060" y="68580"/>
                    <a:pt x="4076060" y="71120"/>
                    <a:pt x="4076060" y="72390"/>
                  </a:cubicBezTo>
                  <a:cubicBezTo>
                    <a:pt x="4076060" y="73660"/>
                    <a:pt x="4076060" y="74295"/>
                    <a:pt x="4076060" y="75565"/>
                  </a:cubicBezTo>
                  <a:lnTo>
                    <a:pt x="4024625" y="75565"/>
                  </a:lnTo>
                  <a:cubicBezTo>
                    <a:pt x="4024625" y="79375"/>
                    <a:pt x="4025895" y="82550"/>
                    <a:pt x="4027165" y="85090"/>
                  </a:cubicBezTo>
                  <a:cubicBezTo>
                    <a:pt x="4028435" y="87630"/>
                    <a:pt x="4029705" y="90170"/>
                    <a:pt x="4031610" y="91440"/>
                  </a:cubicBezTo>
                  <a:cubicBezTo>
                    <a:pt x="4033515" y="93345"/>
                    <a:pt x="4035420" y="94615"/>
                    <a:pt x="4037325" y="95250"/>
                  </a:cubicBezTo>
                  <a:cubicBezTo>
                    <a:pt x="4039230" y="95885"/>
                    <a:pt x="4041770" y="96520"/>
                    <a:pt x="4044310" y="96520"/>
                  </a:cubicBezTo>
                  <a:cubicBezTo>
                    <a:pt x="4046215" y="96520"/>
                    <a:pt x="4047485" y="96520"/>
                    <a:pt x="4049390" y="96520"/>
                  </a:cubicBezTo>
                  <a:cubicBezTo>
                    <a:pt x="4050660" y="96520"/>
                    <a:pt x="4052565" y="95885"/>
                    <a:pt x="4053835" y="95250"/>
                  </a:cubicBezTo>
                  <a:cubicBezTo>
                    <a:pt x="4055105" y="95250"/>
                    <a:pt x="4056375" y="93980"/>
                    <a:pt x="4057645" y="93345"/>
                  </a:cubicBezTo>
                  <a:cubicBezTo>
                    <a:pt x="4058915" y="93345"/>
                    <a:pt x="4060185" y="92075"/>
                    <a:pt x="4062090" y="90805"/>
                  </a:cubicBezTo>
                  <a:lnTo>
                    <a:pt x="4070980" y="100330"/>
                  </a:lnTo>
                  <a:cubicBezTo>
                    <a:pt x="4070980" y="100330"/>
                    <a:pt x="4067170" y="103505"/>
                    <a:pt x="4065265" y="104775"/>
                  </a:cubicBezTo>
                  <a:cubicBezTo>
                    <a:pt x="4063360" y="106045"/>
                    <a:pt x="4061455" y="106680"/>
                    <a:pt x="4059550" y="107950"/>
                  </a:cubicBezTo>
                  <a:cubicBezTo>
                    <a:pt x="4057645" y="108585"/>
                    <a:pt x="4055105" y="109855"/>
                    <a:pt x="4052565" y="109855"/>
                  </a:cubicBezTo>
                  <a:cubicBezTo>
                    <a:pt x="4050025" y="109855"/>
                    <a:pt x="4046850" y="110490"/>
                    <a:pt x="4043675" y="110490"/>
                  </a:cubicBezTo>
                  <a:cubicBezTo>
                    <a:pt x="4040500" y="110490"/>
                    <a:pt x="4037325" y="110490"/>
                    <a:pt x="4034150" y="109220"/>
                  </a:cubicBezTo>
                  <a:cubicBezTo>
                    <a:pt x="4030975" y="108585"/>
                    <a:pt x="4028435" y="107315"/>
                    <a:pt x="4026530" y="105410"/>
                  </a:cubicBezTo>
                  <a:cubicBezTo>
                    <a:pt x="4023990" y="104140"/>
                    <a:pt x="4022085" y="102235"/>
                    <a:pt x="4020180" y="100330"/>
                  </a:cubicBezTo>
                  <a:cubicBezTo>
                    <a:pt x="4018275" y="98425"/>
                    <a:pt x="4016370" y="95885"/>
                    <a:pt x="4015100" y="92710"/>
                  </a:cubicBezTo>
                  <a:cubicBezTo>
                    <a:pt x="4013195" y="89535"/>
                    <a:pt x="4011925" y="86360"/>
                    <a:pt x="4011290" y="82550"/>
                  </a:cubicBezTo>
                  <a:cubicBezTo>
                    <a:pt x="4010655" y="78740"/>
                    <a:pt x="4010020" y="74295"/>
                    <a:pt x="4010020" y="69850"/>
                  </a:cubicBezTo>
                  <a:cubicBezTo>
                    <a:pt x="4010020" y="63500"/>
                    <a:pt x="4010655" y="57150"/>
                    <a:pt x="4012560" y="52070"/>
                  </a:cubicBezTo>
                  <a:cubicBezTo>
                    <a:pt x="4014465" y="46990"/>
                    <a:pt x="4016370" y="42545"/>
                    <a:pt x="4019545" y="39370"/>
                  </a:cubicBezTo>
                  <a:cubicBezTo>
                    <a:pt x="4022720" y="36195"/>
                    <a:pt x="4025895" y="33020"/>
                    <a:pt x="4030340" y="31750"/>
                  </a:cubicBezTo>
                  <a:cubicBezTo>
                    <a:pt x="4034785" y="29845"/>
                    <a:pt x="4039230" y="29210"/>
                    <a:pt x="4044310" y="29210"/>
                  </a:cubicBezTo>
                  <a:close/>
                  <a:moveTo>
                    <a:pt x="3811900" y="29210"/>
                  </a:moveTo>
                  <a:cubicBezTo>
                    <a:pt x="3815075" y="29210"/>
                    <a:pt x="3817615" y="29210"/>
                    <a:pt x="3819520" y="29845"/>
                  </a:cubicBezTo>
                  <a:cubicBezTo>
                    <a:pt x="3821425" y="29845"/>
                    <a:pt x="3823330" y="31115"/>
                    <a:pt x="3825235" y="32385"/>
                  </a:cubicBezTo>
                  <a:lnTo>
                    <a:pt x="3821425" y="46990"/>
                  </a:lnTo>
                  <a:lnTo>
                    <a:pt x="3820155" y="46990"/>
                  </a:lnTo>
                  <a:cubicBezTo>
                    <a:pt x="3820155" y="46990"/>
                    <a:pt x="3816980" y="45085"/>
                    <a:pt x="3815075" y="45085"/>
                  </a:cubicBezTo>
                  <a:cubicBezTo>
                    <a:pt x="3813170" y="45085"/>
                    <a:pt x="3811265" y="44450"/>
                    <a:pt x="3808725" y="44450"/>
                  </a:cubicBezTo>
                  <a:cubicBezTo>
                    <a:pt x="3803645" y="44450"/>
                    <a:pt x="3799835" y="46355"/>
                    <a:pt x="3797295" y="49530"/>
                  </a:cubicBezTo>
                  <a:cubicBezTo>
                    <a:pt x="3794755" y="52705"/>
                    <a:pt x="3793485" y="57785"/>
                    <a:pt x="3793485" y="64770"/>
                  </a:cubicBezTo>
                  <a:lnTo>
                    <a:pt x="3793485" y="109220"/>
                  </a:lnTo>
                  <a:lnTo>
                    <a:pt x="3778245" y="109220"/>
                  </a:lnTo>
                  <a:lnTo>
                    <a:pt x="3778245" y="31115"/>
                  </a:lnTo>
                  <a:lnTo>
                    <a:pt x="3793485" y="31115"/>
                  </a:lnTo>
                  <a:lnTo>
                    <a:pt x="3793485" y="38735"/>
                  </a:lnTo>
                  <a:cubicBezTo>
                    <a:pt x="3793485" y="38735"/>
                    <a:pt x="3795390" y="36195"/>
                    <a:pt x="3796660" y="34925"/>
                  </a:cubicBezTo>
                  <a:cubicBezTo>
                    <a:pt x="3797930" y="33655"/>
                    <a:pt x="3799200" y="33020"/>
                    <a:pt x="3801105" y="31750"/>
                  </a:cubicBezTo>
                  <a:cubicBezTo>
                    <a:pt x="3802375" y="31115"/>
                    <a:pt x="3804280" y="30480"/>
                    <a:pt x="3806185" y="29845"/>
                  </a:cubicBezTo>
                  <a:cubicBezTo>
                    <a:pt x="3808090" y="29845"/>
                    <a:pt x="3809995" y="29210"/>
                    <a:pt x="3811900" y="29210"/>
                  </a:cubicBezTo>
                  <a:close/>
                  <a:moveTo>
                    <a:pt x="3729986" y="29210"/>
                  </a:moveTo>
                  <a:cubicBezTo>
                    <a:pt x="3735701" y="29210"/>
                    <a:pt x="3740146" y="30480"/>
                    <a:pt x="3744591" y="32385"/>
                  </a:cubicBezTo>
                  <a:cubicBezTo>
                    <a:pt x="3748401" y="34290"/>
                    <a:pt x="3752211" y="37465"/>
                    <a:pt x="3754751" y="40640"/>
                  </a:cubicBezTo>
                  <a:cubicBezTo>
                    <a:pt x="3757291" y="44450"/>
                    <a:pt x="3759196" y="48260"/>
                    <a:pt x="3761101" y="53340"/>
                  </a:cubicBezTo>
                  <a:cubicBezTo>
                    <a:pt x="3762371" y="57785"/>
                    <a:pt x="3763006" y="62865"/>
                    <a:pt x="3763006" y="68580"/>
                  </a:cubicBezTo>
                  <a:lnTo>
                    <a:pt x="3761736" y="68580"/>
                  </a:lnTo>
                  <a:cubicBezTo>
                    <a:pt x="3761736" y="68580"/>
                    <a:pt x="3761736" y="71120"/>
                    <a:pt x="3761736" y="72390"/>
                  </a:cubicBezTo>
                  <a:cubicBezTo>
                    <a:pt x="3761736" y="73660"/>
                    <a:pt x="3761736" y="74295"/>
                    <a:pt x="3761736" y="75565"/>
                  </a:cubicBezTo>
                  <a:lnTo>
                    <a:pt x="3710301" y="75565"/>
                  </a:lnTo>
                  <a:cubicBezTo>
                    <a:pt x="3710301" y="79375"/>
                    <a:pt x="3711571" y="82550"/>
                    <a:pt x="3712841" y="85090"/>
                  </a:cubicBezTo>
                  <a:cubicBezTo>
                    <a:pt x="3714111" y="87630"/>
                    <a:pt x="3715381" y="90170"/>
                    <a:pt x="3717286" y="91440"/>
                  </a:cubicBezTo>
                  <a:cubicBezTo>
                    <a:pt x="3719191" y="93345"/>
                    <a:pt x="3721096" y="94615"/>
                    <a:pt x="3723001" y="95250"/>
                  </a:cubicBezTo>
                  <a:cubicBezTo>
                    <a:pt x="3724906" y="95885"/>
                    <a:pt x="3727446" y="96520"/>
                    <a:pt x="3729986" y="96520"/>
                  </a:cubicBezTo>
                  <a:cubicBezTo>
                    <a:pt x="3731891" y="96520"/>
                    <a:pt x="3733161" y="96520"/>
                    <a:pt x="3735066" y="96520"/>
                  </a:cubicBezTo>
                  <a:cubicBezTo>
                    <a:pt x="3736336" y="96520"/>
                    <a:pt x="3738241" y="95885"/>
                    <a:pt x="3739511" y="95250"/>
                  </a:cubicBezTo>
                  <a:cubicBezTo>
                    <a:pt x="3740781" y="95250"/>
                    <a:pt x="3742051" y="93980"/>
                    <a:pt x="3743321" y="93345"/>
                  </a:cubicBezTo>
                  <a:cubicBezTo>
                    <a:pt x="3744591" y="93345"/>
                    <a:pt x="3745861" y="92075"/>
                    <a:pt x="3747766" y="90805"/>
                  </a:cubicBezTo>
                  <a:lnTo>
                    <a:pt x="3756656" y="100330"/>
                  </a:lnTo>
                  <a:cubicBezTo>
                    <a:pt x="3756656" y="100330"/>
                    <a:pt x="3752846" y="103505"/>
                    <a:pt x="3750941" y="104775"/>
                  </a:cubicBezTo>
                  <a:cubicBezTo>
                    <a:pt x="3749036" y="106045"/>
                    <a:pt x="3747131" y="106680"/>
                    <a:pt x="3745226" y="107950"/>
                  </a:cubicBezTo>
                  <a:cubicBezTo>
                    <a:pt x="3743321" y="108585"/>
                    <a:pt x="3740781" y="109855"/>
                    <a:pt x="3738241" y="109855"/>
                  </a:cubicBezTo>
                  <a:cubicBezTo>
                    <a:pt x="3735701" y="109855"/>
                    <a:pt x="3732526" y="110490"/>
                    <a:pt x="3729351" y="110490"/>
                  </a:cubicBezTo>
                  <a:cubicBezTo>
                    <a:pt x="3726176" y="110490"/>
                    <a:pt x="3723001" y="110490"/>
                    <a:pt x="3719826" y="109220"/>
                  </a:cubicBezTo>
                  <a:cubicBezTo>
                    <a:pt x="3716651" y="108585"/>
                    <a:pt x="3714111" y="107315"/>
                    <a:pt x="3712206" y="105410"/>
                  </a:cubicBezTo>
                  <a:cubicBezTo>
                    <a:pt x="3709666" y="104140"/>
                    <a:pt x="3707761" y="102235"/>
                    <a:pt x="3705856" y="100330"/>
                  </a:cubicBezTo>
                  <a:cubicBezTo>
                    <a:pt x="3703951" y="98425"/>
                    <a:pt x="3702046" y="95885"/>
                    <a:pt x="3700776" y="92710"/>
                  </a:cubicBezTo>
                  <a:cubicBezTo>
                    <a:pt x="3698871" y="89535"/>
                    <a:pt x="3697601" y="86360"/>
                    <a:pt x="3696966" y="82550"/>
                  </a:cubicBezTo>
                  <a:cubicBezTo>
                    <a:pt x="3696331" y="78740"/>
                    <a:pt x="3695696" y="74295"/>
                    <a:pt x="3695696" y="69850"/>
                  </a:cubicBezTo>
                  <a:cubicBezTo>
                    <a:pt x="3695696" y="63500"/>
                    <a:pt x="3696331" y="57150"/>
                    <a:pt x="3698236" y="52070"/>
                  </a:cubicBezTo>
                  <a:cubicBezTo>
                    <a:pt x="3700141" y="46990"/>
                    <a:pt x="3702046" y="42545"/>
                    <a:pt x="3705221" y="39370"/>
                  </a:cubicBezTo>
                  <a:cubicBezTo>
                    <a:pt x="3708396" y="36195"/>
                    <a:pt x="3711571" y="33020"/>
                    <a:pt x="3716016" y="31750"/>
                  </a:cubicBezTo>
                  <a:cubicBezTo>
                    <a:pt x="3720461" y="29845"/>
                    <a:pt x="3724906" y="29210"/>
                    <a:pt x="3729986" y="29210"/>
                  </a:cubicBezTo>
                  <a:close/>
                  <a:moveTo>
                    <a:pt x="3543296" y="29210"/>
                  </a:moveTo>
                  <a:cubicBezTo>
                    <a:pt x="3549011" y="29210"/>
                    <a:pt x="3553456" y="30480"/>
                    <a:pt x="3557901" y="32385"/>
                  </a:cubicBezTo>
                  <a:cubicBezTo>
                    <a:pt x="3561711" y="34290"/>
                    <a:pt x="3565521" y="37465"/>
                    <a:pt x="3568061" y="40640"/>
                  </a:cubicBezTo>
                  <a:cubicBezTo>
                    <a:pt x="3570601" y="44450"/>
                    <a:pt x="3572506" y="48260"/>
                    <a:pt x="3574411" y="53340"/>
                  </a:cubicBezTo>
                  <a:cubicBezTo>
                    <a:pt x="3575681" y="57785"/>
                    <a:pt x="3576316" y="62865"/>
                    <a:pt x="3576316" y="68580"/>
                  </a:cubicBezTo>
                  <a:lnTo>
                    <a:pt x="3575046" y="68580"/>
                  </a:lnTo>
                  <a:cubicBezTo>
                    <a:pt x="3575046" y="68580"/>
                    <a:pt x="3575046" y="71120"/>
                    <a:pt x="3575046" y="72390"/>
                  </a:cubicBezTo>
                  <a:cubicBezTo>
                    <a:pt x="3575046" y="73660"/>
                    <a:pt x="3575046" y="74295"/>
                    <a:pt x="3575046" y="75565"/>
                  </a:cubicBezTo>
                  <a:lnTo>
                    <a:pt x="3523611" y="75565"/>
                  </a:lnTo>
                  <a:cubicBezTo>
                    <a:pt x="3523611" y="79375"/>
                    <a:pt x="3524881" y="82550"/>
                    <a:pt x="3526151" y="85090"/>
                  </a:cubicBezTo>
                  <a:cubicBezTo>
                    <a:pt x="3527421" y="87630"/>
                    <a:pt x="3528691" y="90170"/>
                    <a:pt x="3530596" y="91440"/>
                  </a:cubicBezTo>
                  <a:cubicBezTo>
                    <a:pt x="3532501" y="93345"/>
                    <a:pt x="3534406" y="94615"/>
                    <a:pt x="3536311" y="95250"/>
                  </a:cubicBezTo>
                  <a:cubicBezTo>
                    <a:pt x="3538216" y="95885"/>
                    <a:pt x="3540756" y="96520"/>
                    <a:pt x="3543296" y="96520"/>
                  </a:cubicBezTo>
                  <a:cubicBezTo>
                    <a:pt x="3545201" y="96520"/>
                    <a:pt x="3546471" y="96520"/>
                    <a:pt x="3548376" y="96520"/>
                  </a:cubicBezTo>
                  <a:cubicBezTo>
                    <a:pt x="3549646" y="96520"/>
                    <a:pt x="3551551" y="95885"/>
                    <a:pt x="3552821" y="95250"/>
                  </a:cubicBezTo>
                  <a:cubicBezTo>
                    <a:pt x="3554091" y="95250"/>
                    <a:pt x="3555361" y="93980"/>
                    <a:pt x="3556631" y="93345"/>
                  </a:cubicBezTo>
                  <a:cubicBezTo>
                    <a:pt x="3557901" y="93345"/>
                    <a:pt x="3559171" y="92075"/>
                    <a:pt x="3561076" y="90805"/>
                  </a:cubicBezTo>
                  <a:lnTo>
                    <a:pt x="3569966" y="100330"/>
                  </a:lnTo>
                  <a:cubicBezTo>
                    <a:pt x="3569966" y="100330"/>
                    <a:pt x="3566156" y="103505"/>
                    <a:pt x="3564251" y="104775"/>
                  </a:cubicBezTo>
                  <a:cubicBezTo>
                    <a:pt x="3562346" y="106045"/>
                    <a:pt x="3560441" y="106680"/>
                    <a:pt x="3558536" y="107950"/>
                  </a:cubicBezTo>
                  <a:cubicBezTo>
                    <a:pt x="3556631" y="108585"/>
                    <a:pt x="3554091" y="109855"/>
                    <a:pt x="3551551" y="109855"/>
                  </a:cubicBezTo>
                  <a:cubicBezTo>
                    <a:pt x="3549011" y="109855"/>
                    <a:pt x="3545836" y="110490"/>
                    <a:pt x="3542661" y="110490"/>
                  </a:cubicBezTo>
                  <a:cubicBezTo>
                    <a:pt x="3539486" y="110490"/>
                    <a:pt x="3536311" y="110490"/>
                    <a:pt x="3533136" y="109220"/>
                  </a:cubicBezTo>
                  <a:cubicBezTo>
                    <a:pt x="3529961" y="108585"/>
                    <a:pt x="3527421" y="107315"/>
                    <a:pt x="3525516" y="105410"/>
                  </a:cubicBezTo>
                  <a:cubicBezTo>
                    <a:pt x="3522976" y="104140"/>
                    <a:pt x="3521071" y="102235"/>
                    <a:pt x="3519166" y="100330"/>
                  </a:cubicBezTo>
                  <a:cubicBezTo>
                    <a:pt x="3517261" y="98425"/>
                    <a:pt x="3515356" y="95885"/>
                    <a:pt x="3514086" y="92710"/>
                  </a:cubicBezTo>
                  <a:cubicBezTo>
                    <a:pt x="3512181" y="89535"/>
                    <a:pt x="3510911" y="86360"/>
                    <a:pt x="3510276" y="82550"/>
                  </a:cubicBezTo>
                  <a:cubicBezTo>
                    <a:pt x="3509641" y="78740"/>
                    <a:pt x="3509006" y="74295"/>
                    <a:pt x="3509006" y="69850"/>
                  </a:cubicBezTo>
                  <a:cubicBezTo>
                    <a:pt x="3509006" y="63500"/>
                    <a:pt x="3509641" y="57150"/>
                    <a:pt x="3511546" y="52070"/>
                  </a:cubicBezTo>
                  <a:cubicBezTo>
                    <a:pt x="3513451" y="46990"/>
                    <a:pt x="3515356" y="42545"/>
                    <a:pt x="3518531" y="39370"/>
                  </a:cubicBezTo>
                  <a:cubicBezTo>
                    <a:pt x="3521706" y="36195"/>
                    <a:pt x="3524881" y="33020"/>
                    <a:pt x="3529326" y="31750"/>
                  </a:cubicBezTo>
                  <a:cubicBezTo>
                    <a:pt x="3533771" y="29845"/>
                    <a:pt x="3538216" y="29210"/>
                    <a:pt x="3543296" y="29210"/>
                  </a:cubicBezTo>
                  <a:close/>
                  <a:moveTo>
                    <a:pt x="3345176" y="29210"/>
                  </a:moveTo>
                  <a:cubicBezTo>
                    <a:pt x="3350891" y="29210"/>
                    <a:pt x="3355336" y="30480"/>
                    <a:pt x="3359781" y="32385"/>
                  </a:cubicBezTo>
                  <a:cubicBezTo>
                    <a:pt x="3363591" y="34290"/>
                    <a:pt x="3367401" y="37465"/>
                    <a:pt x="3369941" y="40640"/>
                  </a:cubicBezTo>
                  <a:cubicBezTo>
                    <a:pt x="3372481" y="44450"/>
                    <a:pt x="3374386" y="48260"/>
                    <a:pt x="3376291" y="53340"/>
                  </a:cubicBezTo>
                  <a:cubicBezTo>
                    <a:pt x="3377561" y="57785"/>
                    <a:pt x="3378196" y="62865"/>
                    <a:pt x="3378196" y="68580"/>
                  </a:cubicBezTo>
                  <a:lnTo>
                    <a:pt x="3376926" y="68580"/>
                  </a:lnTo>
                  <a:cubicBezTo>
                    <a:pt x="3376926" y="68580"/>
                    <a:pt x="3376926" y="71120"/>
                    <a:pt x="3376926" y="72390"/>
                  </a:cubicBezTo>
                  <a:cubicBezTo>
                    <a:pt x="3376926" y="73660"/>
                    <a:pt x="3376926" y="74295"/>
                    <a:pt x="3376926" y="75565"/>
                  </a:cubicBezTo>
                  <a:lnTo>
                    <a:pt x="3325491" y="75565"/>
                  </a:lnTo>
                  <a:cubicBezTo>
                    <a:pt x="3325491" y="79375"/>
                    <a:pt x="3326761" y="82550"/>
                    <a:pt x="3328031" y="85090"/>
                  </a:cubicBezTo>
                  <a:cubicBezTo>
                    <a:pt x="3329301" y="87630"/>
                    <a:pt x="3330571" y="90170"/>
                    <a:pt x="3332476" y="91440"/>
                  </a:cubicBezTo>
                  <a:cubicBezTo>
                    <a:pt x="3334381" y="93345"/>
                    <a:pt x="3336286" y="94615"/>
                    <a:pt x="3338191" y="95250"/>
                  </a:cubicBezTo>
                  <a:cubicBezTo>
                    <a:pt x="3340096" y="95885"/>
                    <a:pt x="3342636" y="96520"/>
                    <a:pt x="3345176" y="96520"/>
                  </a:cubicBezTo>
                  <a:cubicBezTo>
                    <a:pt x="3347081" y="96520"/>
                    <a:pt x="3348351" y="96520"/>
                    <a:pt x="3350256" y="96520"/>
                  </a:cubicBezTo>
                  <a:cubicBezTo>
                    <a:pt x="3351526" y="96520"/>
                    <a:pt x="3353431" y="95885"/>
                    <a:pt x="3354701" y="95250"/>
                  </a:cubicBezTo>
                  <a:cubicBezTo>
                    <a:pt x="3355971" y="95250"/>
                    <a:pt x="3357241" y="93980"/>
                    <a:pt x="3358511" y="93345"/>
                  </a:cubicBezTo>
                  <a:cubicBezTo>
                    <a:pt x="3359781" y="93345"/>
                    <a:pt x="3361051" y="92075"/>
                    <a:pt x="3362956" y="90805"/>
                  </a:cubicBezTo>
                  <a:lnTo>
                    <a:pt x="3371846" y="100330"/>
                  </a:lnTo>
                  <a:cubicBezTo>
                    <a:pt x="3371846" y="100330"/>
                    <a:pt x="3368036" y="103505"/>
                    <a:pt x="3366131" y="104775"/>
                  </a:cubicBezTo>
                  <a:cubicBezTo>
                    <a:pt x="3364226" y="106045"/>
                    <a:pt x="3362321" y="106680"/>
                    <a:pt x="3360416" y="107950"/>
                  </a:cubicBezTo>
                  <a:cubicBezTo>
                    <a:pt x="3358511" y="108585"/>
                    <a:pt x="3355971" y="109855"/>
                    <a:pt x="3353431" y="109855"/>
                  </a:cubicBezTo>
                  <a:cubicBezTo>
                    <a:pt x="3350891" y="109855"/>
                    <a:pt x="3347716" y="110490"/>
                    <a:pt x="3344541" y="110490"/>
                  </a:cubicBezTo>
                  <a:cubicBezTo>
                    <a:pt x="3341366" y="110490"/>
                    <a:pt x="3338191" y="110490"/>
                    <a:pt x="3335016" y="109220"/>
                  </a:cubicBezTo>
                  <a:cubicBezTo>
                    <a:pt x="3331841" y="108585"/>
                    <a:pt x="3329301" y="107315"/>
                    <a:pt x="3327396" y="105410"/>
                  </a:cubicBezTo>
                  <a:cubicBezTo>
                    <a:pt x="3324856" y="104140"/>
                    <a:pt x="3322951" y="102235"/>
                    <a:pt x="3321046" y="100330"/>
                  </a:cubicBezTo>
                  <a:cubicBezTo>
                    <a:pt x="3319141" y="98425"/>
                    <a:pt x="3317236" y="95885"/>
                    <a:pt x="3315966" y="92710"/>
                  </a:cubicBezTo>
                  <a:cubicBezTo>
                    <a:pt x="3314061" y="89535"/>
                    <a:pt x="3312791" y="86360"/>
                    <a:pt x="3312156" y="82550"/>
                  </a:cubicBezTo>
                  <a:cubicBezTo>
                    <a:pt x="3311521" y="78740"/>
                    <a:pt x="3310886" y="74295"/>
                    <a:pt x="3310886" y="69850"/>
                  </a:cubicBezTo>
                  <a:cubicBezTo>
                    <a:pt x="3310886" y="63500"/>
                    <a:pt x="3311521" y="57150"/>
                    <a:pt x="3313426" y="52070"/>
                  </a:cubicBezTo>
                  <a:cubicBezTo>
                    <a:pt x="3315331" y="46990"/>
                    <a:pt x="3317236" y="42545"/>
                    <a:pt x="3320411" y="39370"/>
                  </a:cubicBezTo>
                  <a:cubicBezTo>
                    <a:pt x="3323586" y="36195"/>
                    <a:pt x="3326761" y="33020"/>
                    <a:pt x="3331206" y="31750"/>
                  </a:cubicBezTo>
                  <a:cubicBezTo>
                    <a:pt x="3335651" y="29845"/>
                    <a:pt x="3340096" y="29210"/>
                    <a:pt x="3345176" y="29210"/>
                  </a:cubicBezTo>
                  <a:close/>
                  <a:moveTo>
                    <a:pt x="3060696" y="29210"/>
                  </a:moveTo>
                  <a:cubicBezTo>
                    <a:pt x="3063871" y="29210"/>
                    <a:pt x="3066411" y="29210"/>
                    <a:pt x="3068316" y="29845"/>
                  </a:cubicBezTo>
                  <a:cubicBezTo>
                    <a:pt x="3070221" y="29845"/>
                    <a:pt x="3072126" y="31115"/>
                    <a:pt x="3074031" y="32385"/>
                  </a:cubicBezTo>
                  <a:lnTo>
                    <a:pt x="3070221" y="46990"/>
                  </a:lnTo>
                  <a:lnTo>
                    <a:pt x="3068951" y="46990"/>
                  </a:lnTo>
                  <a:cubicBezTo>
                    <a:pt x="3068951" y="46990"/>
                    <a:pt x="3065776" y="45085"/>
                    <a:pt x="3063871" y="45085"/>
                  </a:cubicBezTo>
                  <a:cubicBezTo>
                    <a:pt x="3061966" y="45085"/>
                    <a:pt x="3060061" y="44450"/>
                    <a:pt x="3057521" y="44450"/>
                  </a:cubicBezTo>
                  <a:cubicBezTo>
                    <a:pt x="3052441" y="44450"/>
                    <a:pt x="3048631" y="46355"/>
                    <a:pt x="3046091" y="49530"/>
                  </a:cubicBezTo>
                  <a:cubicBezTo>
                    <a:pt x="3043551" y="52705"/>
                    <a:pt x="3042281" y="57785"/>
                    <a:pt x="3042281" y="64770"/>
                  </a:cubicBezTo>
                  <a:lnTo>
                    <a:pt x="3042281" y="109220"/>
                  </a:lnTo>
                  <a:lnTo>
                    <a:pt x="3027041" y="109220"/>
                  </a:lnTo>
                  <a:lnTo>
                    <a:pt x="3027041" y="31115"/>
                  </a:lnTo>
                  <a:lnTo>
                    <a:pt x="3042281" y="31115"/>
                  </a:lnTo>
                  <a:lnTo>
                    <a:pt x="3042281" y="38735"/>
                  </a:lnTo>
                  <a:cubicBezTo>
                    <a:pt x="3042281" y="38735"/>
                    <a:pt x="3044186" y="36195"/>
                    <a:pt x="3045456" y="34925"/>
                  </a:cubicBezTo>
                  <a:cubicBezTo>
                    <a:pt x="3046726" y="33655"/>
                    <a:pt x="3047996" y="33020"/>
                    <a:pt x="3049901" y="31750"/>
                  </a:cubicBezTo>
                  <a:cubicBezTo>
                    <a:pt x="3051171" y="31115"/>
                    <a:pt x="3053076" y="30480"/>
                    <a:pt x="3054981" y="29845"/>
                  </a:cubicBezTo>
                  <a:cubicBezTo>
                    <a:pt x="3056886" y="29845"/>
                    <a:pt x="3058791" y="29210"/>
                    <a:pt x="3060696" y="29210"/>
                  </a:cubicBezTo>
                  <a:close/>
                  <a:moveTo>
                    <a:pt x="2978781" y="29210"/>
                  </a:moveTo>
                  <a:cubicBezTo>
                    <a:pt x="2984496" y="29210"/>
                    <a:pt x="2988941" y="30480"/>
                    <a:pt x="2993386" y="32385"/>
                  </a:cubicBezTo>
                  <a:cubicBezTo>
                    <a:pt x="2997196" y="34290"/>
                    <a:pt x="3001006" y="37465"/>
                    <a:pt x="3003546" y="40640"/>
                  </a:cubicBezTo>
                  <a:cubicBezTo>
                    <a:pt x="3006086" y="44450"/>
                    <a:pt x="3007991" y="48260"/>
                    <a:pt x="3009896" y="53340"/>
                  </a:cubicBezTo>
                  <a:cubicBezTo>
                    <a:pt x="3011166" y="57785"/>
                    <a:pt x="3011801" y="62865"/>
                    <a:pt x="3011801" y="68580"/>
                  </a:cubicBezTo>
                  <a:lnTo>
                    <a:pt x="3010531" y="68580"/>
                  </a:lnTo>
                  <a:cubicBezTo>
                    <a:pt x="3010531" y="68580"/>
                    <a:pt x="3010531" y="71120"/>
                    <a:pt x="3010531" y="72390"/>
                  </a:cubicBezTo>
                  <a:cubicBezTo>
                    <a:pt x="3010531" y="73660"/>
                    <a:pt x="3010531" y="74295"/>
                    <a:pt x="3010531" y="75565"/>
                  </a:cubicBezTo>
                  <a:lnTo>
                    <a:pt x="2959096" y="75565"/>
                  </a:lnTo>
                  <a:cubicBezTo>
                    <a:pt x="2959096" y="79375"/>
                    <a:pt x="2960366" y="82550"/>
                    <a:pt x="2961636" y="85090"/>
                  </a:cubicBezTo>
                  <a:cubicBezTo>
                    <a:pt x="2962906" y="87630"/>
                    <a:pt x="2964176" y="90170"/>
                    <a:pt x="2966081" y="91440"/>
                  </a:cubicBezTo>
                  <a:cubicBezTo>
                    <a:pt x="2967986" y="93345"/>
                    <a:pt x="2969891" y="94615"/>
                    <a:pt x="2971796" y="95250"/>
                  </a:cubicBezTo>
                  <a:cubicBezTo>
                    <a:pt x="2974336" y="95885"/>
                    <a:pt x="2976241" y="96520"/>
                    <a:pt x="2978781" y="96520"/>
                  </a:cubicBezTo>
                  <a:cubicBezTo>
                    <a:pt x="2980686" y="96520"/>
                    <a:pt x="2981956" y="96520"/>
                    <a:pt x="2983861" y="96520"/>
                  </a:cubicBezTo>
                  <a:cubicBezTo>
                    <a:pt x="2985131" y="96520"/>
                    <a:pt x="2987036" y="95885"/>
                    <a:pt x="2988306" y="95250"/>
                  </a:cubicBezTo>
                  <a:cubicBezTo>
                    <a:pt x="2989576" y="95250"/>
                    <a:pt x="2990846" y="93980"/>
                    <a:pt x="2992116" y="93345"/>
                  </a:cubicBezTo>
                  <a:cubicBezTo>
                    <a:pt x="2993386" y="93345"/>
                    <a:pt x="2994656" y="92075"/>
                    <a:pt x="2996561" y="90805"/>
                  </a:cubicBezTo>
                  <a:lnTo>
                    <a:pt x="3005451" y="100330"/>
                  </a:lnTo>
                  <a:cubicBezTo>
                    <a:pt x="3005451" y="100330"/>
                    <a:pt x="3001641" y="103505"/>
                    <a:pt x="2999736" y="104775"/>
                  </a:cubicBezTo>
                  <a:cubicBezTo>
                    <a:pt x="2997831" y="106045"/>
                    <a:pt x="2995926" y="106680"/>
                    <a:pt x="2994021" y="107950"/>
                  </a:cubicBezTo>
                  <a:cubicBezTo>
                    <a:pt x="2992116" y="108585"/>
                    <a:pt x="2989576" y="109855"/>
                    <a:pt x="2987036" y="109855"/>
                  </a:cubicBezTo>
                  <a:cubicBezTo>
                    <a:pt x="2984496" y="109855"/>
                    <a:pt x="2981321" y="110490"/>
                    <a:pt x="2978146" y="110490"/>
                  </a:cubicBezTo>
                  <a:cubicBezTo>
                    <a:pt x="2974971" y="110490"/>
                    <a:pt x="2971796" y="110490"/>
                    <a:pt x="2968621" y="109220"/>
                  </a:cubicBezTo>
                  <a:cubicBezTo>
                    <a:pt x="2965446" y="108585"/>
                    <a:pt x="2962906" y="107315"/>
                    <a:pt x="2961001" y="105410"/>
                  </a:cubicBezTo>
                  <a:cubicBezTo>
                    <a:pt x="2958461" y="104140"/>
                    <a:pt x="2956556" y="102235"/>
                    <a:pt x="2954651" y="100330"/>
                  </a:cubicBezTo>
                  <a:cubicBezTo>
                    <a:pt x="2952746" y="98425"/>
                    <a:pt x="2950841" y="95885"/>
                    <a:pt x="2949571" y="92710"/>
                  </a:cubicBezTo>
                  <a:cubicBezTo>
                    <a:pt x="2947666" y="89535"/>
                    <a:pt x="2946396" y="86360"/>
                    <a:pt x="2945761" y="82550"/>
                  </a:cubicBezTo>
                  <a:cubicBezTo>
                    <a:pt x="2945126" y="78740"/>
                    <a:pt x="2944491" y="74295"/>
                    <a:pt x="2944491" y="69850"/>
                  </a:cubicBezTo>
                  <a:cubicBezTo>
                    <a:pt x="2944491" y="63500"/>
                    <a:pt x="2945126" y="57150"/>
                    <a:pt x="2947031" y="52070"/>
                  </a:cubicBezTo>
                  <a:cubicBezTo>
                    <a:pt x="2948936" y="46990"/>
                    <a:pt x="2950841" y="42545"/>
                    <a:pt x="2954016" y="39370"/>
                  </a:cubicBezTo>
                  <a:cubicBezTo>
                    <a:pt x="2957191" y="36195"/>
                    <a:pt x="2960366" y="33020"/>
                    <a:pt x="2964811" y="31750"/>
                  </a:cubicBezTo>
                  <a:cubicBezTo>
                    <a:pt x="2969256" y="29845"/>
                    <a:pt x="2973701" y="29210"/>
                    <a:pt x="2978781" y="29210"/>
                  </a:cubicBezTo>
                  <a:close/>
                  <a:moveTo>
                    <a:pt x="2798440" y="29210"/>
                  </a:moveTo>
                  <a:cubicBezTo>
                    <a:pt x="2803520" y="29210"/>
                    <a:pt x="2807965" y="29845"/>
                    <a:pt x="2813045" y="31750"/>
                  </a:cubicBezTo>
                  <a:cubicBezTo>
                    <a:pt x="2817490" y="33655"/>
                    <a:pt x="2821935" y="35560"/>
                    <a:pt x="2825110" y="38100"/>
                  </a:cubicBezTo>
                  <a:lnTo>
                    <a:pt x="2827015" y="38100"/>
                  </a:lnTo>
                  <a:lnTo>
                    <a:pt x="2820030" y="50165"/>
                  </a:lnTo>
                  <a:cubicBezTo>
                    <a:pt x="2816855" y="47625"/>
                    <a:pt x="2813680" y="46355"/>
                    <a:pt x="2810505" y="45085"/>
                  </a:cubicBezTo>
                  <a:cubicBezTo>
                    <a:pt x="2807330" y="43815"/>
                    <a:pt x="2803520" y="43180"/>
                    <a:pt x="2799710" y="43180"/>
                  </a:cubicBezTo>
                  <a:cubicBezTo>
                    <a:pt x="2795900" y="43180"/>
                    <a:pt x="2793360" y="43815"/>
                    <a:pt x="2791455" y="45085"/>
                  </a:cubicBezTo>
                  <a:cubicBezTo>
                    <a:pt x="2789550" y="46355"/>
                    <a:pt x="2788915" y="48260"/>
                    <a:pt x="2788915" y="50165"/>
                  </a:cubicBezTo>
                  <a:cubicBezTo>
                    <a:pt x="2788915" y="51435"/>
                    <a:pt x="2788915" y="52070"/>
                    <a:pt x="2788915" y="52705"/>
                  </a:cubicBezTo>
                  <a:cubicBezTo>
                    <a:pt x="2788915" y="53340"/>
                    <a:pt x="2790185" y="54610"/>
                    <a:pt x="2790820" y="55245"/>
                  </a:cubicBezTo>
                  <a:cubicBezTo>
                    <a:pt x="2792090" y="55880"/>
                    <a:pt x="2793360" y="57150"/>
                    <a:pt x="2795265" y="57785"/>
                  </a:cubicBezTo>
                  <a:cubicBezTo>
                    <a:pt x="2797170" y="59055"/>
                    <a:pt x="2799710" y="59690"/>
                    <a:pt x="2802250" y="60960"/>
                  </a:cubicBezTo>
                  <a:cubicBezTo>
                    <a:pt x="2806695" y="62865"/>
                    <a:pt x="2810505" y="64135"/>
                    <a:pt x="2813680" y="66040"/>
                  </a:cubicBezTo>
                  <a:cubicBezTo>
                    <a:pt x="2816855" y="67310"/>
                    <a:pt x="2819395" y="69215"/>
                    <a:pt x="2821935" y="71120"/>
                  </a:cubicBezTo>
                  <a:cubicBezTo>
                    <a:pt x="2823840" y="73025"/>
                    <a:pt x="2825745" y="75565"/>
                    <a:pt x="2827015" y="78105"/>
                  </a:cubicBezTo>
                  <a:cubicBezTo>
                    <a:pt x="2828285" y="80645"/>
                    <a:pt x="2828920" y="83820"/>
                    <a:pt x="2828920" y="87630"/>
                  </a:cubicBezTo>
                  <a:cubicBezTo>
                    <a:pt x="2828920" y="92075"/>
                    <a:pt x="2828285" y="95250"/>
                    <a:pt x="2826380" y="98425"/>
                  </a:cubicBezTo>
                  <a:cubicBezTo>
                    <a:pt x="2824475" y="101600"/>
                    <a:pt x="2822570" y="103505"/>
                    <a:pt x="2820030" y="105410"/>
                  </a:cubicBezTo>
                  <a:cubicBezTo>
                    <a:pt x="2817490" y="107315"/>
                    <a:pt x="2814315" y="108585"/>
                    <a:pt x="2810505" y="109220"/>
                  </a:cubicBezTo>
                  <a:cubicBezTo>
                    <a:pt x="2806695" y="109855"/>
                    <a:pt x="2803520" y="110490"/>
                    <a:pt x="2799710" y="110490"/>
                  </a:cubicBezTo>
                  <a:cubicBezTo>
                    <a:pt x="2794630" y="110490"/>
                    <a:pt x="2789550" y="109855"/>
                    <a:pt x="2783835" y="107950"/>
                  </a:cubicBezTo>
                  <a:cubicBezTo>
                    <a:pt x="2778120" y="106045"/>
                    <a:pt x="2773675" y="103505"/>
                    <a:pt x="2769230" y="100965"/>
                  </a:cubicBezTo>
                  <a:lnTo>
                    <a:pt x="2776215" y="89535"/>
                  </a:lnTo>
                  <a:cubicBezTo>
                    <a:pt x="2780025" y="92075"/>
                    <a:pt x="2783835" y="93980"/>
                    <a:pt x="2787645" y="95250"/>
                  </a:cubicBezTo>
                  <a:cubicBezTo>
                    <a:pt x="2791455" y="96520"/>
                    <a:pt x="2795265" y="97155"/>
                    <a:pt x="2799075" y="97155"/>
                  </a:cubicBezTo>
                  <a:cubicBezTo>
                    <a:pt x="2804155" y="97155"/>
                    <a:pt x="2807330" y="96520"/>
                    <a:pt x="2809870" y="94615"/>
                  </a:cubicBezTo>
                  <a:cubicBezTo>
                    <a:pt x="2812410" y="93345"/>
                    <a:pt x="2813045" y="90805"/>
                    <a:pt x="2813045" y="88265"/>
                  </a:cubicBezTo>
                  <a:cubicBezTo>
                    <a:pt x="2813045" y="86995"/>
                    <a:pt x="2813045" y="85725"/>
                    <a:pt x="2811775" y="84455"/>
                  </a:cubicBezTo>
                  <a:cubicBezTo>
                    <a:pt x="2811140" y="83185"/>
                    <a:pt x="2809870" y="82550"/>
                    <a:pt x="2807965" y="81280"/>
                  </a:cubicBezTo>
                  <a:cubicBezTo>
                    <a:pt x="2806695" y="80010"/>
                    <a:pt x="2804790" y="79375"/>
                    <a:pt x="2802250" y="78105"/>
                  </a:cubicBezTo>
                  <a:cubicBezTo>
                    <a:pt x="2800345" y="77470"/>
                    <a:pt x="2797805" y="76200"/>
                    <a:pt x="2794630" y="74930"/>
                  </a:cubicBezTo>
                  <a:cubicBezTo>
                    <a:pt x="2790185" y="73025"/>
                    <a:pt x="2787010" y="71755"/>
                    <a:pt x="2783835" y="69850"/>
                  </a:cubicBezTo>
                  <a:cubicBezTo>
                    <a:pt x="2780660" y="67945"/>
                    <a:pt x="2778755" y="66675"/>
                    <a:pt x="2776850" y="64770"/>
                  </a:cubicBezTo>
                  <a:cubicBezTo>
                    <a:pt x="2774945" y="62865"/>
                    <a:pt x="2773675" y="60960"/>
                    <a:pt x="2773040" y="58420"/>
                  </a:cubicBezTo>
                  <a:cubicBezTo>
                    <a:pt x="2772405" y="55880"/>
                    <a:pt x="2771770" y="53340"/>
                    <a:pt x="2771770" y="50165"/>
                  </a:cubicBezTo>
                  <a:cubicBezTo>
                    <a:pt x="2771770" y="46990"/>
                    <a:pt x="2772405" y="43815"/>
                    <a:pt x="2773675" y="40640"/>
                  </a:cubicBezTo>
                  <a:cubicBezTo>
                    <a:pt x="2774945" y="38100"/>
                    <a:pt x="2776850" y="35560"/>
                    <a:pt x="2779390" y="34290"/>
                  </a:cubicBezTo>
                  <a:cubicBezTo>
                    <a:pt x="2781930" y="32385"/>
                    <a:pt x="2784470" y="31115"/>
                    <a:pt x="2787645" y="30480"/>
                  </a:cubicBezTo>
                  <a:cubicBezTo>
                    <a:pt x="2790820" y="29845"/>
                    <a:pt x="2794630" y="29210"/>
                    <a:pt x="2798440" y="29210"/>
                  </a:cubicBezTo>
                  <a:close/>
                  <a:moveTo>
                    <a:pt x="2723510" y="29210"/>
                  </a:moveTo>
                  <a:cubicBezTo>
                    <a:pt x="2725415" y="29210"/>
                    <a:pt x="2727320" y="29210"/>
                    <a:pt x="2729225" y="29210"/>
                  </a:cubicBezTo>
                  <a:cubicBezTo>
                    <a:pt x="2733670" y="29210"/>
                    <a:pt x="2738115" y="29845"/>
                    <a:pt x="2741290" y="31750"/>
                  </a:cubicBezTo>
                  <a:cubicBezTo>
                    <a:pt x="2744465" y="33020"/>
                    <a:pt x="2747640" y="35560"/>
                    <a:pt x="2750180" y="38100"/>
                  </a:cubicBezTo>
                  <a:cubicBezTo>
                    <a:pt x="2752720" y="41275"/>
                    <a:pt x="2753990" y="44450"/>
                    <a:pt x="2755260" y="48895"/>
                  </a:cubicBezTo>
                  <a:cubicBezTo>
                    <a:pt x="2756530" y="53340"/>
                    <a:pt x="2757165" y="58420"/>
                    <a:pt x="2757165" y="64135"/>
                  </a:cubicBezTo>
                  <a:lnTo>
                    <a:pt x="2757165" y="108585"/>
                  </a:lnTo>
                  <a:lnTo>
                    <a:pt x="2741925" y="108585"/>
                  </a:lnTo>
                  <a:lnTo>
                    <a:pt x="2741290" y="108585"/>
                  </a:lnTo>
                  <a:lnTo>
                    <a:pt x="2741290" y="64770"/>
                  </a:lnTo>
                  <a:cubicBezTo>
                    <a:pt x="2741290" y="57785"/>
                    <a:pt x="2740020" y="52070"/>
                    <a:pt x="2737480" y="48895"/>
                  </a:cubicBezTo>
                  <a:cubicBezTo>
                    <a:pt x="2734940" y="45085"/>
                    <a:pt x="2731130" y="43180"/>
                    <a:pt x="2725415" y="43180"/>
                  </a:cubicBezTo>
                  <a:cubicBezTo>
                    <a:pt x="2722875" y="43180"/>
                    <a:pt x="2720970" y="43180"/>
                    <a:pt x="2718430" y="44450"/>
                  </a:cubicBezTo>
                  <a:cubicBezTo>
                    <a:pt x="2716525" y="45085"/>
                    <a:pt x="2714620" y="46990"/>
                    <a:pt x="2713350" y="48260"/>
                  </a:cubicBezTo>
                  <a:cubicBezTo>
                    <a:pt x="2712080" y="50165"/>
                    <a:pt x="2710810" y="52070"/>
                    <a:pt x="2710175" y="54610"/>
                  </a:cubicBezTo>
                  <a:cubicBezTo>
                    <a:pt x="2710175" y="57150"/>
                    <a:pt x="2709540" y="59690"/>
                    <a:pt x="2709540" y="62865"/>
                  </a:cubicBezTo>
                  <a:lnTo>
                    <a:pt x="2709540" y="108585"/>
                  </a:lnTo>
                  <a:lnTo>
                    <a:pt x="2694300" y="108585"/>
                  </a:lnTo>
                  <a:lnTo>
                    <a:pt x="2694300" y="30480"/>
                  </a:lnTo>
                  <a:lnTo>
                    <a:pt x="2709540" y="30480"/>
                  </a:lnTo>
                  <a:lnTo>
                    <a:pt x="2709540" y="38100"/>
                  </a:lnTo>
                  <a:cubicBezTo>
                    <a:pt x="2709540" y="38100"/>
                    <a:pt x="2711445" y="35560"/>
                    <a:pt x="2713350" y="34290"/>
                  </a:cubicBezTo>
                  <a:cubicBezTo>
                    <a:pt x="2714620" y="33020"/>
                    <a:pt x="2716525" y="32385"/>
                    <a:pt x="2717795" y="31115"/>
                  </a:cubicBezTo>
                  <a:cubicBezTo>
                    <a:pt x="2719700" y="30480"/>
                    <a:pt x="2721605" y="29845"/>
                    <a:pt x="2723510" y="29210"/>
                  </a:cubicBezTo>
                  <a:close/>
                  <a:moveTo>
                    <a:pt x="2530470" y="29210"/>
                  </a:moveTo>
                  <a:cubicBezTo>
                    <a:pt x="2536185" y="29210"/>
                    <a:pt x="2540630" y="30480"/>
                    <a:pt x="2545075" y="32385"/>
                  </a:cubicBezTo>
                  <a:cubicBezTo>
                    <a:pt x="2548885" y="34290"/>
                    <a:pt x="2552695" y="37465"/>
                    <a:pt x="2555235" y="40640"/>
                  </a:cubicBezTo>
                  <a:cubicBezTo>
                    <a:pt x="2557775" y="44450"/>
                    <a:pt x="2559680" y="48260"/>
                    <a:pt x="2561585" y="53340"/>
                  </a:cubicBezTo>
                  <a:cubicBezTo>
                    <a:pt x="2562855" y="57785"/>
                    <a:pt x="2563490" y="62865"/>
                    <a:pt x="2563490" y="68580"/>
                  </a:cubicBezTo>
                  <a:lnTo>
                    <a:pt x="2562220" y="68580"/>
                  </a:lnTo>
                  <a:cubicBezTo>
                    <a:pt x="2562220" y="68580"/>
                    <a:pt x="2562220" y="71120"/>
                    <a:pt x="2562220" y="72390"/>
                  </a:cubicBezTo>
                  <a:cubicBezTo>
                    <a:pt x="2562220" y="73660"/>
                    <a:pt x="2562220" y="74295"/>
                    <a:pt x="2562220" y="75565"/>
                  </a:cubicBezTo>
                  <a:lnTo>
                    <a:pt x="2510785" y="75565"/>
                  </a:lnTo>
                  <a:cubicBezTo>
                    <a:pt x="2510785" y="79375"/>
                    <a:pt x="2512055" y="82550"/>
                    <a:pt x="2513325" y="85090"/>
                  </a:cubicBezTo>
                  <a:cubicBezTo>
                    <a:pt x="2514595" y="87630"/>
                    <a:pt x="2515865" y="90170"/>
                    <a:pt x="2517770" y="91440"/>
                  </a:cubicBezTo>
                  <a:cubicBezTo>
                    <a:pt x="2519675" y="93345"/>
                    <a:pt x="2521580" y="94615"/>
                    <a:pt x="2523485" y="95250"/>
                  </a:cubicBezTo>
                  <a:cubicBezTo>
                    <a:pt x="2525390" y="95885"/>
                    <a:pt x="2527930" y="96520"/>
                    <a:pt x="2530470" y="96520"/>
                  </a:cubicBezTo>
                  <a:cubicBezTo>
                    <a:pt x="2532375" y="96520"/>
                    <a:pt x="2533645" y="96520"/>
                    <a:pt x="2535550" y="96520"/>
                  </a:cubicBezTo>
                  <a:cubicBezTo>
                    <a:pt x="2536820" y="96520"/>
                    <a:pt x="2538725" y="95885"/>
                    <a:pt x="2539995" y="95250"/>
                  </a:cubicBezTo>
                  <a:cubicBezTo>
                    <a:pt x="2541265" y="95250"/>
                    <a:pt x="2542535" y="93980"/>
                    <a:pt x="2543805" y="93345"/>
                  </a:cubicBezTo>
                  <a:cubicBezTo>
                    <a:pt x="2545075" y="93345"/>
                    <a:pt x="2546345" y="92075"/>
                    <a:pt x="2548250" y="90805"/>
                  </a:cubicBezTo>
                  <a:lnTo>
                    <a:pt x="2557140" y="100330"/>
                  </a:lnTo>
                  <a:cubicBezTo>
                    <a:pt x="2557140" y="100330"/>
                    <a:pt x="2553330" y="103505"/>
                    <a:pt x="2551425" y="104775"/>
                  </a:cubicBezTo>
                  <a:cubicBezTo>
                    <a:pt x="2549520" y="106045"/>
                    <a:pt x="2547615" y="106680"/>
                    <a:pt x="2545710" y="107950"/>
                  </a:cubicBezTo>
                  <a:cubicBezTo>
                    <a:pt x="2543805" y="108585"/>
                    <a:pt x="2541265" y="109855"/>
                    <a:pt x="2538725" y="109855"/>
                  </a:cubicBezTo>
                  <a:cubicBezTo>
                    <a:pt x="2536185" y="109855"/>
                    <a:pt x="2533010" y="110490"/>
                    <a:pt x="2529835" y="110490"/>
                  </a:cubicBezTo>
                  <a:cubicBezTo>
                    <a:pt x="2526660" y="110490"/>
                    <a:pt x="2523485" y="110490"/>
                    <a:pt x="2520310" y="109220"/>
                  </a:cubicBezTo>
                  <a:cubicBezTo>
                    <a:pt x="2517135" y="108585"/>
                    <a:pt x="2514595" y="107315"/>
                    <a:pt x="2512690" y="105410"/>
                  </a:cubicBezTo>
                  <a:cubicBezTo>
                    <a:pt x="2510785" y="103505"/>
                    <a:pt x="2508245" y="102235"/>
                    <a:pt x="2506340" y="100330"/>
                  </a:cubicBezTo>
                  <a:cubicBezTo>
                    <a:pt x="2504435" y="98425"/>
                    <a:pt x="2502530" y="95885"/>
                    <a:pt x="2501260" y="92710"/>
                  </a:cubicBezTo>
                  <a:cubicBezTo>
                    <a:pt x="2499355" y="89535"/>
                    <a:pt x="2498085" y="86360"/>
                    <a:pt x="2497450" y="82550"/>
                  </a:cubicBezTo>
                  <a:cubicBezTo>
                    <a:pt x="2496815" y="78740"/>
                    <a:pt x="2496180" y="74295"/>
                    <a:pt x="2496180" y="69850"/>
                  </a:cubicBezTo>
                  <a:cubicBezTo>
                    <a:pt x="2496180" y="63500"/>
                    <a:pt x="2496815" y="57150"/>
                    <a:pt x="2498720" y="52070"/>
                  </a:cubicBezTo>
                  <a:cubicBezTo>
                    <a:pt x="2500625" y="46990"/>
                    <a:pt x="2502530" y="42545"/>
                    <a:pt x="2505705" y="39370"/>
                  </a:cubicBezTo>
                  <a:cubicBezTo>
                    <a:pt x="2508880" y="36195"/>
                    <a:pt x="2512055" y="33020"/>
                    <a:pt x="2516500" y="31750"/>
                  </a:cubicBezTo>
                  <a:cubicBezTo>
                    <a:pt x="2520945" y="29845"/>
                    <a:pt x="2525390" y="29210"/>
                    <a:pt x="2530470" y="29210"/>
                  </a:cubicBezTo>
                  <a:close/>
                  <a:moveTo>
                    <a:pt x="2298061" y="29210"/>
                  </a:moveTo>
                  <a:cubicBezTo>
                    <a:pt x="2301236" y="29210"/>
                    <a:pt x="2303776" y="29210"/>
                    <a:pt x="2305681" y="29845"/>
                  </a:cubicBezTo>
                  <a:cubicBezTo>
                    <a:pt x="2307586" y="29845"/>
                    <a:pt x="2309491" y="31115"/>
                    <a:pt x="2311396" y="32385"/>
                  </a:cubicBezTo>
                  <a:lnTo>
                    <a:pt x="2307586" y="46990"/>
                  </a:lnTo>
                  <a:lnTo>
                    <a:pt x="2306316" y="46990"/>
                  </a:lnTo>
                  <a:cubicBezTo>
                    <a:pt x="2306316" y="46990"/>
                    <a:pt x="2303141" y="45085"/>
                    <a:pt x="2301236" y="45085"/>
                  </a:cubicBezTo>
                  <a:cubicBezTo>
                    <a:pt x="2299331" y="45085"/>
                    <a:pt x="2297426" y="44450"/>
                    <a:pt x="2294886" y="44450"/>
                  </a:cubicBezTo>
                  <a:cubicBezTo>
                    <a:pt x="2289806" y="44450"/>
                    <a:pt x="2285996" y="46355"/>
                    <a:pt x="2283456" y="49530"/>
                  </a:cubicBezTo>
                  <a:cubicBezTo>
                    <a:pt x="2280916" y="52705"/>
                    <a:pt x="2279646" y="57785"/>
                    <a:pt x="2279646" y="64770"/>
                  </a:cubicBezTo>
                  <a:lnTo>
                    <a:pt x="2279646" y="109220"/>
                  </a:lnTo>
                  <a:lnTo>
                    <a:pt x="2264406" y="109220"/>
                  </a:lnTo>
                  <a:lnTo>
                    <a:pt x="2264406" y="31115"/>
                  </a:lnTo>
                  <a:lnTo>
                    <a:pt x="2279646" y="31115"/>
                  </a:lnTo>
                  <a:lnTo>
                    <a:pt x="2279646" y="38735"/>
                  </a:lnTo>
                  <a:cubicBezTo>
                    <a:pt x="2279646" y="38735"/>
                    <a:pt x="2281551" y="36195"/>
                    <a:pt x="2282821" y="34925"/>
                  </a:cubicBezTo>
                  <a:cubicBezTo>
                    <a:pt x="2284091" y="33655"/>
                    <a:pt x="2285361" y="33020"/>
                    <a:pt x="2287266" y="31750"/>
                  </a:cubicBezTo>
                  <a:cubicBezTo>
                    <a:pt x="2288536" y="31115"/>
                    <a:pt x="2290441" y="30480"/>
                    <a:pt x="2292346" y="29845"/>
                  </a:cubicBezTo>
                  <a:cubicBezTo>
                    <a:pt x="2294251" y="29845"/>
                    <a:pt x="2296156" y="29210"/>
                    <a:pt x="2298061" y="29210"/>
                  </a:cubicBezTo>
                  <a:close/>
                  <a:moveTo>
                    <a:pt x="2216145" y="29210"/>
                  </a:moveTo>
                  <a:cubicBezTo>
                    <a:pt x="2221860" y="29210"/>
                    <a:pt x="2226305" y="30480"/>
                    <a:pt x="2230750" y="32385"/>
                  </a:cubicBezTo>
                  <a:cubicBezTo>
                    <a:pt x="2234560" y="34290"/>
                    <a:pt x="2238370" y="37465"/>
                    <a:pt x="2240910" y="40640"/>
                  </a:cubicBezTo>
                  <a:cubicBezTo>
                    <a:pt x="2243450" y="44450"/>
                    <a:pt x="2245355" y="48260"/>
                    <a:pt x="2247260" y="53340"/>
                  </a:cubicBezTo>
                  <a:cubicBezTo>
                    <a:pt x="2248530" y="57785"/>
                    <a:pt x="2249165" y="62865"/>
                    <a:pt x="2249165" y="68580"/>
                  </a:cubicBezTo>
                  <a:lnTo>
                    <a:pt x="2247895" y="68580"/>
                  </a:lnTo>
                  <a:cubicBezTo>
                    <a:pt x="2247895" y="68580"/>
                    <a:pt x="2247895" y="71120"/>
                    <a:pt x="2247895" y="72390"/>
                  </a:cubicBezTo>
                  <a:cubicBezTo>
                    <a:pt x="2247895" y="73660"/>
                    <a:pt x="2247895" y="74295"/>
                    <a:pt x="2247895" y="75565"/>
                  </a:cubicBezTo>
                  <a:lnTo>
                    <a:pt x="2196460" y="75565"/>
                  </a:lnTo>
                  <a:cubicBezTo>
                    <a:pt x="2196460" y="79375"/>
                    <a:pt x="2197730" y="82550"/>
                    <a:pt x="2199000" y="85090"/>
                  </a:cubicBezTo>
                  <a:cubicBezTo>
                    <a:pt x="2200270" y="87630"/>
                    <a:pt x="2201540" y="90170"/>
                    <a:pt x="2203445" y="91440"/>
                  </a:cubicBezTo>
                  <a:cubicBezTo>
                    <a:pt x="2205350" y="93345"/>
                    <a:pt x="2207255" y="94615"/>
                    <a:pt x="2209160" y="95250"/>
                  </a:cubicBezTo>
                  <a:cubicBezTo>
                    <a:pt x="2211065" y="95885"/>
                    <a:pt x="2213605" y="96520"/>
                    <a:pt x="2216145" y="96520"/>
                  </a:cubicBezTo>
                  <a:cubicBezTo>
                    <a:pt x="2218050" y="96520"/>
                    <a:pt x="2219320" y="96520"/>
                    <a:pt x="2221225" y="96520"/>
                  </a:cubicBezTo>
                  <a:cubicBezTo>
                    <a:pt x="2222495" y="96520"/>
                    <a:pt x="2224400" y="95885"/>
                    <a:pt x="2225670" y="95250"/>
                  </a:cubicBezTo>
                  <a:cubicBezTo>
                    <a:pt x="2226940" y="95250"/>
                    <a:pt x="2228210" y="93980"/>
                    <a:pt x="2229480" y="93345"/>
                  </a:cubicBezTo>
                  <a:cubicBezTo>
                    <a:pt x="2230750" y="93345"/>
                    <a:pt x="2232020" y="92075"/>
                    <a:pt x="2233925" y="90805"/>
                  </a:cubicBezTo>
                  <a:lnTo>
                    <a:pt x="2242815" y="100330"/>
                  </a:lnTo>
                  <a:cubicBezTo>
                    <a:pt x="2242815" y="100330"/>
                    <a:pt x="2239005" y="103505"/>
                    <a:pt x="2237100" y="104775"/>
                  </a:cubicBezTo>
                  <a:cubicBezTo>
                    <a:pt x="2235195" y="106045"/>
                    <a:pt x="2233290" y="106680"/>
                    <a:pt x="2231385" y="107950"/>
                  </a:cubicBezTo>
                  <a:cubicBezTo>
                    <a:pt x="2229480" y="108585"/>
                    <a:pt x="2226940" y="109855"/>
                    <a:pt x="2224400" y="109855"/>
                  </a:cubicBezTo>
                  <a:cubicBezTo>
                    <a:pt x="2221860" y="109855"/>
                    <a:pt x="2218685" y="110490"/>
                    <a:pt x="2215510" y="110490"/>
                  </a:cubicBezTo>
                  <a:cubicBezTo>
                    <a:pt x="2212335" y="110490"/>
                    <a:pt x="2209160" y="110490"/>
                    <a:pt x="2205985" y="109220"/>
                  </a:cubicBezTo>
                  <a:cubicBezTo>
                    <a:pt x="2202810" y="108585"/>
                    <a:pt x="2200270" y="107315"/>
                    <a:pt x="2198365" y="105410"/>
                  </a:cubicBezTo>
                  <a:cubicBezTo>
                    <a:pt x="2195825" y="104140"/>
                    <a:pt x="2193920" y="102235"/>
                    <a:pt x="2192015" y="100330"/>
                  </a:cubicBezTo>
                  <a:cubicBezTo>
                    <a:pt x="2190110" y="98425"/>
                    <a:pt x="2188205" y="95885"/>
                    <a:pt x="2186935" y="92710"/>
                  </a:cubicBezTo>
                  <a:cubicBezTo>
                    <a:pt x="2185030" y="89535"/>
                    <a:pt x="2183760" y="86360"/>
                    <a:pt x="2183125" y="82550"/>
                  </a:cubicBezTo>
                  <a:cubicBezTo>
                    <a:pt x="2182490" y="78740"/>
                    <a:pt x="2181855" y="74295"/>
                    <a:pt x="2181855" y="69850"/>
                  </a:cubicBezTo>
                  <a:cubicBezTo>
                    <a:pt x="2181855" y="63500"/>
                    <a:pt x="2182490" y="57150"/>
                    <a:pt x="2184395" y="52070"/>
                  </a:cubicBezTo>
                  <a:cubicBezTo>
                    <a:pt x="2186300" y="46990"/>
                    <a:pt x="2188205" y="42545"/>
                    <a:pt x="2191380" y="39370"/>
                  </a:cubicBezTo>
                  <a:cubicBezTo>
                    <a:pt x="2194555" y="36195"/>
                    <a:pt x="2197730" y="33020"/>
                    <a:pt x="2202175" y="31750"/>
                  </a:cubicBezTo>
                  <a:cubicBezTo>
                    <a:pt x="2206620" y="29845"/>
                    <a:pt x="2211065" y="29210"/>
                    <a:pt x="2216145" y="29210"/>
                  </a:cubicBezTo>
                  <a:close/>
                  <a:moveTo>
                    <a:pt x="2029456" y="29210"/>
                  </a:moveTo>
                  <a:cubicBezTo>
                    <a:pt x="2035171" y="29210"/>
                    <a:pt x="2039616" y="30480"/>
                    <a:pt x="2044061" y="32385"/>
                  </a:cubicBezTo>
                  <a:cubicBezTo>
                    <a:pt x="2047871" y="34290"/>
                    <a:pt x="2051681" y="37465"/>
                    <a:pt x="2054221" y="40640"/>
                  </a:cubicBezTo>
                  <a:cubicBezTo>
                    <a:pt x="2056761" y="44450"/>
                    <a:pt x="2058666" y="48260"/>
                    <a:pt x="2060571" y="53340"/>
                  </a:cubicBezTo>
                  <a:cubicBezTo>
                    <a:pt x="2061841" y="57785"/>
                    <a:pt x="2062476" y="62865"/>
                    <a:pt x="2062476" y="68580"/>
                  </a:cubicBezTo>
                  <a:lnTo>
                    <a:pt x="2061206" y="68580"/>
                  </a:lnTo>
                  <a:cubicBezTo>
                    <a:pt x="2061206" y="68580"/>
                    <a:pt x="2061206" y="71120"/>
                    <a:pt x="2061206" y="72390"/>
                  </a:cubicBezTo>
                  <a:cubicBezTo>
                    <a:pt x="2061206" y="73660"/>
                    <a:pt x="2061206" y="74295"/>
                    <a:pt x="2061206" y="75565"/>
                  </a:cubicBezTo>
                  <a:lnTo>
                    <a:pt x="2009771" y="75565"/>
                  </a:lnTo>
                  <a:cubicBezTo>
                    <a:pt x="2009771" y="79375"/>
                    <a:pt x="2011041" y="82550"/>
                    <a:pt x="2012311" y="85090"/>
                  </a:cubicBezTo>
                  <a:cubicBezTo>
                    <a:pt x="2013581" y="87630"/>
                    <a:pt x="2014851" y="90170"/>
                    <a:pt x="2016756" y="91440"/>
                  </a:cubicBezTo>
                  <a:cubicBezTo>
                    <a:pt x="2018661" y="93345"/>
                    <a:pt x="2020566" y="94615"/>
                    <a:pt x="2022471" y="95250"/>
                  </a:cubicBezTo>
                  <a:cubicBezTo>
                    <a:pt x="2024376" y="95885"/>
                    <a:pt x="2026916" y="96520"/>
                    <a:pt x="2029456" y="96520"/>
                  </a:cubicBezTo>
                  <a:cubicBezTo>
                    <a:pt x="2031361" y="96520"/>
                    <a:pt x="2032631" y="96520"/>
                    <a:pt x="2034536" y="96520"/>
                  </a:cubicBezTo>
                  <a:cubicBezTo>
                    <a:pt x="2035806" y="96520"/>
                    <a:pt x="2037711" y="95885"/>
                    <a:pt x="2038981" y="95250"/>
                  </a:cubicBezTo>
                  <a:cubicBezTo>
                    <a:pt x="2040251" y="95250"/>
                    <a:pt x="2041521" y="93980"/>
                    <a:pt x="2042791" y="93345"/>
                  </a:cubicBezTo>
                  <a:cubicBezTo>
                    <a:pt x="2044061" y="93345"/>
                    <a:pt x="2045331" y="92075"/>
                    <a:pt x="2047236" y="90805"/>
                  </a:cubicBezTo>
                  <a:lnTo>
                    <a:pt x="2056126" y="100330"/>
                  </a:lnTo>
                  <a:cubicBezTo>
                    <a:pt x="2056126" y="100330"/>
                    <a:pt x="2052316" y="103505"/>
                    <a:pt x="2050411" y="104775"/>
                  </a:cubicBezTo>
                  <a:cubicBezTo>
                    <a:pt x="2048506" y="106045"/>
                    <a:pt x="2046601" y="106680"/>
                    <a:pt x="2044696" y="107950"/>
                  </a:cubicBezTo>
                  <a:cubicBezTo>
                    <a:pt x="2042791" y="108585"/>
                    <a:pt x="2040251" y="109855"/>
                    <a:pt x="2037711" y="109855"/>
                  </a:cubicBezTo>
                  <a:cubicBezTo>
                    <a:pt x="2035171" y="109855"/>
                    <a:pt x="2031996" y="110490"/>
                    <a:pt x="2028821" y="110490"/>
                  </a:cubicBezTo>
                  <a:cubicBezTo>
                    <a:pt x="2025646" y="110490"/>
                    <a:pt x="2022471" y="110490"/>
                    <a:pt x="2019296" y="109220"/>
                  </a:cubicBezTo>
                  <a:cubicBezTo>
                    <a:pt x="2016121" y="108585"/>
                    <a:pt x="2013581" y="107315"/>
                    <a:pt x="2011676" y="105410"/>
                  </a:cubicBezTo>
                  <a:cubicBezTo>
                    <a:pt x="2009136" y="104140"/>
                    <a:pt x="2007231" y="102235"/>
                    <a:pt x="2005326" y="100330"/>
                  </a:cubicBezTo>
                  <a:cubicBezTo>
                    <a:pt x="2003421" y="98425"/>
                    <a:pt x="2001516" y="95885"/>
                    <a:pt x="2000246" y="92710"/>
                  </a:cubicBezTo>
                  <a:cubicBezTo>
                    <a:pt x="1998341" y="89535"/>
                    <a:pt x="1997071" y="86360"/>
                    <a:pt x="1996436" y="82550"/>
                  </a:cubicBezTo>
                  <a:cubicBezTo>
                    <a:pt x="1995801" y="78740"/>
                    <a:pt x="1995166" y="74295"/>
                    <a:pt x="1995166" y="69850"/>
                  </a:cubicBezTo>
                  <a:cubicBezTo>
                    <a:pt x="1995166" y="63500"/>
                    <a:pt x="1995801" y="57150"/>
                    <a:pt x="1997706" y="52070"/>
                  </a:cubicBezTo>
                  <a:cubicBezTo>
                    <a:pt x="1999611" y="46990"/>
                    <a:pt x="2001516" y="42545"/>
                    <a:pt x="2004691" y="39370"/>
                  </a:cubicBezTo>
                  <a:cubicBezTo>
                    <a:pt x="2007866" y="36195"/>
                    <a:pt x="2011041" y="33020"/>
                    <a:pt x="2015486" y="31750"/>
                  </a:cubicBezTo>
                  <a:cubicBezTo>
                    <a:pt x="2019931" y="29845"/>
                    <a:pt x="2024376" y="29210"/>
                    <a:pt x="2029456" y="29210"/>
                  </a:cubicBezTo>
                  <a:close/>
                  <a:moveTo>
                    <a:pt x="1831336" y="29210"/>
                  </a:moveTo>
                  <a:cubicBezTo>
                    <a:pt x="1837051" y="29210"/>
                    <a:pt x="1841496" y="30480"/>
                    <a:pt x="1845941" y="32385"/>
                  </a:cubicBezTo>
                  <a:cubicBezTo>
                    <a:pt x="1849751" y="34290"/>
                    <a:pt x="1853561" y="37465"/>
                    <a:pt x="1856101" y="40640"/>
                  </a:cubicBezTo>
                  <a:cubicBezTo>
                    <a:pt x="1858641" y="44450"/>
                    <a:pt x="1860546" y="48260"/>
                    <a:pt x="1862451" y="53340"/>
                  </a:cubicBezTo>
                  <a:cubicBezTo>
                    <a:pt x="1863721" y="57785"/>
                    <a:pt x="1864356" y="62865"/>
                    <a:pt x="1864356" y="68580"/>
                  </a:cubicBezTo>
                  <a:lnTo>
                    <a:pt x="1863086" y="68580"/>
                  </a:lnTo>
                  <a:cubicBezTo>
                    <a:pt x="1863086" y="68580"/>
                    <a:pt x="1863086" y="71120"/>
                    <a:pt x="1863086" y="72390"/>
                  </a:cubicBezTo>
                  <a:cubicBezTo>
                    <a:pt x="1863086" y="73660"/>
                    <a:pt x="1863086" y="74295"/>
                    <a:pt x="1863086" y="75565"/>
                  </a:cubicBezTo>
                  <a:lnTo>
                    <a:pt x="1811651" y="75565"/>
                  </a:lnTo>
                  <a:cubicBezTo>
                    <a:pt x="1811651" y="79375"/>
                    <a:pt x="1812921" y="82550"/>
                    <a:pt x="1814191" y="85090"/>
                  </a:cubicBezTo>
                  <a:cubicBezTo>
                    <a:pt x="1815461" y="87630"/>
                    <a:pt x="1816731" y="90170"/>
                    <a:pt x="1818636" y="91440"/>
                  </a:cubicBezTo>
                  <a:cubicBezTo>
                    <a:pt x="1820541" y="93345"/>
                    <a:pt x="1822446" y="94615"/>
                    <a:pt x="1824351" y="95250"/>
                  </a:cubicBezTo>
                  <a:cubicBezTo>
                    <a:pt x="1826256" y="95885"/>
                    <a:pt x="1828796" y="96520"/>
                    <a:pt x="1831336" y="96520"/>
                  </a:cubicBezTo>
                  <a:cubicBezTo>
                    <a:pt x="1833241" y="96520"/>
                    <a:pt x="1834511" y="96520"/>
                    <a:pt x="1836416" y="96520"/>
                  </a:cubicBezTo>
                  <a:cubicBezTo>
                    <a:pt x="1837686" y="96520"/>
                    <a:pt x="1839591" y="95885"/>
                    <a:pt x="1840861" y="95250"/>
                  </a:cubicBezTo>
                  <a:cubicBezTo>
                    <a:pt x="1842131" y="95250"/>
                    <a:pt x="1843401" y="93980"/>
                    <a:pt x="1844671" y="93345"/>
                  </a:cubicBezTo>
                  <a:cubicBezTo>
                    <a:pt x="1845941" y="93345"/>
                    <a:pt x="1847211" y="92075"/>
                    <a:pt x="1849116" y="90805"/>
                  </a:cubicBezTo>
                  <a:lnTo>
                    <a:pt x="1858006" y="100330"/>
                  </a:lnTo>
                  <a:cubicBezTo>
                    <a:pt x="1858006" y="100330"/>
                    <a:pt x="1854196" y="103505"/>
                    <a:pt x="1852291" y="104775"/>
                  </a:cubicBezTo>
                  <a:cubicBezTo>
                    <a:pt x="1850386" y="106045"/>
                    <a:pt x="1848481" y="106680"/>
                    <a:pt x="1846576" y="107950"/>
                  </a:cubicBezTo>
                  <a:cubicBezTo>
                    <a:pt x="1844671" y="108585"/>
                    <a:pt x="1842131" y="109855"/>
                    <a:pt x="1839591" y="109855"/>
                  </a:cubicBezTo>
                  <a:cubicBezTo>
                    <a:pt x="1837051" y="109855"/>
                    <a:pt x="1833876" y="110490"/>
                    <a:pt x="1830701" y="110490"/>
                  </a:cubicBezTo>
                  <a:cubicBezTo>
                    <a:pt x="1827526" y="110490"/>
                    <a:pt x="1824351" y="110490"/>
                    <a:pt x="1821176" y="109220"/>
                  </a:cubicBezTo>
                  <a:cubicBezTo>
                    <a:pt x="1818001" y="108585"/>
                    <a:pt x="1815461" y="107315"/>
                    <a:pt x="1813556" y="105410"/>
                  </a:cubicBezTo>
                  <a:cubicBezTo>
                    <a:pt x="1811016" y="104140"/>
                    <a:pt x="1809111" y="102235"/>
                    <a:pt x="1807206" y="100330"/>
                  </a:cubicBezTo>
                  <a:cubicBezTo>
                    <a:pt x="1805301" y="98425"/>
                    <a:pt x="1803396" y="95885"/>
                    <a:pt x="1802126" y="92710"/>
                  </a:cubicBezTo>
                  <a:cubicBezTo>
                    <a:pt x="1800221" y="89535"/>
                    <a:pt x="1798951" y="86360"/>
                    <a:pt x="1798316" y="82550"/>
                  </a:cubicBezTo>
                  <a:cubicBezTo>
                    <a:pt x="1797681" y="78740"/>
                    <a:pt x="1797046" y="74295"/>
                    <a:pt x="1797046" y="69850"/>
                  </a:cubicBezTo>
                  <a:cubicBezTo>
                    <a:pt x="1797046" y="63500"/>
                    <a:pt x="1797681" y="57150"/>
                    <a:pt x="1799586" y="52070"/>
                  </a:cubicBezTo>
                  <a:cubicBezTo>
                    <a:pt x="1801491" y="46990"/>
                    <a:pt x="1803396" y="42545"/>
                    <a:pt x="1806571" y="39370"/>
                  </a:cubicBezTo>
                  <a:cubicBezTo>
                    <a:pt x="1809746" y="36195"/>
                    <a:pt x="1812921" y="33020"/>
                    <a:pt x="1817366" y="31750"/>
                  </a:cubicBezTo>
                  <a:cubicBezTo>
                    <a:pt x="1821811" y="29845"/>
                    <a:pt x="1826256" y="29210"/>
                    <a:pt x="1831336" y="29210"/>
                  </a:cubicBezTo>
                  <a:close/>
                  <a:moveTo>
                    <a:pt x="1501140" y="29210"/>
                  </a:moveTo>
                  <a:cubicBezTo>
                    <a:pt x="1503046" y="29210"/>
                    <a:pt x="1504951" y="29210"/>
                    <a:pt x="1506856" y="29210"/>
                  </a:cubicBezTo>
                  <a:cubicBezTo>
                    <a:pt x="1511301" y="29210"/>
                    <a:pt x="1515746" y="29845"/>
                    <a:pt x="1518920" y="31750"/>
                  </a:cubicBezTo>
                  <a:cubicBezTo>
                    <a:pt x="1522096" y="33020"/>
                    <a:pt x="1525271" y="35560"/>
                    <a:pt x="1527811" y="38100"/>
                  </a:cubicBezTo>
                  <a:cubicBezTo>
                    <a:pt x="1530351" y="41275"/>
                    <a:pt x="1531621" y="44450"/>
                    <a:pt x="1532891" y="48895"/>
                  </a:cubicBezTo>
                  <a:cubicBezTo>
                    <a:pt x="1534161" y="53340"/>
                    <a:pt x="1534796" y="58420"/>
                    <a:pt x="1534796" y="64135"/>
                  </a:cubicBezTo>
                  <a:lnTo>
                    <a:pt x="1534796" y="108585"/>
                  </a:lnTo>
                  <a:lnTo>
                    <a:pt x="1519556" y="108585"/>
                  </a:lnTo>
                  <a:lnTo>
                    <a:pt x="1518920" y="108585"/>
                  </a:lnTo>
                  <a:lnTo>
                    <a:pt x="1518920" y="64770"/>
                  </a:lnTo>
                  <a:cubicBezTo>
                    <a:pt x="1518920" y="57785"/>
                    <a:pt x="1517651" y="52070"/>
                    <a:pt x="1515111" y="48895"/>
                  </a:cubicBezTo>
                  <a:cubicBezTo>
                    <a:pt x="1512571" y="45085"/>
                    <a:pt x="1508761" y="43180"/>
                    <a:pt x="1503046" y="43180"/>
                  </a:cubicBezTo>
                  <a:cubicBezTo>
                    <a:pt x="1500506" y="43180"/>
                    <a:pt x="1498601" y="43180"/>
                    <a:pt x="1496061" y="44450"/>
                  </a:cubicBezTo>
                  <a:cubicBezTo>
                    <a:pt x="1494156" y="45085"/>
                    <a:pt x="1492250" y="46990"/>
                    <a:pt x="1490981" y="48260"/>
                  </a:cubicBezTo>
                  <a:cubicBezTo>
                    <a:pt x="1489711" y="50165"/>
                    <a:pt x="1488441" y="52070"/>
                    <a:pt x="1487806" y="54610"/>
                  </a:cubicBezTo>
                  <a:cubicBezTo>
                    <a:pt x="1487806" y="57150"/>
                    <a:pt x="1487170" y="59690"/>
                    <a:pt x="1487170" y="62865"/>
                  </a:cubicBezTo>
                  <a:lnTo>
                    <a:pt x="1487170" y="108585"/>
                  </a:lnTo>
                  <a:lnTo>
                    <a:pt x="1471931" y="108585"/>
                  </a:lnTo>
                  <a:lnTo>
                    <a:pt x="1471931" y="30480"/>
                  </a:lnTo>
                  <a:lnTo>
                    <a:pt x="1487170" y="30480"/>
                  </a:lnTo>
                  <a:lnTo>
                    <a:pt x="1487170" y="38100"/>
                  </a:lnTo>
                  <a:cubicBezTo>
                    <a:pt x="1487170" y="38100"/>
                    <a:pt x="1489076" y="35560"/>
                    <a:pt x="1490981" y="34290"/>
                  </a:cubicBezTo>
                  <a:cubicBezTo>
                    <a:pt x="1492250" y="33020"/>
                    <a:pt x="1494156" y="32385"/>
                    <a:pt x="1495426" y="31115"/>
                  </a:cubicBezTo>
                  <a:cubicBezTo>
                    <a:pt x="1497331" y="30480"/>
                    <a:pt x="1499236" y="29845"/>
                    <a:pt x="1501140" y="29210"/>
                  </a:cubicBezTo>
                  <a:close/>
                  <a:moveTo>
                    <a:pt x="1250316" y="29210"/>
                  </a:moveTo>
                  <a:cubicBezTo>
                    <a:pt x="1255396" y="29210"/>
                    <a:pt x="1259841" y="29845"/>
                    <a:pt x="1264286" y="31750"/>
                  </a:cubicBezTo>
                  <a:cubicBezTo>
                    <a:pt x="1268731" y="33655"/>
                    <a:pt x="1273176" y="35560"/>
                    <a:pt x="1276350" y="38100"/>
                  </a:cubicBezTo>
                  <a:lnTo>
                    <a:pt x="1278256" y="38100"/>
                  </a:lnTo>
                  <a:lnTo>
                    <a:pt x="1271271" y="50165"/>
                  </a:lnTo>
                  <a:cubicBezTo>
                    <a:pt x="1268095" y="47625"/>
                    <a:pt x="1264921" y="46355"/>
                    <a:pt x="1261746" y="45085"/>
                  </a:cubicBezTo>
                  <a:cubicBezTo>
                    <a:pt x="1258570" y="43815"/>
                    <a:pt x="1254761" y="43180"/>
                    <a:pt x="1250951" y="43180"/>
                  </a:cubicBezTo>
                  <a:cubicBezTo>
                    <a:pt x="1247141" y="43180"/>
                    <a:pt x="1244601" y="43815"/>
                    <a:pt x="1242696" y="45085"/>
                  </a:cubicBezTo>
                  <a:cubicBezTo>
                    <a:pt x="1240791" y="46355"/>
                    <a:pt x="1240156" y="48260"/>
                    <a:pt x="1240156" y="50165"/>
                  </a:cubicBezTo>
                  <a:cubicBezTo>
                    <a:pt x="1240156" y="51435"/>
                    <a:pt x="1240156" y="52070"/>
                    <a:pt x="1240156" y="52705"/>
                  </a:cubicBezTo>
                  <a:cubicBezTo>
                    <a:pt x="1240156" y="53340"/>
                    <a:pt x="1241426" y="54610"/>
                    <a:pt x="1242061" y="55245"/>
                  </a:cubicBezTo>
                  <a:cubicBezTo>
                    <a:pt x="1243331" y="55880"/>
                    <a:pt x="1244601" y="57150"/>
                    <a:pt x="1246506" y="57785"/>
                  </a:cubicBezTo>
                  <a:cubicBezTo>
                    <a:pt x="1248411" y="59055"/>
                    <a:pt x="1250951" y="59690"/>
                    <a:pt x="1253491" y="60960"/>
                  </a:cubicBezTo>
                  <a:cubicBezTo>
                    <a:pt x="1257936" y="62865"/>
                    <a:pt x="1261746" y="64135"/>
                    <a:pt x="1264921" y="66040"/>
                  </a:cubicBezTo>
                  <a:cubicBezTo>
                    <a:pt x="1268095" y="67310"/>
                    <a:pt x="1270635" y="69215"/>
                    <a:pt x="1273176" y="71120"/>
                  </a:cubicBezTo>
                  <a:cubicBezTo>
                    <a:pt x="1275080" y="73025"/>
                    <a:pt x="1276985" y="75565"/>
                    <a:pt x="1278256" y="78105"/>
                  </a:cubicBezTo>
                  <a:cubicBezTo>
                    <a:pt x="1279525" y="80645"/>
                    <a:pt x="1280161" y="83820"/>
                    <a:pt x="1280161" y="87630"/>
                  </a:cubicBezTo>
                  <a:cubicBezTo>
                    <a:pt x="1280161" y="92075"/>
                    <a:pt x="1279525" y="95250"/>
                    <a:pt x="1277621" y="98425"/>
                  </a:cubicBezTo>
                  <a:cubicBezTo>
                    <a:pt x="1275716" y="101600"/>
                    <a:pt x="1273811" y="103505"/>
                    <a:pt x="1271271" y="105410"/>
                  </a:cubicBezTo>
                  <a:cubicBezTo>
                    <a:pt x="1268731" y="107315"/>
                    <a:pt x="1265556" y="108585"/>
                    <a:pt x="1261746" y="109220"/>
                  </a:cubicBezTo>
                  <a:cubicBezTo>
                    <a:pt x="1257936" y="109855"/>
                    <a:pt x="1254761" y="110490"/>
                    <a:pt x="1250951" y="110490"/>
                  </a:cubicBezTo>
                  <a:cubicBezTo>
                    <a:pt x="1245871" y="110490"/>
                    <a:pt x="1240791" y="109855"/>
                    <a:pt x="1235711" y="107950"/>
                  </a:cubicBezTo>
                  <a:cubicBezTo>
                    <a:pt x="1229996" y="106045"/>
                    <a:pt x="1225551" y="103505"/>
                    <a:pt x="1221106" y="100965"/>
                  </a:cubicBezTo>
                  <a:lnTo>
                    <a:pt x="1228091" y="89535"/>
                  </a:lnTo>
                  <a:cubicBezTo>
                    <a:pt x="1231901" y="92075"/>
                    <a:pt x="1235711" y="93980"/>
                    <a:pt x="1239521" y="95250"/>
                  </a:cubicBezTo>
                  <a:cubicBezTo>
                    <a:pt x="1243331" y="96520"/>
                    <a:pt x="1247141" y="97155"/>
                    <a:pt x="1250951" y="97155"/>
                  </a:cubicBezTo>
                  <a:cubicBezTo>
                    <a:pt x="1256031" y="97155"/>
                    <a:pt x="1259205" y="96520"/>
                    <a:pt x="1261746" y="94615"/>
                  </a:cubicBezTo>
                  <a:cubicBezTo>
                    <a:pt x="1264286" y="93345"/>
                    <a:pt x="1264921" y="90805"/>
                    <a:pt x="1264921" y="88265"/>
                  </a:cubicBezTo>
                  <a:cubicBezTo>
                    <a:pt x="1264921" y="86995"/>
                    <a:pt x="1264921" y="85725"/>
                    <a:pt x="1263650" y="84455"/>
                  </a:cubicBezTo>
                  <a:cubicBezTo>
                    <a:pt x="1263015" y="83185"/>
                    <a:pt x="1261746" y="82550"/>
                    <a:pt x="1259841" y="81280"/>
                  </a:cubicBezTo>
                  <a:cubicBezTo>
                    <a:pt x="1258570" y="80010"/>
                    <a:pt x="1256666" y="79375"/>
                    <a:pt x="1254125" y="78105"/>
                  </a:cubicBezTo>
                  <a:cubicBezTo>
                    <a:pt x="1252221" y="77470"/>
                    <a:pt x="1249681" y="76200"/>
                    <a:pt x="1246506" y="74930"/>
                  </a:cubicBezTo>
                  <a:cubicBezTo>
                    <a:pt x="1242061" y="73025"/>
                    <a:pt x="1238886" y="71755"/>
                    <a:pt x="1235711" y="69850"/>
                  </a:cubicBezTo>
                  <a:cubicBezTo>
                    <a:pt x="1232536" y="67945"/>
                    <a:pt x="1230631" y="66675"/>
                    <a:pt x="1228726" y="64770"/>
                  </a:cubicBezTo>
                  <a:cubicBezTo>
                    <a:pt x="1226821" y="62865"/>
                    <a:pt x="1225551" y="60960"/>
                    <a:pt x="1224916" y="58420"/>
                  </a:cubicBezTo>
                  <a:cubicBezTo>
                    <a:pt x="1224281" y="55880"/>
                    <a:pt x="1223646" y="53340"/>
                    <a:pt x="1223646" y="50165"/>
                  </a:cubicBezTo>
                  <a:cubicBezTo>
                    <a:pt x="1223646" y="46990"/>
                    <a:pt x="1224281" y="43815"/>
                    <a:pt x="1225551" y="40640"/>
                  </a:cubicBezTo>
                  <a:cubicBezTo>
                    <a:pt x="1226821" y="38100"/>
                    <a:pt x="1228726" y="35560"/>
                    <a:pt x="1231266" y="34290"/>
                  </a:cubicBezTo>
                  <a:cubicBezTo>
                    <a:pt x="1233806" y="32385"/>
                    <a:pt x="1236346" y="31115"/>
                    <a:pt x="1239521" y="30480"/>
                  </a:cubicBezTo>
                  <a:cubicBezTo>
                    <a:pt x="1242696" y="29845"/>
                    <a:pt x="1246506" y="29210"/>
                    <a:pt x="1250316" y="29210"/>
                  </a:cubicBezTo>
                  <a:close/>
                  <a:moveTo>
                    <a:pt x="1180466" y="29210"/>
                  </a:moveTo>
                  <a:cubicBezTo>
                    <a:pt x="1186181" y="29210"/>
                    <a:pt x="1190626" y="30480"/>
                    <a:pt x="1195071" y="32385"/>
                  </a:cubicBezTo>
                  <a:cubicBezTo>
                    <a:pt x="1198881" y="34290"/>
                    <a:pt x="1202691" y="37465"/>
                    <a:pt x="1205231" y="40640"/>
                  </a:cubicBezTo>
                  <a:cubicBezTo>
                    <a:pt x="1207771" y="44450"/>
                    <a:pt x="1209676" y="48260"/>
                    <a:pt x="1211581" y="53340"/>
                  </a:cubicBezTo>
                  <a:cubicBezTo>
                    <a:pt x="1212851" y="57785"/>
                    <a:pt x="1213486" y="62865"/>
                    <a:pt x="1213486" y="68580"/>
                  </a:cubicBezTo>
                  <a:lnTo>
                    <a:pt x="1212216" y="68580"/>
                  </a:lnTo>
                  <a:cubicBezTo>
                    <a:pt x="1212216" y="68580"/>
                    <a:pt x="1212216" y="71120"/>
                    <a:pt x="1212216" y="72390"/>
                  </a:cubicBezTo>
                  <a:cubicBezTo>
                    <a:pt x="1212216" y="73660"/>
                    <a:pt x="1212216" y="74295"/>
                    <a:pt x="1212216" y="75565"/>
                  </a:cubicBezTo>
                  <a:lnTo>
                    <a:pt x="1160781" y="75565"/>
                  </a:lnTo>
                  <a:cubicBezTo>
                    <a:pt x="1160781" y="79375"/>
                    <a:pt x="1162051" y="82550"/>
                    <a:pt x="1163321" y="85090"/>
                  </a:cubicBezTo>
                  <a:cubicBezTo>
                    <a:pt x="1164591" y="87630"/>
                    <a:pt x="1165861" y="90170"/>
                    <a:pt x="1167766" y="91440"/>
                  </a:cubicBezTo>
                  <a:cubicBezTo>
                    <a:pt x="1169671" y="93345"/>
                    <a:pt x="1171576" y="94615"/>
                    <a:pt x="1173481" y="95250"/>
                  </a:cubicBezTo>
                  <a:cubicBezTo>
                    <a:pt x="1175386" y="95885"/>
                    <a:pt x="1177926" y="96520"/>
                    <a:pt x="1180466" y="96520"/>
                  </a:cubicBezTo>
                  <a:cubicBezTo>
                    <a:pt x="1182371" y="96520"/>
                    <a:pt x="1183641" y="96520"/>
                    <a:pt x="1185546" y="96520"/>
                  </a:cubicBezTo>
                  <a:cubicBezTo>
                    <a:pt x="1186816" y="96520"/>
                    <a:pt x="1188721" y="95885"/>
                    <a:pt x="1189991" y="95250"/>
                  </a:cubicBezTo>
                  <a:cubicBezTo>
                    <a:pt x="1191261" y="95250"/>
                    <a:pt x="1192531" y="93980"/>
                    <a:pt x="1193801" y="93345"/>
                  </a:cubicBezTo>
                  <a:cubicBezTo>
                    <a:pt x="1195071" y="93345"/>
                    <a:pt x="1196341" y="92075"/>
                    <a:pt x="1198246" y="90805"/>
                  </a:cubicBezTo>
                  <a:lnTo>
                    <a:pt x="1207136" y="100330"/>
                  </a:lnTo>
                  <a:cubicBezTo>
                    <a:pt x="1207136" y="100330"/>
                    <a:pt x="1203326" y="103505"/>
                    <a:pt x="1201421" y="104775"/>
                  </a:cubicBezTo>
                  <a:cubicBezTo>
                    <a:pt x="1199516" y="106045"/>
                    <a:pt x="1197611" y="106680"/>
                    <a:pt x="1195706" y="107950"/>
                  </a:cubicBezTo>
                  <a:cubicBezTo>
                    <a:pt x="1193801" y="108585"/>
                    <a:pt x="1191261" y="109855"/>
                    <a:pt x="1188721" y="109855"/>
                  </a:cubicBezTo>
                  <a:cubicBezTo>
                    <a:pt x="1186181" y="109855"/>
                    <a:pt x="1183006" y="110490"/>
                    <a:pt x="1179831" y="110490"/>
                  </a:cubicBezTo>
                  <a:cubicBezTo>
                    <a:pt x="1176656" y="110490"/>
                    <a:pt x="1173481" y="110490"/>
                    <a:pt x="1170306" y="109220"/>
                  </a:cubicBezTo>
                  <a:cubicBezTo>
                    <a:pt x="1167131" y="108585"/>
                    <a:pt x="1164591" y="107315"/>
                    <a:pt x="1162686" y="105410"/>
                  </a:cubicBezTo>
                  <a:cubicBezTo>
                    <a:pt x="1160781" y="103505"/>
                    <a:pt x="1158241" y="102235"/>
                    <a:pt x="1156336" y="100330"/>
                  </a:cubicBezTo>
                  <a:cubicBezTo>
                    <a:pt x="1154431" y="98425"/>
                    <a:pt x="1152526" y="95885"/>
                    <a:pt x="1151256" y="92710"/>
                  </a:cubicBezTo>
                  <a:cubicBezTo>
                    <a:pt x="1149351" y="89535"/>
                    <a:pt x="1148081" y="86360"/>
                    <a:pt x="1147446" y="82550"/>
                  </a:cubicBezTo>
                  <a:cubicBezTo>
                    <a:pt x="1146811" y="78740"/>
                    <a:pt x="1146176" y="74295"/>
                    <a:pt x="1146176" y="69850"/>
                  </a:cubicBezTo>
                  <a:cubicBezTo>
                    <a:pt x="1146176" y="63500"/>
                    <a:pt x="1146811" y="57150"/>
                    <a:pt x="1148716" y="52070"/>
                  </a:cubicBezTo>
                  <a:cubicBezTo>
                    <a:pt x="1150621" y="46990"/>
                    <a:pt x="1152526" y="42545"/>
                    <a:pt x="1155701" y="39370"/>
                  </a:cubicBezTo>
                  <a:cubicBezTo>
                    <a:pt x="1158876" y="36195"/>
                    <a:pt x="1162051" y="33020"/>
                    <a:pt x="1166496" y="31750"/>
                  </a:cubicBezTo>
                  <a:cubicBezTo>
                    <a:pt x="1170941" y="29845"/>
                    <a:pt x="1175386" y="29210"/>
                    <a:pt x="1180466" y="29210"/>
                  </a:cubicBezTo>
                  <a:close/>
                  <a:moveTo>
                    <a:pt x="901065" y="29210"/>
                  </a:moveTo>
                  <a:cubicBezTo>
                    <a:pt x="906780" y="29210"/>
                    <a:pt x="911225" y="30480"/>
                    <a:pt x="915670" y="32385"/>
                  </a:cubicBezTo>
                  <a:cubicBezTo>
                    <a:pt x="919480" y="34290"/>
                    <a:pt x="923290" y="37465"/>
                    <a:pt x="925830" y="40640"/>
                  </a:cubicBezTo>
                  <a:cubicBezTo>
                    <a:pt x="928370" y="44450"/>
                    <a:pt x="930275" y="48260"/>
                    <a:pt x="932180" y="53340"/>
                  </a:cubicBezTo>
                  <a:cubicBezTo>
                    <a:pt x="933450" y="57785"/>
                    <a:pt x="934085" y="62865"/>
                    <a:pt x="934085" y="68580"/>
                  </a:cubicBezTo>
                  <a:lnTo>
                    <a:pt x="932815" y="68580"/>
                  </a:lnTo>
                  <a:cubicBezTo>
                    <a:pt x="932815" y="68580"/>
                    <a:pt x="932815" y="71120"/>
                    <a:pt x="932815" y="72390"/>
                  </a:cubicBezTo>
                  <a:cubicBezTo>
                    <a:pt x="932815" y="73660"/>
                    <a:pt x="932815" y="74295"/>
                    <a:pt x="932815" y="75565"/>
                  </a:cubicBezTo>
                  <a:lnTo>
                    <a:pt x="881380" y="75565"/>
                  </a:lnTo>
                  <a:cubicBezTo>
                    <a:pt x="881380" y="79375"/>
                    <a:pt x="882650" y="82550"/>
                    <a:pt x="883920" y="85090"/>
                  </a:cubicBezTo>
                  <a:cubicBezTo>
                    <a:pt x="885190" y="87630"/>
                    <a:pt x="886460" y="90170"/>
                    <a:pt x="888365" y="91440"/>
                  </a:cubicBezTo>
                  <a:cubicBezTo>
                    <a:pt x="890270" y="93345"/>
                    <a:pt x="892175" y="94615"/>
                    <a:pt x="894080" y="95250"/>
                  </a:cubicBezTo>
                  <a:cubicBezTo>
                    <a:pt x="895985" y="95885"/>
                    <a:pt x="898525" y="96520"/>
                    <a:pt x="901065" y="96520"/>
                  </a:cubicBezTo>
                  <a:cubicBezTo>
                    <a:pt x="902970" y="96520"/>
                    <a:pt x="904240" y="96520"/>
                    <a:pt x="906145" y="96520"/>
                  </a:cubicBezTo>
                  <a:cubicBezTo>
                    <a:pt x="907415" y="96520"/>
                    <a:pt x="909320" y="95885"/>
                    <a:pt x="910590" y="95250"/>
                  </a:cubicBezTo>
                  <a:cubicBezTo>
                    <a:pt x="911860" y="95250"/>
                    <a:pt x="913130" y="93980"/>
                    <a:pt x="914400" y="93345"/>
                  </a:cubicBezTo>
                  <a:cubicBezTo>
                    <a:pt x="915670" y="93345"/>
                    <a:pt x="916940" y="92075"/>
                    <a:pt x="918845" y="90805"/>
                  </a:cubicBezTo>
                  <a:lnTo>
                    <a:pt x="927735" y="100330"/>
                  </a:lnTo>
                  <a:cubicBezTo>
                    <a:pt x="927735" y="100330"/>
                    <a:pt x="923925" y="103505"/>
                    <a:pt x="922020" y="104775"/>
                  </a:cubicBezTo>
                  <a:cubicBezTo>
                    <a:pt x="920115" y="106045"/>
                    <a:pt x="918210" y="106680"/>
                    <a:pt x="916305" y="107950"/>
                  </a:cubicBezTo>
                  <a:cubicBezTo>
                    <a:pt x="914400" y="108585"/>
                    <a:pt x="911860" y="109855"/>
                    <a:pt x="909320" y="109855"/>
                  </a:cubicBezTo>
                  <a:cubicBezTo>
                    <a:pt x="906780" y="109855"/>
                    <a:pt x="903605" y="110490"/>
                    <a:pt x="900430" y="110490"/>
                  </a:cubicBezTo>
                  <a:cubicBezTo>
                    <a:pt x="897255" y="110490"/>
                    <a:pt x="894080" y="110490"/>
                    <a:pt x="890905" y="109220"/>
                  </a:cubicBezTo>
                  <a:cubicBezTo>
                    <a:pt x="887730" y="108585"/>
                    <a:pt x="885190" y="107315"/>
                    <a:pt x="883285" y="105410"/>
                  </a:cubicBezTo>
                  <a:cubicBezTo>
                    <a:pt x="881380" y="103505"/>
                    <a:pt x="878840" y="102235"/>
                    <a:pt x="876935" y="100330"/>
                  </a:cubicBezTo>
                  <a:cubicBezTo>
                    <a:pt x="875030" y="98425"/>
                    <a:pt x="873125" y="95885"/>
                    <a:pt x="871855" y="92710"/>
                  </a:cubicBezTo>
                  <a:cubicBezTo>
                    <a:pt x="869950" y="89535"/>
                    <a:pt x="868680" y="86360"/>
                    <a:pt x="868045" y="82550"/>
                  </a:cubicBezTo>
                  <a:cubicBezTo>
                    <a:pt x="867410" y="78740"/>
                    <a:pt x="866775" y="74295"/>
                    <a:pt x="866775" y="69850"/>
                  </a:cubicBezTo>
                  <a:cubicBezTo>
                    <a:pt x="866775" y="63500"/>
                    <a:pt x="867410" y="57150"/>
                    <a:pt x="869315" y="52070"/>
                  </a:cubicBezTo>
                  <a:cubicBezTo>
                    <a:pt x="871220" y="46990"/>
                    <a:pt x="873125" y="42545"/>
                    <a:pt x="876300" y="39370"/>
                  </a:cubicBezTo>
                  <a:cubicBezTo>
                    <a:pt x="879475" y="36195"/>
                    <a:pt x="882650" y="33020"/>
                    <a:pt x="887095" y="31750"/>
                  </a:cubicBezTo>
                  <a:cubicBezTo>
                    <a:pt x="891540" y="29845"/>
                    <a:pt x="895985" y="29210"/>
                    <a:pt x="901065" y="29210"/>
                  </a:cubicBezTo>
                  <a:close/>
                  <a:moveTo>
                    <a:pt x="668656" y="29210"/>
                  </a:moveTo>
                  <a:cubicBezTo>
                    <a:pt x="671830" y="29210"/>
                    <a:pt x="674370" y="29210"/>
                    <a:pt x="676275" y="29845"/>
                  </a:cubicBezTo>
                  <a:cubicBezTo>
                    <a:pt x="678181" y="29845"/>
                    <a:pt x="680086" y="31115"/>
                    <a:pt x="681991" y="32385"/>
                  </a:cubicBezTo>
                  <a:lnTo>
                    <a:pt x="678181" y="46990"/>
                  </a:lnTo>
                  <a:lnTo>
                    <a:pt x="676910" y="46990"/>
                  </a:lnTo>
                  <a:cubicBezTo>
                    <a:pt x="676910" y="46990"/>
                    <a:pt x="673736" y="45085"/>
                    <a:pt x="671830" y="45085"/>
                  </a:cubicBezTo>
                  <a:cubicBezTo>
                    <a:pt x="669925" y="45085"/>
                    <a:pt x="668020" y="44450"/>
                    <a:pt x="665480" y="44450"/>
                  </a:cubicBezTo>
                  <a:cubicBezTo>
                    <a:pt x="660400" y="44450"/>
                    <a:pt x="656590" y="46355"/>
                    <a:pt x="654050" y="49530"/>
                  </a:cubicBezTo>
                  <a:cubicBezTo>
                    <a:pt x="651510" y="52705"/>
                    <a:pt x="650240" y="57785"/>
                    <a:pt x="650240" y="64770"/>
                  </a:cubicBezTo>
                  <a:lnTo>
                    <a:pt x="650240" y="109220"/>
                  </a:lnTo>
                  <a:lnTo>
                    <a:pt x="635000" y="109220"/>
                  </a:lnTo>
                  <a:lnTo>
                    <a:pt x="635000" y="31115"/>
                  </a:lnTo>
                  <a:lnTo>
                    <a:pt x="650240" y="31115"/>
                  </a:lnTo>
                  <a:lnTo>
                    <a:pt x="650240" y="38735"/>
                  </a:lnTo>
                  <a:cubicBezTo>
                    <a:pt x="650240" y="38735"/>
                    <a:pt x="652145" y="36195"/>
                    <a:pt x="653416" y="34925"/>
                  </a:cubicBezTo>
                  <a:cubicBezTo>
                    <a:pt x="654685" y="33655"/>
                    <a:pt x="655955" y="33020"/>
                    <a:pt x="657861" y="31750"/>
                  </a:cubicBezTo>
                  <a:cubicBezTo>
                    <a:pt x="659130" y="31115"/>
                    <a:pt x="661035" y="30480"/>
                    <a:pt x="662940" y="29845"/>
                  </a:cubicBezTo>
                  <a:cubicBezTo>
                    <a:pt x="664845" y="29845"/>
                    <a:pt x="666751" y="29210"/>
                    <a:pt x="668656" y="29210"/>
                  </a:cubicBezTo>
                  <a:close/>
                  <a:moveTo>
                    <a:pt x="586739" y="29210"/>
                  </a:moveTo>
                  <a:cubicBezTo>
                    <a:pt x="592454" y="29210"/>
                    <a:pt x="596899" y="30480"/>
                    <a:pt x="601344" y="32385"/>
                  </a:cubicBezTo>
                  <a:cubicBezTo>
                    <a:pt x="605154" y="34290"/>
                    <a:pt x="608964" y="37465"/>
                    <a:pt x="611504" y="40640"/>
                  </a:cubicBezTo>
                  <a:cubicBezTo>
                    <a:pt x="614044" y="44450"/>
                    <a:pt x="615949" y="48260"/>
                    <a:pt x="617854" y="53340"/>
                  </a:cubicBezTo>
                  <a:cubicBezTo>
                    <a:pt x="619124" y="57785"/>
                    <a:pt x="619759" y="62865"/>
                    <a:pt x="619759" y="68580"/>
                  </a:cubicBezTo>
                  <a:lnTo>
                    <a:pt x="618489" y="68580"/>
                  </a:lnTo>
                  <a:cubicBezTo>
                    <a:pt x="618489" y="68580"/>
                    <a:pt x="618489" y="71120"/>
                    <a:pt x="618489" y="72390"/>
                  </a:cubicBezTo>
                  <a:cubicBezTo>
                    <a:pt x="618489" y="73660"/>
                    <a:pt x="618489" y="74295"/>
                    <a:pt x="618489" y="75565"/>
                  </a:cubicBezTo>
                  <a:lnTo>
                    <a:pt x="567054" y="75565"/>
                  </a:lnTo>
                  <a:cubicBezTo>
                    <a:pt x="567054" y="79375"/>
                    <a:pt x="568324" y="82550"/>
                    <a:pt x="569594" y="85090"/>
                  </a:cubicBezTo>
                  <a:cubicBezTo>
                    <a:pt x="570864" y="87630"/>
                    <a:pt x="572134" y="90170"/>
                    <a:pt x="574039" y="91440"/>
                  </a:cubicBezTo>
                  <a:cubicBezTo>
                    <a:pt x="575944" y="93345"/>
                    <a:pt x="577849" y="94615"/>
                    <a:pt x="579754" y="95250"/>
                  </a:cubicBezTo>
                  <a:cubicBezTo>
                    <a:pt x="581659" y="95885"/>
                    <a:pt x="584199" y="96520"/>
                    <a:pt x="586739" y="96520"/>
                  </a:cubicBezTo>
                  <a:cubicBezTo>
                    <a:pt x="588644" y="96520"/>
                    <a:pt x="589914" y="96520"/>
                    <a:pt x="591819" y="96520"/>
                  </a:cubicBezTo>
                  <a:cubicBezTo>
                    <a:pt x="593089" y="96520"/>
                    <a:pt x="594994" y="95885"/>
                    <a:pt x="596264" y="95250"/>
                  </a:cubicBezTo>
                  <a:cubicBezTo>
                    <a:pt x="597534" y="95250"/>
                    <a:pt x="598804" y="93980"/>
                    <a:pt x="600074" y="93345"/>
                  </a:cubicBezTo>
                  <a:cubicBezTo>
                    <a:pt x="601344" y="93345"/>
                    <a:pt x="602614" y="92075"/>
                    <a:pt x="604519" y="90805"/>
                  </a:cubicBezTo>
                  <a:lnTo>
                    <a:pt x="613409" y="100330"/>
                  </a:lnTo>
                  <a:cubicBezTo>
                    <a:pt x="613409" y="100330"/>
                    <a:pt x="609599" y="103505"/>
                    <a:pt x="607694" y="104775"/>
                  </a:cubicBezTo>
                  <a:cubicBezTo>
                    <a:pt x="605789" y="106045"/>
                    <a:pt x="603884" y="106680"/>
                    <a:pt x="601979" y="107950"/>
                  </a:cubicBezTo>
                  <a:cubicBezTo>
                    <a:pt x="600074" y="108585"/>
                    <a:pt x="597534" y="109855"/>
                    <a:pt x="594994" y="109855"/>
                  </a:cubicBezTo>
                  <a:cubicBezTo>
                    <a:pt x="592454" y="109855"/>
                    <a:pt x="589279" y="110490"/>
                    <a:pt x="586104" y="110490"/>
                  </a:cubicBezTo>
                  <a:cubicBezTo>
                    <a:pt x="582929" y="110490"/>
                    <a:pt x="579754" y="110490"/>
                    <a:pt x="576579" y="109220"/>
                  </a:cubicBezTo>
                  <a:cubicBezTo>
                    <a:pt x="573404" y="108585"/>
                    <a:pt x="570864" y="107315"/>
                    <a:pt x="568959" y="105410"/>
                  </a:cubicBezTo>
                  <a:cubicBezTo>
                    <a:pt x="566419" y="104140"/>
                    <a:pt x="564514" y="102235"/>
                    <a:pt x="562609" y="100330"/>
                  </a:cubicBezTo>
                  <a:cubicBezTo>
                    <a:pt x="560704" y="98425"/>
                    <a:pt x="558799" y="95885"/>
                    <a:pt x="557529" y="92710"/>
                  </a:cubicBezTo>
                  <a:cubicBezTo>
                    <a:pt x="555624" y="89535"/>
                    <a:pt x="554354" y="86360"/>
                    <a:pt x="553719" y="82550"/>
                  </a:cubicBezTo>
                  <a:cubicBezTo>
                    <a:pt x="553084" y="78740"/>
                    <a:pt x="552449" y="74295"/>
                    <a:pt x="552449" y="69850"/>
                  </a:cubicBezTo>
                  <a:cubicBezTo>
                    <a:pt x="552449" y="63500"/>
                    <a:pt x="553084" y="57150"/>
                    <a:pt x="554989" y="52070"/>
                  </a:cubicBezTo>
                  <a:cubicBezTo>
                    <a:pt x="556894" y="46990"/>
                    <a:pt x="558799" y="42545"/>
                    <a:pt x="561974" y="39370"/>
                  </a:cubicBezTo>
                  <a:cubicBezTo>
                    <a:pt x="565149" y="36195"/>
                    <a:pt x="568324" y="33020"/>
                    <a:pt x="572769" y="31750"/>
                  </a:cubicBezTo>
                  <a:cubicBezTo>
                    <a:pt x="577214" y="29845"/>
                    <a:pt x="581659" y="29210"/>
                    <a:pt x="586739" y="29210"/>
                  </a:cubicBezTo>
                  <a:close/>
                  <a:moveTo>
                    <a:pt x="400050" y="29210"/>
                  </a:moveTo>
                  <a:cubicBezTo>
                    <a:pt x="405765" y="29210"/>
                    <a:pt x="410210" y="30480"/>
                    <a:pt x="414655" y="32385"/>
                  </a:cubicBezTo>
                  <a:cubicBezTo>
                    <a:pt x="418465" y="34290"/>
                    <a:pt x="422275" y="37465"/>
                    <a:pt x="424815" y="40640"/>
                  </a:cubicBezTo>
                  <a:cubicBezTo>
                    <a:pt x="427355" y="44450"/>
                    <a:pt x="429260" y="48260"/>
                    <a:pt x="431165" y="53340"/>
                  </a:cubicBezTo>
                  <a:cubicBezTo>
                    <a:pt x="432435" y="57785"/>
                    <a:pt x="433070" y="62865"/>
                    <a:pt x="433070" y="68580"/>
                  </a:cubicBezTo>
                  <a:lnTo>
                    <a:pt x="431800" y="68580"/>
                  </a:lnTo>
                  <a:cubicBezTo>
                    <a:pt x="431800" y="68580"/>
                    <a:pt x="431800" y="71120"/>
                    <a:pt x="431800" y="72390"/>
                  </a:cubicBezTo>
                  <a:cubicBezTo>
                    <a:pt x="431800" y="73660"/>
                    <a:pt x="431800" y="74295"/>
                    <a:pt x="431800" y="75565"/>
                  </a:cubicBezTo>
                  <a:lnTo>
                    <a:pt x="380365" y="75565"/>
                  </a:lnTo>
                  <a:cubicBezTo>
                    <a:pt x="380365" y="79375"/>
                    <a:pt x="381635" y="82550"/>
                    <a:pt x="382905" y="85090"/>
                  </a:cubicBezTo>
                  <a:cubicBezTo>
                    <a:pt x="384175" y="87630"/>
                    <a:pt x="385445" y="90170"/>
                    <a:pt x="387350" y="91440"/>
                  </a:cubicBezTo>
                  <a:cubicBezTo>
                    <a:pt x="389255" y="93345"/>
                    <a:pt x="391160" y="94615"/>
                    <a:pt x="393065" y="95250"/>
                  </a:cubicBezTo>
                  <a:cubicBezTo>
                    <a:pt x="394970" y="95885"/>
                    <a:pt x="397510" y="96520"/>
                    <a:pt x="400050" y="96520"/>
                  </a:cubicBezTo>
                  <a:cubicBezTo>
                    <a:pt x="401955" y="96520"/>
                    <a:pt x="403225" y="96520"/>
                    <a:pt x="405130" y="96520"/>
                  </a:cubicBezTo>
                  <a:cubicBezTo>
                    <a:pt x="406400" y="96520"/>
                    <a:pt x="408305" y="95885"/>
                    <a:pt x="409575" y="95250"/>
                  </a:cubicBezTo>
                  <a:cubicBezTo>
                    <a:pt x="410845" y="95250"/>
                    <a:pt x="412115" y="93980"/>
                    <a:pt x="413385" y="93345"/>
                  </a:cubicBezTo>
                  <a:cubicBezTo>
                    <a:pt x="414655" y="93345"/>
                    <a:pt x="415925" y="92075"/>
                    <a:pt x="417830" y="90805"/>
                  </a:cubicBezTo>
                  <a:lnTo>
                    <a:pt x="426720" y="100330"/>
                  </a:lnTo>
                  <a:cubicBezTo>
                    <a:pt x="426720" y="100330"/>
                    <a:pt x="422910" y="103505"/>
                    <a:pt x="421005" y="104775"/>
                  </a:cubicBezTo>
                  <a:cubicBezTo>
                    <a:pt x="419100" y="106045"/>
                    <a:pt x="417195" y="106680"/>
                    <a:pt x="415290" y="107950"/>
                  </a:cubicBezTo>
                  <a:cubicBezTo>
                    <a:pt x="413385" y="108585"/>
                    <a:pt x="410845" y="109855"/>
                    <a:pt x="408305" y="109855"/>
                  </a:cubicBezTo>
                  <a:cubicBezTo>
                    <a:pt x="405765" y="109855"/>
                    <a:pt x="402590" y="110490"/>
                    <a:pt x="399415" y="110490"/>
                  </a:cubicBezTo>
                  <a:cubicBezTo>
                    <a:pt x="396240" y="110490"/>
                    <a:pt x="393065" y="110490"/>
                    <a:pt x="389890" y="109220"/>
                  </a:cubicBezTo>
                  <a:cubicBezTo>
                    <a:pt x="386715" y="108585"/>
                    <a:pt x="384175" y="107315"/>
                    <a:pt x="382270" y="105410"/>
                  </a:cubicBezTo>
                  <a:cubicBezTo>
                    <a:pt x="380365" y="103505"/>
                    <a:pt x="377825" y="102235"/>
                    <a:pt x="375920" y="100330"/>
                  </a:cubicBezTo>
                  <a:cubicBezTo>
                    <a:pt x="374015" y="98425"/>
                    <a:pt x="372110" y="95885"/>
                    <a:pt x="370840" y="92710"/>
                  </a:cubicBezTo>
                  <a:cubicBezTo>
                    <a:pt x="368935" y="89535"/>
                    <a:pt x="367665" y="86360"/>
                    <a:pt x="367030" y="82550"/>
                  </a:cubicBezTo>
                  <a:cubicBezTo>
                    <a:pt x="366395" y="78740"/>
                    <a:pt x="365760" y="74295"/>
                    <a:pt x="365760" y="69850"/>
                  </a:cubicBezTo>
                  <a:cubicBezTo>
                    <a:pt x="365760" y="63500"/>
                    <a:pt x="366395" y="57150"/>
                    <a:pt x="368300" y="52070"/>
                  </a:cubicBezTo>
                  <a:cubicBezTo>
                    <a:pt x="370205" y="46990"/>
                    <a:pt x="372110" y="42545"/>
                    <a:pt x="375285" y="39370"/>
                  </a:cubicBezTo>
                  <a:cubicBezTo>
                    <a:pt x="378460" y="36195"/>
                    <a:pt x="381635" y="33020"/>
                    <a:pt x="386080" y="31750"/>
                  </a:cubicBezTo>
                  <a:cubicBezTo>
                    <a:pt x="390525" y="29845"/>
                    <a:pt x="394970" y="29210"/>
                    <a:pt x="400050" y="29210"/>
                  </a:cubicBezTo>
                  <a:close/>
                  <a:moveTo>
                    <a:pt x="201930" y="29210"/>
                  </a:moveTo>
                  <a:cubicBezTo>
                    <a:pt x="207645" y="29210"/>
                    <a:pt x="212090" y="30480"/>
                    <a:pt x="216535" y="32385"/>
                  </a:cubicBezTo>
                  <a:cubicBezTo>
                    <a:pt x="220345" y="34290"/>
                    <a:pt x="224155" y="37465"/>
                    <a:pt x="226695" y="40640"/>
                  </a:cubicBezTo>
                  <a:cubicBezTo>
                    <a:pt x="229235" y="44450"/>
                    <a:pt x="231140" y="48260"/>
                    <a:pt x="233045" y="53340"/>
                  </a:cubicBezTo>
                  <a:cubicBezTo>
                    <a:pt x="234315" y="57785"/>
                    <a:pt x="234950" y="62865"/>
                    <a:pt x="234950" y="68580"/>
                  </a:cubicBezTo>
                  <a:lnTo>
                    <a:pt x="233680" y="68580"/>
                  </a:lnTo>
                  <a:cubicBezTo>
                    <a:pt x="233680" y="68580"/>
                    <a:pt x="233680" y="71120"/>
                    <a:pt x="233680" y="72390"/>
                  </a:cubicBezTo>
                  <a:cubicBezTo>
                    <a:pt x="233680" y="73660"/>
                    <a:pt x="233680" y="74295"/>
                    <a:pt x="233680" y="75565"/>
                  </a:cubicBezTo>
                  <a:lnTo>
                    <a:pt x="182245" y="75565"/>
                  </a:lnTo>
                  <a:cubicBezTo>
                    <a:pt x="182245" y="79375"/>
                    <a:pt x="183515" y="82550"/>
                    <a:pt x="184785" y="85090"/>
                  </a:cubicBezTo>
                  <a:cubicBezTo>
                    <a:pt x="186055" y="87630"/>
                    <a:pt x="187325" y="90170"/>
                    <a:pt x="189230" y="91440"/>
                  </a:cubicBezTo>
                  <a:cubicBezTo>
                    <a:pt x="191135" y="93345"/>
                    <a:pt x="193040" y="94615"/>
                    <a:pt x="194945" y="95250"/>
                  </a:cubicBezTo>
                  <a:cubicBezTo>
                    <a:pt x="196850" y="95885"/>
                    <a:pt x="199390" y="96520"/>
                    <a:pt x="201930" y="96520"/>
                  </a:cubicBezTo>
                  <a:cubicBezTo>
                    <a:pt x="203835" y="96520"/>
                    <a:pt x="205105" y="96520"/>
                    <a:pt x="207010" y="96520"/>
                  </a:cubicBezTo>
                  <a:cubicBezTo>
                    <a:pt x="208280" y="96520"/>
                    <a:pt x="210185" y="95885"/>
                    <a:pt x="211455" y="95250"/>
                  </a:cubicBezTo>
                  <a:cubicBezTo>
                    <a:pt x="212725" y="95250"/>
                    <a:pt x="213995" y="93980"/>
                    <a:pt x="215265" y="93345"/>
                  </a:cubicBezTo>
                  <a:cubicBezTo>
                    <a:pt x="216535" y="93345"/>
                    <a:pt x="217805" y="92075"/>
                    <a:pt x="219710" y="90805"/>
                  </a:cubicBezTo>
                  <a:lnTo>
                    <a:pt x="228600" y="100330"/>
                  </a:lnTo>
                  <a:cubicBezTo>
                    <a:pt x="228600" y="100330"/>
                    <a:pt x="224790" y="103505"/>
                    <a:pt x="222885" y="104775"/>
                  </a:cubicBezTo>
                  <a:cubicBezTo>
                    <a:pt x="220980" y="106045"/>
                    <a:pt x="219075" y="106680"/>
                    <a:pt x="217170" y="107950"/>
                  </a:cubicBezTo>
                  <a:cubicBezTo>
                    <a:pt x="215265" y="108585"/>
                    <a:pt x="212725" y="109855"/>
                    <a:pt x="210185" y="109855"/>
                  </a:cubicBezTo>
                  <a:cubicBezTo>
                    <a:pt x="207645" y="109855"/>
                    <a:pt x="204470" y="110490"/>
                    <a:pt x="201295" y="110490"/>
                  </a:cubicBezTo>
                  <a:cubicBezTo>
                    <a:pt x="198120" y="110490"/>
                    <a:pt x="194945" y="110490"/>
                    <a:pt x="191770" y="109220"/>
                  </a:cubicBezTo>
                  <a:cubicBezTo>
                    <a:pt x="188595" y="108585"/>
                    <a:pt x="186055" y="107315"/>
                    <a:pt x="184150" y="105410"/>
                  </a:cubicBezTo>
                  <a:cubicBezTo>
                    <a:pt x="181610" y="104140"/>
                    <a:pt x="179705" y="102235"/>
                    <a:pt x="177800" y="100330"/>
                  </a:cubicBezTo>
                  <a:cubicBezTo>
                    <a:pt x="175895" y="98425"/>
                    <a:pt x="173990" y="95885"/>
                    <a:pt x="172720" y="92710"/>
                  </a:cubicBezTo>
                  <a:cubicBezTo>
                    <a:pt x="170815" y="89535"/>
                    <a:pt x="169545" y="86360"/>
                    <a:pt x="168910" y="82550"/>
                  </a:cubicBezTo>
                  <a:cubicBezTo>
                    <a:pt x="168275" y="78740"/>
                    <a:pt x="167640" y="74295"/>
                    <a:pt x="167640" y="69850"/>
                  </a:cubicBezTo>
                  <a:cubicBezTo>
                    <a:pt x="167640" y="63500"/>
                    <a:pt x="168275" y="57150"/>
                    <a:pt x="170180" y="52070"/>
                  </a:cubicBezTo>
                  <a:cubicBezTo>
                    <a:pt x="172085" y="46990"/>
                    <a:pt x="173990" y="42545"/>
                    <a:pt x="177165" y="39370"/>
                  </a:cubicBezTo>
                  <a:cubicBezTo>
                    <a:pt x="180340" y="36195"/>
                    <a:pt x="183515" y="33020"/>
                    <a:pt x="187960" y="31750"/>
                  </a:cubicBezTo>
                  <a:cubicBezTo>
                    <a:pt x="192405" y="29845"/>
                    <a:pt x="196850" y="29210"/>
                    <a:pt x="201930" y="29210"/>
                  </a:cubicBezTo>
                  <a:close/>
                  <a:moveTo>
                    <a:pt x="4664706" y="28574"/>
                  </a:moveTo>
                  <a:cubicBezTo>
                    <a:pt x="4669786" y="28574"/>
                    <a:pt x="4674231" y="29209"/>
                    <a:pt x="4678676" y="31749"/>
                  </a:cubicBezTo>
                  <a:cubicBezTo>
                    <a:pt x="4683121" y="33654"/>
                    <a:pt x="4686296" y="36194"/>
                    <a:pt x="4689471" y="40004"/>
                  </a:cubicBezTo>
                  <a:cubicBezTo>
                    <a:pt x="4692646" y="43814"/>
                    <a:pt x="4695186" y="47624"/>
                    <a:pt x="4696456" y="52704"/>
                  </a:cubicBezTo>
                  <a:cubicBezTo>
                    <a:pt x="4698361" y="57784"/>
                    <a:pt x="4698996" y="63499"/>
                    <a:pt x="4698996" y="69214"/>
                  </a:cubicBezTo>
                  <a:lnTo>
                    <a:pt x="4699631" y="69214"/>
                  </a:lnTo>
                  <a:cubicBezTo>
                    <a:pt x="4699631" y="75564"/>
                    <a:pt x="4698996" y="81279"/>
                    <a:pt x="4697091" y="86359"/>
                  </a:cubicBezTo>
                  <a:cubicBezTo>
                    <a:pt x="4695186" y="91439"/>
                    <a:pt x="4692646" y="95884"/>
                    <a:pt x="4689471" y="99059"/>
                  </a:cubicBezTo>
                  <a:cubicBezTo>
                    <a:pt x="4686296" y="102869"/>
                    <a:pt x="4682486" y="105409"/>
                    <a:pt x="4678041" y="107314"/>
                  </a:cubicBezTo>
                  <a:cubicBezTo>
                    <a:pt x="4673596" y="109219"/>
                    <a:pt x="4669151" y="109854"/>
                    <a:pt x="4664071" y="109854"/>
                  </a:cubicBezTo>
                  <a:cubicBezTo>
                    <a:pt x="4658991" y="109854"/>
                    <a:pt x="4654546" y="108584"/>
                    <a:pt x="4650101" y="106679"/>
                  </a:cubicBezTo>
                  <a:cubicBezTo>
                    <a:pt x="4645656" y="104774"/>
                    <a:pt x="4642481" y="102234"/>
                    <a:pt x="4639306" y="98424"/>
                  </a:cubicBezTo>
                  <a:cubicBezTo>
                    <a:pt x="4636131" y="94614"/>
                    <a:pt x="4633591" y="90804"/>
                    <a:pt x="4632321" y="85724"/>
                  </a:cubicBezTo>
                  <a:cubicBezTo>
                    <a:pt x="4630416" y="80644"/>
                    <a:pt x="4629781" y="74929"/>
                    <a:pt x="4629781" y="69214"/>
                  </a:cubicBezTo>
                  <a:cubicBezTo>
                    <a:pt x="4629781" y="63499"/>
                    <a:pt x="4630416" y="57149"/>
                    <a:pt x="4632321" y="52069"/>
                  </a:cubicBezTo>
                  <a:cubicBezTo>
                    <a:pt x="4634226" y="46989"/>
                    <a:pt x="4636766" y="42544"/>
                    <a:pt x="4639941" y="39369"/>
                  </a:cubicBezTo>
                  <a:cubicBezTo>
                    <a:pt x="4643116" y="35559"/>
                    <a:pt x="4646926" y="33019"/>
                    <a:pt x="4650736" y="31114"/>
                  </a:cubicBezTo>
                  <a:cubicBezTo>
                    <a:pt x="4655181" y="29209"/>
                    <a:pt x="4659626" y="28574"/>
                    <a:pt x="4664706" y="28574"/>
                  </a:cubicBezTo>
                  <a:close/>
                  <a:moveTo>
                    <a:pt x="4264655" y="28574"/>
                  </a:moveTo>
                  <a:cubicBezTo>
                    <a:pt x="4269735" y="28574"/>
                    <a:pt x="4274180" y="29209"/>
                    <a:pt x="4278625" y="31749"/>
                  </a:cubicBezTo>
                  <a:cubicBezTo>
                    <a:pt x="4283070" y="33654"/>
                    <a:pt x="4286245" y="36194"/>
                    <a:pt x="4289420" y="40004"/>
                  </a:cubicBezTo>
                  <a:cubicBezTo>
                    <a:pt x="4292595" y="43814"/>
                    <a:pt x="4295135" y="47624"/>
                    <a:pt x="4296405" y="52704"/>
                  </a:cubicBezTo>
                  <a:cubicBezTo>
                    <a:pt x="4298310" y="57784"/>
                    <a:pt x="4298945" y="63499"/>
                    <a:pt x="4298945" y="69214"/>
                  </a:cubicBezTo>
                  <a:lnTo>
                    <a:pt x="4299580" y="69214"/>
                  </a:lnTo>
                  <a:cubicBezTo>
                    <a:pt x="4299580" y="75564"/>
                    <a:pt x="4298945" y="81279"/>
                    <a:pt x="4297040" y="86359"/>
                  </a:cubicBezTo>
                  <a:cubicBezTo>
                    <a:pt x="4295135" y="91439"/>
                    <a:pt x="4292595" y="95884"/>
                    <a:pt x="4289420" y="99059"/>
                  </a:cubicBezTo>
                  <a:cubicBezTo>
                    <a:pt x="4286245" y="102869"/>
                    <a:pt x="4282435" y="105409"/>
                    <a:pt x="4277990" y="107314"/>
                  </a:cubicBezTo>
                  <a:cubicBezTo>
                    <a:pt x="4273545" y="109219"/>
                    <a:pt x="4269100" y="109854"/>
                    <a:pt x="4264020" y="109854"/>
                  </a:cubicBezTo>
                  <a:cubicBezTo>
                    <a:pt x="4258940" y="109854"/>
                    <a:pt x="4254495" y="108584"/>
                    <a:pt x="4250050" y="106679"/>
                  </a:cubicBezTo>
                  <a:cubicBezTo>
                    <a:pt x="4245605" y="104774"/>
                    <a:pt x="4242430" y="102234"/>
                    <a:pt x="4239255" y="98424"/>
                  </a:cubicBezTo>
                  <a:cubicBezTo>
                    <a:pt x="4236080" y="94614"/>
                    <a:pt x="4233540" y="90804"/>
                    <a:pt x="4232270" y="85724"/>
                  </a:cubicBezTo>
                  <a:cubicBezTo>
                    <a:pt x="4230365" y="80644"/>
                    <a:pt x="4229730" y="74929"/>
                    <a:pt x="4229730" y="69214"/>
                  </a:cubicBezTo>
                  <a:cubicBezTo>
                    <a:pt x="4229730" y="63499"/>
                    <a:pt x="4230365" y="57149"/>
                    <a:pt x="4232270" y="52069"/>
                  </a:cubicBezTo>
                  <a:cubicBezTo>
                    <a:pt x="4234175" y="46989"/>
                    <a:pt x="4236715" y="42544"/>
                    <a:pt x="4239890" y="39369"/>
                  </a:cubicBezTo>
                  <a:cubicBezTo>
                    <a:pt x="4243065" y="35559"/>
                    <a:pt x="4246875" y="33019"/>
                    <a:pt x="4250685" y="31114"/>
                  </a:cubicBezTo>
                  <a:cubicBezTo>
                    <a:pt x="4255130" y="29209"/>
                    <a:pt x="4259575" y="28574"/>
                    <a:pt x="4264655" y="28574"/>
                  </a:cubicBezTo>
                  <a:close/>
                  <a:moveTo>
                    <a:pt x="1420495" y="28574"/>
                  </a:moveTo>
                  <a:cubicBezTo>
                    <a:pt x="1425575" y="28574"/>
                    <a:pt x="1430020" y="29209"/>
                    <a:pt x="1434465" y="31749"/>
                  </a:cubicBezTo>
                  <a:cubicBezTo>
                    <a:pt x="1438910" y="33654"/>
                    <a:pt x="1442085" y="36194"/>
                    <a:pt x="1445260" y="40004"/>
                  </a:cubicBezTo>
                  <a:cubicBezTo>
                    <a:pt x="1448435" y="43814"/>
                    <a:pt x="1450975" y="47624"/>
                    <a:pt x="1452245" y="52704"/>
                  </a:cubicBezTo>
                  <a:cubicBezTo>
                    <a:pt x="1454150" y="57784"/>
                    <a:pt x="1454785" y="63499"/>
                    <a:pt x="1454785" y="69214"/>
                  </a:cubicBezTo>
                  <a:lnTo>
                    <a:pt x="1455420" y="69214"/>
                  </a:lnTo>
                  <a:cubicBezTo>
                    <a:pt x="1455420" y="75564"/>
                    <a:pt x="1454785" y="81279"/>
                    <a:pt x="1452880" y="86359"/>
                  </a:cubicBezTo>
                  <a:cubicBezTo>
                    <a:pt x="1450975" y="91439"/>
                    <a:pt x="1448435" y="95884"/>
                    <a:pt x="1445260" y="99059"/>
                  </a:cubicBezTo>
                  <a:cubicBezTo>
                    <a:pt x="1442085" y="102869"/>
                    <a:pt x="1438275" y="105409"/>
                    <a:pt x="1433830" y="107314"/>
                  </a:cubicBezTo>
                  <a:cubicBezTo>
                    <a:pt x="1429385" y="109219"/>
                    <a:pt x="1424940" y="109854"/>
                    <a:pt x="1419860" y="109854"/>
                  </a:cubicBezTo>
                  <a:cubicBezTo>
                    <a:pt x="1414780" y="109854"/>
                    <a:pt x="1410335" y="108584"/>
                    <a:pt x="1405890" y="106679"/>
                  </a:cubicBezTo>
                  <a:cubicBezTo>
                    <a:pt x="1401444" y="104774"/>
                    <a:pt x="1398270" y="102234"/>
                    <a:pt x="1395095" y="98424"/>
                  </a:cubicBezTo>
                  <a:cubicBezTo>
                    <a:pt x="1391920" y="94614"/>
                    <a:pt x="1389380" y="90804"/>
                    <a:pt x="1388110" y="85724"/>
                  </a:cubicBezTo>
                  <a:cubicBezTo>
                    <a:pt x="1386205" y="80644"/>
                    <a:pt x="1385570" y="74929"/>
                    <a:pt x="1385570" y="69214"/>
                  </a:cubicBezTo>
                  <a:cubicBezTo>
                    <a:pt x="1385570" y="63499"/>
                    <a:pt x="1386205" y="57149"/>
                    <a:pt x="1388110" y="52069"/>
                  </a:cubicBezTo>
                  <a:cubicBezTo>
                    <a:pt x="1390015" y="46989"/>
                    <a:pt x="1392555" y="42544"/>
                    <a:pt x="1395730" y="39369"/>
                  </a:cubicBezTo>
                  <a:cubicBezTo>
                    <a:pt x="1398905" y="35559"/>
                    <a:pt x="1402715" y="33019"/>
                    <a:pt x="1406525" y="31114"/>
                  </a:cubicBezTo>
                  <a:cubicBezTo>
                    <a:pt x="1410970" y="29209"/>
                    <a:pt x="1415415" y="28574"/>
                    <a:pt x="1420495" y="28574"/>
                  </a:cubicBezTo>
                  <a:close/>
                  <a:moveTo>
                    <a:pt x="3143245" y="5079"/>
                  </a:moveTo>
                  <a:lnTo>
                    <a:pt x="3219445" y="5079"/>
                  </a:lnTo>
                  <a:lnTo>
                    <a:pt x="3219445" y="20319"/>
                  </a:lnTo>
                  <a:lnTo>
                    <a:pt x="3188965" y="20319"/>
                  </a:lnTo>
                  <a:lnTo>
                    <a:pt x="3188965" y="108584"/>
                  </a:lnTo>
                  <a:lnTo>
                    <a:pt x="3173090" y="108584"/>
                  </a:lnTo>
                  <a:lnTo>
                    <a:pt x="3173090" y="20319"/>
                  </a:lnTo>
                  <a:lnTo>
                    <a:pt x="3143245" y="20319"/>
                  </a:lnTo>
                  <a:close/>
                  <a:moveTo>
                    <a:pt x="1628774" y="5079"/>
                  </a:moveTo>
                  <a:lnTo>
                    <a:pt x="1704970" y="5079"/>
                  </a:lnTo>
                  <a:lnTo>
                    <a:pt x="1704970" y="20319"/>
                  </a:lnTo>
                  <a:lnTo>
                    <a:pt x="1675129" y="20319"/>
                  </a:lnTo>
                  <a:lnTo>
                    <a:pt x="1675129" y="108584"/>
                  </a:lnTo>
                  <a:lnTo>
                    <a:pt x="1659255" y="108584"/>
                  </a:lnTo>
                  <a:lnTo>
                    <a:pt x="1659255" y="20319"/>
                  </a:lnTo>
                  <a:lnTo>
                    <a:pt x="1628774" y="20319"/>
                  </a:lnTo>
                  <a:close/>
                  <a:moveTo>
                    <a:pt x="0" y="5079"/>
                  </a:moveTo>
                  <a:lnTo>
                    <a:pt x="76200" y="5079"/>
                  </a:lnTo>
                  <a:lnTo>
                    <a:pt x="76200" y="20319"/>
                  </a:lnTo>
                  <a:lnTo>
                    <a:pt x="45720" y="20319"/>
                  </a:lnTo>
                  <a:lnTo>
                    <a:pt x="45720" y="108584"/>
                  </a:lnTo>
                  <a:lnTo>
                    <a:pt x="29845" y="108584"/>
                  </a:lnTo>
                  <a:lnTo>
                    <a:pt x="29845" y="20319"/>
                  </a:lnTo>
                  <a:lnTo>
                    <a:pt x="0" y="20319"/>
                  </a:lnTo>
                  <a:close/>
                  <a:moveTo>
                    <a:pt x="1362075" y="1269"/>
                  </a:moveTo>
                  <a:cubicBezTo>
                    <a:pt x="1363345" y="1269"/>
                    <a:pt x="1364615" y="1269"/>
                    <a:pt x="1365885" y="1904"/>
                  </a:cubicBezTo>
                  <a:cubicBezTo>
                    <a:pt x="1367155" y="1904"/>
                    <a:pt x="1367790" y="3174"/>
                    <a:pt x="1369060" y="3809"/>
                  </a:cubicBezTo>
                  <a:cubicBezTo>
                    <a:pt x="1369695" y="4444"/>
                    <a:pt x="1370965" y="5714"/>
                    <a:pt x="1370965" y="6984"/>
                  </a:cubicBezTo>
                  <a:cubicBezTo>
                    <a:pt x="1370965" y="8254"/>
                    <a:pt x="1371600" y="9524"/>
                    <a:pt x="1371600" y="10794"/>
                  </a:cubicBezTo>
                  <a:cubicBezTo>
                    <a:pt x="1371600" y="10794"/>
                    <a:pt x="1371600" y="13334"/>
                    <a:pt x="1370965" y="14604"/>
                  </a:cubicBezTo>
                  <a:cubicBezTo>
                    <a:pt x="1370965" y="15874"/>
                    <a:pt x="1369695" y="17144"/>
                    <a:pt x="1369060" y="17779"/>
                  </a:cubicBezTo>
                  <a:cubicBezTo>
                    <a:pt x="1368425" y="18414"/>
                    <a:pt x="1367155" y="19684"/>
                    <a:pt x="1365885" y="19684"/>
                  </a:cubicBezTo>
                  <a:cubicBezTo>
                    <a:pt x="1364615" y="19684"/>
                    <a:pt x="1363345" y="20319"/>
                    <a:pt x="1362075" y="20319"/>
                  </a:cubicBezTo>
                  <a:cubicBezTo>
                    <a:pt x="1360805" y="20319"/>
                    <a:pt x="1359535" y="20319"/>
                    <a:pt x="1358265" y="19684"/>
                  </a:cubicBezTo>
                  <a:cubicBezTo>
                    <a:pt x="1356995" y="19684"/>
                    <a:pt x="1355725" y="18414"/>
                    <a:pt x="1355090" y="17779"/>
                  </a:cubicBezTo>
                  <a:cubicBezTo>
                    <a:pt x="1354455" y="17144"/>
                    <a:pt x="1353185" y="15874"/>
                    <a:pt x="1353185" y="14604"/>
                  </a:cubicBezTo>
                  <a:cubicBezTo>
                    <a:pt x="1353185" y="13334"/>
                    <a:pt x="1352550" y="12064"/>
                    <a:pt x="1352550" y="10794"/>
                  </a:cubicBezTo>
                  <a:cubicBezTo>
                    <a:pt x="1352550" y="9524"/>
                    <a:pt x="1352550" y="8254"/>
                    <a:pt x="1353185" y="6984"/>
                  </a:cubicBezTo>
                  <a:cubicBezTo>
                    <a:pt x="1353185" y="5714"/>
                    <a:pt x="1354455" y="4444"/>
                    <a:pt x="1355090" y="3809"/>
                  </a:cubicBezTo>
                  <a:cubicBezTo>
                    <a:pt x="1355725" y="3174"/>
                    <a:pt x="1356995" y="1904"/>
                    <a:pt x="1358265" y="1904"/>
                  </a:cubicBezTo>
                  <a:cubicBezTo>
                    <a:pt x="1359535" y="1904"/>
                    <a:pt x="1360805" y="1269"/>
                    <a:pt x="1362075" y="1269"/>
                  </a:cubicBezTo>
                  <a:close/>
                  <a:moveTo>
                    <a:pt x="4789801" y="634"/>
                  </a:moveTo>
                  <a:lnTo>
                    <a:pt x="4789801" y="65404"/>
                  </a:lnTo>
                  <a:lnTo>
                    <a:pt x="4814566" y="31114"/>
                  </a:lnTo>
                  <a:lnTo>
                    <a:pt x="4831711" y="31114"/>
                  </a:lnTo>
                  <a:lnTo>
                    <a:pt x="4812026" y="57149"/>
                  </a:lnTo>
                  <a:lnTo>
                    <a:pt x="4835521" y="108584"/>
                  </a:lnTo>
                  <a:lnTo>
                    <a:pt x="4819011" y="108584"/>
                  </a:lnTo>
                  <a:lnTo>
                    <a:pt x="4801866" y="69849"/>
                  </a:lnTo>
                  <a:lnTo>
                    <a:pt x="4789801" y="85724"/>
                  </a:lnTo>
                  <a:lnTo>
                    <a:pt x="4789801" y="108584"/>
                  </a:lnTo>
                  <a:lnTo>
                    <a:pt x="4774561" y="108584"/>
                  </a:lnTo>
                  <a:lnTo>
                    <a:pt x="4774561" y="8889"/>
                  </a:lnTo>
                  <a:close/>
                  <a:moveTo>
                    <a:pt x="4472301" y="634"/>
                  </a:moveTo>
                  <a:lnTo>
                    <a:pt x="4472301" y="109219"/>
                  </a:lnTo>
                  <a:lnTo>
                    <a:pt x="4457061" y="109219"/>
                  </a:lnTo>
                  <a:lnTo>
                    <a:pt x="4457696" y="108584"/>
                  </a:lnTo>
                  <a:lnTo>
                    <a:pt x="4457696" y="100964"/>
                  </a:lnTo>
                  <a:cubicBezTo>
                    <a:pt x="4457696" y="100964"/>
                    <a:pt x="4454521" y="103504"/>
                    <a:pt x="4453251" y="104774"/>
                  </a:cubicBezTo>
                  <a:cubicBezTo>
                    <a:pt x="4451981" y="106044"/>
                    <a:pt x="4450076" y="106679"/>
                    <a:pt x="4448171" y="107949"/>
                  </a:cubicBezTo>
                  <a:cubicBezTo>
                    <a:pt x="4446266" y="108584"/>
                    <a:pt x="4444361" y="109219"/>
                    <a:pt x="4443091" y="109854"/>
                  </a:cubicBezTo>
                  <a:cubicBezTo>
                    <a:pt x="4441186" y="109854"/>
                    <a:pt x="4439281" y="109854"/>
                    <a:pt x="4437376" y="109854"/>
                  </a:cubicBezTo>
                  <a:cubicBezTo>
                    <a:pt x="4432931" y="109854"/>
                    <a:pt x="4429121" y="109219"/>
                    <a:pt x="4425946" y="107314"/>
                  </a:cubicBezTo>
                  <a:cubicBezTo>
                    <a:pt x="4422136" y="106044"/>
                    <a:pt x="4418961" y="103504"/>
                    <a:pt x="4416421" y="99694"/>
                  </a:cubicBezTo>
                  <a:cubicBezTo>
                    <a:pt x="4413881" y="96519"/>
                    <a:pt x="4411341" y="92074"/>
                    <a:pt x="4410071" y="86994"/>
                  </a:cubicBezTo>
                  <a:cubicBezTo>
                    <a:pt x="4408801" y="81914"/>
                    <a:pt x="4407531" y="75564"/>
                    <a:pt x="4407531" y="67944"/>
                  </a:cubicBezTo>
                  <a:cubicBezTo>
                    <a:pt x="4407531" y="61594"/>
                    <a:pt x="4408166" y="55244"/>
                    <a:pt x="4410071" y="50799"/>
                  </a:cubicBezTo>
                  <a:cubicBezTo>
                    <a:pt x="4411976" y="45719"/>
                    <a:pt x="4413881" y="41909"/>
                    <a:pt x="4417056" y="38734"/>
                  </a:cubicBezTo>
                  <a:cubicBezTo>
                    <a:pt x="4419596" y="35559"/>
                    <a:pt x="4423406" y="33019"/>
                    <a:pt x="4426581" y="31749"/>
                  </a:cubicBezTo>
                  <a:cubicBezTo>
                    <a:pt x="4430391" y="29844"/>
                    <a:pt x="4434201" y="29209"/>
                    <a:pt x="4438011" y="29209"/>
                  </a:cubicBezTo>
                  <a:cubicBezTo>
                    <a:pt x="4439916" y="29209"/>
                    <a:pt x="4441821" y="29209"/>
                    <a:pt x="4443726" y="29844"/>
                  </a:cubicBezTo>
                  <a:cubicBezTo>
                    <a:pt x="4445631" y="29844"/>
                    <a:pt x="4447536" y="31114"/>
                    <a:pt x="4448806" y="31749"/>
                  </a:cubicBezTo>
                  <a:cubicBezTo>
                    <a:pt x="4450711" y="32384"/>
                    <a:pt x="4451981" y="33654"/>
                    <a:pt x="4453251" y="34924"/>
                  </a:cubicBezTo>
                  <a:cubicBezTo>
                    <a:pt x="4454521" y="36194"/>
                    <a:pt x="4455791" y="36829"/>
                    <a:pt x="4457061" y="38099"/>
                  </a:cubicBezTo>
                  <a:lnTo>
                    <a:pt x="4457061" y="8254"/>
                  </a:lnTo>
                  <a:close/>
                  <a:moveTo>
                    <a:pt x="4390385" y="634"/>
                  </a:moveTo>
                  <a:lnTo>
                    <a:pt x="4390385" y="108584"/>
                  </a:lnTo>
                  <a:lnTo>
                    <a:pt x="4375145" y="108584"/>
                  </a:lnTo>
                  <a:lnTo>
                    <a:pt x="4375145" y="8889"/>
                  </a:lnTo>
                  <a:close/>
                  <a:moveTo>
                    <a:pt x="3946521" y="634"/>
                  </a:moveTo>
                  <a:lnTo>
                    <a:pt x="3946521" y="38099"/>
                  </a:lnTo>
                  <a:cubicBezTo>
                    <a:pt x="3946521" y="38099"/>
                    <a:pt x="3948426" y="35559"/>
                    <a:pt x="3950331" y="34289"/>
                  </a:cubicBezTo>
                  <a:cubicBezTo>
                    <a:pt x="3951601" y="33019"/>
                    <a:pt x="3953506" y="32384"/>
                    <a:pt x="3954776" y="31114"/>
                  </a:cubicBezTo>
                  <a:cubicBezTo>
                    <a:pt x="3956681" y="30479"/>
                    <a:pt x="3958586" y="29844"/>
                    <a:pt x="3960491" y="29209"/>
                  </a:cubicBezTo>
                  <a:cubicBezTo>
                    <a:pt x="3962396" y="29209"/>
                    <a:pt x="3964301" y="29209"/>
                    <a:pt x="3966206" y="29209"/>
                  </a:cubicBezTo>
                  <a:cubicBezTo>
                    <a:pt x="3970651" y="29209"/>
                    <a:pt x="3975096" y="29844"/>
                    <a:pt x="3978271" y="31749"/>
                  </a:cubicBezTo>
                  <a:cubicBezTo>
                    <a:pt x="3981446" y="33019"/>
                    <a:pt x="3984621" y="35559"/>
                    <a:pt x="3987161" y="38099"/>
                  </a:cubicBezTo>
                  <a:cubicBezTo>
                    <a:pt x="3989701" y="41274"/>
                    <a:pt x="3990971" y="44449"/>
                    <a:pt x="3992241" y="49529"/>
                  </a:cubicBezTo>
                  <a:cubicBezTo>
                    <a:pt x="3993511" y="53974"/>
                    <a:pt x="3994146" y="59054"/>
                    <a:pt x="3994146" y="64134"/>
                  </a:cubicBezTo>
                  <a:lnTo>
                    <a:pt x="3994146" y="108584"/>
                  </a:lnTo>
                  <a:lnTo>
                    <a:pt x="3978906" y="108584"/>
                  </a:lnTo>
                  <a:lnTo>
                    <a:pt x="3978271" y="108584"/>
                  </a:lnTo>
                  <a:lnTo>
                    <a:pt x="3978271" y="64769"/>
                  </a:lnTo>
                  <a:cubicBezTo>
                    <a:pt x="3978271" y="57784"/>
                    <a:pt x="3977001" y="52069"/>
                    <a:pt x="3974461" y="48894"/>
                  </a:cubicBezTo>
                  <a:cubicBezTo>
                    <a:pt x="3971921" y="45084"/>
                    <a:pt x="3968111" y="43814"/>
                    <a:pt x="3962396" y="43814"/>
                  </a:cubicBezTo>
                  <a:cubicBezTo>
                    <a:pt x="3959856" y="43814"/>
                    <a:pt x="3957951" y="43814"/>
                    <a:pt x="3956046" y="45084"/>
                  </a:cubicBezTo>
                  <a:cubicBezTo>
                    <a:pt x="3954141" y="45719"/>
                    <a:pt x="3952236" y="46989"/>
                    <a:pt x="3950966" y="48894"/>
                  </a:cubicBezTo>
                  <a:cubicBezTo>
                    <a:pt x="3949696" y="50799"/>
                    <a:pt x="3948426" y="52704"/>
                    <a:pt x="3947791" y="55244"/>
                  </a:cubicBezTo>
                  <a:cubicBezTo>
                    <a:pt x="3947156" y="57784"/>
                    <a:pt x="3946521" y="60324"/>
                    <a:pt x="3946521" y="63499"/>
                  </a:cubicBezTo>
                  <a:lnTo>
                    <a:pt x="3946521" y="109219"/>
                  </a:lnTo>
                  <a:lnTo>
                    <a:pt x="3931281" y="109219"/>
                  </a:lnTo>
                  <a:lnTo>
                    <a:pt x="3931281" y="8889"/>
                  </a:lnTo>
                  <a:close/>
                  <a:moveTo>
                    <a:pt x="3248021" y="634"/>
                  </a:moveTo>
                  <a:lnTo>
                    <a:pt x="3248021" y="38099"/>
                  </a:lnTo>
                  <a:cubicBezTo>
                    <a:pt x="3248021" y="38099"/>
                    <a:pt x="3249926" y="35559"/>
                    <a:pt x="3251831" y="34289"/>
                  </a:cubicBezTo>
                  <a:cubicBezTo>
                    <a:pt x="3253101" y="33019"/>
                    <a:pt x="3255006" y="32384"/>
                    <a:pt x="3256276" y="31114"/>
                  </a:cubicBezTo>
                  <a:cubicBezTo>
                    <a:pt x="3258181" y="30479"/>
                    <a:pt x="3260086" y="29844"/>
                    <a:pt x="3261991" y="29209"/>
                  </a:cubicBezTo>
                  <a:cubicBezTo>
                    <a:pt x="3263896" y="29209"/>
                    <a:pt x="3265801" y="29209"/>
                    <a:pt x="3267706" y="29209"/>
                  </a:cubicBezTo>
                  <a:cubicBezTo>
                    <a:pt x="3272151" y="29209"/>
                    <a:pt x="3276596" y="29844"/>
                    <a:pt x="3279771" y="31749"/>
                  </a:cubicBezTo>
                  <a:cubicBezTo>
                    <a:pt x="3282946" y="33019"/>
                    <a:pt x="3286121" y="35559"/>
                    <a:pt x="3288661" y="38099"/>
                  </a:cubicBezTo>
                  <a:cubicBezTo>
                    <a:pt x="3291201" y="41274"/>
                    <a:pt x="3292471" y="44449"/>
                    <a:pt x="3293741" y="49529"/>
                  </a:cubicBezTo>
                  <a:cubicBezTo>
                    <a:pt x="3295011" y="53974"/>
                    <a:pt x="3295646" y="59054"/>
                    <a:pt x="3295646" y="64134"/>
                  </a:cubicBezTo>
                  <a:lnTo>
                    <a:pt x="3295646" y="108584"/>
                  </a:lnTo>
                  <a:lnTo>
                    <a:pt x="3280406" y="108584"/>
                  </a:lnTo>
                  <a:lnTo>
                    <a:pt x="3279771" y="108584"/>
                  </a:lnTo>
                  <a:lnTo>
                    <a:pt x="3279771" y="64769"/>
                  </a:lnTo>
                  <a:cubicBezTo>
                    <a:pt x="3279771" y="57784"/>
                    <a:pt x="3278501" y="52069"/>
                    <a:pt x="3275961" y="48894"/>
                  </a:cubicBezTo>
                  <a:cubicBezTo>
                    <a:pt x="3273421" y="45084"/>
                    <a:pt x="3269611" y="43814"/>
                    <a:pt x="3263896" y="43814"/>
                  </a:cubicBezTo>
                  <a:cubicBezTo>
                    <a:pt x="3261356" y="43814"/>
                    <a:pt x="3259451" y="43814"/>
                    <a:pt x="3257546" y="45084"/>
                  </a:cubicBezTo>
                  <a:cubicBezTo>
                    <a:pt x="3255641" y="45719"/>
                    <a:pt x="3253736" y="46989"/>
                    <a:pt x="3252466" y="48894"/>
                  </a:cubicBezTo>
                  <a:cubicBezTo>
                    <a:pt x="3251196" y="50799"/>
                    <a:pt x="3249926" y="52704"/>
                    <a:pt x="3249291" y="55244"/>
                  </a:cubicBezTo>
                  <a:cubicBezTo>
                    <a:pt x="3248656" y="57784"/>
                    <a:pt x="3248021" y="60324"/>
                    <a:pt x="3248021" y="63499"/>
                  </a:cubicBezTo>
                  <a:lnTo>
                    <a:pt x="3248021" y="109219"/>
                  </a:lnTo>
                  <a:lnTo>
                    <a:pt x="3232781" y="109219"/>
                  </a:lnTo>
                  <a:lnTo>
                    <a:pt x="3232781" y="8889"/>
                  </a:lnTo>
                  <a:close/>
                  <a:moveTo>
                    <a:pt x="2432681" y="634"/>
                  </a:moveTo>
                  <a:lnTo>
                    <a:pt x="2432681" y="38099"/>
                  </a:lnTo>
                  <a:cubicBezTo>
                    <a:pt x="2432681" y="38099"/>
                    <a:pt x="2434586" y="35559"/>
                    <a:pt x="2436491" y="34289"/>
                  </a:cubicBezTo>
                  <a:cubicBezTo>
                    <a:pt x="2437761" y="33019"/>
                    <a:pt x="2439666" y="32384"/>
                    <a:pt x="2440936" y="31114"/>
                  </a:cubicBezTo>
                  <a:cubicBezTo>
                    <a:pt x="2442841" y="30479"/>
                    <a:pt x="2444746" y="29844"/>
                    <a:pt x="2446651" y="29209"/>
                  </a:cubicBezTo>
                  <a:cubicBezTo>
                    <a:pt x="2448556" y="29209"/>
                    <a:pt x="2450461" y="29209"/>
                    <a:pt x="2452366" y="29209"/>
                  </a:cubicBezTo>
                  <a:cubicBezTo>
                    <a:pt x="2456811" y="29209"/>
                    <a:pt x="2461256" y="29844"/>
                    <a:pt x="2464431" y="31749"/>
                  </a:cubicBezTo>
                  <a:cubicBezTo>
                    <a:pt x="2467606" y="33019"/>
                    <a:pt x="2470781" y="35559"/>
                    <a:pt x="2473321" y="38099"/>
                  </a:cubicBezTo>
                  <a:cubicBezTo>
                    <a:pt x="2475861" y="41274"/>
                    <a:pt x="2477131" y="44449"/>
                    <a:pt x="2478401" y="49529"/>
                  </a:cubicBezTo>
                  <a:cubicBezTo>
                    <a:pt x="2479671" y="53974"/>
                    <a:pt x="2480306" y="59054"/>
                    <a:pt x="2480306" y="64134"/>
                  </a:cubicBezTo>
                  <a:lnTo>
                    <a:pt x="2480306" y="108584"/>
                  </a:lnTo>
                  <a:lnTo>
                    <a:pt x="2465066" y="108584"/>
                  </a:lnTo>
                  <a:lnTo>
                    <a:pt x="2464431" y="108584"/>
                  </a:lnTo>
                  <a:lnTo>
                    <a:pt x="2464431" y="64769"/>
                  </a:lnTo>
                  <a:cubicBezTo>
                    <a:pt x="2464431" y="57784"/>
                    <a:pt x="2463161" y="52069"/>
                    <a:pt x="2460621" y="48894"/>
                  </a:cubicBezTo>
                  <a:cubicBezTo>
                    <a:pt x="2458081" y="45084"/>
                    <a:pt x="2454271" y="43814"/>
                    <a:pt x="2448556" y="43814"/>
                  </a:cubicBezTo>
                  <a:cubicBezTo>
                    <a:pt x="2446016" y="43814"/>
                    <a:pt x="2444111" y="43814"/>
                    <a:pt x="2442206" y="45084"/>
                  </a:cubicBezTo>
                  <a:cubicBezTo>
                    <a:pt x="2440301" y="45719"/>
                    <a:pt x="2438396" y="46989"/>
                    <a:pt x="2437126" y="48894"/>
                  </a:cubicBezTo>
                  <a:cubicBezTo>
                    <a:pt x="2435856" y="50799"/>
                    <a:pt x="2434586" y="52704"/>
                    <a:pt x="2433951" y="55244"/>
                  </a:cubicBezTo>
                  <a:cubicBezTo>
                    <a:pt x="2433316" y="57784"/>
                    <a:pt x="2432681" y="60324"/>
                    <a:pt x="2432681" y="63499"/>
                  </a:cubicBezTo>
                  <a:lnTo>
                    <a:pt x="2432681" y="109219"/>
                  </a:lnTo>
                  <a:lnTo>
                    <a:pt x="2417441" y="109219"/>
                  </a:lnTo>
                  <a:lnTo>
                    <a:pt x="2417441" y="8889"/>
                  </a:lnTo>
                  <a:close/>
                  <a:moveTo>
                    <a:pt x="1734181" y="634"/>
                  </a:moveTo>
                  <a:lnTo>
                    <a:pt x="1734181" y="38099"/>
                  </a:lnTo>
                  <a:cubicBezTo>
                    <a:pt x="1734181" y="38099"/>
                    <a:pt x="1736086" y="35559"/>
                    <a:pt x="1737991" y="34289"/>
                  </a:cubicBezTo>
                  <a:cubicBezTo>
                    <a:pt x="1739261" y="33019"/>
                    <a:pt x="1741166" y="32384"/>
                    <a:pt x="1742436" y="31114"/>
                  </a:cubicBezTo>
                  <a:cubicBezTo>
                    <a:pt x="1744341" y="30479"/>
                    <a:pt x="1746246" y="29844"/>
                    <a:pt x="1748151" y="29209"/>
                  </a:cubicBezTo>
                  <a:cubicBezTo>
                    <a:pt x="1750056" y="29209"/>
                    <a:pt x="1751961" y="29209"/>
                    <a:pt x="1753866" y="29209"/>
                  </a:cubicBezTo>
                  <a:cubicBezTo>
                    <a:pt x="1758311" y="29209"/>
                    <a:pt x="1762756" y="29844"/>
                    <a:pt x="1765931" y="31749"/>
                  </a:cubicBezTo>
                  <a:cubicBezTo>
                    <a:pt x="1769106" y="33019"/>
                    <a:pt x="1772281" y="35559"/>
                    <a:pt x="1774821" y="38099"/>
                  </a:cubicBezTo>
                  <a:cubicBezTo>
                    <a:pt x="1777361" y="41274"/>
                    <a:pt x="1778631" y="44449"/>
                    <a:pt x="1779901" y="49529"/>
                  </a:cubicBezTo>
                  <a:cubicBezTo>
                    <a:pt x="1781171" y="53974"/>
                    <a:pt x="1781806" y="59054"/>
                    <a:pt x="1781806" y="64134"/>
                  </a:cubicBezTo>
                  <a:lnTo>
                    <a:pt x="1781806" y="108584"/>
                  </a:lnTo>
                  <a:lnTo>
                    <a:pt x="1766566" y="108584"/>
                  </a:lnTo>
                  <a:lnTo>
                    <a:pt x="1765931" y="108584"/>
                  </a:lnTo>
                  <a:lnTo>
                    <a:pt x="1765931" y="64769"/>
                  </a:lnTo>
                  <a:cubicBezTo>
                    <a:pt x="1765931" y="57784"/>
                    <a:pt x="1764661" y="52069"/>
                    <a:pt x="1762121" y="48894"/>
                  </a:cubicBezTo>
                  <a:cubicBezTo>
                    <a:pt x="1759581" y="45084"/>
                    <a:pt x="1755771" y="43814"/>
                    <a:pt x="1750056" y="43814"/>
                  </a:cubicBezTo>
                  <a:cubicBezTo>
                    <a:pt x="1747516" y="43814"/>
                    <a:pt x="1745611" y="43814"/>
                    <a:pt x="1743706" y="45084"/>
                  </a:cubicBezTo>
                  <a:cubicBezTo>
                    <a:pt x="1741801" y="45719"/>
                    <a:pt x="1739896" y="46989"/>
                    <a:pt x="1738626" y="48894"/>
                  </a:cubicBezTo>
                  <a:cubicBezTo>
                    <a:pt x="1737356" y="50799"/>
                    <a:pt x="1736086" y="52704"/>
                    <a:pt x="1735451" y="55244"/>
                  </a:cubicBezTo>
                  <a:cubicBezTo>
                    <a:pt x="1734816" y="57784"/>
                    <a:pt x="1734181" y="60324"/>
                    <a:pt x="1734181" y="63499"/>
                  </a:cubicBezTo>
                  <a:lnTo>
                    <a:pt x="1734181" y="109219"/>
                  </a:lnTo>
                  <a:lnTo>
                    <a:pt x="1718941" y="109219"/>
                  </a:lnTo>
                  <a:lnTo>
                    <a:pt x="1718941" y="8889"/>
                  </a:lnTo>
                  <a:close/>
                  <a:moveTo>
                    <a:pt x="803275" y="634"/>
                  </a:moveTo>
                  <a:lnTo>
                    <a:pt x="803275" y="38099"/>
                  </a:lnTo>
                  <a:cubicBezTo>
                    <a:pt x="803275" y="38099"/>
                    <a:pt x="805180" y="35559"/>
                    <a:pt x="807085" y="34289"/>
                  </a:cubicBezTo>
                  <a:cubicBezTo>
                    <a:pt x="808355" y="33019"/>
                    <a:pt x="810260" y="32384"/>
                    <a:pt x="811530" y="31114"/>
                  </a:cubicBezTo>
                  <a:cubicBezTo>
                    <a:pt x="813435" y="30479"/>
                    <a:pt x="815340" y="29844"/>
                    <a:pt x="817245" y="29209"/>
                  </a:cubicBezTo>
                  <a:cubicBezTo>
                    <a:pt x="819150" y="29209"/>
                    <a:pt x="821055" y="29209"/>
                    <a:pt x="822960" y="29209"/>
                  </a:cubicBezTo>
                  <a:cubicBezTo>
                    <a:pt x="827405" y="29209"/>
                    <a:pt x="831850" y="29844"/>
                    <a:pt x="835025" y="31749"/>
                  </a:cubicBezTo>
                  <a:cubicBezTo>
                    <a:pt x="838200" y="33019"/>
                    <a:pt x="841375" y="35559"/>
                    <a:pt x="843915" y="38099"/>
                  </a:cubicBezTo>
                  <a:cubicBezTo>
                    <a:pt x="846455" y="41274"/>
                    <a:pt x="847725" y="44449"/>
                    <a:pt x="848995" y="49529"/>
                  </a:cubicBezTo>
                  <a:cubicBezTo>
                    <a:pt x="850265" y="53974"/>
                    <a:pt x="850900" y="59054"/>
                    <a:pt x="850900" y="64134"/>
                  </a:cubicBezTo>
                  <a:lnTo>
                    <a:pt x="850900" y="108584"/>
                  </a:lnTo>
                  <a:lnTo>
                    <a:pt x="835660" y="108584"/>
                  </a:lnTo>
                  <a:lnTo>
                    <a:pt x="835025" y="108584"/>
                  </a:lnTo>
                  <a:lnTo>
                    <a:pt x="835025" y="64769"/>
                  </a:lnTo>
                  <a:cubicBezTo>
                    <a:pt x="835025" y="57784"/>
                    <a:pt x="833755" y="52069"/>
                    <a:pt x="831215" y="48894"/>
                  </a:cubicBezTo>
                  <a:cubicBezTo>
                    <a:pt x="828675" y="45084"/>
                    <a:pt x="824865" y="43814"/>
                    <a:pt x="819150" y="43814"/>
                  </a:cubicBezTo>
                  <a:cubicBezTo>
                    <a:pt x="816610" y="43814"/>
                    <a:pt x="814705" y="43814"/>
                    <a:pt x="812800" y="45084"/>
                  </a:cubicBezTo>
                  <a:cubicBezTo>
                    <a:pt x="810895" y="45719"/>
                    <a:pt x="808990" y="46989"/>
                    <a:pt x="807720" y="48894"/>
                  </a:cubicBezTo>
                  <a:cubicBezTo>
                    <a:pt x="806450" y="50799"/>
                    <a:pt x="805180" y="52704"/>
                    <a:pt x="804545" y="55244"/>
                  </a:cubicBezTo>
                  <a:cubicBezTo>
                    <a:pt x="803910" y="57784"/>
                    <a:pt x="803275" y="60324"/>
                    <a:pt x="803275" y="63499"/>
                  </a:cubicBezTo>
                  <a:lnTo>
                    <a:pt x="803275" y="109219"/>
                  </a:lnTo>
                  <a:lnTo>
                    <a:pt x="788035" y="109219"/>
                  </a:lnTo>
                  <a:lnTo>
                    <a:pt x="788035" y="8889"/>
                  </a:lnTo>
                  <a:close/>
                  <a:moveTo>
                    <a:pt x="104774" y="634"/>
                  </a:moveTo>
                  <a:lnTo>
                    <a:pt x="104774" y="38099"/>
                  </a:lnTo>
                  <a:cubicBezTo>
                    <a:pt x="104774" y="38099"/>
                    <a:pt x="106679" y="35559"/>
                    <a:pt x="108584" y="34289"/>
                  </a:cubicBezTo>
                  <a:cubicBezTo>
                    <a:pt x="109854" y="33019"/>
                    <a:pt x="111759" y="32384"/>
                    <a:pt x="113029" y="31114"/>
                  </a:cubicBezTo>
                  <a:cubicBezTo>
                    <a:pt x="114934" y="30479"/>
                    <a:pt x="116839" y="29844"/>
                    <a:pt x="118744" y="29209"/>
                  </a:cubicBezTo>
                  <a:cubicBezTo>
                    <a:pt x="120649" y="29209"/>
                    <a:pt x="122554" y="29209"/>
                    <a:pt x="124459" y="29209"/>
                  </a:cubicBezTo>
                  <a:cubicBezTo>
                    <a:pt x="128904" y="29209"/>
                    <a:pt x="133349" y="29844"/>
                    <a:pt x="136524" y="31749"/>
                  </a:cubicBezTo>
                  <a:cubicBezTo>
                    <a:pt x="139699" y="33019"/>
                    <a:pt x="142874" y="35559"/>
                    <a:pt x="145414" y="38099"/>
                  </a:cubicBezTo>
                  <a:cubicBezTo>
                    <a:pt x="147954" y="41274"/>
                    <a:pt x="149224" y="44449"/>
                    <a:pt x="150494" y="49529"/>
                  </a:cubicBezTo>
                  <a:cubicBezTo>
                    <a:pt x="151764" y="53974"/>
                    <a:pt x="152399" y="59054"/>
                    <a:pt x="152399" y="64134"/>
                  </a:cubicBezTo>
                  <a:lnTo>
                    <a:pt x="152399" y="108584"/>
                  </a:lnTo>
                  <a:lnTo>
                    <a:pt x="137159" y="108584"/>
                  </a:lnTo>
                  <a:lnTo>
                    <a:pt x="136524" y="108584"/>
                  </a:lnTo>
                  <a:lnTo>
                    <a:pt x="136524" y="64769"/>
                  </a:lnTo>
                  <a:cubicBezTo>
                    <a:pt x="136524" y="57784"/>
                    <a:pt x="135254" y="52069"/>
                    <a:pt x="132714" y="48894"/>
                  </a:cubicBezTo>
                  <a:cubicBezTo>
                    <a:pt x="130174" y="45084"/>
                    <a:pt x="126364" y="43814"/>
                    <a:pt x="120649" y="43814"/>
                  </a:cubicBezTo>
                  <a:cubicBezTo>
                    <a:pt x="118109" y="43814"/>
                    <a:pt x="116204" y="43814"/>
                    <a:pt x="114299" y="45084"/>
                  </a:cubicBezTo>
                  <a:cubicBezTo>
                    <a:pt x="112394" y="45719"/>
                    <a:pt x="110489" y="46989"/>
                    <a:pt x="109219" y="48894"/>
                  </a:cubicBezTo>
                  <a:cubicBezTo>
                    <a:pt x="107949" y="50799"/>
                    <a:pt x="106679" y="52704"/>
                    <a:pt x="106044" y="55244"/>
                  </a:cubicBezTo>
                  <a:cubicBezTo>
                    <a:pt x="105409" y="57784"/>
                    <a:pt x="104774" y="60324"/>
                    <a:pt x="104774" y="63499"/>
                  </a:cubicBezTo>
                  <a:lnTo>
                    <a:pt x="104774" y="109219"/>
                  </a:lnTo>
                  <a:lnTo>
                    <a:pt x="89534" y="109219"/>
                  </a:lnTo>
                  <a:lnTo>
                    <a:pt x="89534" y="8889"/>
                  </a:lnTo>
                  <a:close/>
                  <a:moveTo>
                    <a:pt x="3894450" y="0"/>
                  </a:moveTo>
                  <a:lnTo>
                    <a:pt x="3894450" y="30480"/>
                  </a:lnTo>
                  <a:lnTo>
                    <a:pt x="3913500" y="30480"/>
                  </a:lnTo>
                  <a:lnTo>
                    <a:pt x="3913500" y="44450"/>
                  </a:lnTo>
                  <a:lnTo>
                    <a:pt x="3894450" y="44450"/>
                  </a:lnTo>
                  <a:lnTo>
                    <a:pt x="3894450" y="86995"/>
                  </a:lnTo>
                  <a:cubicBezTo>
                    <a:pt x="3894450" y="86995"/>
                    <a:pt x="3894450" y="90170"/>
                    <a:pt x="3894450" y="91440"/>
                  </a:cubicBezTo>
                  <a:cubicBezTo>
                    <a:pt x="3894450" y="92710"/>
                    <a:pt x="3895085" y="93345"/>
                    <a:pt x="3895720" y="94615"/>
                  </a:cubicBezTo>
                  <a:cubicBezTo>
                    <a:pt x="3896355" y="95250"/>
                    <a:pt x="3896990" y="95885"/>
                    <a:pt x="3898260" y="95885"/>
                  </a:cubicBezTo>
                  <a:cubicBezTo>
                    <a:pt x="3899530" y="95885"/>
                    <a:pt x="3900800" y="95885"/>
                    <a:pt x="3902070" y="95885"/>
                  </a:cubicBezTo>
                  <a:cubicBezTo>
                    <a:pt x="3903975" y="95885"/>
                    <a:pt x="3905880" y="95885"/>
                    <a:pt x="3908420" y="95250"/>
                  </a:cubicBezTo>
                  <a:cubicBezTo>
                    <a:pt x="3910325" y="94615"/>
                    <a:pt x="3912230" y="93980"/>
                    <a:pt x="3913500" y="93345"/>
                  </a:cubicBezTo>
                  <a:lnTo>
                    <a:pt x="3911595" y="106680"/>
                  </a:lnTo>
                  <a:cubicBezTo>
                    <a:pt x="3911595" y="106680"/>
                    <a:pt x="3907785" y="108585"/>
                    <a:pt x="3905245" y="109220"/>
                  </a:cubicBezTo>
                  <a:cubicBezTo>
                    <a:pt x="3902705" y="109855"/>
                    <a:pt x="3900165" y="110490"/>
                    <a:pt x="3896990" y="110490"/>
                  </a:cubicBezTo>
                  <a:cubicBezTo>
                    <a:pt x="3894450" y="110490"/>
                    <a:pt x="3891910" y="110490"/>
                    <a:pt x="3890005" y="109220"/>
                  </a:cubicBezTo>
                  <a:cubicBezTo>
                    <a:pt x="3888100" y="108585"/>
                    <a:pt x="3886195" y="107315"/>
                    <a:pt x="3884290" y="105410"/>
                  </a:cubicBezTo>
                  <a:cubicBezTo>
                    <a:pt x="3882385" y="103505"/>
                    <a:pt x="3881115" y="101600"/>
                    <a:pt x="3880480" y="99060"/>
                  </a:cubicBezTo>
                  <a:cubicBezTo>
                    <a:pt x="3879845" y="96520"/>
                    <a:pt x="3879210" y="93345"/>
                    <a:pt x="3879210" y="89535"/>
                  </a:cubicBezTo>
                  <a:lnTo>
                    <a:pt x="3879210" y="44450"/>
                  </a:lnTo>
                  <a:lnTo>
                    <a:pt x="3868415" y="44450"/>
                  </a:lnTo>
                  <a:lnTo>
                    <a:pt x="3868415" y="30480"/>
                  </a:lnTo>
                  <a:lnTo>
                    <a:pt x="3879210" y="30480"/>
                  </a:lnTo>
                  <a:lnTo>
                    <a:pt x="3879210" y="8255"/>
                  </a:lnTo>
                  <a:close/>
                  <a:moveTo>
                    <a:pt x="3664581" y="0"/>
                  </a:moveTo>
                  <a:lnTo>
                    <a:pt x="3664581" y="30480"/>
                  </a:lnTo>
                  <a:lnTo>
                    <a:pt x="3683631" y="30480"/>
                  </a:lnTo>
                  <a:lnTo>
                    <a:pt x="3683631" y="44450"/>
                  </a:lnTo>
                  <a:lnTo>
                    <a:pt x="3664581" y="44450"/>
                  </a:lnTo>
                  <a:lnTo>
                    <a:pt x="3664581" y="86995"/>
                  </a:lnTo>
                  <a:cubicBezTo>
                    <a:pt x="3664581" y="86995"/>
                    <a:pt x="3664581" y="90170"/>
                    <a:pt x="3664581" y="91440"/>
                  </a:cubicBezTo>
                  <a:cubicBezTo>
                    <a:pt x="3664581" y="92710"/>
                    <a:pt x="3665216" y="93345"/>
                    <a:pt x="3665851" y="94615"/>
                  </a:cubicBezTo>
                  <a:cubicBezTo>
                    <a:pt x="3666486" y="95250"/>
                    <a:pt x="3667121" y="95885"/>
                    <a:pt x="3668391" y="95885"/>
                  </a:cubicBezTo>
                  <a:cubicBezTo>
                    <a:pt x="3669661" y="95885"/>
                    <a:pt x="3670931" y="95885"/>
                    <a:pt x="3672201" y="95885"/>
                  </a:cubicBezTo>
                  <a:cubicBezTo>
                    <a:pt x="3674106" y="95885"/>
                    <a:pt x="3676011" y="95885"/>
                    <a:pt x="3678551" y="95250"/>
                  </a:cubicBezTo>
                  <a:cubicBezTo>
                    <a:pt x="3680456" y="94615"/>
                    <a:pt x="3682361" y="93980"/>
                    <a:pt x="3683631" y="93345"/>
                  </a:cubicBezTo>
                  <a:lnTo>
                    <a:pt x="3681726" y="106680"/>
                  </a:lnTo>
                  <a:cubicBezTo>
                    <a:pt x="3681726" y="106680"/>
                    <a:pt x="3677916" y="108585"/>
                    <a:pt x="3675376" y="109220"/>
                  </a:cubicBezTo>
                  <a:cubicBezTo>
                    <a:pt x="3672836" y="109855"/>
                    <a:pt x="3670296" y="110490"/>
                    <a:pt x="3667121" y="110490"/>
                  </a:cubicBezTo>
                  <a:cubicBezTo>
                    <a:pt x="3664581" y="110490"/>
                    <a:pt x="3662041" y="110490"/>
                    <a:pt x="3660136" y="109220"/>
                  </a:cubicBezTo>
                  <a:cubicBezTo>
                    <a:pt x="3658231" y="108585"/>
                    <a:pt x="3656326" y="107315"/>
                    <a:pt x="3654421" y="105410"/>
                  </a:cubicBezTo>
                  <a:cubicBezTo>
                    <a:pt x="3652516" y="103505"/>
                    <a:pt x="3651246" y="101600"/>
                    <a:pt x="3650611" y="99060"/>
                  </a:cubicBezTo>
                  <a:cubicBezTo>
                    <a:pt x="3649976" y="96520"/>
                    <a:pt x="3649341" y="93345"/>
                    <a:pt x="3649341" y="89535"/>
                  </a:cubicBezTo>
                  <a:lnTo>
                    <a:pt x="3649341" y="44450"/>
                  </a:lnTo>
                  <a:lnTo>
                    <a:pt x="3638546" y="44450"/>
                  </a:lnTo>
                  <a:lnTo>
                    <a:pt x="3638546" y="30480"/>
                  </a:lnTo>
                  <a:lnTo>
                    <a:pt x="3649341" y="30480"/>
                  </a:lnTo>
                  <a:lnTo>
                    <a:pt x="3649341" y="8255"/>
                  </a:lnTo>
                  <a:close/>
                  <a:moveTo>
                    <a:pt x="3610605" y="0"/>
                  </a:moveTo>
                  <a:lnTo>
                    <a:pt x="3610605" y="30480"/>
                  </a:lnTo>
                  <a:lnTo>
                    <a:pt x="3629655" y="30480"/>
                  </a:lnTo>
                  <a:lnTo>
                    <a:pt x="3629655" y="44450"/>
                  </a:lnTo>
                  <a:lnTo>
                    <a:pt x="3610605" y="44450"/>
                  </a:lnTo>
                  <a:lnTo>
                    <a:pt x="3610605" y="86995"/>
                  </a:lnTo>
                  <a:cubicBezTo>
                    <a:pt x="3610605" y="86995"/>
                    <a:pt x="3610605" y="90170"/>
                    <a:pt x="3610605" y="91440"/>
                  </a:cubicBezTo>
                  <a:cubicBezTo>
                    <a:pt x="3610605" y="92710"/>
                    <a:pt x="3611240" y="93345"/>
                    <a:pt x="3611875" y="94615"/>
                  </a:cubicBezTo>
                  <a:cubicBezTo>
                    <a:pt x="3612510" y="95250"/>
                    <a:pt x="3613145" y="95885"/>
                    <a:pt x="3614415" y="95885"/>
                  </a:cubicBezTo>
                  <a:cubicBezTo>
                    <a:pt x="3615685" y="95885"/>
                    <a:pt x="3616955" y="95885"/>
                    <a:pt x="3618225" y="95885"/>
                  </a:cubicBezTo>
                  <a:cubicBezTo>
                    <a:pt x="3620130" y="95885"/>
                    <a:pt x="3622035" y="95885"/>
                    <a:pt x="3624575" y="95250"/>
                  </a:cubicBezTo>
                  <a:cubicBezTo>
                    <a:pt x="3626480" y="94615"/>
                    <a:pt x="3628385" y="93980"/>
                    <a:pt x="3629655" y="93345"/>
                  </a:cubicBezTo>
                  <a:lnTo>
                    <a:pt x="3627750" y="106680"/>
                  </a:lnTo>
                  <a:cubicBezTo>
                    <a:pt x="3627750" y="106680"/>
                    <a:pt x="3623940" y="108585"/>
                    <a:pt x="3621400" y="109220"/>
                  </a:cubicBezTo>
                  <a:cubicBezTo>
                    <a:pt x="3618860" y="109855"/>
                    <a:pt x="3616320" y="110490"/>
                    <a:pt x="3613145" y="110490"/>
                  </a:cubicBezTo>
                  <a:cubicBezTo>
                    <a:pt x="3610605" y="110490"/>
                    <a:pt x="3608065" y="110490"/>
                    <a:pt x="3606160" y="109220"/>
                  </a:cubicBezTo>
                  <a:cubicBezTo>
                    <a:pt x="3604255" y="108585"/>
                    <a:pt x="3602350" y="107315"/>
                    <a:pt x="3600445" y="105410"/>
                  </a:cubicBezTo>
                  <a:cubicBezTo>
                    <a:pt x="3598540" y="103505"/>
                    <a:pt x="3597270" y="101600"/>
                    <a:pt x="3596635" y="99060"/>
                  </a:cubicBezTo>
                  <a:cubicBezTo>
                    <a:pt x="3596000" y="96520"/>
                    <a:pt x="3595365" y="93345"/>
                    <a:pt x="3595365" y="89535"/>
                  </a:cubicBezTo>
                  <a:lnTo>
                    <a:pt x="3595365" y="44450"/>
                  </a:lnTo>
                  <a:lnTo>
                    <a:pt x="3584570" y="44450"/>
                  </a:lnTo>
                  <a:lnTo>
                    <a:pt x="3584570" y="30480"/>
                  </a:lnTo>
                  <a:lnTo>
                    <a:pt x="3595365" y="30480"/>
                  </a:lnTo>
                  <a:lnTo>
                    <a:pt x="3595365" y="8255"/>
                  </a:lnTo>
                  <a:close/>
                  <a:moveTo>
                    <a:pt x="3445505" y="0"/>
                  </a:moveTo>
                  <a:lnTo>
                    <a:pt x="3445505" y="37465"/>
                  </a:lnTo>
                  <a:cubicBezTo>
                    <a:pt x="3445505" y="37465"/>
                    <a:pt x="3448680" y="34925"/>
                    <a:pt x="3449950" y="33655"/>
                  </a:cubicBezTo>
                  <a:cubicBezTo>
                    <a:pt x="3451220" y="33020"/>
                    <a:pt x="3452490" y="31750"/>
                    <a:pt x="3453760" y="31115"/>
                  </a:cubicBezTo>
                  <a:cubicBezTo>
                    <a:pt x="3455030" y="30480"/>
                    <a:pt x="3456935" y="29845"/>
                    <a:pt x="3458840" y="29210"/>
                  </a:cubicBezTo>
                  <a:cubicBezTo>
                    <a:pt x="3460745" y="29210"/>
                    <a:pt x="3463285" y="28575"/>
                    <a:pt x="3465825" y="28575"/>
                  </a:cubicBezTo>
                  <a:cubicBezTo>
                    <a:pt x="3470270" y="28575"/>
                    <a:pt x="3474080" y="29210"/>
                    <a:pt x="3477890" y="31115"/>
                  </a:cubicBezTo>
                  <a:cubicBezTo>
                    <a:pt x="3481700" y="32385"/>
                    <a:pt x="3484875" y="34925"/>
                    <a:pt x="3487415" y="38735"/>
                  </a:cubicBezTo>
                  <a:cubicBezTo>
                    <a:pt x="3489955" y="41910"/>
                    <a:pt x="3492495" y="46355"/>
                    <a:pt x="3493765" y="51435"/>
                  </a:cubicBezTo>
                  <a:cubicBezTo>
                    <a:pt x="3495035" y="56515"/>
                    <a:pt x="3496305" y="62865"/>
                    <a:pt x="3496305" y="70485"/>
                  </a:cubicBezTo>
                  <a:lnTo>
                    <a:pt x="3495670" y="71120"/>
                  </a:lnTo>
                  <a:cubicBezTo>
                    <a:pt x="3495670" y="77470"/>
                    <a:pt x="3495035" y="83820"/>
                    <a:pt x="3493130" y="88265"/>
                  </a:cubicBezTo>
                  <a:cubicBezTo>
                    <a:pt x="3491225" y="93345"/>
                    <a:pt x="3489320" y="97155"/>
                    <a:pt x="3486145" y="100330"/>
                  </a:cubicBezTo>
                  <a:cubicBezTo>
                    <a:pt x="3483605" y="103505"/>
                    <a:pt x="3479795" y="106045"/>
                    <a:pt x="3476620" y="107315"/>
                  </a:cubicBezTo>
                  <a:cubicBezTo>
                    <a:pt x="3472810" y="109220"/>
                    <a:pt x="3469000" y="109855"/>
                    <a:pt x="3465190" y="109855"/>
                  </a:cubicBezTo>
                  <a:cubicBezTo>
                    <a:pt x="3461380" y="109855"/>
                    <a:pt x="3457570" y="109220"/>
                    <a:pt x="3454395" y="107315"/>
                  </a:cubicBezTo>
                  <a:cubicBezTo>
                    <a:pt x="3450585" y="105410"/>
                    <a:pt x="3448045" y="103505"/>
                    <a:pt x="3445505" y="100965"/>
                  </a:cubicBezTo>
                  <a:lnTo>
                    <a:pt x="3445505" y="107950"/>
                  </a:lnTo>
                  <a:lnTo>
                    <a:pt x="3430265" y="107950"/>
                  </a:lnTo>
                  <a:lnTo>
                    <a:pt x="3430265" y="7620"/>
                  </a:lnTo>
                  <a:close/>
                  <a:moveTo>
                    <a:pt x="2380611" y="0"/>
                  </a:moveTo>
                  <a:lnTo>
                    <a:pt x="2380611" y="30480"/>
                  </a:lnTo>
                  <a:lnTo>
                    <a:pt x="2399661" y="30480"/>
                  </a:lnTo>
                  <a:lnTo>
                    <a:pt x="2399661" y="44450"/>
                  </a:lnTo>
                  <a:lnTo>
                    <a:pt x="2380611" y="44450"/>
                  </a:lnTo>
                  <a:lnTo>
                    <a:pt x="2380611" y="86995"/>
                  </a:lnTo>
                  <a:cubicBezTo>
                    <a:pt x="2380611" y="86995"/>
                    <a:pt x="2380611" y="90170"/>
                    <a:pt x="2380611" y="91440"/>
                  </a:cubicBezTo>
                  <a:cubicBezTo>
                    <a:pt x="2380611" y="92710"/>
                    <a:pt x="2381246" y="93345"/>
                    <a:pt x="2381881" y="94615"/>
                  </a:cubicBezTo>
                  <a:cubicBezTo>
                    <a:pt x="2382516" y="95250"/>
                    <a:pt x="2383151" y="95885"/>
                    <a:pt x="2384421" y="95885"/>
                  </a:cubicBezTo>
                  <a:cubicBezTo>
                    <a:pt x="2385691" y="95885"/>
                    <a:pt x="2386961" y="95885"/>
                    <a:pt x="2388231" y="95885"/>
                  </a:cubicBezTo>
                  <a:cubicBezTo>
                    <a:pt x="2390136" y="95885"/>
                    <a:pt x="2392041" y="95885"/>
                    <a:pt x="2394581" y="95250"/>
                  </a:cubicBezTo>
                  <a:cubicBezTo>
                    <a:pt x="2396486" y="94615"/>
                    <a:pt x="2398391" y="93980"/>
                    <a:pt x="2399661" y="93345"/>
                  </a:cubicBezTo>
                  <a:lnTo>
                    <a:pt x="2397756" y="106680"/>
                  </a:lnTo>
                  <a:cubicBezTo>
                    <a:pt x="2397756" y="106680"/>
                    <a:pt x="2393946" y="108585"/>
                    <a:pt x="2391406" y="109220"/>
                  </a:cubicBezTo>
                  <a:cubicBezTo>
                    <a:pt x="2388866" y="109855"/>
                    <a:pt x="2386326" y="110490"/>
                    <a:pt x="2383151" y="110490"/>
                  </a:cubicBezTo>
                  <a:cubicBezTo>
                    <a:pt x="2380611" y="110490"/>
                    <a:pt x="2378071" y="110490"/>
                    <a:pt x="2376166" y="109220"/>
                  </a:cubicBezTo>
                  <a:cubicBezTo>
                    <a:pt x="2374261" y="108585"/>
                    <a:pt x="2372356" y="107315"/>
                    <a:pt x="2370451" y="105410"/>
                  </a:cubicBezTo>
                  <a:cubicBezTo>
                    <a:pt x="2368546" y="103505"/>
                    <a:pt x="2367276" y="101600"/>
                    <a:pt x="2366641" y="99060"/>
                  </a:cubicBezTo>
                  <a:cubicBezTo>
                    <a:pt x="2366006" y="96520"/>
                    <a:pt x="2365371" y="93345"/>
                    <a:pt x="2365371" y="89535"/>
                  </a:cubicBezTo>
                  <a:lnTo>
                    <a:pt x="2365371" y="44450"/>
                  </a:lnTo>
                  <a:lnTo>
                    <a:pt x="2354576" y="44450"/>
                  </a:lnTo>
                  <a:lnTo>
                    <a:pt x="2354576" y="30480"/>
                  </a:lnTo>
                  <a:lnTo>
                    <a:pt x="2365371" y="30480"/>
                  </a:lnTo>
                  <a:lnTo>
                    <a:pt x="2365371" y="8255"/>
                  </a:lnTo>
                  <a:close/>
                  <a:moveTo>
                    <a:pt x="2150741" y="0"/>
                  </a:moveTo>
                  <a:lnTo>
                    <a:pt x="2150741" y="30480"/>
                  </a:lnTo>
                  <a:lnTo>
                    <a:pt x="2169791" y="30480"/>
                  </a:lnTo>
                  <a:lnTo>
                    <a:pt x="2169791" y="44450"/>
                  </a:lnTo>
                  <a:lnTo>
                    <a:pt x="2150741" y="44450"/>
                  </a:lnTo>
                  <a:lnTo>
                    <a:pt x="2150741" y="86995"/>
                  </a:lnTo>
                  <a:cubicBezTo>
                    <a:pt x="2150741" y="86995"/>
                    <a:pt x="2150741" y="90170"/>
                    <a:pt x="2150741" y="91440"/>
                  </a:cubicBezTo>
                  <a:cubicBezTo>
                    <a:pt x="2150741" y="92710"/>
                    <a:pt x="2151376" y="93345"/>
                    <a:pt x="2152011" y="94615"/>
                  </a:cubicBezTo>
                  <a:cubicBezTo>
                    <a:pt x="2152646" y="95250"/>
                    <a:pt x="2153281" y="95885"/>
                    <a:pt x="2154551" y="95885"/>
                  </a:cubicBezTo>
                  <a:cubicBezTo>
                    <a:pt x="2155821" y="95885"/>
                    <a:pt x="2157091" y="95885"/>
                    <a:pt x="2158361" y="95885"/>
                  </a:cubicBezTo>
                  <a:cubicBezTo>
                    <a:pt x="2160266" y="95885"/>
                    <a:pt x="2162171" y="95885"/>
                    <a:pt x="2164711" y="95250"/>
                  </a:cubicBezTo>
                  <a:cubicBezTo>
                    <a:pt x="2166616" y="94615"/>
                    <a:pt x="2168521" y="93980"/>
                    <a:pt x="2169791" y="93345"/>
                  </a:cubicBezTo>
                  <a:lnTo>
                    <a:pt x="2167886" y="106680"/>
                  </a:lnTo>
                  <a:cubicBezTo>
                    <a:pt x="2167886" y="106680"/>
                    <a:pt x="2164076" y="108585"/>
                    <a:pt x="2161536" y="109220"/>
                  </a:cubicBezTo>
                  <a:cubicBezTo>
                    <a:pt x="2158996" y="109855"/>
                    <a:pt x="2156456" y="110490"/>
                    <a:pt x="2153281" y="110490"/>
                  </a:cubicBezTo>
                  <a:cubicBezTo>
                    <a:pt x="2150741" y="110490"/>
                    <a:pt x="2148201" y="110490"/>
                    <a:pt x="2146296" y="109220"/>
                  </a:cubicBezTo>
                  <a:cubicBezTo>
                    <a:pt x="2144391" y="108585"/>
                    <a:pt x="2142486" y="107315"/>
                    <a:pt x="2140581" y="105410"/>
                  </a:cubicBezTo>
                  <a:cubicBezTo>
                    <a:pt x="2138676" y="103505"/>
                    <a:pt x="2137406" y="101600"/>
                    <a:pt x="2136771" y="99060"/>
                  </a:cubicBezTo>
                  <a:cubicBezTo>
                    <a:pt x="2136136" y="96520"/>
                    <a:pt x="2135501" y="93345"/>
                    <a:pt x="2135501" y="89535"/>
                  </a:cubicBezTo>
                  <a:lnTo>
                    <a:pt x="2135501" y="44450"/>
                  </a:lnTo>
                  <a:lnTo>
                    <a:pt x="2124706" y="44450"/>
                  </a:lnTo>
                  <a:lnTo>
                    <a:pt x="2124706" y="30480"/>
                  </a:lnTo>
                  <a:lnTo>
                    <a:pt x="2135501" y="30480"/>
                  </a:lnTo>
                  <a:lnTo>
                    <a:pt x="2135501" y="8255"/>
                  </a:lnTo>
                  <a:close/>
                  <a:moveTo>
                    <a:pt x="2096131" y="0"/>
                  </a:moveTo>
                  <a:lnTo>
                    <a:pt x="2096131" y="30480"/>
                  </a:lnTo>
                  <a:lnTo>
                    <a:pt x="2115181" y="30480"/>
                  </a:lnTo>
                  <a:lnTo>
                    <a:pt x="2115181" y="44450"/>
                  </a:lnTo>
                  <a:lnTo>
                    <a:pt x="2096131" y="44450"/>
                  </a:lnTo>
                  <a:lnTo>
                    <a:pt x="2096131" y="86995"/>
                  </a:lnTo>
                  <a:cubicBezTo>
                    <a:pt x="2096131" y="86995"/>
                    <a:pt x="2096131" y="90170"/>
                    <a:pt x="2096131" y="91440"/>
                  </a:cubicBezTo>
                  <a:cubicBezTo>
                    <a:pt x="2096131" y="92710"/>
                    <a:pt x="2096766" y="93345"/>
                    <a:pt x="2097401" y="94615"/>
                  </a:cubicBezTo>
                  <a:cubicBezTo>
                    <a:pt x="2098036" y="95250"/>
                    <a:pt x="2098671" y="95885"/>
                    <a:pt x="2099941" y="95885"/>
                  </a:cubicBezTo>
                  <a:cubicBezTo>
                    <a:pt x="2101211" y="95885"/>
                    <a:pt x="2102481" y="95885"/>
                    <a:pt x="2103751" y="95885"/>
                  </a:cubicBezTo>
                  <a:cubicBezTo>
                    <a:pt x="2105656" y="95885"/>
                    <a:pt x="2107561" y="95885"/>
                    <a:pt x="2110101" y="95250"/>
                  </a:cubicBezTo>
                  <a:cubicBezTo>
                    <a:pt x="2112006" y="94615"/>
                    <a:pt x="2113911" y="93980"/>
                    <a:pt x="2115181" y="93345"/>
                  </a:cubicBezTo>
                  <a:lnTo>
                    <a:pt x="2113276" y="106680"/>
                  </a:lnTo>
                  <a:cubicBezTo>
                    <a:pt x="2113276" y="106680"/>
                    <a:pt x="2109466" y="108585"/>
                    <a:pt x="2106926" y="109220"/>
                  </a:cubicBezTo>
                  <a:cubicBezTo>
                    <a:pt x="2104386" y="109855"/>
                    <a:pt x="2101846" y="110490"/>
                    <a:pt x="2098671" y="110490"/>
                  </a:cubicBezTo>
                  <a:cubicBezTo>
                    <a:pt x="2096131" y="110490"/>
                    <a:pt x="2093591" y="110490"/>
                    <a:pt x="2091686" y="109220"/>
                  </a:cubicBezTo>
                  <a:cubicBezTo>
                    <a:pt x="2089781" y="108585"/>
                    <a:pt x="2087876" y="107315"/>
                    <a:pt x="2085971" y="105410"/>
                  </a:cubicBezTo>
                  <a:cubicBezTo>
                    <a:pt x="2084066" y="103505"/>
                    <a:pt x="2082796" y="101600"/>
                    <a:pt x="2082161" y="99060"/>
                  </a:cubicBezTo>
                  <a:cubicBezTo>
                    <a:pt x="2081526" y="96520"/>
                    <a:pt x="2080891" y="93345"/>
                    <a:pt x="2080891" y="89535"/>
                  </a:cubicBezTo>
                  <a:lnTo>
                    <a:pt x="2080891" y="44450"/>
                  </a:lnTo>
                  <a:lnTo>
                    <a:pt x="2070096" y="44450"/>
                  </a:lnTo>
                  <a:lnTo>
                    <a:pt x="2070096" y="30480"/>
                  </a:lnTo>
                  <a:lnTo>
                    <a:pt x="2080891" y="30480"/>
                  </a:lnTo>
                  <a:lnTo>
                    <a:pt x="2080891" y="8255"/>
                  </a:lnTo>
                  <a:close/>
                  <a:moveTo>
                    <a:pt x="1931665" y="0"/>
                  </a:moveTo>
                  <a:lnTo>
                    <a:pt x="1931665" y="37465"/>
                  </a:lnTo>
                  <a:cubicBezTo>
                    <a:pt x="1931665" y="37465"/>
                    <a:pt x="1934840" y="34925"/>
                    <a:pt x="1936110" y="33655"/>
                  </a:cubicBezTo>
                  <a:cubicBezTo>
                    <a:pt x="1937380" y="33020"/>
                    <a:pt x="1938650" y="31750"/>
                    <a:pt x="1939920" y="31115"/>
                  </a:cubicBezTo>
                  <a:cubicBezTo>
                    <a:pt x="1941190" y="30480"/>
                    <a:pt x="1943095" y="29845"/>
                    <a:pt x="1945000" y="29210"/>
                  </a:cubicBezTo>
                  <a:cubicBezTo>
                    <a:pt x="1946905" y="29210"/>
                    <a:pt x="1949445" y="28575"/>
                    <a:pt x="1951985" y="28575"/>
                  </a:cubicBezTo>
                  <a:cubicBezTo>
                    <a:pt x="1956430" y="28575"/>
                    <a:pt x="1960240" y="29210"/>
                    <a:pt x="1964050" y="31115"/>
                  </a:cubicBezTo>
                  <a:cubicBezTo>
                    <a:pt x="1967860" y="32385"/>
                    <a:pt x="1971035" y="34925"/>
                    <a:pt x="1973575" y="38735"/>
                  </a:cubicBezTo>
                  <a:cubicBezTo>
                    <a:pt x="1976115" y="41910"/>
                    <a:pt x="1978655" y="46355"/>
                    <a:pt x="1979925" y="51435"/>
                  </a:cubicBezTo>
                  <a:cubicBezTo>
                    <a:pt x="1981195" y="56515"/>
                    <a:pt x="1982465" y="62865"/>
                    <a:pt x="1982465" y="70485"/>
                  </a:cubicBezTo>
                  <a:lnTo>
                    <a:pt x="1981830" y="71120"/>
                  </a:lnTo>
                  <a:cubicBezTo>
                    <a:pt x="1981830" y="77470"/>
                    <a:pt x="1981195" y="83820"/>
                    <a:pt x="1979290" y="88265"/>
                  </a:cubicBezTo>
                  <a:cubicBezTo>
                    <a:pt x="1977385" y="93345"/>
                    <a:pt x="1975480" y="97155"/>
                    <a:pt x="1972305" y="100330"/>
                  </a:cubicBezTo>
                  <a:cubicBezTo>
                    <a:pt x="1969765" y="103505"/>
                    <a:pt x="1965955" y="106045"/>
                    <a:pt x="1962780" y="107315"/>
                  </a:cubicBezTo>
                  <a:cubicBezTo>
                    <a:pt x="1958970" y="109220"/>
                    <a:pt x="1955160" y="109855"/>
                    <a:pt x="1951350" y="109855"/>
                  </a:cubicBezTo>
                  <a:cubicBezTo>
                    <a:pt x="1947540" y="109855"/>
                    <a:pt x="1943730" y="109220"/>
                    <a:pt x="1940555" y="107315"/>
                  </a:cubicBezTo>
                  <a:cubicBezTo>
                    <a:pt x="1936745" y="105410"/>
                    <a:pt x="1934205" y="103505"/>
                    <a:pt x="1931665" y="100965"/>
                  </a:cubicBezTo>
                  <a:lnTo>
                    <a:pt x="1931665" y="107950"/>
                  </a:lnTo>
                  <a:lnTo>
                    <a:pt x="1916425" y="107950"/>
                  </a:lnTo>
                  <a:lnTo>
                    <a:pt x="1916425" y="7620"/>
                  </a:lnTo>
                  <a:close/>
                  <a:moveTo>
                    <a:pt x="1316991" y="0"/>
                  </a:moveTo>
                  <a:lnTo>
                    <a:pt x="1316991" y="30480"/>
                  </a:lnTo>
                  <a:lnTo>
                    <a:pt x="1336041" y="30480"/>
                  </a:lnTo>
                  <a:lnTo>
                    <a:pt x="1336041" y="44450"/>
                  </a:lnTo>
                  <a:lnTo>
                    <a:pt x="1316991" y="44450"/>
                  </a:lnTo>
                  <a:lnTo>
                    <a:pt x="1316991" y="86995"/>
                  </a:lnTo>
                  <a:cubicBezTo>
                    <a:pt x="1316991" y="86995"/>
                    <a:pt x="1316991" y="90170"/>
                    <a:pt x="1316991" y="91440"/>
                  </a:cubicBezTo>
                  <a:cubicBezTo>
                    <a:pt x="1316991" y="92710"/>
                    <a:pt x="1317627" y="93345"/>
                    <a:pt x="1318261" y="94615"/>
                  </a:cubicBezTo>
                  <a:cubicBezTo>
                    <a:pt x="1318896" y="95250"/>
                    <a:pt x="1319531" y="95885"/>
                    <a:pt x="1320801" y="95885"/>
                  </a:cubicBezTo>
                  <a:cubicBezTo>
                    <a:pt x="1322072" y="95885"/>
                    <a:pt x="1323341" y="95885"/>
                    <a:pt x="1324611" y="95885"/>
                  </a:cubicBezTo>
                  <a:cubicBezTo>
                    <a:pt x="1326516" y="95885"/>
                    <a:pt x="1328422" y="95885"/>
                    <a:pt x="1330961" y="95250"/>
                  </a:cubicBezTo>
                  <a:cubicBezTo>
                    <a:pt x="1332867" y="94615"/>
                    <a:pt x="1334772" y="93980"/>
                    <a:pt x="1336041" y="93345"/>
                  </a:cubicBezTo>
                  <a:lnTo>
                    <a:pt x="1334136" y="106680"/>
                  </a:lnTo>
                  <a:cubicBezTo>
                    <a:pt x="1334136" y="106680"/>
                    <a:pt x="1330326" y="108585"/>
                    <a:pt x="1327786" y="109220"/>
                  </a:cubicBezTo>
                  <a:cubicBezTo>
                    <a:pt x="1325246" y="109855"/>
                    <a:pt x="1322706" y="110490"/>
                    <a:pt x="1319531" y="110490"/>
                  </a:cubicBezTo>
                  <a:cubicBezTo>
                    <a:pt x="1316991" y="110490"/>
                    <a:pt x="1314451" y="110490"/>
                    <a:pt x="1312546" y="109220"/>
                  </a:cubicBezTo>
                  <a:cubicBezTo>
                    <a:pt x="1310641" y="108585"/>
                    <a:pt x="1308736" y="107315"/>
                    <a:pt x="1306831" y="105410"/>
                  </a:cubicBezTo>
                  <a:cubicBezTo>
                    <a:pt x="1304926" y="103505"/>
                    <a:pt x="1303656" y="101600"/>
                    <a:pt x="1303021" y="99060"/>
                  </a:cubicBezTo>
                  <a:cubicBezTo>
                    <a:pt x="1302386" y="96520"/>
                    <a:pt x="1301751" y="93345"/>
                    <a:pt x="1301751" y="89535"/>
                  </a:cubicBezTo>
                  <a:lnTo>
                    <a:pt x="1301751" y="44450"/>
                  </a:lnTo>
                  <a:lnTo>
                    <a:pt x="1290956" y="44450"/>
                  </a:lnTo>
                  <a:lnTo>
                    <a:pt x="1290956" y="30480"/>
                  </a:lnTo>
                  <a:lnTo>
                    <a:pt x="1301751" y="30480"/>
                  </a:lnTo>
                  <a:lnTo>
                    <a:pt x="1301751" y="8255"/>
                  </a:lnTo>
                  <a:close/>
                  <a:moveTo>
                    <a:pt x="751206" y="0"/>
                  </a:moveTo>
                  <a:lnTo>
                    <a:pt x="751206" y="30480"/>
                  </a:lnTo>
                  <a:lnTo>
                    <a:pt x="770256" y="30480"/>
                  </a:lnTo>
                  <a:lnTo>
                    <a:pt x="770256" y="44450"/>
                  </a:lnTo>
                  <a:lnTo>
                    <a:pt x="751206" y="44450"/>
                  </a:lnTo>
                  <a:lnTo>
                    <a:pt x="751206" y="86995"/>
                  </a:lnTo>
                  <a:cubicBezTo>
                    <a:pt x="751206" y="86995"/>
                    <a:pt x="751206" y="90170"/>
                    <a:pt x="751206" y="91440"/>
                  </a:cubicBezTo>
                  <a:cubicBezTo>
                    <a:pt x="751206" y="92710"/>
                    <a:pt x="751841" y="93345"/>
                    <a:pt x="752476" y="94615"/>
                  </a:cubicBezTo>
                  <a:cubicBezTo>
                    <a:pt x="753111" y="95250"/>
                    <a:pt x="753746" y="95885"/>
                    <a:pt x="755016" y="95885"/>
                  </a:cubicBezTo>
                  <a:cubicBezTo>
                    <a:pt x="756286" y="95885"/>
                    <a:pt x="757556" y="95885"/>
                    <a:pt x="758826" y="95885"/>
                  </a:cubicBezTo>
                  <a:cubicBezTo>
                    <a:pt x="760731" y="95885"/>
                    <a:pt x="762636" y="95885"/>
                    <a:pt x="765176" y="95250"/>
                  </a:cubicBezTo>
                  <a:cubicBezTo>
                    <a:pt x="767081" y="94615"/>
                    <a:pt x="768986" y="93980"/>
                    <a:pt x="770256" y="93345"/>
                  </a:cubicBezTo>
                  <a:lnTo>
                    <a:pt x="768351" y="106680"/>
                  </a:lnTo>
                  <a:cubicBezTo>
                    <a:pt x="768351" y="106680"/>
                    <a:pt x="764541" y="108585"/>
                    <a:pt x="762001" y="109220"/>
                  </a:cubicBezTo>
                  <a:cubicBezTo>
                    <a:pt x="759461" y="109855"/>
                    <a:pt x="756921" y="110490"/>
                    <a:pt x="753746" y="110490"/>
                  </a:cubicBezTo>
                  <a:cubicBezTo>
                    <a:pt x="751206" y="110490"/>
                    <a:pt x="748666" y="110490"/>
                    <a:pt x="746761" y="109220"/>
                  </a:cubicBezTo>
                  <a:cubicBezTo>
                    <a:pt x="744856" y="108585"/>
                    <a:pt x="742951" y="107315"/>
                    <a:pt x="741045" y="105410"/>
                  </a:cubicBezTo>
                  <a:cubicBezTo>
                    <a:pt x="739141" y="103505"/>
                    <a:pt x="737871" y="101600"/>
                    <a:pt x="737236" y="99060"/>
                  </a:cubicBezTo>
                  <a:cubicBezTo>
                    <a:pt x="736600" y="96520"/>
                    <a:pt x="735966" y="93345"/>
                    <a:pt x="735966" y="89535"/>
                  </a:cubicBezTo>
                  <a:lnTo>
                    <a:pt x="735966" y="44450"/>
                  </a:lnTo>
                  <a:lnTo>
                    <a:pt x="725171" y="44450"/>
                  </a:lnTo>
                  <a:lnTo>
                    <a:pt x="725171" y="30480"/>
                  </a:lnTo>
                  <a:lnTo>
                    <a:pt x="735966" y="30480"/>
                  </a:lnTo>
                  <a:lnTo>
                    <a:pt x="735966" y="8255"/>
                  </a:lnTo>
                  <a:close/>
                  <a:moveTo>
                    <a:pt x="521335" y="0"/>
                  </a:moveTo>
                  <a:lnTo>
                    <a:pt x="521335" y="30480"/>
                  </a:lnTo>
                  <a:lnTo>
                    <a:pt x="540385" y="30480"/>
                  </a:lnTo>
                  <a:lnTo>
                    <a:pt x="540385" y="44450"/>
                  </a:lnTo>
                  <a:lnTo>
                    <a:pt x="521335" y="44450"/>
                  </a:lnTo>
                  <a:lnTo>
                    <a:pt x="521335" y="86995"/>
                  </a:lnTo>
                  <a:cubicBezTo>
                    <a:pt x="521335" y="86995"/>
                    <a:pt x="521335" y="90170"/>
                    <a:pt x="521335" y="91440"/>
                  </a:cubicBezTo>
                  <a:cubicBezTo>
                    <a:pt x="521335" y="92710"/>
                    <a:pt x="521970" y="93345"/>
                    <a:pt x="522605" y="94615"/>
                  </a:cubicBezTo>
                  <a:cubicBezTo>
                    <a:pt x="523240" y="95250"/>
                    <a:pt x="523875" y="95885"/>
                    <a:pt x="525145" y="95885"/>
                  </a:cubicBezTo>
                  <a:cubicBezTo>
                    <a:pt x="526415" y="95885"/>
                    <a:pt x="527685" y="95885"/>
                    <a:pt x="528955" y="95885"/>
                  </a:cubicBezTo>
                  <a:cubicBezTo>
                    <a:pt x="530860" y="95885"/>
                    <a:pt x="532765" y="95885"/>
                    <a:pt x="535305" y="95250"/>
                  </a:cubicBezTo>
                  <a:cubicBezTo>
                    <a:pt x="537210" y="94615"/>
                    <a:pt x="539115" y="93980"/>
                    <a:pt x="540385" y="93345"/>
                  </a:cubicBezTo>
                  <a:lnTo>
                    <a:pt x="538480" y="106680"/>
                  </a:lnTo>
                  <a:cubicBezTo>
                    <a:pt x="538480" y="106680"/>
                    <a:pt x="534670" y="108585"/>
                    <a:pt x="532130" y="109220"/>
                  </a:cubicBezTo>
                  <a:cubicBezTo>
                    <a:pt x="529590" y="109855"/>
                    <a:pt x="527050" y="110490"/>
                    <a:pt x="523875" y="110490"/>
                  </a:cubicBezTo>
                  <a:cubicBezTo>
                    <a:pt x="521335" y="110490"/>
                    <a:pt x="518795" y="110490"/>
                    <a:pt x="516890" y="109220"/>
                  </a:cubicBezTo>
                  <a:cubicBezTo>
                    <a:pt x="514985" y="108585"/>
                    <a:pt x="513080" y="107315"/>
                    <a:pt x="511175" y="105410"/>
                  </a:cubicBezTo>
                  <a:cubicBezTo>
                    <a:pt x="509270" y="103505"/>
                    <a:pt x="508000" y="101600"/>
                    <a:pt x="507365" y="99060"/>
                  </a:cubicBezTo>
                  <a:cubicBezTo>
                    <a:pt x="506730" y="96520"/>
                    <a:pt x="506095" y="93345"/>
                    <a:pt x="506095" y="89535"/>
                  </a:cubicBezTo>
                  <a:lnTo>
                    <a:pt x="506095" y="44450"/>
                  </a:lnTo>
                  <a:lnTo>
                    <a:pt x="495300" y="44450"/>
                  </a:lnTo>
                  <a:lnTo>
                    <a:pt x="495300" y="30480"/>
                  </a:lnTo>
                  <a:lnTo>
                    <a:pt x="506095" y="30480"/>
                  </a:lnTo>
                  <a:lnTo>
                    <a:pt x="506095" y="8255"/>
                  </a:lnTo>
                  <a:close/>
                  <a:moveTo>
                    <a:pt x="466724" y="0"/>
                  </a:moveTo>
                  <a:lnTo>
                    <a:pt x="466724" y="30480"/>
                  </a:lnTo>
                  <a:lnTo>
                    <a:pt x="485774" y="30480"/>
                  </a:lnTo>
                  <a:lnTo>
                    <a:pt x="485774" y="44450"/>
                  </a:lnTo>
                  <a:lnTo>
                    <a:pt x="466724" y="44450"/>
                  </a:lnTo>
                  <a:lnTo>
                    <a:pt x="466724" y="86995"/>
                  </a:lnTo>
                  <a:cubicBezTo>
                    <a:pt x="466724" y="86995"/>
                    <a:pt x="466724" y="90170"/>
                    <a:pt x="466724" y="91440"/>
                  </a:cubicBezTo>
                  <a:cubicBezTo>
                    <a:pt x="466724" y="92710"/>
                    <a:pt x="467359" y="93345"/>
                    <a:pt x="467994" y="94615"/>
                  </a:cubicBezTo>
                  <a:cubicBezTo>
                    <a:pt x="468629" y="95250"/>
                    <a:pt x="469264" y="95885"/>
                    <a:pt x="470534" y="95885"/>
                  </a:cubicBezTo>
                  <a:cubicBezTo>
                    <a:pt x="471804" y="95885"/>
                    <a:pt x="473074" y="95885"/>
                    <a:pt x="474344" y="95885"/>
                  </a:cubicBezTo>
                  <a:cubicBezTo>
                    <a:pt x="476249" y="95885"/>
                    <a:pt x="478154" y="95885"/>
                    <a:pt x="480694" y="95250"/>
                  </a:cubicBezTo>
                  <a:cubicBezTo>
                    <a:pt x="482599" y="94615"/>
                    <a:pt x="484504" y="93980"/>
                    <a:pt x="485774" y="93345"/>
                  </a:cubicBezTo>
                  <a:lnTo>
                    <a:pt x="483869" y="106680"/>
                  </a:lnTo>
                  <a:cubicBezTo>
                    <a:pt x="483869" y="106680"/>
                    <a:pt x="480059" y="108585"/>
                    <a:pt x="477519" y="109220"/>
                  </a:cubicBezTo>
                  <a:cubicBezTo>
                    <a:pt x="474979" y="109855"/>
                    <a:pt x="472439" y="110490"/>
                    <a:pt x="469264" y="110490"/>
                  </a:cubicBezTo>
                  <a:cubicBezTo>
                    <a:pt x="466724" y="110490"/>
                    <a:pt x="464184" y="110490"/>
                    <a:pt x="462279" y="109220"/>
                  </a:cubicBezTo>
                  <a:cubicBezTo>
                    <a:pt x="460374" y="108585"/>
                    <a:pt x="458469" y="107315"/>
                    <a:pt x="456564" y="105410"/>
                  </a:cubicBezTo>
                  <a:cubicBezTo>
                    <a:pt x="454659" y="103505"/>
                    <a:pt x="453389" y="101600"/>
                    <a:pt x="452754" y="99060"/>
                  </a:cubicBezTo>
                  <a:cubicBezTo>
                    <a:pt x="452119" y="96520"/>
                    <a:pt x="451484" y="93345"/>
                    <a:pt x="451484" y="89535"/>
                  </a:cubicBezTo>
                  <a:lnTo>
                    <a:pt x="451484" y="44450"/>
                  </a:lnTo>
                  <a:lnTo>
                    <a:pt x="440689" y="44450"/>
                  </a:lnTo>
                  <a:lnTo>
                    <a:pt x="440689" y="30480"/>
                  </a:lnTo>
                  <a:lnTo>
                    <a:pt x="451484" y="30480"/>
                  </a:lnTo>
                  <a:lnTo>
                    <a:pt x="451484" y="8255"/>
                  </a:lnTo>
                  <a:close/>
                  <a:moveTo>
                    <a:pt x="302259" y="0"/>
                  </a:moveTo>
                  <a:lnTo>
                    <a:pt x="302259" y="37465"/>
                  </a:lnTo>
                  <a:cubicBezTo>
                    <a:pt x="302259" y="37465"/>
                    <a:pt x="305434" y="34925"/>
                    <a:pt x="306704" y="33655"/>
                  </a:cubicBezTo>
                  <a:cubicBezTo>
                    <a:pt x="307974" y="33020"/>
                    <a:pt x="309244" y="31750"/>
                    <a:pt x="310514" y="31115"/>
                  </a:cubicBezTo>
                  <a:cubicBezTo>
                    <a:pt x="311784" y="30480"/>
                    <a:pt x="313689" y="29845"/>
                    <a:pt x="315594" y="29210"/>
                  </a:cubicBezTo>
                  <a:cubicBezTo>
                    <a:pt x="317499" y="29210"/>
                    <a:pt x="320039" y="28575"/>
                    <a:pt x="322579" y="28575"/>
                  </a:cubicBezTo>
                  <a:cubicBezTo>
                    <a:pt x="327024" y="28575"/>
                    <a:pt x="330834" y="29210"/>
                    <a:pt x="334644" y="31115"/>
                  </a:cubicBezTo>
                  <a:cubicBezTo>
                    <a:pt x="338454" y="32385"/>
                    <a:pt x="341629" y="34925"/>
                    <a:pt x="344169" y="38735"/>
                  </a:cubicBezTo>
                  <a:cubicBezTo>
                    <a:pt x="346709" y="41910"/>
                    <a:pt x="349249" y="46355"/>
                    <a:pt x="350519" y="51435"/>
                  </a:cubicBezTo>
                  <a:cubicBezTo>
                    <a:pt x="351789" y="56515"/>
                    <a:pt x="353059" y="62865"/>
                    <a:pt x="353059" y="70485"/>
                  </a:cubicBezTo>
                  <a:lnTo>
                    <a:pt x="352424" y="71120"/>
                  </a:lnTo>
                  <a:cubicBezTo>
                    <a:pt x="352424" y="77470"/>
                    <a:pt x="351789" y="83820"/>
                    <a:pt x="349884" y="88265"/>
                  </a:cubicBezTo>
                  <a:cubicBezTo>
                    <a:pt x="347979" y="93345"/>
                    <a:pt x="346074" y="97155"/>
                    <a:pt x="342899" y="100330"/>
                  </a:cubicBezTo>
                  <a:cubicBezTo>
                    <a:pt x="340359" y="103505"/>
                    <a:pt x="336549" y="106045"/>
                    <a:pt x="333374" y="107315"/>
                  </a:cubicBezTo>
                  <a:cubicBezTo>
                    <a:pt x="329564" y="109220"/>
                    <a:pt x="325754" y="109855"/>
                    <a:pt x="321944" y="109855"/>
                  </a:cubicBezTo>
                  <a:cubicBezTo>
                    <a:pt x="318134" y="109855"/>
                    <a:pt x="314324" y="109220"/>
                    <a:pt x="311149" y="107315"/>
                  </a:cubicBezTo>
                  <a:cubicBezTo>
                    <a:pt x="307339" y="105410"/>
                    <a:pt x="304799" y="103505"/>
                    <a:pt x="302259" y="100965"/>
                  </a:cubicBezTo>
                  <a:lnTo>
                    <a:pt x="302259" y="107950"/>
                  </a:lnTo>
                  <a:lnTo>
                    <a:pt x="287019" y="107950"/>
                  </a:lnTo>
                  <a:lnTo>
                    <a:pt x="287019" y="7620"/>
                  </a:lnTo>
                  <a:close/>
                </a:path>
              </a:pathLst>
            </a:custGeom>
            <a:solidFill>
              <a:srgbClr val="FFFFFF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28" name="Subtitle 2">
            <a:extLst>
              <a:ext uri="{FF2B5EF4-FFF2-40B4-BE49-F238E27FC236}">
                <a16:creationId xmlns:a16="http://schemas.microsoft.com/office/drawing/2014/main" id="{632E76BF-46D5-8E94-88AA-4783DD302E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90225" y="4436486"/>
            <a:ext cx="4910184" cy="511939"/>
          </a:xfrm>
        </p:spPr>
        <p:txBody>
          <a:bodyPr wrap="square">
            <a:noAutofit/>
          </a:bodyPr>
          <a:lstStyle>
            <a:lvl1pPr marL="0" indent="0" algn="l">
              <a:buNone/>
              <a:defRPr lang="en-GB" sz="16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/>
          </a:p>
        </p:txBody>
      </p:sp>
      <p:sp>
        <p:nvSpPr>
          <p:cNvPr id="29" name="Title 4">
            <a:extLst>
              <a:ext uri="{FF2B5EF4-FFF2-40B4-BE49-F238E27FC236}">
                <a16:creationId xmlns:a16="http://schemas.microsoft.com/office/drawing/2014/main" id="{1F7B1FDC-B90E-6693-A750-B9BA4B535E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90226" y="2698752"/>
            <a:ext cx="4908564" cy="1654043"/>
          </a:xfrm>
        </p:spPr>
        <p:txBody>
          <a:bodyPr anchor="t">
            <a:noAutofit/>
          </a:bodyPr>
          <a:lstStyle>
            <a:lvl1pPr>
              <a:defRPr sz="4200" b="1" i="0">
                <a:solidFill>
                  <a:schemeClr val="bg1"/>
                </a:solidFill>
                <a:latin typeface="EYInterstate Regular" panose="02000503020000020004" pitchFamily="2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0" name="Text Placeholder 288">
            <a:extLst>
              <a:ext uri="{FF2B5EF4-FFF2-40B4-BE49-F238E27FC236}">
                <a16:creationId xmlns:a16="http://schemas.microsoft.com/office/drawing/2014/main" id="{1673B89D-F206-B9D2-CDB7-BDE045C7447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90226" y="5047486"/>
            <a:ext cx="4908565" cy="246221"/>
          </a:xfrm>
        </p:spPr>
        <p:txBody>
          <a:bodyPr wrap="square">
            <a:spAutoFit/>
          </a:bodyPr>
          <a:lstStyle>
            <a:lvl1pPr marL="0" indent="0">
              <a:buNone/>
              <a:defRPr sz="1600" b="1">
                <a:latin typeface="+mj-lt"/>
              </a:defRPr>
            </a:lvl1pPr>
            <a:lvl2pPr marL="252000" indent="0">
              <a:buNone/>
              <a:defRPr sz="1600" b="1">
                <a:latin typeface="+mj-lt"/>
              </a:defRPr>
            </a:lvl2pPr>
            <a:lvl3pPr marL="504000" indent="0">
              <a:buNone/>
              <a:defRPr sz="1600" b="1">
                <a:latin typeface="+mj-lt"/>
              </a:defRPr>
            </a:lvl3pPr>
            <a:lvl4pPr marL="756000" indent="0">
              <a:buNone/>
              <a:defRPr sz="1600" b="1">
                <a:latin typeface="+mj-lt"/>
              </a:defRPr>
            </a:lvl4pPr>
            <a:lvl5pPr marL="1008000" indent="0">
              <a:buNone/>
              <a:defRPr sz="1600" b="1">
                <a:latin typeface="+mj-lt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B1B984E4-95BA-5123-1CFC-48CE97FD8196}"/>
              </a:ext>
            </a:extLst>
          </p:cNvPr>
          <p:cNvGrpSpPr/>
          <p:nvPr userDrawn="1"/>
        </p:nvGrpSpPr>
        <p:grpSpPr>
          <a:xfrm>
            <a:off x="486027" y="1291009"/>
            <a:ext cx="5709082" cy="4360545"/>
            <a:chOff x="485774" y="1291008"/>
            <a:chExt cx="5706110" cy="4360545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F7E50E80-DFF0-E065-898F-1AFD970459B6}"/>
                </a:ext>
              </a:extLst>
            </p:cNvPr>
            <p:cNvSpPr/>
            <p:nvPr userDrawn="1"/>
          </p:nvSpPr>
          <p:spPr>
            <a:xfrm>
              <a:off x="485774" y="5549953"/>
              <a:ext cx="508000" cy="101600"/>
            </a:xfrm>
            <a:custGeom>
              <a:avLst/>
              <a:gdLst>
                <a:gd name="connsiteX0" fmla="*/ 406400 w 508000"/>
                <a:gd name="connsiteY0" fmla="*/ 0 h 101600"/>
                <a:gd name="connsiteX1" fmla="*/ 508000 w 508000"/>
                <a:gd name="connsiteY1" fmla="*/ 0 h 101600"/>
                <a:gd name="connsiteX2" fmla="*/ 508000 w 508000"/>
                <a:gd name="connsiteY2" fmla="*/ 101600 h 101600"/>
                <a:gd name="connsiteX3" fmla="*/ 406400 w 508000"/>
                <a:gd name="connsiteY3" fmla="*/ 101600 h 101600"/>
                <a:gd name="connsiteX4" fmla="*/ 203200 w 508000"/>
                <a:gd name="connsiteY4" fmla="*/ 0 h 101600"/>
                <a:gd name="connsiteX5" fmla="*/ 304800 w 508000"/>
                <a:gd name="connsiteY5" fmla="*/ 0 h 101600"/>
                <a:gd name="connsiteX6" fmla="*/ 304800 w 508000"/>
                <a:gd name="connsiteY6" fmla="*/ 101600 h 101600"/>
                <a:gd name="connsiteX7" fmla="*/ 203200 w 508000"/>
                <a:gd name="connsiteY7" fmla="*/ 101600 h 101600"/>
                <a:gd name="connsiteX8" fmla="*/ 0 w 508000"/>
                <a:gd name="connsiteY8" fmla="*/ 0 h 101600"/>
                <a:gd name="connsiteX9" fmla="*/ 101600 w 508000"/>
                <a:gd name="connsiteY9" fmla="*/ 0 h 101600"/>
                <a:gd name="connsiteX10" fmla="*/ 101600 w 508000"/>
                <a:gd name="connsiteY10" fmla="*/ 101600 h 101600"/>
                <a:gd name="connsiteX11" fmla="*/ 0 w 508000"/>
                <a:gd name="connsiteY11" fmla="*/ 101600 h 101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08000" h="101600">
                  <a:moveTo>
                    <a:pt x="406400" y="0"/>
                  </a:moveTo>
                  <a:lnTo>
                    <a:pt x="508000" y="0"/>
                  </a:lnTo>
                  <a:lnTo>
                    <a:pt x="508000" y="101600"/>
                  </a:lnTo>
                  <a:lnTo>
                    <a:pt x="406400" y="101600"/>
                  </a:lnTo>
                  <a:close/>
                  <a:moveTo>
                    <a:pt x="203200" y="0"/>
                  </a:moveTo>
                  <a:lnTo>
                    <a:pt x="304800" y="0"/>
                  </a:lnTo>
                  <a:lnTo>
                    <a:pt x="304800" y="101600"/>
                  </a:lnTo>
                  <a:lnTo>
                    <a:pt x="203200" y="101600"/>
                  </a:lnTo>
                  <a:close/>
                  <a:moveTo>
                    <a:pt x="0" y="0"/>
                  </a:moveTo>
                  <a:lnTo>
                    <a:pt x="101600" y="0"/>
                  </a:lnTo>
                  <a:lnTo>
                    <a:pt x="101600" y="101600"/>
                  </a:lnTo>
                  <a:lnTo>
                    <a:pt x="0" y="101600"/>
                  </a:lnTo>
                  <a:close/>
                </a:path>
              </a:pathLst>
            </a:custGeom>
            <a:solidFill>
              <a:schemeClr val="tx2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2" name="Freeform 1">
              <a:extLst>
                <a:ext uri="{FF2B5EF4-FFF2-40B4-BE49-F238E27FC236}">
                  <a16:creationId xmlns:a16="http://schemas.microsoft.com/office/drawing/2014/main" id="{63327741-8A1F-B922-5F7C-0313A67883A4}"/>
                </a:ext>
              </a:extLst>
            </p:cNvPr>
            <p:cNvSpPr/>
            <p:nvPr userDrawn="1"/>
          </p:nvSpPr>
          <p:spPr>
            <a:xfrm>
              <a:off x="485775" y="1291008"/>
              <a:ext cx="5706109" cy="4359275"/>
            </a:xfrm>
            <a:custGeom>
              <a:avLst/>
              <a:gdLst>
                <a:gd name="connsiteX0" fmla="*/ 0 w 5706109"/>
                <a:gd name="connsiteY0" fmla="*/ 4157346 h 4359275"/>
                <a:gd name="connsiteX1" fmla="*/ 101600 w 5706109"/>
                <a:gd name="connsiteY1" fmla="*/ 4157346 h 4359275"/>
                <a:gd name="connsiteX2" fmla="*/ 101600 w 5706109"/>
                <a:gd name="connsiteY2" fmla="*/ 1075055 h 4359275"/>
                <a:gd name="connsiteX3" fmla="*/ 101600 w 5706109"/>
                <a:gd name="connsiteY3" fmla="*/ 1075055 h 4359275"/>
                <a:gd name="connsiteX4" fmla="*/ 191770 w 5706109"/>
                <a:gd name="connsiteY4" fmla="*/ 1059180 h 4359275"/>
                <a:gd name="connsiteX5" fmla="*/ 861060 w 5706109"/>
                <a:gd name="connsiteY5" fmla="*/ 942975 h 4359275"/>
                <a:gd name="connsiteX6" fmla="*/ 1195705 w 5706109"/>
                <a:gd name="connsiteY6" fmla="*/ 885190 h 4359275"/>
                <a:gd name="connsiteX7" fmla="*/ 1362710 w 5706109"/>
                <a:gd name="connsiteY7" fmla="*/ 855980 h 4359275"/>
                <a:gd name="connsiteX8" fmla="*/ 1529715 w 5706109"/>
                <a:gd name="connsiteY8" fmla="*/ 826770 h 4359275"/>
                <a:gd name="connsiteX9" fmla="*/ 1864360 w 5706109"/>
                <a:gd name="connsiteY9" fmla="*/ 768985 h 4359275"/>
                <a:gd name="connsiteX10" fmla="*/ 2031365 w 5706109"/>
                <a:gd name="connsiteY10" fmla="*/ 739775 h 4359275"/>
                <a:gd name="connsiteX11" fmla="*/ 2198370 w 5706109"/>
                <a:gd name="connsiteY11" fmla="*/ 710565 h 4359275"/>
                <a:gd name="connsiteX12" fmla="*/ 2365375 w 5706109"/>
                <a:gd name="connsiteY12" fmla="*/ 681355 h 4359275"/>
                <a:gd name="connsiteX13" fmla="*/ 2532380 w 5706109"/>
                <a:gd name="connsiteY13" fmla="*/ 652145 h 4359275"/>
                <a:gd name="connsiteX14" fmla="*/ 2699385 w 5706109"/>
                <a:gd name="connsiteY14" fmla="*/ 622935 h 4359275"/>
                <a:gd name="connsiteX15" fmla="*/ 2866390 w 5706109"/>
                <a:gd name="connsiteY15" fmla="*/ 593725 h 4359275"/>
                <a:gd name="connsiteX16" fmla="*/ 5461000 w 5706109"/>
                <a:gd name="connsiteY16" fmla="*/ 144145 h 4359275"/>
                <a:gd name="connsiteX17" fmla="*/ 5602605 w 5706109"/>
                <a:gd name="connsiteY17" fmla="*/ 119380 h 4359275"/>
                <a:gd name="connsiteX18" fmla="*/ 5602605 w 5706109"/>
                <a:gd name="connsiteY18" fmla="*/ 119380 h 4359275"/>
                <a:gd name="connsiteX19" fmla="*/ 5602605 w 5706109"/>
                <a:gd name="connsiteY19" fmla="*/ 4257676 h 4359275"/>
                <a:gd name="connsiteX20" fmla="*/ 609600 w 5706109"/>
                <a:gd name="connsiteY20" fmla="*/ 4257676 h 4359275"/>
                <a:gd name="connsiteX21" fmla="*/ 609600 w 5706109"/>
                <a:gd name="connsiteY21" fmla="*/ 4359276 h 4359275"/>
                <a:gd name="connsiteX22" fmla="*/ 5706110 w 5706109"/>
                <a:gd name="connsiteY22" fmla="*/ 4359276 h 4359275"/>
                <a:gd name="connsiteX23" fmla="*/ 5706110 w 5706109"/>
                <a:gd name="connsiteY23" fmla="*/ 0 h 4359275"/>
                <a:gd name="connsiteX24" fmla="*/ 5704840 w 5706109"/>
                <a:gd name="connsiteY24" fmla="*/ 0 h 4359275"/>
                <a:gd name="connsiteX25" fmla="*/ 5445760 w 5706109"/>
                <a:gd name="connsiteY25" fmla="*/ 45085 h 4359275"/>
                <a:gd name="connsiteX26" fmla="*/ 2851150 w 5706109"/>
                <a:gd name="connsiteY26" fmla="*/ 494665 h 4359275"/>
                <a:gd name="connsiteX27" fmla="*/ 2684145 w 5706109"/>
                <a:gd name="connsiteY27" fmla="*/ 523875 h 4359275"/>
                <a:gd name="connsiteX28" fmla="*/ 2517140 w 5706109"/>
                <a:gd name="connsiteY28" fmla="*/ 553085 h 4359275"/>
                <a:gd name="connsiteX29" fmla="*/ 2350135 w 5706109"/>
                <a:gd name="connsiteY29" fmla="*/ 582295 h 4359275"/>
                <a:gd name="connsiteX30" fmla="*/ 2183130 w 5706109"/>
                <a:gd name="connsiteY30" fmla="*/ 611505 h 4359275"/>
                <a:gd name="connsiteX31" fmla="*/ 2016125 w 5706109"/>
                <a:gd name="connsiteY31" fmla="*/ 640715 h 4359275"/>
                <a:gd name="connsiteX32" fmla="*/ 1849120 w 5706109"/>
                <a:gd name="connsiteY32" fmla="*/ 669925 h 4359275"/>
                <a:gd name="connsiteX33" fmla="*/ 1514475 w 5706109"/>
                <a:gd name="connsiteY33" fmla="*/ 727710 h 4359275"/>
                <a:gd name="connsiteX34" fmla="*/ 1347470 w 5706109"/>
                <a:gd name="connsiteY34" fmla="*/ 756920 h 4359275"/>
                <a:gd name="connsiteX35" fmla="*/ 1180465 w 5706109"/>
                <a:gd name="connsiteY35" fmla="*/ 786130 h 4359275"/>
                <a:gd name="connsiteX36" fmla="*/ 845820 w 5706109"/>
                <a:gd name="connsiteY36" fmla="*/ 843915 h 4359275"/>
                <a:gd name="connsiteX37" fmla="*/ 176530 w 5706109"/>
                <a:gd name="connsiteY37" fmla="*/ 960120 h 4359275"/>
                <a:gd name="connsiteX38" fmla="*/ 3175 w 5706109"/>
                <a:gd name="connsiteY38" fmla="*/ 989965 h 4359275"/>
                <a:gd name="connsiteX39" fmla="*/ 1905 w 5706109"/>
                <a:gd name="connsiteY39" fmla="*/ 989965 h 4359275"/>
                <a:gd name="connsiteX40" fmla="*/ 1905 w 5706109"/>
                <a:gd name="connsiteY40" fmla="*/ 4158616 h 4359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5706109" h="4359275">
                  <a:moveTo>
                    <a:pt x="0" y="4157346"/>
                  </a:moveTo>
                  <a:lnTo>
                    <a:pt x="101600" y="4157346"/>
                  </a:lnTo>
                  <a:lnTo>
                    <a:pt x="101600" y="1075055"/>
                  </a:lnTo>
                  <a:lnTo>
                    <a:pt x="101600" y="1075055"/>
                  </a:lnTo>
                  <a:lnTo>
                    <a:pt x="191770" y="1059180"/>
                  </a:lnTo>
                  <a:lnTo>
                    <a:pt x="861060" y="942975"/>
                  </a:lnTo>
                  <a:lnTo>
                    <a:pt x="1195705" y="885190"/>
                  </a:lnTo>
                  <a:lnTo>
                    <a:pt x="1362710" y="855980"/>
                  </a:lnTo>
                  <a:lnTo>
                    <a:pt x="1529715" y="826770"/>
                  </a:lnTo>
                  <a:lnTo>
                    <a:pt x="1864360" y="768985"/>
                  </a:lnTo>
                  <a:lnTo>
                    <a:pt x="2031365" y="739775"/>
                  </a:lnTo>
                  <a:lnTo>
                    <a:pt x="2198370" y="710565"/>
                  </a:lnTo>
                  <a:lnTo>
                    <a:pt x="2365375" y="681355"/>
                  </a:lnTo>
                  <a:lnTo>
                    <a:pt x="2532380" y="652145"/>
                  </a:lnTo>
                  <a:lnTo>
                    <a:pt x="2699385" y="622935"/>
                  </a:lnTo>
                  <a:lnTo>
                    <a:pt x="2866390" y="593725"/>
                  </a:lnTo>
                  <a:cubicBezTo>
                    <a:pt x="3731260" y="443865"/>
                    <a:pt x="4596130" y="294005"/>
                    <a:pt x="5461000" y="144145"/>
                  </a:cubicBezTo>
                  <a:lnTo>
                    <a:pt x="5602605" y="119380"/>
                  </a:lnTo>
                  <a:lnTo>
                    <a:pt x="5602605" y="119380"/>
                  </a:lnTo>
                  <a:lnTo>
                    <a:pt x="5602605" y="4257676"/>
                  </a:lnTo>
                  <a:lnTo>
                    <a:pt x="609600" y="4257676"/>
                  </a:lnTo>
                  <a:lnTo>
                    <a:pt x="609600" y="4359276"/>
                  </a:lnTo>
                  <a:lnTo>
                    <a:pt x="5706110" y="4359276"/>
                  </a:lnTo>
                  <a:lnTo>
                    <a:pt x="5706110" y="0"/>
                  </a:lnTo>
                  <a:lnTo>
                    <a:pt x="5704840" y="0"/>
                  </a:lnTo>
                  <a:cubicBezTo>
                    <a:pt x="5618480" y="15240"/>
                    <a:pt x="5532120" y="30480"/>
                    <a:pt x="5445760" y="45085"/>
                  </a:cubicBezTo>
                  <a:cubicBezTo>
                    <a:pt x="4580890" y="194945"/>
                    <a:pt x="3716020" y="344805"/>
                    <a:pt x="2851150" y="494665"/>
                  </a:cubicBezTo>
                  <a:lnTo>
                    <a:pt x="2684145" y="523875"/>
                  </a:lnTo>
                  <a:lnTo>
                    <a:pt x="2517140" y="553085"/>
                  </a:lnTo>
                  <a:lnTo>
                    <a:pt x="2350135" y="582295"/>
                  </a:lnTo>
                  <a:lnTo>
                    <a:pt x="2183130" y="611505"/>
                  </a:lnTo>
                  <a:lnTo>
                    <a:pt x="2016125" y="640715"/>
                  </a:lnTo>
                  <a:lnTo>
                    <a:pt x="1849120" y="669925"/>
                  </a:lnTo>
                  <a:lnTo>
                    <a:pt x="1514475" y="727710"/>
                  </a:lnTo>
                  <a:lnTo>
                    <a:pt x="1347470" y="756920"/>
                  </a:lnTo>
                  <a:lnTo>
                    <a:pt x="1180465" y="786130"/>
                  </a:lnTo>
                  <a:lnTo>
                    <a:pt x="845820" y="843915"/>
                  </a:lnTo>
                  <a:lnTo>
                    <a:pt x="176530" y="960120"/>
                  </a:lnTo>
                  <a:lnTo>
                    <a:pt x="3175" y="989965"/>
                  </a:lnTo>
                  <a:lnTo>
                    <a:pt x="1905" y="989965"/>
                  </a:lnTo>
                  <a:lnTo>
                    <a:pt x="1905" y="4158616"/>
                  </a:lnTo>
                  <a:close/>
                </a:path>
              </a:pathLst>
            </a:custGeom>
            <a:gradFill flip="none" rotWithShape="1">
              <a:gsLst>
                <a:gs pos="39000">
                  <a:srgbClr val="FFE600"/>
                </a:gs>
                <a:gs pos="68000">
                  <a:srgbClr val="FF7D1E"/>
                </a:gs>
                <a:gs pos="100000">
                  <a:srgbClr val="FF32FF"/>
                </a:gs>
              </a:gsLst>
              <a:lin ang="18720000" scaled="0"/>
              <a:tileRect/>
            </a:gradFill>
            <a:ln w="818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 sz="1800"/>
            </a:p>
          </p:txBody>
        </p:sp>
      </p:grpSp>
    </p:spTree>
    <p:extLst>
      <p:ext uri="{BB962C8B-B14F-4D97-AF65-F5344CB8AC3E}">
        <p14:creationId xmlns:p14="http://schemas.microsoft.com/office/powerpoint/2010/main" val="1880783532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Fram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E2D7BB4A-5FCC-BE0E-4598-A4CBBA847A0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0"/>
            <a:ext cx="8390722" cy="6858000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0"/>
                  <a:alpha val="0"/>
                </a:schemeClr>
              </a:gs>
              <a:gs pos="95000">
                <a:srgbClr val="000000">
                  <a:alpha val="70000"/>
                </a:srgbClr>
              </a:gs>
            </a:gsLst>
            <a:lin ang="108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endParaRPr lang="en-US" sz="1200" b="1">
              <a:solidFill>
                <a:schemeClr val="tx1"/>
              </a:solidFill>
            </a:endParaRP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A8D6BAB6-A68E-C404-5D92-6E11D325CFFA}"/>
              </a:ext>
            </a:extLst>
          </p:cNvPr>
          <p:cNvGrpSpPr/>
          <p:nvPr userDrawn="1"/>
        </p:nvGrpSpPr>
        <p:grpSpPr bwMode="black">
          <a:xfrm>
            <a:off x="10568726" y="5167683"/>
            <a:ext cx="1219835" cy="1284606"/>
            <a:chOff x="10563224" y="5158158"/>
            <a:chExt cx="1219200" cy="1284606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BEE0067F-78DC-1ABA-D072-D13444B14ED9}"/>
                </a:ext>
              </a:extLst>
            </p:cNvPr>
            <p:cNvSpPr/>
            <p:nvPr/>
          </p:nvSpPr>
          <p:spPr bwMode="black">
            <a:xfrm>
              <a:off x="10826115" y="5158158"/>
              <a:ext cx="805814" cy="294004"/>
            </a:xfrm>
            <a:custGeom>
              <a:avLst/>
              <a:gdLst>
                <a:gd name="connsiteX0" fmla="*/ 805814 w 805814"/>
                <a:gd name="connsiteY0" fmla="*/ 0 h 294004"/>
                <a:gd name="connsiteX1" fmla="*/ 0 w 805814"/>
                <a:gd name="connsiteY1" fmla="*/ 294005 h 294004"/>
                <a:gd name="connsiteX2" fmla="*/ 805814 w 805814"/>
                <a:gd name="connsiteY2" fmla="*/ 151765 h 294004"/>
                <a:gd name="connsiteX3" fmla="*/ 805814 w 805814"/>
                <a:gd name="connsiteY3" fmla="*/ 0 h 2940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05814" h="294004">
                  <a:moveTo>
                    <a:pt x="805814" y="0"/>
                  </a:moveTo>
                  <a:lnTo>
                    <a:pt x="0" y="294005"/>
                  </a:lnTo>
                  <a:lnTo>
                    <a:pt x="805814" y="151765"/>
                  </a:lnTo>
                  <a:lnTo>
                    <a:pt x="805814" y="0"/>
                  </a:lnTo>
                  <a:close/>
                </a:path>
              </a:pathLst>
            </a:custGeom>
            <a:solidFill>
              <a:srgbClr val="FFE600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23" name="Freeform 22">
              <a:extLst>
                <a:ext uri="{FF2B5EF4-FFF2-40B4-BE49-F238E27FC236}">
                  <a16:creationId xmlns:a16="http://schemas.microsoft.com/office/drawing/2014/main" id="{51F51328-AAA1-9C6C-5EE4-05350DF6D22E}"/>
                </a:ext>
              </a:extLst>
            </p:cNvPr>
            <p:cNvSpPr/>
            <p:nvPr/>
          </p:nvSpPr>
          <p:spPr bwMode="black">
            <a:xfrm>
              <a:off x="10563224" y="5574083"/>
              <a:ext cx="1219200" cy="868681"/>
            </a:xfrm>
            <a:custGeom>
              <a:avLst/>
              <a:gdLst>
                <a:gd name="connsiteX0" fmla="*/ 245110 w 1219200"/>
                <a:gd name="connsiteY0" fmla="*/ 839471 h 868681"/>
                <a:gd name="connsiteX1" fmla="*/ 246379 w 1219200"/>
                <a:gd name="connsiteY1" fmla="*/ 839471 h 868681"/>
                <a:gd name="connsiteX2" fmla="*/ 245041 w 1219200"/>
                <a:gd name="connsiteY2" fmla="*/ 839979 h 868681"/>
                <a:gd name="connsiteX3" fmla="*/ 522605 w 1219200"/>
                <a:gd name="connsiteY3" fmla="*/ 796926 h 868681"/>
                <a:gd name="connsiteX4" fmla="*/ 504189 w 1219200"/>
                <a:gd name="connsiteY4" fmla="*/ 821691 h 868681"/>
                <a:gd name="connsiteX5" fmla="*/ 522605 w 1219200"/>
                <a:gd name="connsiteY5" fmla="*/ 845821 h 868681"/>
                <a:gd name="connsiteX6" fmla="*/ 541019 w 1219200"/>
                <a:gd name="connsiteY6" fmla="*/ 821691 h 868681"/>
                <a:gd name="connsiteX7" fmla="*/ 522605 w 1219200"/>
                <a:gd name="connsiteY7" fmla="*/ 796926 h 868681"/>
                <a:gd name="connsiteX8" fmla="*/ 817245 w 1219200"/>
                <a:gd name="connsiteY8" fmla="*/ 796291 h 868681"/>
                <a:gd name="connsiteX9" fmla="*/ 800735 w 1219200"/>
                <a:gd name="connsiteY9" fmla="*/ 819786 h 868681"/>
                <a:gd name="connsiteX10" fmla="*/ 817879 w 1219200"/>
                <a:gd name="connsiteY10" fmla="*/ 846456 h 868681"/>
                <a:gd name="connsiteX11" fmla="*/ 833754 w 1219200"/>
                <a:gd name="connsiteY11" fmla="*/ 838836 h 868681"/>
                <a:gd name="connsiteX12" fmla="*/ 833754 w 1219200"/>
                <a:gd name="connsiteY12" fmla="*/ 838201 h 868681"/>
                <a:gd name="connsiteX13" fmla="*/ 833754 w 1219200"/>
                <a:gd name="connsiteY13" fmla="*/ 803911 h 868681"/>
                <a:gd name="connsiteX14" fmla="*/ 817245 w 1219200"/>
                <a:gd name="connsiteY14" fmla="*/ 796291 h 868681"/>
                <a:gd name="connsiteX15" fmla="*/ 1179195 w 1219200"/>
                <a:gd name="connsiteY15" fmla="*/ 794386 h 868681"/>
                <a:gd name="connsiteX16" fmla="*/ 1163320 w 1219200"/>
                <a:gd name="connsiteY16" fmla="*/ 811531 h 868681"/>
                <a:gd name="connsiteX17" fmla="*/ 1163954 w 1219200"/>
                <a:gd name="connsiteY17" fmla="*/ 811531 h 868681"/>
                <a:gd name="connsiteX18" fmla="*/ 1195704 w 1219200"/>
                <a:gd name="connsiteY18" fmla="*/ 811531 h 868681"/>
                <a:gd name="connsiteX19" fmla="*/ 1179195 w 1219200"/>
                <a:gd name="connsiteY19" fmla="*/ 794386 h 868681"/>
                <a:gd name="connsiteX20" fmla="*/ 909320 w 1219200"/>
                <a:gd name="connsiteY20" fmla="*/ 794386 h 868681"/>
                <a:gd name="connsiteX21" fmla="*/ 893445 w 1219200"/>
                <a:gd name="connsiteY21" fmla="*/ 811531 h 868681"/>
                <a:gd name="connsiteX22" fmla="*/ 894079 w 1219200"/>
                <a:gd name="connsiteY22" fmla="*/ 811531 h 868681"/>
                <a:gd name="connsiteX23" fmla="*/ 925829 w 1219200"/>
                <a:gd name="connsiteY23" fmla="*/ 811531 h 868681"/>
                <a:gd name="connsiteX24" fmla="*/ 909320 w 1219200"/>
                <a:gd name="connsiteY24" fmla="*/ 794386 h 868681"/>
                <a:gd name="connsiteX25" fmla="*/ 737870 w 1219200"/>
                <a:gd name="connsiteY25" fmla="*/ 775971 h 868681"/>
                <a:gd name="connsiteX26" fmla="*/ 761364 w 1219200"/>
                <a:gd name="connsiteY26" fmla="*/ 775971 h 868681"/>
                <a:gd name="connsiteX27" fmla="*/ 761364 w 1219200"/>
                <a:gd name="connsiteY27" fmla="*/ 866141 h 868681"/>
                <a:gd name="connsiteX28" fmla="*/ 737870 w 1219200"/>
                <a:gd name="connsiteY28" fmla="*/ 866141 h 868681"/>
                <a:gd name="connsiteX29" fmla="*/ 143510 w 1219200"/>
                <a:gd name="connsiteY29" fmla="*/ 775971 h 868681"/>
                <a:gd name="connsiteX30" fmla="*/ 167004 w 1219200"/>
                <a:gd name="connsiteY30" fmla="*/ 775971 h 868681"/>
                <a:gd name="connsiteX31" fmla="*/ 167004 w 1219200"/>
                <a:gd name="connsiteY31" fmla="*/ 866141 h 868681"/>
                <a:gd name="connsiteX32" fmla="*/ 143510 w 1219200"/>
                <a:gd name="connsiteY32" fmla="*/ 866141 h 868681"/>
                <a:gd name="connsiteX33" fmla="*/ 635 w 1219200"/>
                <a:gd name="connsiteY33" fmla="*/ 775971 h 868681"/>
                <a:gd name="connsiteX34" fmla="*/ 26670 w 1219200"/>
                <a:gd name="connsiteY34" fmla="*/ 775971 h 868681"/>
                <a:gd name="connsiteX35" fmla="*/ 40004 w 1219200"/>
                <a:gd name="connsiteY35" fmla="*/ 828041 h 868681"/>
                <a:gd name="connsiteX36" fmla="*/ 55245 w 1219200"/>
                <a:gd name="connsiteY36" fmla="*/ 775971 h 868681"/>
                <a:gd name="connsiteX37" fmla="*/ 76200 w 1219200"/>
                <a:gd name="connsiteY37" fmla="*/ 775971 h 868681"/>
                <a:gd name="connsiteX38" fmla="*/ 91439 w 1219200"/>
                <a:gd name="connsiteY38" fmla="*/ 828041 h 868681"/>
                <a:gd name="connsiteX39" fmla="*/ 105409 w 1219200"/>
                <a:gd name="connsiteY39" fmla="*/ 775971 h 868681"/>
                <a:gd name="connsiteX40" fmla="*/ 130810 w 1219200"/>
                <a:gd name="connsiteY40" fmla="*/ 775971 h 868681"/>
                <a:gd name="connsiteX41" fmla="*/ 102235 w 1219200"/>
                <a:gd name="connsiteY41" fmla="*/ 866141 h 868681"/>
                <a:gd name="connsiteX42" fmla="*/ 80644 w 1219200"/>
                <a:gd name="connsiteY42" fmla="*/ 866141 h 868681"/>
                <a:gd name="connsiteX43" fmla="*/ 65405 w 1219200"/>
                <a:gd name="connsiteY43" fmla="*/ 811531 h 868681"/>
                <a:gd name="connsiteX44" fmla="*/ 50165 w 1219200"/>
                <a:gd name="connsiteY44" fmla="*/ 866141 h 868681"/>
                <a:gd name="connsiteX45" fmla="*/ 28575 w 1219200"/>
                <a:gd name="connsiteY45" fmla="*/ 866141 h 868681"/>
                <a:gd name="connsiteX46" fmla="*/ 1181099 w 1219200"/>
                <a:gd name="connsiteY46" fmla="*/ 774066 h 868681"/>
                <a:gd name="connsiteX47" fmla="*/ 1219200 w 1219200"/>
                <a:gd name="connsiteY47" fmla="*/ 821056 h 868681"/>
                <a:gd name="connsiteX48" fmla="*/ 1218564 w 1219200"/>
                <a:gd name="connsiteY48" fmla="*/ 821056 h 868681"/>
                <a:gd name="connsiteX49" fmla="*/ 1218564 w 1219200"/>
                <a:gd name="connsiteY49" fmla="*/ 828676 h 868681"/>
                <a:gd name="connsiteX50" fmla="*/ 1163954 w 1219200"/>
                <a:gd name="connsiteY50" fmla="*/ 828676 h 868681"/>
                <a:gd name="connsiteX51" fmla="*/ 1183004 w 1219200"/>
                <a:gd name="connsiteY51" fmla="*/ 846456 h 868681"/>
                <a:gd name="connsiteX52" fmla="*/ 1198879 w 1219200"/>
                <a:gd name="connsiteY52" fmla="*/ 840106 h 868681"/>
                <a:gd name="connsiteX53" fmla="*/ 1214754 w 1219200"/>
                <a:gd name="connsiteY53" fmla="*/ 853441 h 868681"/>
                <a:gd name="connsiteX54" fmla="*/ 1182370 w 1219200"/>
                <a:gd name="connsiteY54" fmla="*/ 868046 h 868681"/>
                <a:gd name="connsiteX55" fmla="*/ 1141095 w 1219200"/>
                <a:gd name="connsiteY55" fmla="*/ 821056 h 868681"/>
                <a:gd name="connsiteX56" fmla="*/ 1181099 w 1219200"/>
                <a:gd name="connsiteY56" fmla="*/ 774066 h 868681"/>
                <a:gd name="connsiteX57" fmla="*/ 1097915 w 1219200"/>
                <a:gd name="connsiteY57" fmla="*/ 774066 h 868681"/>
                <a:gd name="connsiteX58" fmla="*/ 1133474 w 1219200"/>
                <a:gd name="connsiteY58" fmla="*/ 793751 h 868681"/>
                <a:gd name="connsiteX59" fmla="*/ 1118235 w 1219200"/>
                <a:gd name="connsiteY59" fmla="*/ 808991 h 868681"/>
                <a:gd name="connsiteX60" fmla="*/ 1097915 w 1219200"/>
                <a:gd name="connsiteY60" fmla="*/ 796291 h 868681"/>
                <a:gd name="connsiteX61" fmla="*/ 1078864 w 1219200"/>
                <a:gd name="connsiteY61" fmla="*/ 820421 h 868681"/>
                <a:gd name="connsiteX62" fmla="*/ 1097915 w 1219200"/>
                <a:gd name="connsiteY62" fmla="*/ 845186 h 868681"/>
                <a:gd name="connsiteX63" fmla="*/ 1118235 w 1219200"/>
                <a:gd name="connsiteY63" fmla="*/ 833756 h 868681"/>
                <a:gd name="connsiteX64" fmla="*/ 1118870 w 1219200"/>
                <a:gd name="connsiteY64" fmla="*/ 834391 h 868681"/>
                <a:gd name="connsiteX65" fmla="*/ 1133474 w 1219200"/>
                <a:gd name="connsiteY65" fmla="*/ 848361 h 868681"/>
                <a:gd name="connsiteX66" fmla="*/ 1097280 w 1219200"/>
                <a:gd name="connsiteY66" fmla="*/ 868046 h 868681"/>
                <a:gd name="connsiteX67" fmla="*/ 1054735 w 1219200"/>
                <a:gd name="connsiteY67" fmla="*/ 821056 h 868681"/>
                <a:gd name="connsiteX68" fmla="*/ 1097915 w 1219200"/>
                <a:gd name="connsiteY68" fmla="*/ 774066 h 868681"/>
                <a:gd name="connsiteX69" fmla="*/ 1009015 w 1219200"/>
                <a:gd name="connsiteY69" fmla="*/ 774066 h 868681"/>
                <a:gd name="connsiteX70" fmla="*/ 1041400 w 1219200"/>
                <a:gd name="connsiteY70" fmla="*/ 815341 h 868681"/>
                <a:gd name="connsiteX71" fmla="*/ 1041400 w 1219200"/>
                <a:gd name="connsiteY71" fmla="*/ 866141 h 868681"/>
                <a:gd name="connsiteX72" fmla="*/ 1017905 w 1219200"/>
                <a:gd name="connsiteY72" fmla="*/ 866141 h 868681"/>
                <a:gd name="connsiteX73" fmla="*/ 1017905 w 1219200"/>
                <a:gd name="connsiteY73" fmla="*/ 817246 h 868681"/>
                <a:gd name="connsiteX74" fmla="*/ 1002665 w 1219200"/>
                <a:gd name="connsiteY74" fmla="*/ 796291 h 868681"/>
                <a:gd name="connsiteX75" fmla="*/ 986790 w 1219200"/>
                <a:gd name="connsiteY75" fmla="*/ 816611 h 868681"/>
                <a:gd name="connsiteX76" fmla="*/ 986790 w 1219200"/>
                <a:gd name="connsiteY76" fmla="*/ 866141 h 868681"/>
                <a:gd name="connsiteX77" fmla="*/ 963295 w 1219200"/>
                <a:gd name="connsiteY77" fmla="*/ 866141 h 868681"/>
                <a:gd name="connsiteX78" fmla="*/ 963295 w 1219200"/>
                <a:gd name="connsiteY78" fmla="*/ 775971 h 868681"/>
                <a:gd name="connsiteX79" fmla="*/ 986790 w 1219200"/>
                <a:gd name="connsiteY79" fmla="*/ 775971 h 868681"/>
                <a:gd name="connsiteX80" fmla="*/ 986790 w 1219200"/>
                <a:gd name="connsiteY80" fmla="*/ 782321 h 868681"/>
                <a:gd name="connsiteX81" fmla="*/ 1009015 w 1219200"/>
                <a:gd name="connsiteY81" fmla="*/ 774066 h 868681"/>
                <a:gd name="connsiteX82" fmla="*/ 911224 w 1219200"/>
                <a:gd name="connsiteY82" fmla="*/ 774066 h 868681"/>
                <a:gd name="connsiteX83" fmla="*/ 949325 w 1219200"/>
                <a:gd name="connsiteY83" fmla="*/ 821056 h 868681"/>
                <a:gd name="connsiteX84" fmla="*/ 948689 w 1219200"/>
                <a:gd name="connsiteY84" fmla="*/ 821056 h 868681"/>
                <a:gd name="connsiteX85" fmla="*/ 948689 w 1219200"/>
                <a:gd name="connsiteY85" fmla="*/ 828676 h 868681"/>
                <a:gd name="connsiteX86" fmla="*/ 894079 w 1219200"/>
                <a:gd name="connsiteY86" fmla="*/ 828676 h 868681"/>
                <a:gd name="connsiteX87" fmla="*/ 913129 w 1219200"/>
                <a:gd name="connsiteY87" fmla="*/ 846456 h 868681"/>
                <a:gd name="connsiteX88" fmla="*/ 929004 w 1219200"/>
                <a:gd name="connsiteY88" fmla="*/ 840106 h 868681"/>
                <a:gd name="connsiteX89" fmla="*/ 944879 w 1219200"/>
                <a:gd name="connsiteY89" fmla="*/ 853441 h 868681"/>
                <a:gd name="connsiteX90" fmla="*/ 912495 w 1219200"/>
                <a:gd name="connsiteY90" fmla="*/ 868046 h 868681"/>
                <a:gd name="connsiteX91" fmla="*/ 871220 w 1219200"/>
                <a:gd name="connsiteY91" fmla="*/ 821056 h 868681"/>
                <a:gd name="connsiteX92" fmla="*/ 911224 w 1219200"/>
                <a:gd name="connsiteY92" fmla="*/ 774066 h 868681"/>
                <a:gd name="connsiteX93" fmla="*/ 623570 w 1219200"/>
                <a:gd name="connsiteY93" fmla="*/ 774066 h 868681"/>
                <a:gd name="connsiteX94" fmla="*/ 655954 w 1219200"/>
                <a:gd name="connsiteY94" fmla="*/ 815341 h 868681"/>
                <a:gd name="connsiteX95" fmla="*/ 655954 w 1219200"/>
                <a:gd name="connsiteY95" fmla="*/ 866141 h 868681"/>
                <a:gd name="connsiteX96" fmla="*/ 632459 w 1219200"/>
                <a:gd name="connsiteY96" fmla="*/ 866141 h 868681"/>
                <a:gd name="connsiteX97" fmla="*/ 632459 w 1219200"/>
                <a:gd name="connsiteY97" fmla="*/ 817246 h 868681"/>
                <a:gd name="connsiteX98" fmla="*/ 617220 w 1219200"/>
                <a:gd name="connsiteY98" fmla="*/ 796291 h 868681"/>
                <a:gd name="connsiteX99" fmla="*/ 601345 w 1219200"/>
                <a:gd name="connsiteY99" fmla="*/ 816611 h 868681"/>
                <a:gd name="connsiteX100" fmla="*/ 601345 w 1219200"/>
                <a:gd name="connsiteY100" fmla="*/ 866141 h 868681"/>
                <a:gd name="connsiteX101" fmla="*/ 577849 w 1219200"/>
                <a:gd name="connsiteY101" fmla="*/ 866141 h 868681"/>
                <a:gd name="connsiteX102" fmla="*/ 577849 w 1219200"/>
                <a:gd name="connsiteY102" fmla="*/ 775971 h 868681"/>
                <a:gd name="connsiteX103" fmla="*/ 601345 w 1219200"/>
                <a:gd name="connsiteY103" fmla="*/ 775971 h 868681"/>
                <a:gd name="connsiteX104" fmla="*/ 601345 w 1219200"/>
                <a:gd name="connsiteY104" fmla="*/ 782321 h 868681"/>
                <a:gd name="connsiteX105" fmla="*/ 623570 w 1219200"/>
                <a:gd name="connsiteY105" fmla="*/ 774066 h 868681"/>
                <a:gd name="connsiteX106" fmla="*/ 522605 w 1219200"/>
                <a:gd name="connsiteY106" fmla="*/ 774066 h 868681"/>
                <a:gd name="connsiteX107" fmla="*/ 564515 w 1219200"/>
                <a:gd name="connsiteY107" fmla="*/ 821056 h 868681"/>
                <a:gd name="connsiteX108" fmla="*/ 522605 w 1219200"/>
                <a:gd name="connsiteY108" fmla="*/ 868046 h 868681"/>
                <a:gd name="connsiteX109" fmla="*/ 480695 w 1219200"/>
                <a:gd name="connsiteY109" fmla="*/ 821056 h 868681"/>
                <a:gd name="connsiteX110" fmla="*/ 522605 w 1219200"/>
                <a:gd name="connsiteY110" fmla="*/ 774066 h 868681"/>
                <a:gd name="connsiteX111" fmla="*/ 436879 w 1219200"/>
                <a:gd name="connsiteY111" fmla="*/ 774066 h 868681"/>
                <a:gd name="connsiteX112" fmla="*/ 472439 w 1219200"/>
                <a:gd name="connsiteY112" fmla="*/ 793751 h 868681"/>
                <a:gd name="connsiteX113" fmla="*/ 457200 w 1219200"/>
                <a:gd name="connsiteY113" fmla="*/ 808991 h 868681"/>
                <a:gd name="connsiteX114" fmla="*/ 436879 w 1219200"/>
                <a:gd name="connsiteY114" fmla="*/ 796291 h 868681"/>
                <a:gd name="connsiteX115" fmla="*/ 417829 w 1219200"/>
                <a:gd name="connsiteY115" fmla="*/ 820421 h 868681"/>
                <a:gd name="connsiteX116" fmla="*/ 436879 w 1219200"/>
                <a:gd name="connsiteY116" fmla="*/ 845186 h 868681"/>
                <a:gd name="connsiteX117" fmla="*/ 457200 w 1219200"/>
                <a:gd name="connsiteY117" fmla="*/ 833756 h 868681"/>
                <a:gd name="connsiteX118" fmla="*/ 457834 w 1219200"/>
                <a:gd name="connsiteY118" fmla="*/ 834391 h 868681"/>
                <a:gd name="connsiteX119" fmla="*/ 472439 w 1219200"/>
                <a:gd name="connsiteY119" fmla="*/ 848361 h 868681"/>
                <a:gd name="connsiteX120" fmla="*/ 436245 w 1219200"/>
                <a:gd name="connsiteY120" fmla="*/ 868046 h 868681"/>
                <a:gd name="connsiteX121" fmla="*/ 393700 w 1219200"/>
                <a:gd name="connsiteY121" fmla="*/ 821056 h 868681"/>
                <a:gd name="connsiteX122" fmla="*/ 436879 w 1219200"/>
                <a:gd name="connsiteY122" fmla="*/ 774066 h 868681"/>
                <a:gd name="connsiteX123" fmla="*/ 219075 w 1219200"/>
                <a:gd name="connsiteY123" fmla="*/ 742316 h 868681"/>
                <a:gd name="connsiteX124" fmla="*/ 219075 w 1219200"/>
                <a:gd name="connsiteY124" fmla="*/ 777241 h 868681"/>
                <a:gd name="connsiteX125" fmla="*/ 245110 w 1219200"/>
                <a:gd name="connsiteY125" fmla="*/ 777241 h 868681"/>
                <a:gd name="connsiteX126" fmla="*/ 245110 w 1219200"/>
                <a:gd name="connsiteY126" fmla="*/ 798831 h 868681"/>
                <a:gd name="connsiteX127" fmla="*/ 219075 w 1219200"/>
                <a:gd name="connsiteY127" fmla="*/ 798831 h 868681"/>
                <a:gd name="connsiteX128" fmla="*/ 219075 w 1219200"/>
                <a:gd name="connsiteY128" fmla="*/ 835661 h 868681"/>
                <a:gd name="connsiteX129" fmla="*/ 227965 w 1219200"/>
                <a:gd name="connsiteY129" fmla="*/ 846456 h 868681"/>
                <a:gd name="connsiteX130" fmla="*/ 245041 w 1219200"/>
                <a:gd name="connsiteY130" fmla="*/ 839979 h 868681"/>
                <a:gd name="connsiteX131" fmla="*/ 241935 w 1219200"/>
                <a:gd name="connsiteY131" fmla="*/ 862966 h 868681"/>
                <a:gd name="connsiteX132" fmla="*/ 219709 w 1219200"/>
                <a:gd name="connsiteY132" fmla="*/ 868681 h 868681"/>
                <a:gd name="connsiteX133" fmla="*/ 195579 w 1219200"/>
                <a:gd name="connsiteY133" fmla="*/ 842011 h 868681"/>
                <a:gd name="connsiteX134" fmla="*/ 195579 w 1219200"/>
                <a:gd name="connsiteY134" fmla="*/ 798831 h 868681"/>
                <a:gd name="connsiteX135" fmla="*/ 179704 w 1219200"/>
                <a:gd name="connsiteY135" fmla="*/ 798831 h 868681"/>
                <a:gd name="connsiteX136" fmla="*/ 179704 w 1219200"/>
                <a:gd name="connsiteY136" fmla="*/ 777241 h 868681"/>
                <a:gd name="connsiteX137" fmla="*/ 195579 w 1219200"/>
                <a:gd name="connsiteY137" fmla="*/ 777241 h 868681"/>
                <a:gd name="connsiteX138" fmla="*/ 195579 w 1219200"/>
                <a:gd name="connsiteY138" fmla="*/ 753746 h 868681"/>
                <a:gd name="connsiteX139" fmla="*/ 749935 w 1219200"/>
                <a:gd name="connsiteY139" fmla="*/ 741681 h 868681"/>
                <a:gd name="connsiteX140" fmla="*/ 763269 w 1219200"/>
                <a:gd name="connsiteY140" fmla="*/ 755016 h 868681"/>
                <a:gd name="connsiteX141" fmla="*/ 749935 w 1219200"/>
                <a:gd name="connsiteY141" fmla="*/ 768351 h 868681"/>
                <a:gd name="connsiteX142" fmla="*/ 736599 w 1219200"/>
                <a:gd name="connsiteY142" fmla="*/ 755016 h 868681"/>
                <a:gd name="connsiteX143" fmla="*/ 749935 w 1219200"/>
                <a:gd name="connsiteY143" fmla="*/ 741681 h 868681"/>
                <a:gd name="connsiteX144" fmla="*/ 154939 w 1219200"/>
                <a:gd name="connsiteY144" fmla="*/ 741681 h 868681"/>
                <a:gd name="connsiteX145" fmla="*/ 168275 w 1219200"/>
                <a:gd name="connsiteY145" fmla="*/ 755016 h 868681"/>
                <a:gd name="connsiteX146" fmla="*/ 154939 w 1219200"/>
                <a:gd name="connsiteY146" fmla="*/ 768351 h 868681"/>
                <a:gd name="connsiteX147" fmla="*/ 141605 w 1219200"/>
                <a:gd name="connsiteY147" fmla="*/ 755016 h 868681"/>
                <a:gd name="connsiteX148" fmla="*/ 154939 w 1219200"/>
                <a:gd name="connsiteY148" fmla="*/ 741681 h 868681"/>
                <a:gd name="connsiteX149" fmla="*/ 856614 w 1219200"/>
                <a:gd name="connsiteY149" fmla="*/ 741046 h 868681"/>
                <a:gd name="connsiteX150" fmla="*/ 856614 w 1219200"/>
                <a:gd name="connsiteY150" fmla="*/ 866141 h 868681"/>
                <a:gd name="connsiteX151" fmla="*/ 833120 w 1219200"/>
                <a:gd name="connsiteY151" fmla="*/ 866141 h 868681"/>
                <a:gd name="connsiteX152" fmla="*/ 833120 w 1219200"/>
                <a:gd name="connsiteY152" fmla="*/ 860426 h 868681"/>
                <a:gd name="connsiteX153" fmla="*/ 812799 w 1219200"/>
                <a:gd name="connsiteY153" fmla="*/ 868046 h 868681"/>
                <a:gd name="connsiteX154" fmla="*/ 775970 w 1219200"/>
                <a:gd name="connsiteY154" fmla="*/ 820421 h 868681"/>
                <a:gd name="connsiteX155" fmla="*/ 812165 w 1219200"/>
                <a:gd name="connsiteY155" fmla="*/ 774066 h 868681"/>
                <a:gd name="connsiteX156" fmla="*/ 833120 w 1219200"/>
                <a:gd name="connsiteY156" fmla="*/ 781051 h 868681"/>
                <a:gd name="connsiteX157" fmla="*/ 833120 w 1219200"/>
                <a:gd name="connsiteY157" fmla="*/ 752476 h 868681"/>
                <a:gd name="connsiteX158" fmla="*/ 707390 w 1219200"/>
                <a:gd name="connsiteY158" fmla="*/ 741046 h 868681"/>
                <a:gd name="connsiteX159" fmla="*/ 724534 w 1219200"/>
                <a:gd name="connsiteY159" fmla="*/ 743586 h 868681"/>
                <a:gd name="connsiteX160" fmla="*/ 724534 w 1219200"/>
                <a:gd name="connsiteY160" fmla="*/ 744221 h 868681"/>
                <a:gd name="connsiteX161" fmla="*/ 724534 w 1219200"/>
                <a:gd name="connsiteY161" fmla="*/ 762636 h 868681"/>
                <a:gd name="connsiteX162" fmla="*/ 713105 w 1219200"/>
                <a:gd name="connsiteY162" fmla="*/ 760731 h 868681"/>
                <a:gd name="connsiteX163" fmla="*/ 703579 w 1219200"/>
                <a:gd name="connsiteY163" fmla="*/ 768351 h 868681"/>
                <a:gd name="connsiteX164" fmla="*/ 703579 w 1219200"/>
                <a:gd name="connsiteY164" fmla="*/ 775336 h 868681"/>
                <a:gd name="connsiteX165" fmla="*/ 722629 w 1219200"/>
                <a:gd name="connsiteY165" fmla="*/ 775336 h 868681"/>
                <a:gd name="connsiteX166" fmla="*/ 722629 w 1219200"/>
                <a:gd name="connsiteY166" fmla="*/ 796926 h 868681"/>
                <a:gd name="connsiteX167" fmla="*/ 703579 w 1219200"/>
                <a:gd name="connsiteY167" fmla="*/ 796926 h 868681"/>
                <a:gd name="connsiteX168" fmla="*/ 703579 w 1219200"/>
                <a:gd name="connsiteY168" fmla="*/ 865506 h 868681"/>
                <a:gd name="connsiteX169" fmla="*/ 680084 w 1219200"/>
                <a:gd name="connsiteY169" fmla="*/ 865506 h 868681"/>
                <a:gd name="connsiteX170" fmla="*/ 680084 w 1219200"/>
                <a:gd name="connsiteY170" fmla="*/ 796926 h 868681"/>
                <a:gd name="connsiteX171" fmla="*/ 667385 w 1219200"/>
                <a:gd name="connsiteY171" fmla="*/ 796926 h 868681"/>
                <a:gd name="connsiteX172" fmla="*/ 667385 w 1219200"/>
                <a:gd name="connsiteY172" fmla="*/ 775336 h 868681"/>
                <a:gd name="connsiteX173" fmla="*/ 680084 w 1219200"/>
                <a:gd name="connsiteY173" fmla="*/ 775336 h 868681"/>
                <a:gd name="connsiteX174" fmla="*/ 680084 w 1219200"/>
                <a:gd name="connsiteY174" fmla="*/ 764541 h 868681"/>
                <a:gd name="connsiteX175" fmla="*/ 707390 w 1219200"/>
                <a:gd name="connsiteY175" fmla="*/ 741046 h 868681"/>
                <a:gd name="connsiteX176" fmla="*/ 282575 w 1219200"/>
                <a:gd name="connsiteY176" fmla="*/ 741046 h 868681"/>
                <a:gd name="connsiteX177" fmla="*/ 282575 w 1219200"/>
                <a:gd name="connsiteY177" fmla="*/ 782321 h 868681"/>
                <a:gd name="connsiteX178" fmla="*/ 304799 w 1219200"/>
                <a:gd name="connsiteY178" fmla="*/ 774066 h 868681"/>
                <a:gd name="connsiteX179" fmla="*/ 336549 w 1219200"/>
                <a:gd name="connsiteY179" fmla="*/ 815341 h 868681"/>
                <a:gd name="connsiteX180" fmla="*/ 336549 w 1219200"/>
                <a:gd name="connsiteY180" fmla="*/ 866141 h 868681"/>
                <a:gd name="connsiteX181" fmla="*/ 313689 w 1219200"/>
                <a:gd name="connsiteY181" fmla="*/ 866141 h 868681"/>
                <a:gd name="connsiteX182" fmla="*/ 313689 w 1219200"/>
                <a:gd name="connsiteY182" fmla="*/ 817246 h 868681"/>
                <a:gd name="connsiteX183" fmla="*/ 298450 w 1219200"/>
                <a:gd name="connsiteY183" fmla="*/ 796291 h 868681"/>
                <a:gd name="connsiteX184" fmla="*/ 282575 w 1219200"/>
                <a:gd name="connsiteY184" fmla="*/ 816611 h 868681"/>
                <a:gd name="connsiteX185" fmla="*/ 282575 w 1219200"/>
                <a:gd name="connsiteY185" fmla="*/ 866141 h 868681"/>
                <a:gd name="connsiteX186" fmla="*/ 259079 w 1219200"/>
                <a:gd name="connsiteY186" fmla="*/ 866141 h 868681"/>
                <a:gd name="connsiteX187" fmla="*/ 259079 w 1219200"/>
                <a:gd name="connsiteY187" fmla="*/ 752476 h 868681"/>
                <a:gd name="connsiteX188" fmla="*/ 92709 w 1219200"/>
                <a:gd name="connsiteY188" fmla="*/ 648336 h 868681"/>
                <a:gd name="connsiteX189" fmla="*/ 92709 w 1219200"/>
                <a:gd name="connsiteY189" fmla="*/ 649606 h 868681"/>
                <a:gd name="connsiteX190" fmla="*/ 92427 w 1219200"/>
                <a:gd name="connsiteY190" fmla="*/ 648959 h 868681"/>
                <a:gd name="connsiteX191" fmla="*/ 230504 w 1219200"/>
                <a:gd name="connsiteY191" fmla="*/ 643256 h 868681"/>
                <a:gd name="connsiteX192" fmla="*/ 215900 w 1219200"/>
                <a:gd name="connsiteY192" fmla="*/ 654686 h 868681"/>
                <a:gd name="connsiteX193" fmla="*/ 228599 w 1219200"/>
                <a:gd name="connsiteY193" fmla="*/ 667386 h 868681"/>
                <a:gd name="connsiteX194" fmla="*/ 245745 w 1219200"/>
                <a:gd name="connsiteY194" fmla="*/ 658496 h 868681"/>
                <a:gd name="connsiteX195" fmla="*/ 245745 w 1219200"/>
                <a:gd name="connsiteY195" fmla="*/ 647066 h 868681"/>
                <a:gd name="connsiteX196" fmla="*/ 230504 w 1219200"/>
                <a:gd name="connsiteY196" fmla="*/ 643256 h 868681"/>
                <a:gd name="connsiteX197" fmla="*/ 321310 w 1219200"/>
                <a:gd name="connsiteY197" fmla="*/ 614046 h 868681"/>
                <a:gd name="connsiteX198" fmla="*/ 306704 w 1219200"/>
                <a:gd name="connsiteY198" fmla="*/ 622301 h 868681"/>
                <a:gd name="connsiteX199" fmla="*/ 306704 w 1219200"/>
                <a:gd name="connsiteY199" fmla="*/ 656591 h 868681"/>
                <a:gd name="connsiteX200" fmla="*/ 323215 w 1219200"/>
                <a:gd name="connsiteY200" fmla="*/ 664846 h 868681"/>
                <a:gd name="connsiteX201" fmla="*/ 339090 w 1219200"/>
                <a:gd name="connsiteY201" fmla="*/ 640716 h 868681"/>
                <a:gd name="connsiteX202" fmla="*/ 338454 w 1219200"/>
                <a:gd name="connsiteY202" fmla="*/ 640716 h 868681"/>
                <a:gd name="connsiteX203" fmla="*/ 321310 w 1219200"/>
                <a:gd name="connsiteY203" fmla="*/ 614046 h 868681"/>
                <a:gd name="connsiteX204" fmla="*/ 1179195 w 1219200"/>
                <a:gd name="connsiteY204" fmla="*/ 612776 h 868681"/>
                <a:gd name="connsiteX205" fmla="*/ 1163320 w 1219200"/>
                <a:gd name="connsiteY205" fmla="*/ 629921 h 868681"/>
                <a:gd name="connsiteX206" fmla="*/ 1163954 w 1219200"/>
                <a:gd name="connsiteY206" fmla="*/ 629921 h 868681"/>
                <a:gd name="connsiteX207" fmla="*/ 1195704 w 1219200"/>
                <a:gd name="connsiteY207" fmla="*/ 629921 h 868681"/>
                <a:gd name="connsiteX208" fmla="*/ 1179195 w 1219200"/>
                <a:gd name="connsiteY208" fmla="*/ 612776 h 868681"/>
                <a:gd name="connsiteX209" fmla="*/ 689610 w 1219200"/>
                <a:gd name="connsiteY209" fmla="*/ 612776 h 868681"/>
                <a:gd name="connsiteX210" fmla="*/ 673735 w 1219200"/>
                <a:gd name="connsiteY210" fmla="*/ 629921 h 868681"/>
                <a:gd name="connsiteX211" fmla="*/ 674370 w 1219200"/>
                <a:gd name="connsiteY211" fmla="*/ 629921 h 868681"/>
                <a:gd name="connsiteX212" fmla="*/ 706120 w 1219200"/>
                <a:gd name="connsiteY212" fmla="*/ 629921 h 868681"/>
                <a:gd name="connsiteX213" fmla="*/ 689610 w 1219200"/>
                <a:gd name="connsiteY213" fmla="*/ 612776 h 868681"/>
                <a:gd name="connsiteX214" fmla="*/ 410845 w 1219200"/>
                <a:gd name="connsiteY214" fmla="*/ 612776 h 868681"/>
                <a:gd name="connsiteX215" fmla="*/ 395605 w 1219200"/>
                <a:gd name="connsiteY215" fmla="*/ 629921 h 868681"/>
                <a:gd name="connsiteX216" fmla="*/ 427355 w 1219200"/>
                <a:gd name="connsiteY216" fmla="*/ 629921 h 868681"/>
                <a:gd name="connsiteX217" fmla="*/ 410845 w 1219200"/>
                <a:gd name="connsiteY217" fmla="*/ 612776 h 868681"/>
                <a:gd name="connsiteX218" fmla="*/ 991870 w 1219200"/>
                <a:gd name="connsiteY218" fmla="*/ 594361 h 868681"/>
                <a:gd name="connsiteX219" fmla="*/ 1014095 w 1219200"/>
                <a:gd name="connsiteY219" fmla="*/ 594361 h 868681"/>
                <a:gd name="connsiteX220" fmla="*/ 1014095 w 1219200"/>
                <a:gd name="connsiteY220" fmla="*/ 643256 h 868681"/>
                <a:gd name="connsiteX221" fmla="*/ 1029334 w 1219200"/>
                <a:gd name="connsiteY221" fmla="*/ 664846 h 868681"/>
                <a:gd name="connsiteX222" fmla="*/ 1044575 w 1219200"/>
                <a:gd name="connsiteY222" fmla="*/ 644526 h 868681"/>
                <a:gd name="connsiteX223" fmla="*/ 1044575 w 1219200"/>
                <a:gd name="connsiteY223" fmla="*/ 594996 h 868681"/>
                <a:gd name="connsiteX224" fmla="*/ 1066799 w 1219200"/>
                <a:gd name="connsiteY224" fmla="*/ 594996 h 868681"/>
                <a:gd name="connsiteX225" fmla="*/ 1066799 w 1219200"/>
                <a:gd name="connsiteY225" fmla="*/ 684531 h 868681"/>
                <a:gd name="connsiteX226" fmla="*/ 1044575 w 1219200"/>
                <a:gd name="connsiteY226" fmla="*/ 684531 h 868681"/>
                <a:gd name="connsiteX227" fmla="*/ 1044575 w 1219200"/>
                <a:gd name="connsiteY227" fmla="*/ 678181 h 868681"/>
                <a:gd name="connsiteX228" fmla="*/ 1023620 w 1219200"/>
                <a:gd name="connsiteY228" fmla="*/ 686436 h 868681"/>
                <a:gd name="connsiteX229" fmla="*/ 991870 w 1219200"/>
                <a:gd name="connsiteY229" fmla="*/ 645161 h 868681"/>
                <a:gd name="connsiteX230" fmla="*/ 836295 w 1219200"/>
                <a:gd name="connsiteY230" fmla="*/ 594361 h 868681"/>
                <a:gd name="connsiteX231" fmla="*/ 858519 w 1219200"/>
                <a:gd name="connsiteY231" fmla="*/ 594361 h 868681"/>
                <a:gd name="connsiteX232" fmla="*/ 858519 w 1219200"/>
                <a:gd name="connsiteY232" fmla="*/ 643256 h 868681"/>
                <a:gd name="connsiteX233" fmla="*/ 873760 w 1219200"/>
                <a:gd name="connsiteY233" fmla="*/ 664846 h 868681"/>
                <a:gd name="connsiteX234" fmla="*/ 889000 w 1219200"/>
                <a:gd name="connsiteY234" fmla="*/ 644526 h 868681"/>
                <a:gd name="connsiteX235" fmla="*/ 889000 w 1219200"/>
                <a:gd name="connsiteY235" fmla="*/ 594996 h 868681"/>
                <a:gd name="connsiteX236" fmla="*/ 911224 w 1219200"/>
                <a:gd name="connsiteY236" fmla="*/ 594996 h 868681"/>
                <a:gd name="connsiteX237" fmla="*/ 911224 w 1219200"/>
                <a:gd name="connsiteY237" fmla="*/ 684531 h 868681"/>
                <a:gd name="connsiteX238" fmla="*/ 889000 w 1219200"/>
                <a:gd name="connsiteY238" fmla="*/ 684531 h 868681"/>
                <a:gd name="connsiteX239" fmla="*/ 889000 w 1219200"/>
                <a:gd name="connsiteY239" fmla="*/ 678181 h 868681"/>
                <a:gd name="connsiteX240" fmla="*/ 868045 w 1219200"/>
                <a:gd name="connsiteY240" fmla="*/ 686436 h 868681"/>
                <a:gd name="connsiteX241" fmla="*/ 836295 w 1219200"/>
                <a:gd name="connsiteY241" fmla="*/ 645161 h 868681"/>
                <a:gd name="connsiteX242" fmla="*/ 1181099 w 1219200"/>
                <a:gd name="connsiteY242" fmla="*/ 592456 h 868681"/>
                <a:gd name="connsiteX243" fmla="*/ 1219200 w 1219200"/>
                <a:gd name="connsiteY243" fmla="*/ 639446 h 868681"/>
                <a:gd name="connsiteX244" fmla="*/ 1218564 w 1219200"/>
                <a:gd name="connsiteY244" fmla="*/ 639446 h 868681"/>
                <a:gd name="connsiteX245" fmla="*/ 1218564 w 1219200"/>
                <a:gd name="connsiteY245" fmla="*/ 647066 h 868681"/>
                <a:gd name="connsiteX246" fmla="*/ 1163954 w 1219200"/>
                <a:gd name="connsiteY246" fmla="*/ 647066 h 868681"/>
                <a:gd name="connsiteX247" fmla="*/ 1183004 w 1219200"/>
                <a:gd name="connsiteY247" fmla="*/ 664846 h 868681"/>
                <a:gd name="connsiteX248" fmla="*/ 1198879 w 1219200"/>
                <a:gd name="connsiteY248" fmla="*/ 658496 h 868681"/>
                <a:gd name="connsiteX249" fmla="*/ 1214754 w 1219200"/>
                <a:gd name="connsiteY249" fmla="*/ 671831 h 868681"/>
                <a:gd name="connsiteX250" fmla="*/ 1182370 w 1219200"/>
                <a:gd name="connsiteY250" fmla="*/ 686436 h 868681"/>
                <a:gd name="connsiteX251" fmla="*/ 1141095 w 1219200"/>
                <a:gd name="connsiteY251" fmla="*/ 639446 h 868681"/>
                <a:gd name="connsiteX252" fmla="*/ 1181099 w 1219200"/>
                <a:gd name="connsiteY252" fmla="*/ 592456 h 868681"/>
                <a:gd name="connsiteX253" fmla="*/ 691515 w 1219200"/>
                <a:gd name="connsiteY253" fmla="*/ 592456 h 868681"/>
                <a:gd name="connsiteX254" fmla="*/ 729614 w 1219200"/>
                <a:gd name="connsiteY254" fmla="*/ 639446 h 868681"/>
                <a:gd name="connsiteX255" fmla="*/ 728980 w 1219200"/>
                <a:gd name="connsiteY255" fmla="*/ 639446 h 868681"/>
                <a:gd name="connsiteX256" fmla="*/ 728980 w 1219200"/>
                <a:gd name="connsiteY256" fmla="*/ 647066 h 868681"/>
                <a:gd name="connsiteX257" fmla="*/ 674370 w 1219200"/>
                <a:gd name="connsiteY257" fmla="*/ 647066 h 868681"/>
                <a:gd name="connsiteX258" fmla="*/ 693420 w 1219200"/>
                <a:gd name="connsiteY258" fmla="*/ 664846 h 868681"/>
                <a:gd name="connsiteX259" fmla="*/ 709295 w 1219200"/>
                <a:gd name="connsiteY259" fmla="*/ 658496 h 868681"/>
                <a:gd name="connsiteX260" fmla="*/ 725170 w 1219200"/>
                <a:gd name="connsiteY260" fmla="*/ 671831 h 868681"/>
                <a:gd name="connsiteX261" fmla="*/ 692784 w 1219200"/>
                <a:gd name="connsiteY261" fmla="*/ 686436 h 868681"/>
                <a:gd name="connsiteX262" fmla="*/ 651510 w 1219200"/>
                <a:gd name="connsiteY262" fmla="*/ 639446 h 868681"/>
                <a:gd name="connsiteX263" fmla="*/ 691515 w 1219200"/>
                <a:gd name="connsiteY263" fmla="*/ 592456 h 868681"/>
                <a:gd name="connsiteX264" fmla="*/ 412114 w 1219200"/>
                <a:gd name="connsiteY264" fmla="*/ 592456 h 868681"/>
                <a:gd name="connsiteX265" fmla="*/ 448310 w 1219200"/>
                <a:gd name="connsiteY265" fmla="*/ 639446 h 868681"/>
                <a:gd name="connsiteX266" fmla="*/ 448310 w 1219200"/>
                <a:gd name="connsiteY266" fmla="*/ 647066 h 868681"/>
                <a:gd name="connsiteX267" fmla="*/ 395605 w 1219200"/>
                <a:gd name="connsiteY267" fmla="*/ 647066 h 868681"/>
                <a:gd name="connsiteX268" fmla="*/ 415290 w 1219200"/>
                <a:gd name="connsiteY268" fmla="*/ 664846 h 868681"/>
                <a:gd name="connsiteX269" fmla="*/ 430530 w 1219200"/>
                <a:gd name="connsiteY269" fmla="*/ 658496 h 868681"/>
                <a:gd name="connsiteX270" fmla="*/ 446405 w 1219200"/>
                <a:gd name="connsiteY270" fmla="*/ 671831 h 868681"/>
                <a:gd name="connsiteX271" fmla="*/ 413385 w 1219200"/>
                <a:gd name="connsiteY271" fmla="*/ 686436 h 868681"/>
                <a:gd name="connsiteX272" fmla="*/ 372110 w 1219200"/>
                <a:gd name="connsiteY272" fmla="*/ 640081 h 868681"/>
                <a:gd name="connsiteX273" fmla="*/ 412114 w 1219200"/>
                <a:gd name="connsiteY273" fmla="*/ 592456 h 868681"/>
                <a:gd name="connsiteX274" fmla="*/ 326390 w 1219200"/>
                <a:gd name="connsiteY274" fmla="*/ 592456 h 868681"/>
                <a:gd name="connsiteX275" fmla="*/ 361314 w 1219200"/>
                <a:gd name="connsiteY275" fmla="*/ 639446 h 868681"/>
                <a:gd name="connsiteX276" fmla="*/ 326390 w 1219200"/>
                <a:gd name="connsiteY276" fmla="*/ 686436 h 868681"/>
                <a:gd name="connsiteX277" fmla="*/ 306070 w 1219200"/>
                <a:gd name="connsiteY277" fmla="*/ 678816 h 868681"/>
                <a:gd name="connsiteX278" fmla="*/ 306070 w 1219200"/>
                <a:gd name="connsiteY278" fmla="*/ 706121 h 868681"/>
                <a:gd name="connsiteX279" fmla="*/ 283845 w 1219200"/>
                <a:gd name="connsiteY279" fmla="*/ 717551 h 868681"/>
                <a:gd name="connsiteX280" fmla="*/ 283845 w 1219200"/>
                <a:gd name="connsiteY280" fmla="*/ 594361 h 868681"/>
                <a:gd name="connsiteX281" fmla="*/ 306070 w 1219200"/>
                <a:gd name="connsiteY281" fmla="*/ 594361 h 868681"/>
                <a:gd name="connsiteX282" fmla="*/ 306070 w 1219200"/>
                <a:gd name="connsiteY282" fmla="*/ 600711 h 868681"/>
                <a:gd name="connsiteX283" fmla="*/ 326390 w 1219200"/>
                <a:gd name="connsiteY283" fmla="*/ 592456 h 868681"/>
                <a:gd name="connsiteX284" fmla="*/ 231775 w 1219200"/>
                <a:gd name="connsiteY284" fmla="*/ 592456 h 868681"/>
                <a:gd name="connsiteX285" fmla="*/ 268605 w 1219200"/>
                <a:gd name="connsiteY285" fmla="*/ 624206 h 868681"/>
                <a:gd name="connsiteX286" fmla="*/ 268605 w 1219200"/>
                <a:gd name="connsiteY286" fmla="*/ 684531 h 868681"/>
                <a:gd name="connsiteX287" fmla="*/ 267970 w 1219200"/>
                <a:gd name="connsiteY287" fmla="*/ 684531 h 868681"/>
                <a:gd name="connsiteX288" fmla="*/ 245745 w 1219200"/>
                <a:gd name="connsiteY288" fmla="*/ 684531 h 868681"/>
                <a:gd name="connsiteX289" fmla="*/ 245745 w 1219200"/>
                <a:gd name="connsiteY289" fmla="*/ 678181 h 868681"/>
                <a:gd name="connsiteX290" fmla="*/ 224790 w 1219200"/>
                <a:gd name="connsiteY290" fmla="*/ 686436 h 868681"/>
                <a:gd name="connsiteX291" fmla="*/ 193040 w 1219200"/>
                <a:gd name="connsiteY291" fmla="*/ 655321 h 868681"/>
                <a:gd name="connsiteX292" fmla="*/ 227965 w 1219200"/>
                <a:gd name="connsiteY292" fmla="*/ 624841 h 868681"/>
                <a:gd name="connsiteX293" fmla="*/ 245745 w 1219200"/>
                <a:gd name="connsiteY293" fmla="*/ 628651 h 868681"/>
                <a:gd name="connsiteX294" fmla="*/ 245745 w 1219200"/>
                <a:gd name="connsiteY294" fmla="*/ 623571 h 868681"/>
                <a:gd name="connsiteX295" fmla="*/ 230504 w 1219200"/>
                <a:gd name="connsiteY295" fmla="*/ 611506 h 868681"/>
                <a:gd name="connsiteX296" fmla="*/ 209549 w 1219200"/>
                <a:gd name="connsiteY296" fmla="*/ 617221 h 868681"/>
                <a:gd name="connsiteX297" fmla="*/ 200659 w 1219200"/>
                <a:gd name="connsiteY297" fmla="*/ 601346 h 868681"/>
                <a:gd name="connsiteX298" fmla="*/ 231775 w 1219200"/>
                <a:gd name="connsiteY298" fmla="*/ 592456 h 868681"/>
                <a:gd name="connsiteX299" fmla="*/ 1125855 w 1219200"/>
                <a:gd name="connsiteY299" fmla="*/ 591821 h 868681"/>
                <a:gd name="connsiteX300" fmla="*/ 1142364 w 1219200"/>
                <a:gd name="connsiteY300" fmla="*/ 598171 h 868681"/>
                <a:gd name="connsiteX301" fmla="*/ 1141730 w 1219200"/>
                <a:gd name="connsiteY301" fmla="*/ 598806 h 868681"/>
                <a:gd name="connsiteX302" fmla="*/ 1132840 w 1219200"/>
                <a:gd name="connsiteY302" fmla="*/ 621031 h 868681"/>
                <a:gd name="connsiteX303" fmla="*/ 1120140 w 1219200"/>
                <a:gd name="connsiteY303" fmla="*/ 615316 h 868681"/>
                <a:gd name="connsiteX304" fmla="*/ 1106805 w 1219200"/>
                <a:gd name="connsiteY304" fmla="*/ 635001 h 868681"/>
                <a:gd name="connsiteX305" fmla="*/ 1106805 w 1219200"/>
                <a:gd name="connsiteY305" fmla="*/ 683896 h 868681"/>
                <a:gd name="connsiteX306" fmla="*/ 1084579 w 1219200"/>
                <a:gd name="connsiteY306" fmla="*/ 683896 h 868681"/>
                <a:gd name="connsiteX307" fmla="*/ 1084579 w 1219200"/>
                <a:gd name="connsiteY307" fmla="*/ 593726 h 868681"/>
                <a:gd name="connsiteX308" fmla="*/ 1106805 w 1219200"/>
                <a:gd name="connsiteY308" fmla="*/ 593726 h 868681"/>
                <a:gd name="connsiteX309" fmla="*/ 1106805 w 1219200"/>
                <a:gd name="connsiteY309" fmla="*/ 600076 h 868681"/>
                <a:gd name="connsiteX310" fmla="*/ 1125855 w 1219200"/>
                <a:gd name="connsiteY310" fmla="*/ 591821 h 868681"/>
                <a:gd name="connsiteX311" fmla="*/ 47625 w 1219200"/>
                <a:gd name="connsiteY311" fmla="*/ 563881 h 868681"/>
                <a:gd name="connsiteX312" fmla="*/ 90170 w 1219200"/>
                <a:gd name="connsiteY312" fmla="*/ 582296 h 868681"/>
                <a:gd name="connsiteX313" fmla="*/ 73659 w 1219200"/>
                <a:gd name="connsiteY313" fmla="*/ 598806 h 868681"/>
                <a:gd name="connsiteX314" fmla="*/ 46355 w 1219200"/>
                <a:gd name="connsiteY314" fmla="*/ 586741 h 868681"/>
                <a:gd name="connsiteX315" fmla="*/ 28575 w 1219200"/>
                <a:gd name="connsiteY315" fmla="*/ 598171 h 868681"/>
                <a:gd name="connsiteX316" fmla="*/ 33655 w 1219200"/>
                <a:gd name="connsiteY316" fmla="*/ 606426 h 868681"/>
                <a:gd name="connsiteX317" fmla="*/ 52704 w 1219200"/>
                <a:gd name="connsiteY317" fmla="*/ 612776 h 868681"/>
                <a:gd name="connsiteX318" fmla="*/ 81915 w 1219200"/>
                <a:gd name="connsiteY318" fmla="*/ 624841 h 868681"/>
                <a:gd name="connsiteX319" fmla="*/ 92427 w 1219200"/>
                <a:gd name="connsiteY319" fmla="*/ 648959 h 868681"/>
                <a:gd name="connsiteX320" fmla="*/ 79454 w 1219200"/>
                <a:gd name="connsiteY320" fmla="*/ 677626 h 868681"/>
                <a:gd name="connsiteX321" fmla="*/ 47625 w 1219200"/>
                <a:gd name="connsiteY321" fmla="*/ 686436 h 868681"/>
                <a:gd name="connsiteX322" fmla="*/ 0 w 1219200"/>
                <a:gd name="connsiteY322" fmla="*/ 664846 h 868681"/>
                <a:gd name="connsiteX323" fmla="*/ 16510 w 1219200"/>
                <a:gd name="connsiteY323" fmla="*/ 650241 h 868681"/>
                <a:gd name="connsiteX324" fmla="*/ 46989 w 1219200"/>
                <a:gd name="connsiteY324" fmla="*/ 664211 h 868681"/>
                <a:gd name="connsiteX325" fmla="*/ 68579 w 1219200"/>
                <a:gd name="connsiteY325" fmla="*/ 649606 h 868681"/>
                <a:gd name="connsiteX326" fmla="*/ 61595 w 1219200"/>
                <a:gd name="connsiteY326" fmla="*/ 640081 h 868681"/>
                <a:gd name="connsiteX327" fmla="*/ 41909 w 1219200"/>
                <a:gd name="connsiteY327" fmla="*/ 634366 h 868681"/>
                <a:gd name="connsiteX328" fmla="*/ 14605 w 1219200"/>
                <a:gd name="connsiteY328" fmla="*/ 623571 h 868681"/>
                <a:gd name="connsiteX329" fmla="*/ 4444 w 1219200"/>
                <a:gd name="connsiteY329" fmla="*/ 599441 h 868681"/>
                <a:gd name="connsiteX330" fmla="*/ 47625 w 1219200"/>
                <a:gd name="connsiteY330" fmla="*/ 563881 h 868681"/>
                <a:gd name="connsiteX331" fmla="*/ 814070 w 1219200"/>
                <a:gd name="connsiteY331" fmla="*/ 560071 h 868681"/>
                <a:gd name="connsiteX332" fmla="*/ 830579 w 1219200"/>
                <a:gd name="connsiteY332" fmla="*/ 562611 h 868681"/>
                <a:gd name="connsiteX333" fmla="*/ 829945 w 1219200"/>
                <a:gd name="connsiteY333" fmla="*/ 562611 h 868681"/>
                <a:gd name="connsiteX334" fmla="*/ 829945 w 1219200"/>
                <a:gd name="connsiteY334" fmla="*/ 581026 h 868681"/>
                <a:gd name="connsiteX335" fmla="*/ 818515 w 1219200"/>
                <a:gd name="connsiteY335" fmla="*/ 579121 h 868681"/>
                <a:gd name="connsiteX336" fmla="*/ 808989 w 1219200"/>
                <a:gd name="connsiteY336" fmla="*/ 586741 h 868681"/>
                <a:gd name="connsiteX337" fmla="*/ 808989 w 1219200"/>
                <a:gd name="connsiteY337" fmla="*/ 594361 h 868681"/>
                <a:gd name="connsiteX338" fmla="*/ 824230 w 1219200"/>
                <a:gd name="connsiteY338" fmla="*/ 594361 h 868681"/>
                <a:gd name="connsiteX339" fmla="*/ 824230 w 1219200"/>
                <a:gd name="connsiteY339" fmla="*/ 615951 h 868681"/>
                <a:gd name="connsiteX340" fmla="*/ 808989 w 1219200"/>
                <a:gd name="connsiteY340" fmla="*/ 615951 h 868681"/>
                <a:gd name="connsiteX341" fmla="*/ 808989 w 1219200"/>
                <a:gd name="connsiteY341" fmla="*/ 684531 h 868681"/>
                <a:gd name="connsiteX342" fmla="*/ 786765 w 1219200"/>
                <a:gd name="connsiteY342" fmla="*/ 684531 h 868681"/>
                <a:gd name="connsiteX343" fmla="*/ 786765 w 1219200"/>
                <a:gd name="connsiteY343" fmla="*/ 615951 h 868681"/>
                <a:gd name="connsiteX344" fmla="*/ 775970 w 1219200"/>
                <a:gd name="connsiteY344" fmla="*/ 615951 h 868681"/>
                <a:gd name="connsiteX345" fmla="*/ 775970 w 1219200"/>
                <a:gd name="connsiteY345" fmla="*/ 594361 h 868681"/>
                <a:gd name="connsiteX346" fmla="*/ 786765 w 1219200"/>
                <a:gd name="connsiteY346" fmla="*/ 594361 h 868681"/>
                <a:gd name="connsiteX347" fmla="*/ 786765 w 1219200"/>
                <a:gd name="connsiteY347" fmla="*/ 583566 h 868681"/>
                <a:gd name="connsiteX348" fmla="*/ 814070 w 1219200"/>
                <a:gd name="connsiteY348" fmla="*/ 560071 h 868681"/>
                <a:gd name="connsiteX349" fmla="*/ 957579 w 1219200"/>
                <a:gd name="connsiteY349" fmla="*/ 559436 h 868681"/>
                <a:gd name="connsiteX350" fmla="*/ 957579 w 1219200"/>
                <a:gd name="connsiteY350" fmla="*/ 594361 h 868681"/>
                <a:gd name="connsiteX351" fmla="*/ 979170 w 1219200"/>
                <a:gd name="connsiteY351" fmla="*/ 594361 h 868681"/>
                <a:gd name="connsiteX352" fmla="*/ 979170 w 1219200"/>
                <a:gd name="connsiteY352" fmla="*/ 615951 h 868681"/>
                <a:gd name="connsiteX353" fmla="*/ 957579 w 1219200"/>
                <a:gd name="connsiteY353" fmla="*/ 615951 h 868681"/>
                <a:gd name="connsiteX354" fmla="*/ 957579 w 1219200"/>
                <a:gd name="connsiteY354" fmla="*/ 654051 h 868681"/>
                <a:gd name="connsiteX355" fmla="*/ 966470 w 1219200"/>
                <a:gd name="connsiteY355" fmla="*/ 664846 h 868681"/>
                <a:gd name="connsiteX356" fmla="*/ 981075 w 1219200"/>
                <a:gd name="connsiteY356" fmla="*/ 658496 h 868681"/>
                <a:gd name="connsiteX357" fmla="*/ 977900 w 1219200"/>
                <a:gd name="connsiteY357" fmla="*/ 681356 h 868681"/>
                <a:gd name="connsiteX358" fmla="*/ 959485 w 1219200"/>
                <a:gd name="connsiteY358" fmla="*/ 686436 h 868681"/>
                <a:gd name="connsiteX359" fmla="*/ 935355 w 1219200"/>
                <a:gd name="connsiteY359" fmla="*/ 659766 h 868681"/>
                <a:gd name="connsiteX360" fmla="*/ 935355 w 1219200"/>
                <a:gd name="connsiteY360" fmla="*/ 615951 h 868681"/>
                <a:gd name="connsiteX361" fmla="*/ 922655 w 1219200"/>
                <a:gd name="connsiteY361" fmla="*/ 615951 h 868681"/>
                <a:gd name="connsiteX362" fmla="*/ 922655 w 1219200"/>
                <a:gd name="connsiteY362" fmla="*/ 594361 h 868681"/>
                <a:gd name="connsiteX363" fmla="*/ 935355 w 1219200"/>
                <a:gd name="connsiteY363" fmla="*/ 594361 h 868681"/>
                <a:gd name="connsiteX364" fmla="*/ 935355 w 1219200"/>
                <a:gd name="connsiteY364" fmla="*/ 570866 h 868681"/>
                <a:gd name="connsiteX365" fmla="*/ 586739 w 1219200"/>
                <a:gd name="connsiteY365" fmla="*/ 559436 h 868681"/>
                <a:gd name="connsiteX366" fmla="*/ 586739 w 1219200"/>
                <a:gd name="connsiteY366" fmla="*/ 600711 h 868681"/>
                <a:gd name="connsiteX367" fmla="*/ 607695 w 1219200"/>
                <a:gd name="connsiteY367" fmla="*/ 592456 h 868681"/>
                <a:gd name="connsiteX368" fmla="*/ 639445 w 1219200"/>
                <a:gd name="connsiteY368" fmla="*/ 633731 h 868681"/>
                <a:gd name="connsiteX369" fmla="*/ 639445 w 1219200"/>
                <a:gd name="connsiteY369" fmla="*/ 684531 h 868681"/>
                <a:gd name="connsiteX370" fmla="*/ 617220 w 1219200"/>
                <a:gd name="connsiteY370" fmla="*/ 684531 h 868681"/>
                <a:gd name="connsiteX371" fmla="*/ 617220 w 1219200"/>
                <a:gd name="connsiteY371" fmla="*/ 635636 h 868681"/>
                <a:gd name="connsiteX372" fmla="*/ 601980 w 1219200"/>
                <a:gd name="connsiteY372" fmla="*/ 614681 h 868681"/>
                <a:gd name="connsiteX373" fmla="*/ 586739 w 1219200"/>
                <a:gd name="connsiteY373" fmla="*/ 635001 h 868681"/>
                <a:gd name="connsiteX374" fmla="*/ 586739 w 1219200"/>
                <a:gd name="connsiteY374" fmla="*/ 684531 h 868681"/>
                <a:gd name="connsiteX375" fmla="*/ 564515 w 1219200"/>
                <a:gd name="connsiteY375" fmla="*/ 684531 h 868681"/>
                <a:gd name="connsiteX376" fmla="*/ 564515 w 1219200"/>
                <a:gd name="connsiteY376" fmla="*/ 570866 h 868681"/>
                <a:gd name="connsiteX377" fmla="*/ 529590 w 1219200"/>
                <a:gd name="connsiteY377" fmla="*/ 559436 h 868681"/>
                <a:gd name="connsiteX378" fmla="*/ 529590 w 1219200"/>
                <a:gd name="connsiteY378" fmla="*/ 594361 h 868681"/>
                <a:gd name="connsiteX379" fmla="*/ 550545 w 1219200"/>
                <a:gd name="connsiteY379" fmla="*/ 594361 h 868681"/>
                <a:gd name="connsiteX380" fmla="*/ 550545 w 1219200"/>
                <a:gd name="connsiteY380" fmla="*/ 615951 h 868681"/>
                <a:gd name="connsiteX381" fmla="*/ 529590 w 1219200"/>
                <a:gd name="connsiteY381" fmla="*/ 615951 h 868681"/>
                <a:gd name="connsiteX382" fmla="*/ 529590 w 1219200"/>
                <a:gd name="connsiteY382" fmla="*/ 654051 h 868681"/>
                <a:gd name="connsiteX383" fmla="*/ 538480 w 1219200"/>
                <a:gd name="connsiteY383" fmla="*/ 664846 h 868681"/>
                <a:gd name="connsiteX384" fmla="*/ 553084 w 1219200"/>
                <a:gd name="connsiteY384" fmla="*/ 658496 h 868681"/>
                <a:gd name="connsiteX385" fmla="*/ 549909 w 1219200"/>
                <a:gd name="connsiteY385" fmla="*/ 681356 h 868681"/>
                <a:gd name="connsiteX386" fmla="*/ 531495 w 1219200"/>
                <a:gd name="connsiteY386" fmla="*/ 686436 h 868681"/>
                <a:gd name="connsiteX387" fmla="*/ 507364 w 1219200"/>
                <a:gd name="connsiteY387" fmla="*/ 659766 h 868681"/>
                <a:gd name="connsiteX388" fmla="*/ 507364 w 1219200"/>
                <a:gd name="connsiteY388" fmla="*/ 615951 h 868681"/>
                <a:gd name="connsiteX389" fmla="*/ 491489 w 1219200"/>
                <a:gd name="connsiteY389" fmla="*/ 615951 h 868681"/>
                <a:gd name="connsiteX390" fmla="*/ 491489 w 1219200"/>
                <a:gd name="connsiteY390" fmla="*/ 594361 h 868681"/>
                <a:gd name="connsiteX391" fmla="*/ 507364 w 1219200"/>
                <a:gd name="connsiteY391" fmla="*/ 594361 h 868681"/>
                <a:gd name="connsiteX392" fmla="*/ 507364 w 1219200"/>
                <a:gd name="connsiteY392" fmla="*/ 570866 h 868681"/>
                <a:gd name="connsiteX393" fmla="*/ 128269 w 1219200"/>
                <a:gd name="connsiteY393" fmla="*/ 559436 h 868681"/>
                <a:gd name="connsiteX394" fmla="*/ 128269 w 1219200"/>
                <a:gd name="connsiteY394" fmla="*/ 600711 h 868681"/>
                <a:gd name="connsiteX395" fmla="*/ 149224 w 1219200"/>
                <a:gd name="connsiteY395" fmla="*/ 592456 h 868681"/>
                <a:gd name="connsiteX396" fmla="*/ 180974 w 1219200"/>
                <a:gd name="connsiteY396" fmla="*/ 633731 h 868681"/>
                <a:gd name="connsiteX397" fmla="*/ 180974 w 1219200"/>
                <a:gd name="connsiteY397" fmla="*/ 684531 h 868681"/>
                <a:gd name="connsiteX398" fmla="*/ 158750 w 1219200"/>
                <a:gd name="connsiteY398" fmla="*/ 684531 h 868681"/>
                <a:gd name="connsiteX399" fmla="*/ 158750 w 1219200"/>
                <a:gd name="connsiteY399" fmla="*/ 635636 h 868681"/>
                <a:gd name="connsiteX400" fmla="*/ 143510 w 1219200"/>
                <a:gd name="connsiteY400" fmla="*/ 614681 h 868681"/>
                <a:gd name="connsiteX401" fmla="*/ 128269 w 1219200"/>
                <a:gd name="connsiteY401" fmla="*/ 635001 h 868681"/>
                <a:gd name="connsiteX402" fmla="*/ 128269 w 1219200"/>
                <a:gd name="connsiteY402" fmla="*/ 684531 h 868681"/>
                <a:gd name="connsiteX403" fmla="*/ 106045 w 1219200"/>
                <a:gd name="connsiteY403" fmla="*/ 684531 h 868681"/>
                <a:gd name="connsiteX404" fmla="*/ 106045 w 1219200"/>
                <a:gd name="connsiteY404" fmla="*/ 570866 h 868681"/>
                <a:gd name="connsiteX405" fmla="*/ 269875 w 1219200"/>
                <a:gd name="connsiteY405" fmla="*/ 635 h 868681"/>
                <a:gd name="connsiteX406" fmla="*/ 501015 w 1219200"/>
                <a:gd name="connsiteY406" fmla="*/ 635 h 868681"/>
                <a:gd name="connsiteX407" fmla="*/ 554989 w 1219200"/>
                <a:gd name="connsiteY407" fmla="*/ 94615 h 868681"/>
                <a:gd name="connsiteX408" fmla="*/ 391795 w 1219200"/>
                <a:gd name="connsiteY408" fmla="*/ 94615 h 868681"/>
                <a:gd name="connsiteX409" fmla="*/ 391795 w 1219200"/>
                <a:gd name="connsiteY409" fmla="*/ 161925 h 868681"/>
                <a:gd name="connsiteX410" fmla="*/ 539114 w 1219200"/>
                <a:gd name="connsiteY410" fmla="*/ 161925 h 868681"/>
                <a:gd name="connsiteX411" fmla="*/ 539114 w 1219200"/>
                <a:gd name="connsiteY411" fmla="*/ 247650 h 868681"/>
                <a:gd name="connsiteX412" fmla="*/ 391795 w 1219200"/>
                <a:gd name="connsiteY412" fmla="*/ 247650 h 868681"/>
                <a:gd name="connsiteX413" fmla="*/ 391795 w 1219200"/>
                <a:gd name="connsiteY413" fmla="*/ 314325 h 868681"/>
                <a:gd name="connsiteX414" fmla="*/ 595629 w 1219200"/>
                <a:gd name="connsiteY414" fmla="*/ 314325 h 868681"/>
                <a:gd name="connsiteX415" fmla="*/ 595629 w 1219200"/>
                <a:gd name="connsiteY415" fmla="*/ 408305 h 868681"/>
                <a:gd name="connsiteX416" fmla="*/ 269875 w 1219200"/>
                <a:gd name="connsiteY416" fmla="*/ 408305 h 868681"/>
                <a:gd name="connsiteX417" fmla="*/ 539114 w 1219200"/>
                <a:gd name="connsiteY417" fmla="*/ 0 h 868681"/>
                <a:gd name="connsiteX418" fmla="*/ 674370 w 1219200"/>
                <a:gd name="connsiteY418" fmla="*/ 0 h 868681"/>
                <a:gd name="connsiteX419" fmla="*/ 743584 w 1219200"/>
                <a:gd name="connsiteY419" fmla="*/ 132715 h 868681"/>
                <a:gd name="connsiteX420" fmla="*/ 812799 w 1219200"/>
                <a:gd name="connsiteY420" fmla="*/ 0 h 868681"/>
                <a:gd name="connsiteX421" fmla="*/ 946150 w 1219200"/>
                <a:gd name="connsiteY421" fmla="*/ 0 h 868681"/>
                <a:gd name="connsiteX422" fmla="*/ 803275 w 1219200"/>
                <a:gd name="connsiteY422" fmla="*/ 246380 h 868681"/>
                <a:gd name="connsiteX423" fmla="*/ 803275 w 1219200"/>
                <a:gd name="connsiteY423" fmla="*/ 407670 h 868681"/>
                <a:gd name="connsiteX424" fmla="*/ 681355 w 1219200"/>
                <a:gd name="connsiteY424" fmla="*/ 407670 h 868681"/>
                <a:gd name="connsiteX425" fmla="*/ 681355 w 1219200"/>
                <a:gd name="connsiteY425" fmla="*/ 246380 h 868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</a:cxnLst>
              <a:rect l="l" t="t" r="r" b="b"/>
              <a:pathLst>
                <a:path w="1219200" h="868681">
                  <a:moveTo>
                    <a:pt x="245110" y="839471"/>
                  </a:moveTo>
                  <a:lnTo>
                    <a:pt x="246379" y="839471"/>
                  </a:lnTo>
                  <a:lnTo>
                    <a:pt x="245041" y="839979"/>
                  </a:lnTo>
                  <a:close/>
                  <a:moveTo>
                    <a:pt x="522605" y="796926"/>
                  </a:moveTo>
                  <a:cubicBezTo>
                    <a:pt x="509905" y="796926"/>
                    <a:pt x="504189" y="807721"/>
                    <a:pt x="504189" y="821691"/>
                  </a:cubicBezTo>
                  <a:cubicBezTo>
                    <a:pt x="504189" y="831216"/>
                    <a:pt x="508000" y="845821"/>
                    <a:pt x="522605" y="845821"/>
                  </a:cubicBezTo>
                  <a:cubicBezTo>
                    <a:pt x="537845" y="845821"/>
                    <a:pt x="541019" y="831851"/>
                    <a:pt x="541019" y="821691"/>
                  </a:cubicBezTo>
                  <a:cubicBezTo>
                    <a:pt x="541019" y="807721"/>
                    <a:pt x="535305" y="796926"/>
                    <a:pt x="522605" y="796926"/>
                  </a:cubicBezTo>
                  <a:close/>
                  <a:moveTo>
                    <a:pt x="817245" y="796291"/>
                  </a:moveTo>
                  <a:cubicBezTo>
                    <a:pt x="803909" y="796291"/>
                    <a:pt x="800735" y="807086"/>
                    <a:pt x="800735" y="819786"/>
                  </a:cubicBezTo>
                  <a:cubicBezTo>
                    <a:pt x="800735" y="834391"/>
                    <a:pt x="805180" y="846456"/>
                    <a:pt x="817879" y="846456"/>
                  </a:cubicBezTo>
                  <a:cubicBezTo>
                    <a:pt x="824230" y="846456"/>
                    <a:pt x="828674" y="843281"/>
                    <a:pt x="833754" y="838836"/>
                  </a:cubicBezTo>
                  <a:lnTo>
                    <a:pt x="833754" y="838201"/>
                  </a:lnTo>
                  <a:lnTo>
                    <a:pt x="833754" y="803911"/>
                  </a:lnTo>
                  <a:cubicBezTo>
                    <a:pt x="828674" y="798831"/>
                    <a:pt x="824230" y="796291"/>
                    <a:pt x="817245" y="796291"/>
                  </a:cubicBezTo>
                  <a:close/>
                  <a:moveTo>
                    <a:pt x="1179195" y="794386"/>
                  </a:moveTo>
                  <a:cubicBezTo>
                    <a:pt x="1168400" y="794386"/>
                    <a:pt x="1163954" y="803911"/>
                    <a:pt x="1163320" y="811531"/>
                  </a:cubicBezTo>
                  <a:lnTo>
                    <a:pt x="1163954" y="811531"/>
                  </a:lnTo>
                  <a:lnTo>
                    <a:pt x="1195704" y="811531"/>
                  </a:lnTo>
                  <a:cubicBezTo>
                    <a:pt x="1195070" y="801371"/>
                    <a:pt x="1188720" y="794386"/>
                    <a:pt x="1179195" y="794386"/>
                  </a:cubicBezTo>
                  <a:close/>
                  <a:moveTo>
                    <a:pt x="909320" y="794386"/>
                  </a:moveTo>
                  <a:cubicBezTo>
                    <a:pt x="898525" y="794386"/>
                    <a:pt x="894079" y="803911"/>
                    <a:pt x="893445" y="811531"/>
                  </a:cubicBezTo>
                  <a:lnTo>
                    <a:pt x="894079" y="811531"/>
                  </a:lnTo>
                  <a:lnTo>
                    <a:pt x="925829" y="811531"/>
                  </a:lnTo>
                  <a:cubicBezTo>
                    <a:pt x="925195" y="801371"/>
                    <a:pt x="918845" y="794386"/>
                    <a:pt x="909320" y="794386"/>
                  </a:cubicBezTo>
                  <a:close/>
                  <a:moveTo>
                    <a:pt x="737870" y="775971"/>
                  </a:moveTo>
                  <a:lnTo>
                    <a:pt x="761364" y="775971"/>
                  </a:lnTo>
                  <a:lnTo>
                    <a:pt x="761364" y="866141"/>
                  </a:lnTo>
                  <a:lnTo>
                    <a:pt x="737870" y="866141"/>
                  </a:lnTo>
                  <a:close/>
                  <a:moveTo>
                    <a:pt x="143510" y="775971"/>
                  </a:moveTo>
                  <a:lnTo>
                    <a:pt x="167004" y="775971"/>
                  </a:lnTo>
                  <a:lnTo>
                    <a:pt x="167004" y="866141"/>
                  </a:lnTo>
                  <a:lnTo>
                    <a:pt x="143510" y="866141"/>
                  </a:lnTo>
                  <a:close/>
                  <a:moveTo>
                    <a:pt x="635" y="775971"/>
                  </a:moveTo>
                  <a:lnTo>
                    <a:pt x="26670" y="775971"/>
                  </a:lnTo>
                  <a:lnTo>
                    <a:pt x="40004" y="828041"/>
                  </a:lnTo>
                  <a:lnTo>
                    <a:pt x="55245" y="775971"/>
                  </a:lnTo>
                  <a:lnTo>
                    <a:pt x="76200" y="775971"/>
                  </a:lnTo>
                  <a:lnTo>
                    <a:pt x="91439" y="828041"/>
                  </a:lnTo>
                  <a:lnTo>
                    <a:pt x="105409" y="775971"/>
                  </a:lnTo>
                  <a:lnTo>
                    <a:pt x="130810" y="775971"/>
                  </a:lnTo>
                  <a:lnTo>
                    <a:pt x="102235" y="866141"/>
                  </a:lnTo>
                  <a:lnTo>
                    <a:pt x="80644" y="866141"/>
                  </a:lnTo>
                  <a:lnTo>
                    <a:pt x="65405" y="811531"/>
                  </a:lnTo>
                  <a:lnTo>
                    <a:pt x="50165" y="866141"/>
                  </a:lnTo>
                  <a:lnTo>
                    <a:pt x="28575" y="866141"/>
                  </a:lnTo>
                  <a:close/>
                  <a:moveTo>
                    <a:pt x="1181099" y="774066"/>
                  </a:moveTo>
                  <a:cubicBezTo>
                    <a:pt x="1204595" y="774066"/>
                    <a:pt x="1219200" y="795021"/>
                    <a:pt x="1219200" y="821056"/>
                  </a:cubicBezTo>
                  <a:lnTo>
                    <a:pt x="1218564" y="821056"/>
                  </a:lnTo>
                  <a:cubicBezTo>
                    <a:pt x="1218564" y="821056"/>
                    <a:pt x="1218564" y="827406"/>
                    <a:pt x="1218564" y="828676"/>
                  </a:cubicBezTo>
                  <a:lnTo>
                    <a:pt x="1163954" y="828676"/>
                  </a:lnTo>
                  <a:cubicBezTo>
                    <a:pt x="1165224" y="841376"/>
                    <a:pt x="1173480" y="846456"/>
                    <a:pt x="1183004" y="846456"/>
                  </a:cubicBezTo>
                  <a:cubicBezTo>
                    <a:pt x="1188720" y="846456"/>
                    <a:pt x="1193799" y="844551"/>
                    <a:pt x="1198879" y="840106"/>
                  </a:cubicBezTo>
                  <a:lnTo>
                    <a:pt x="1214754" y="853441"/>
                  </a:lnTo>
                  <a:cubicBezTo>
                    <a:pt x="1206500" y="864236"/>
                    <a:pt x="1193799" y="868046"/>
                    <a:pt x="1182370" y="868046"/>
                  </a:cubicBezTo>
                  <a:cubicBezTo>
                    <a:pt x="1156335" y="868046"/>
                    <a:pt x="1141095" y="847726"/>
                    <a:pt x="1141095" y="821056"/>
                  </a:cubicBezTo>
                  <a:cubicBezTo>
                    <a:pt x="1141095" y="792481"/>
                    <a:pt x="1158875" y="774066"/>
                    <a:pt x="1181099" y="774066"/>
                  </a:cubicBezTo>
                  <a:close/>
                  <a:moveTo>
                    <a:pt x="1097915" y="774066"/>
                  </a:moveTo>
                  <a:cubicBezTo>
                    <a:pt x="1113790" y="774066"/>
                    <a:pt x="1125220" y="781051"/>
                    <a:pt x="1133474" y="793751"/>
                  </a:cubicBezTo>
                  <a:lnTo>
                    <a:pt x="1118235" y="808991"/>
                  </a:lnTo>
                  <a:cubicBezTo>
                    <a:pt x="1113155" y="802006"/>
                    <a:pt x="1107439" y="796291"/>
                    <a:pt x="1097915" y="796291"/>
                  </a:cubicBezTo>
                  <a:cubicBezTo>
                    <a:pt x="1085215" y="796291"/>
                    <a:pt x="1078864" y="807086"/>
                    <a:pt x="1078864" y="820421"/>
                  </a:cubicBezTo>
                  <a:cubicBezTo>
                    <a:pt x="1078864" y="833121"/>
                    <a:pt x="1084579" y="845186"/>
                    <a:pt x="1097915" y="845186"/>
                  </a:cubicBezTo>
                  <a:cubicBezTo>
                    <a:pt x="1106170" y="845186"/>
                    <a:pt x="1113155" y="840741"/>
                    <a:pt x="1118235" y="833756"/>
                  </a:cubicBezTo>
                  <a:lnTo>
                    <a:pt x="1118870" y="834391"/>
                  </a:lnTo>
                  <a:lnTo>
                    <a:pt x="1133474" y="848361"/>
                  </a:lnTo>
                  <a:cubicBezTo>
                    <a:pt x="1125855" y="857886"/>
                    <a:pt x="1115060" y="868046"/>
                    <a:pt x="1097280" y="868046"/>
                  </a:cubicBezTo>
                  <a:cubicBezTo>
                    <a:pt x="1072515" y="868046"/>
                    <a:pt x="1054735" y="848361"/>
                    <a:pt x="1054735" y="821056"/>
                  </a:cubicBezTo>
                  <a:cubicBezTo>
                    <a:pt x="1054735" y="796291"/>
                    <a:pt x="1069974" y="774066"/>
                    <a:pt x="1097915" y="774066"/>
                  </a:cubicBezTo>
                  <a:close/>
                  <a:moveTo>
                    <a:pt x="1009015" y="774066"/>
                  </a:moveTo>
                  <a:cubicBezTo>
                    <a:pt x="1033144" y="774066"/>
                    <a:pt x="1041400" y="793116"/>
                    <a:pt x="1041400" y="815341"/>
                  </a:cubicBezTo>
                  <a:lnTo>
                    <a:pt x="1041400" y="866141"/>
                  </a:lnTo>
                  <a:lnTo>
                    <a:pt x="1017905" y="866141"/>
                  </a:lnTo>
                  <a:lnTo>
                    <a:pt x="1017905" y="817246"/>
                  </a:lnTo>
                  <a:cubicBezTo>
                    <a:pt x="1017905" y="804546"/>
                    <a:pt x="1014730" y="796291"/>
                    <a:pt x="1002665" y="796291"/>
                  </a:cubicBezTo>
                  <a:cubicBezTo>
                    <a:pt x="990599" y="796291"/>
                    <a:pt x="986790" y="803276"/>
                    <a:pt x="986790" y="816611"/>
                  </a:cubicBezTo>
                  <a:lnTo>
                    <a:pt x="986790" y="866141"/>
                  </a:lnTo>
                  <a:lnTo>
                    <a:pt x="963295" y="866141"/>
                  </a:lnTo>
                  <a:lnTo>
                    <a:pt x="963295" y="775971"/>
                  </a:lnTo>
                  <a:lnTo>
                    <a:pt x="986790" y="775971"/>
                  </a:lnTo>
                  <a:lnTo>
                    <a:pt x="986790" y="782321"/>
                  </a:lnTo>
                  <a:cubicBezTo>
                    <a:pt x="991870" y="777241"/>
                    <a:pt x="998855" y="774066"/>
                    <a:pt x="1009015" y="774066"/>
                  </a:cubicBezTo>
                  <a:close/>
                  <a:moveTo>
                    <a:pt x="911224" y="774066"/>
                  </a:moveTo>
                  <a:cubicBezTo>
                    <a:pt x="934720" y="774066"/>
                    <a:pt x="949325" y="795021"/>
                    <a:pt x="949325" y="821056"/>
                  </a:cubicBezTo>
                  <a:lnTo>
                    <a:pt x="948689" y="821056"/>
                  </a:lnTo>
                  <a:cubicBezTo>
                    <a:pt x="948689" y="821056"/>
                    <a:pt x="948689" y="827406"/>
                    <a:pt x="948689" y="828676"/>
                  </a:cubicBezTo>
                  <a:lnTo>
                    <a:pt x="894079" y="828676"/>
                  </a:lnTo>
                  <a:cubicBezTo>
                    <a:pt x="895349" y="841376"/>
                    <a:pt x="903605" y="846456"/>
                    <a:pt x="913129" y="846456"/>
                  </a:cubicBezTo>
                  <a:cubicBezTo>
                    <a:pt x="918845" y="846456"/>
                    <a:pt x="923924" y="844551"/>
                    <a:pt x="929004" y="840106"/>
                  </a:cubicBezTo>
                  <a:lnTo>
                    <a:pt x="944879" y="853441"/>
                  </a:lnTo>
                  <a:cubicBezTo>
                    <a:pt x="936625" y="864236"/>
                    <a:pt x="923924" y="868046"/>
                    <a:pt x="912495" y="868046"/>
                  </a:cubicBezTo>
                  <a:cubicBezTo>
                    <a:pt x="886459" y="868046"/>
                    <a:pt x="871220" y="847726"/>
                    <a:pt x="871220" y="821056"/>
                  </a:cubicBezTo>
                  <a:cubicBezTo>
                    <a:pt x="871220" y="792481"/>
                    <a:pt x="889000" y="774066"/>
                    <a:pt x="911224" y="774066"/>
                  </a:cubicBezTo>
                  <a:close/>
                  <a:moveTo>
                    <a:pt x="623570" y="774066"/>
                  </a:moveTo>
                  <a:cubicBezTo>
                    <a:pt x="647700" y="774066"/>
                    <a:pt x="655954" y="793116"/>
                    <a:pt x="655954" y="815341"/>
                  </a:cubicBezTo>
                  <a:lnTo>
                    <a:pt x="655954" y="866141"/>
                  </a:lnTo>
                  <a:lnTo>
                    <a:pt x="632459" y="866141"/>
                  </a:lnTo>
                  <a:lnTo>
                    <a:pt x="632459" y="817246"/>
                  </a:lnTo>
                  <a:cubicBezTo>
                    <a:pt x="632459" y="804546"/>
                    <a:pt x="629284" y="796291"/>
                    <a:pt x="617220" y="796291"/>
                  </a:cubicBezTo>
                  <a:cubicBezTo>
                    <a:pt x="605155" y="796291"/>
                    <a:pt x="601345" y="803276"/>
                    <a:pt x="601345" y="816611"/>
                  </a:cubicBezTo>
                  <a:lnTo>
                    <a:pt x="601345" y="866141"/>
                  </a:lnTo>
                  <a:lnTo>
                    <a:pt x="577849" y="866141"/>
                  </a:lnTo>
                  <a:lnTo>
                    <a:pt x="577849" y="775971"/>
                  </a:lnTo>
                  <a:lnTo>
                    <a:pt x="601345" y="775971"/>
                  </a:lnTo>
                  <a:lnTo>
                    <a:pt x="601345" y="782321"/>
                  </a:lnTo>
                  <a:cubicBezTo>
                    <a:pt x="606424" y="777241"/>
                    <a:pt x="613409" y="774066"/>
                    <a:pt x="623570" y="774066"/>
                  </a:cubicBezTo>
                  <a:close/>
                  <a:moveTo>
                    <a:pt x="522605" y="774066"/>
                  </a:moveTo>
                  <a:cubicBezTo>
                    <a:pt x="548004" y="774066"/>
                    <a:pt x="564515" y="793116"/>
                    <a:pt x="564515" y="821056"/>
                  </a:cubicBezTo>
                  <a:cubicBezTo>
                    <a:pt x="564515" y="848996"/>
                    <a:pt x="546735" y="868046"/>
                    <a:pt x="522605" y="868046"/>
                  </a:cubicBezTo>
                  <a:cubicBezTo>
                    <a:pt x="498474" y="868046"/>
                    <a:pt x="480695" y="848996"/>
                    <a:pt x="480695" y="821056"/>
                  </a:cubicBezTo>
                  <a:cubicBezTo>
                    <a:pt x="480695" y="794386"/>
                    <a:pt x="496570" y="774066"/>
                    <a:pt x="522605" y="774066"/>
                  </a:cubicBezTo>
                  <a:close/>
                  <a:moveTo>
                    <a:pt x="436879" y="774066"/>
                  </a:moveTo>
                  <a:cubicBezTo>
                    <a:pt x="452754" y="774066"/>
                    <a:pt x="464185" y="781051"/>
                    <a:pt x="472439" y="793751"/>
                  </a:cubicBezTo>
                  <a:lnTo>
                    <a:pt x="457200" y="808991"/>
                  </a:lnTo>
                  <a:cubicBezTo>
                    <a:pt x="452120" y="802006"/>
                    <a:pt x="446405" y="796291"/>
                    <a:pt x="436879" y="796291"/>
                  </a:cubicBezTo>
                  <a:cubicBezTo>
                    <a:pt x="424180" y="796291"/>
                    <a:pt x="417829" y="807086"/>
                    <a:pt x="417829" y="820421"/>
                  </a:cubicBezTo>
                  <a:cubicBezTo>
                    <a:pt x="417829" y="833121"/>
                    <a:pt x="423545" y="845186"/>
                    <a:pt x="436879" y="845186"/>
                  </a:cubicBezTo>
                  <a:cubicBezTo>
                    <a:pt x="445135" y="845186"/>
                    <a:pt x="452120" y="840741"/>
                    <a:pt x="457200" y="833756"/>
                  </a:cubicBezTo>
                  <a:lnTo>
                    <a:pt x="457834" y="834391"/>
                  </a:lnTo>
                  <a:lnTo>
                    <a:pt x="472439" y="848361"/>
                  </a:lnTo>
                  <a:cubicBezTo>
                    <a:pt x="464820" y="857886"/>
                    <a:pt x="454025" y="868046"/>
                    <a:pt x="436245" y="868046"/>
                  </a:cubicBezTo>
                  <a:cubicBezTo>
                    <a:pt x="411480" y="868046"/>
                    <a:pt x="393700" y="848361"/>
                    <a:pt x="393700" y="821056"/>
                  </a:cubicBezTo>
                  <a:cubicBezTo>
                    <a:pt x="393700" y="796291"/>
                    <a:pt x="408939" y="774066"/>
                    <a:pt x="436879" y="774066"/>
                  </a:cubicBezTo>
                  <a:close/>
                  <a:moveTo>
                    <a:pt x="219075" y="742316"/>
                  </a:moveTo>
                  <a:lnTo>
                    <a:pt x="219075" y="777241"/>
                  </a:lnTo>
                  <a:lnTo>
                    <a:pt x="245110" y="777241"/>
                  </a:lnTo>
                  <a:lnTo>
                    <a:pt x="245110" y="798831"/>
                  </a:lnTo>
                  <a:lnTo>
                    <a:pt x="219075" y="798831"/>
                  </a:lnTo>
                  <a:lnTo>
                    <a:pt x="219075" y="835661"/>
                  </a:lnTo>
                  <a:cubicBezTo>
                    <a:pt x="219075" y="843916"/>
                    <a:pt x="222250" y="846456"/>
                    <a:pt x="227965" y="846456"/>
                  </a:cubicBezTo>
                  <a:lnTo>
                    <a:pt x="245041" y="839979"/>
                  </a:lnTo>
                  <a:lnTo>
                    <a:pt x="241935" y="862966"/>
                  </a:lnTo>
                  <a:cubicBezTo>
                    <a:pt x="236855" y="866776"/>
                    <a:pt x="225424" y="868681"/>
                    <a:pt x="219709" y="868681"/>
                  </a:cubicBezTo>
                  <a:cubicBezTo>
                    <a:pt x="205739" y="868681"/>
                    <a:pt x="195579" y="857251"/>
                    <a:pt x="195579" y="842011"/>
                  </a:cubicBezTo>
                  <a:lnTo>
                    <a:pt x="195579" y="798831"/>
                  </a:lnTo>
                  <a:lnTo>
                    <a:pt x="179704" y="798831"/>
                  </a:lnTo>
                  <a:lnTo>
                    <a:pt x="179704" y="777241"/>
                  </a:lnTo>
                  <a:lnTo>
                    <a:pt x="195579" y="777241"/>
                  </a:lnTo>
                  <a:lnTo>
                    <a:pt x="195579" y="753746"/>
                  </a:lnTo>
                  <a:close/>
                  <a:moveTo>
                    <a:pt x="749935" y="741681"/>
                  </a:moveTo>
                  <a:cubicBezTo>
                    <a:pt x="757555" y="741681"/>
                    <a:pt x="763269" y="747396"/>
                    <a:pt x="763269" y="755016"/>
                  </a:cubicBezTo>
                  <a:cubicBezTo>
                    <a:pt x="763269" y="762636"/>
                    <a:pt x="757555" y="768351"/>
                    <a:pt x="749935" y="768351"/>
                  </a:cubicBezTo>
                  <a:cubicBezTo>
                    <a:pt x="742314" y="768351"/>
                    <a:pt x="736599" y="762636"/>
                    <a:pt x="736599" y="755016"/>
                  </a:cubicBezTo>
                  <a:cubicBezTo>
                    <a:pt x="736599" y="747396"/>
                    <a:pt x="742314" y="741681"/>
                    <a:pt x="749935" y="741681"/>
                  </a:cubicBezTo>
                  <a:close/>
                  <a:moveTo>
                    <a:pt x="154939" y="741681"/>
                  </a:moveTo>
                  <a:cubicBezTo>
                    <a:pt x="162560" y="741681"/>
                    <a:pt x="168275" y="747396"/>
                    <a:pt x="168275" y="755016"/>
                  </a:cubicBezTo>
                  <a:cubicBezTo>
                    <a:pt x="168275" y="762636"/>
                    <a:pt x="162560" y="768351"/>
                    <a:pt x="154939" y="768351"/>
                  </a:cubicBezTo>
                  <a:cubicBezTo>
                    <a:pt x="147320" y="768351"/>
                    <a:pt x="141605" y="762636"/>
                    <a:pt x="141605" y="755016"/>
                  </a:cubicBezTo>
                  <a:cubicBezTo>
                    <a:pt x="141605" y="747396"/>
                    <a:pt x="147320" y="741681"/>
                    <a:pt x="154939" y="741681"/>
                  </a:cubicBezTo>
                  <a:close/>
                  <a:moveTo>
                    <a:pt x="856614" y="741046"/>
                  </a:moveTo>
                  <a:lnTo>
                    <a:pt x="856614" y="866141"/>
                  </a:lnTo>
                  <a:lnTo>
                    <a:pt x="833120" y="866141"/>
                  </a:lnTo>
                  <a:lnTo>
                    <a:pt x="833120" y="860426"/>
                  </a:lnTo>
                  <a:cubicBezTo>
                    <a:pt x="825500" y="866141"/>
                    <a:pt x="821055" y="868046"/>
                    <a:pt x="812799" y="868046"/>
                  </a:cubicBezTo>
                  <a:cubicBezTo>
                    <a:pt x="786765" y="868046"/>
                    <a:pt x="775970" y="845821"/>
                    <a:pt x="775970" y="820421"/>
                  </a:cubicBezTo>
                  <a:cubicBezTo>
                    <a:pt x="775970" y="793116"/>
                    <a:pt x="788670" y="774066"/>
                    <a:pt x="812165" y="774066"/>
                  </a:cubicBezTo>
                  <a:cubicBezTo>
                    <a:pt x="819784" y="774066"/>
                    <a:pt x="827405" y="775971"/>
                    <a:pt x="833120" y="781051"/>
                  </a:cubicBezTo>
                  <a:lnTo>
                    <a:pt x="833120" y="752476"/>
                  </a:lnTo>
                  <a:close/>
                  <a:moveTo>
                    <a:pt x="707390" y="741046"/>
                  </a:moveTo>
                  <a:cubicBezTo>
                    <a:pt x="712470" y="741046"/>
                    <a:pt x="719454" y="741046"/>
                    <a:pt x="724534" y="743586"/>
                  </a:cubicBezTo>
                  <a:lnTo>
                    <a:pt x="724534" y="744221"/>
                  </a:lnTo>
                  <a:lnTo>
                    <a:pt x="724534" y="762636"/>
                  </a:lnTo>
                  <a:cubicBezTo>
                    <a:pt x="721360" y="761366"/>
                    <a:pt x="716280" y="760731"/>
                    <a:pt x="713105" y="760731"/>
                  </a:cubicBezTo>
                  <a:cubicBezTo>
                    <a:pt x="706120" y="760731"/>
                    <a:pt x="703579" y="762636"/>
                    <a:pt x="703579" y="768351"/>
                  </a:cubicBezTo>
                  <a:lnTo>
                    <a:pt x="703579" y="775336"/>
                  </a:lnTo>
                  <a:lnTo>
                    <a:pt x="722629" y="775336"/>
                  </a:lnTo>
                  <a:lnTo>
                    <a:pt x="722629" y="796926"/>
                  </a:lnTo>
                  <a:lnTo>
                    <a:pt x="703579" y="796926"/>
                  </a:lnTo>
                  <a:lnTo>
                    <a:pt x="703579" y="865506"/>
                  </a:lnTo>
                  <a:lnTo>
                    <a:pt x="680084" y="865506"/>
                  </a:lnTo>
                  <a:lnTo>
                    <a:pt x="680084" y="796926"/>
                  </a:lnTo>
                  <a:lnTo>
                    <a:pt x="667385" y="796926"/>
                  </a:lnTo>
                  <a:lnTo>
                    <a:pt x="667385" y="775336"/>
                  </a:lnTo>
                  <a:lnTo>
                    <a:pt x="680084" y="775336"/>
                  </a:lnTo>
                  <a:lnTo>
                    <a:pt x="680084" y="764541"/>
                  </a:lnTo>
                  <a:cubicBezTo>
                    <a:pt x="680084" y="748031"/>
                    <a:pt x="690879" y="741046"/>
                    <a:pt x="707390" y="741046"/>
                  </a:cubicBezTo>
                  <a:close/>
                  <a:moveTo>
                    <a:pt x="282575" y="741046"/>
                  </a:moveTo>
                  <a:lnTo>
                    <a:pt x="282575" y="782321"/>
                  </a:lnTo>
                  <a:cubicBezTo>
                    <a:pt x="287019" y="777241"/>
                    <a:pt x="295909" y="774066"/>
                    <a:pt x="304799" y="774066"/>
                  </a:cubicBezTo>
                  <a:cubicBezTo>
                    <a:pt x="328295" y="774066"/>
                    <a:pt x="336549" y="792481"/>
                    <a:pt x="336549" y="815341"/>
                  </a:cubicBezTo>
                  <a:lnTo>
                    <a:pt x="336549" y="866141"/>
                  </a:lnTo>
                  <a:lnTo>
                    <a:pt x="313689" y="866141"/>
                  </a:lnTo>
                  <a:lnTo>
                    <a:pt x="313689" y="817246"/>
                  </a:lnTo>
                  <a:cubicBezTo>
                    <a:pt x="313689" y="804546"/>
                    <a:pt x="310515" y="796291"/>
                    <a:pt x="298450" y="796291"/>
                  </a:cubicBezTo>
                  <a:cubicBezTo>
                    <a:pt x="286385" y="796291"/>
                    <a:pt x="282575" y="803276"/>
                    <a:pt x="282575" y="816611"/>
                  </a:cubicBezTo>
                  <a:lnTo>
                    <a:pt x="282575" y="866141"/>
                  </a:lnTo>
                  <a:lnTo>
                    <a:pt x="259079" y="866141"/>
                  </a:lnTo>
                  <a:lnTo>
                    <a:pt x="259079" y="752476"/>
                  </a:lnTo>
                  <a:close/>
                  <a:moveTo>
                    <a:pt x="92709" y="648336"/>
                  </a:moveTo>
                  <a:lnTo>
                    <a:pt x="92709" y="649606"/>
                  </a:lnTo>
                  <a:lnTo>
                    <a:pt x="92427" y="648959"/>
                  </a:lnTo>
                  <a:close/>
                  <a:moveTo>
                    <a:pt x="230504" y="643256"/>
                  </a:moveTo>
                  <a:cubicBezTo>
                    <a:pt x="220345" y="643256"/>
                    <a:pt x="215900" y="647701"/>
                    <a:pt x="215900" y="654686"/>
                  </a:cubicBezTo>
                  <a:cubicBezTo>
                    <a:pt x="215900" y="661671"/>
                    <a:pt x="220345" y="667386"/>
                    <a:pt x="228599" y="667386"/>
                  </a:cubicBezTo>
                  <a:cubicBezTo>
                    <a:pt x="233045" y="667386"/>
                    <a:pt x="240665" y="666116"/>
                    <a:pt x="245745" y="658496"/>
                  </a:cubicBezTo>
                  <a:lnTo>
                    <a:pt x="245745" y="647066"/>
                  </a:lnTo>
                  <a:cubicBezTo>
                    <a:pt x="241299" y="643891"/>
                    <a:pt x="234950" y="643256"/>
                    <a:pt x="230504" y="643256"/>
                  </a:cubicBezTo>
                  <a:close/>
                  <a:moveTo>
                    <a:pt x="321310" y="614046"/>
                  </a:moveTo>
                  <a:cubicBezTo>
                    <a:pt x="314959" y="614046"/>
                    <a:pt x="309879" y="617221"/>
                    <a:pt x="306704" y="622301"/>
                  </a:cubicBezTo>
                  <a:lnTo>
                    <a:pt x="306704" y="656591"/>
                  </a:lnTo>
                  <a:cubicBezTo>
                    <a:pt x="310515" y="661671"/>
                    <a:pt x="316230" y="664846"/>
                    <a:pt x="323215" y="664846"/>
                  </a:cubicBezTo>
                  <a:cubicBezTo>
                    <a:pt x="335915" y="664846"/>
                    <a:pt x="339090" y="653416"/>
                    <a:pt x="339090" y="640716"/>
                  </a:cubicBezTo>
                  <a:lnTo>
                    <a:pt x="338454" y="640716"/>
                  </a:lnTo>
                  <a:cubicBezTo>
                    <a:pt x="338454" y="627381"/>
                    <a:pt x="335280" y="614046"/>
                    <a:pt x="321310" y="614046"/>
                  </a:cubicBezTo>
                  <a:close/>
                  <a:moveTo>
                    <a:pt x="1179195" y="612776"/>
                  </a:moveTo>
                  <a:cubicBezTo>
                    <a:pt x="1168400" y="612776"/>
                    <a:pt x="1163954" y="622301"/>
                    <a:pt x="1163320" y="629921"/>
                  </a:cubicBezTo>
                  <a:lnTo>
                    <a:pt x="1163954" y="629921"/>
                  </a:lnTo>
                  <a:lnTo>
                    <a:pt x="1195704" y="629921"/>
                  </a:lnTo>
                  <a:cubicBezTo>
                    <a:pt x="1195070" y="619761"/>
                    <a:pt x="1188720" y="612776"/>
                    <a:pt x="1179195" y="612776"/>
                  </a:cubicBezTo>
                  <a:close/>
                  <a:moveTo>
                    <a:pt x="689610" y="612776"/>
                  </a:moveTo>
                  <a:cubicBezTo>
                    <a:pt x="678814" y="612776"/>
                    <a:pt x="674370" y="622301"/>
                    <a:pt x="673735" y="629921"/>
                  </a:cubicBezTo>
                  <a:lnTo>
                    <a:pt x="674370" y="629921"/>
                  </a:lnTo>
                  <a:lnTo>
                    <a:pt x="706120" y="629921"/>
                  </a:lnTo>
                  <a:cubicBezTo>
                    <a:pt x="705485" y="619761"/>
                    <a:pt x="699135" y="612776"/>
                    <a:pt x="689610" y="612776"/>
                  </a:cubicBezTo>
                  <a:close/>
                  <a:moveTo>
                    <a:pt x="410845" y="612776"/>
                  </a:moveTo>
                  <a:cubicBezTo>
                    <a:pt x="400685" y="612776"/>
                    <a:pt x="396239" y="622301"/>
                    <a:pt x="395605" y="629921"/>
                  </a:cubicBezTo>
                  <a:lnTo>
                    <a:pt x="427355" y="629921"/>
                  </a:lnTo>
                  <a:cubicBezTo>
                    <a:pt x="426084" y="619761"/>
                    <a:pt x="420370" y="612776"/>
                    <a:pt x="410845" y="612776"/>
                  </a:cubicBezTo>
                  <a:close/>
                  <a:moveTo>
                    <a:pt x="991870" y="594361"/>
                  </a:moveTo>
                  <a:lnTo>
                    <a:pt x="1014095" y="594361"/>
                  </a:lnTo>
                  <a:lnTo>
                    <a:pt x="1014095" y="643256"/>
                  </a:lnTo>
                  <a:cubicBezTo>
                    <a:pt x="1014095" y="655321"/>
                    <a:pt x="1016635" y="664846"/>
                    <a:pt x="1029334" y="664846"/>
                  </a:cubicBezTo>
                  <a:cubicBezTo>
                    <a:pt x="1042034" y="664846"/>
                    <a:pt x="1044575" y="655321"/>
                    <a:pt x="1044575" y="644526"/>
                  </a:cubicBezTo>
                  <a:lnTo>
                    <a:pt x="1044575" y="594996"/>
                  </a:lnTo>
                  <a:lnTo>
                    <a:pt x="1066799" y="594996"/>
                  </a:lnTo>
                  <a:lnTo>
                    <a:pt x="1066799" y="684531"/>
                  </a:lnTo>
                  <a:lnTo>
                    <a:pt x="1044575" y="684531"/>
                  </a:lnTo>
                  <a:lnTo>
                    <a:pt x="1044575" y="678181"/>
                  </a:lnTo>
                  <a:cubicBezTo>
                    <a:pt x="1039495" y="683896"/>
                    <a:pt x="1031875" y="686436"/>
                    <a:pt x="1023620" y="686436"/>
                  </a:cubicBezTo>
                  <a:cubicBezTo>
                    <a:pt x="1000125" y="686436"/>
                    <a:pt x="991870" y="669926"/>
                    <a:pt x="991870" y="645161"/>
                  </a:cubicBezTo>
                  <a:close/>
                  <a:moveTo>
                    <a:pt x="836295" y="594361"/>
                  </a:moveTo>
                  <a:lnTo>
                    <a:pt x="858519" y="594361"/>
                  </a:lnTo>
                  <a:lnTo>
                    <a:pt x="858519" y="643256"/>
                  </a:lnTo>
                  <a:cubicBezTo>
                    <a:pt x="858519" y="655321"/>
                    <a:pt x="861060" y="664846"/>
                    <a:pt x="873760" y="664846"/>
                  </a:cubicBezTo>
                  <a:cubicBezTo>
                    <a:pt x="886459" y="664846"/>
                    <a:pt x="889000" y="655321"/>
                    <a:pt x="889000" y="644526"/>
                  </a:cubicBezTo>
                  <a:lnTo>
                    <a:pt x="889000" y="594996"/>
                  </a:lnTo>
                  <a:lnTo>
                    <a:pt x="911224" y="594996"/>
                  </a:lnTo>
                  <a:lnTo>
                    <a:pt x="911224" y="684531"/>
                  </a:lnTo>
                  <a:lnTo>
                    <a:pt x="889000" y="684531"/>
                  </a:lnTo>
                  <a:lnTo>
                    <a:pt x="889000" y="678181"/>
                  </a:lnTo>
                  <a:cubicBezTo>
                    <a:pt x="883920" y="683896"/>
                    <a:pt x="876299" y="686436"/>
                    <a:pt x="868045" y="686436"/>
                  </a:cubicBezTo>
                  <a:cubicBezTo>
                    <a:pt x="844549" y="686436"/>
                    <a:pt x="836295" y="669926"/>
                    <a:pt x="836295" y="645161"/>
                  </a:cubicBezTo>
                  <a:close/>
                  <a:moveTo>
                    <a:pt x="1181099" y="592456"/>
                  </a:moveTo>
                  <a:cubicBezTo>
                    <a:pt x="1204595" y="592456"/>
                    <a:pt x="1219200" y="613411"/>
                    <a:pt x="1219200" y="639446"/>
                  </a:cubicBezTo>
                  <a:lnTo>
                    <a:pt x="1218564" y="639446"/>
                  </a:lnTo>
                  <a:cubicBezTo>
                    <a:pt x="1218564" y="639446"/>
                    <a:pt x="1218564" y="645796"/>
                    <a:pt x="1218564" y="647066"/>
                  </a:cubicBezTo>
                  <a:lnTo>
                    <a:pt x="1163954" y="647066"/>
                  </a:lnTo>
                  <a:cubicBezTo>
                    <a:pt x="1165224" y="659766"/>
                    <a:pt x="1173480" y="664846"/>
                    <a:pt x="1183004" y="664846"/>
                  </a:cubicBezTo>
                  <a:cubicBezTo>
                    <a:pt x="1188720" y="664846"/>
                    <a:pt x="1193799" y="662941"/>
                    <a:pt x="1198879" y="658496"/>
                  </a:cubicBezTo>
                  <a:lnTo>
                    <a:pt x="1214754" y="671831"/>
                  </a:lnTo>
                  <a:cubicBezTo>
                    <a:pt x="1206500" y="682626"/>
                    <a:pt x="1193799" y="686436"/>
                    <a:pt x="1182370" y="686436"/>
                  </a:cubicBezTo>
                  <a:cubicBezTo>
                    <a:pt x="1156335" y="686436"/>
                    <a:pt x="1141095" y="666116"/>
                    <a:pt x="1141095" y="639446"/>
                  </a:cubicBezTo>
                  <a:cubicBezTo>
                    <a:pt x="1141095" y="610871"/>
                    <a:pt x="1158875" y="592456"/>
                    <a:pt x="1181099" y="592456"/>
                  </a:cubicBezTo>
                  <a:close/>
                  <a:moveTo>
                    <a:pt x="691515" y="592456"/>
                  </a:moveTo>
                  <a:cubicBezTo>
                    <a:pt x="715010" y="592456"/>
                    <a:pt x="729614" y="613411"/>
                    <a:pt x="729614" y="639446"/>
                  </a:cubicBezTo>
                  <a:lnTo>
                    <a:pt x="728980" y="639446"/>
                  </a:lnTo>
                  <a:cubicBezTo>
                    <a:pt x="728980" y="639446"/>
                    <a:pt x="728980" y="645796"/>
                    <a:pt x="728980" y="647066"/>
                  </a:cubicBezTo>
                  <a:lnTo>
                    <a:pt x="674370" y="647066"/>
                  </a:lnTo>
                  <a:cubicBezTo>
                    <a:pt x="675640" y="659766"/>
                    <a:pt x="683894" y="664846"/>
                    <a:pt x="693420" y="664846"/>
                  </a:cubicBezTo>
                  <a:cubicBezTo>
                    <a:pt x="699135" y="664846"/>
                    <a:pt x="704215" y="662941"/>
                    <a:pt x="709295" y="658496"/>
                  </a:cubicBezTo>
                  <a:lnTo>
                    <a:pt x="725170" y="671831"/>
                  </a:lnTo>
                  <a:cubicBezTo>
                    <a:pt x="716915" y="682626"/>
                    <a:pt x="704215" y="686436"/>
                    <a:pt x="692784" y="686436"/>
                  </a:cubicBezTo>
                  <a:cubicBezTo>
                    <a:pt x="666750" y="686436"/>
                    <a:pt x="651510" y="666116"/>
                    <a:pt x="651510" y="639446"/>
                  </a:cubicBezTo>
                  <a:cubicBezTo>
                    <a:pt x="651510" y="610871"/>
                    <a:pt x="669290" y="592456"/>
                    <a:pt x="691515" y="592456"/>
                  </a:cubicBezTo>
                  <a:close/>
                  <a:moveTo>
                    <a:pt x="412114" y="592456"/>
                  </a:moveTo>
                  <a:cubicBezTo>
                    <a:pt x="437515" y="592456"/>
                    <a:pt x="448310" y="615316"/>
                    <a:pt x="448310" y="639446"/>
                  </a:cubicBezTo>
                  <a:cubicBezTo>
                    <a:pt x="448310" y="639446"/>
                    <a:pt x="448310" y="645796"/>
                    <a:pt x="448310" y="647066"/>
                  </a:cubicBezTo>
                  <a:lnTo>
                    <a:pt x="395605" y="647066"/>
                  </a:lnTo>
                  <a:cubicBezTo>
                    <a:pt x="396875" y="659766"/>
                    <a:pt x="405129" y="664846"/>
                    <a:pt x="415290" y="664846"/>
                  </a:cubicBezTo>
                  <a:cubicBezTo>
                    <a:pt x="421004" y="664846"/>
                    <a:pt x="426084" y="662941"/>
                    <a:pt x="430530" y="658496"/>
                  </a:cubicBezTo>
                  <a:lnTo>
                    <a:pt x="446405" y="671831"/>
                  </a:lnTo>
                  <a:cubicBezTo>
                    <a:pt x="438784" y="681991"/>
                    <a:pt x="425450" y="686436"/>
                    <a:pt x="413385" y="686436"/>
                  </a:cubicBezTo>
                  <a:cubicBezTo>
                    <a:pt x="387349" y="686436"/>
                    <a:pt x="372110" y="666116"/>
                    <a:pt x="372110" y="640081"/>
                  </a:cubicBezTo>
                  <a:cubicBezTo>
                    <a:pt x="372110" y="614046"/>
                    <a:pt x="388620" y="592456"/>
                    <a:pt x="412114" y="592456"/>
                  </a:cubicBezTo>
                  <a:close/>
                  <a:moveTo>
                    <a:pt x="326390" y="592456"/>
                  </a:moveTo>
                  <a:cubicBezTo>
                    <a:pt x="350519" y="592456"/>
                    <a:pt x="361314" y="615316"/>
                    <a:pt x="361314" y="639446"/>
                  </a:cubicBezTo>
                  <a:cubicBezTo>
                    <a:pt x="361314" y="662306"/>
                    <a:pt x="351790" y="686436"/>
                    <a:pt x="326390" y="686436"/>
                  </a:cubicBezTo>
                  <a:cubicBezTo>
                    <a:pt x="316230" y="686436"/>
                    <a:pt x="310515" y="682626"/>
                    <a:pt x="306070" y="678816"/>
                  </a:cubicBezTo>
                  <a:lnTo>
                    <a:pt x="306070" y="706121"/>
                  </a:lnTo>
                  <a:lnTo>
                    <a:pt x="283845" y="717551"/>
                  </a:lnTo>
                  <a:lnTo>
                    <a:pt x="283845" y="594361"/>
                  </a:lnTo>
                  <a:lnTo>
                    <a:pt x="306070" y="594361"/>
                  </a:lnTo>
                  <a:lnTo>
                    <a:pt x="306070" y="600711"/>
                  </a:lnTo>
                  <a:cubicBezTo>
                    <a:pt x="311784" y="595631"/>
                    <a:pt x="318135" y="592456"/>
                    <a:pt x="326390" y="592456"/>
                  </a:cubicBezTo>
                  <a:close/>
                  <a:moveTo>
                    <a:pt x="231775" y="592456"/>
                  </a:moveTo>
                  <a:cubicBezTo>
                    <a:pt x="254635" y="592456"/>
                    <a:pt x="268605" y="603251"/>
                    <a:pt x="268605" y="624206"/>
                  </a:cubicBezTo>
                  <a:lnTo>
                    <a:pt x="268605" y="684531"/>
                  </a:lnTo>
                  <a:lnTo>
                    <a:pt x="267970" y="684531"/>
                  </a:lnTo>
                  <a:lnTo>
                    <a:pt x="245745" y="684531"/>
                  </a:lnTo>
                  <a:lnTo>
                    <a:pt x="245745" y="678181"/>
                  </a:lnTo>
                  <a:cubicBezTo>
                    <a:pt x="240665" y="683261"/>
                    <a:pt x="233680" y="686436"/>
                    <a:pt x="224790" y="686436"/>
                  </a:cubicBezTo>
                  <a:cubicBezTo>
                    <a:pt x="207010" y="686436"/>
                    <a:pt x="193040" y="675006"/>
                    <a:pt x="193040" y="655321"/>
                  </a:cubicBezTo>
                  <a:cubicBezTo>
                    <a:pt x="193040" y="635636"/>
                    <a:pt x="206375" y="624841"/>
                    <a:pt x="227965" y="624841"/>
                  </a:cubicBezTo>
                  <a:cubicBezTo>
                    <a:pt x="233680" y="624841"/>
                    <a:pt x="239394" y="625476"/>
                    <a:pt x="245745" y="628651"/>
                  </a:cubicBezTo>
                  <a:lnTo>
                    <a:pt x="245745" y="623571"/>
                  </a:lnTo>
                  <a:cubicBezTo>
                    <a:pt x="245745" y="615316"/>
                    <a:pt x="240030" y="611506"/>
                    <a:pt x="230504" y="611506"/>
                  </a:cubicBezTo>
                  <a:cubicBezTo>
                    <a:pt x="223519" y="611506"/>
                    <a:pt x="216534" y="613411"/>
                    <a:pt x="209549" y="617221"/>
                  </a:cubicBezTo>
                  <a:lnTo>
                    <a:pt x="200659" y="601346"/>
                  </a:lnTo>
                  <a:cubicBezTo>
                    <a:pt x="210185" y="594996"/>
                    <a:pt x="219709" y="592456"/>
                    <a:pt x="231775" y="592456"/>
                  </a:cubicBezTo>
                  <a:close/>
                  <a:moveTo>
                    <a:pt x="1125855" y="591821"/>
                  </a:moveTo>
                  <a:cubicBezTo>
                    <a:pt x="1132204" y="591821"/>
                    <a:pt x="1137920" y="593726"/>
                    <a:pt x="1142364" y="598171"/>
                  </a:cubicBezTo>
                  <a:lnTo>
                    <a:pt x="1141730" y="598806"/>
                  </a:lnTo>
                  <a:lnTo>
                    <a:pt x="1132840" y="621031"/>
                  </a:lnTo>
                  <a:cubicBezTo>
                    <a:pt x="1129665" y="617856"/>
                    <a:pt x="1125220" y="615316"/>
                    <a:pt x="1120140" y="615316"/>
                  </a:cubicBezTo>
                  <a:cubicBezTo>
                    <a:pt x="1109345" y="615316"/>
                    <a:pt x="1106805" y="624206"/>
                    <a:pt x="1106805" y="635001"/>
                  </a:cubicBezTo>
                  <a:lnTo>
                    <a:pt x="1106805" y="683896"/>
                  </a:lnTo>
                  <a:lnTo>
                    <a:pt x="1084579" y="683896"/>
                  </a:lnTo>
                  <a:lnTo>
                    <a:pt x="1084579" y="593726"/>
                  </a:lnTo>
                  <a:lnTo>
                    <a:pt x="1106805" y="593726"/>
                  </a:lnTo>
                  <a:lnTo>
                    <a:pt x="1106805" y="600076"/>
                  </a:lnTo>
                  <a:cubicBezTo>
                    <a:pt x="1111885" y="594996"/>
                    <a:pt x="1118235" y="591821"/>
                    <a:pt x="1125855" y="591821"/>
                  </a:cubicBezTo>
                  <a:close/>
                  <a:moveTo>
                    <a:pt x="47625" y="563881"/>
                  </a:moveTo>
                  <a:cubicBezTo>
                    <a:pt x="66040" y="563881"/>
                    <a:pt x="79375" y="571501"/>
                    <a:pt x="90170" y="582296"/>
                  </a:cubicBezTo>
                  <a:lnTo>
                    <a:pt x="73659" y="598806"/>
                  </a:lnTo>
                  <a:cubicBezTo>
                    <a:pt x="66040" y="591186"/>
                    <a:pt x="58420" y="586741"/>
                    <a:pt x="46355" y="586741"/>
                  </a:cubicBezTo>
                  <a:cubicBezTo>
                    <a:pt x="36194" y="586741"/>
                    <a:pt x="28575" y="589916"/>
                    <a:pt x="28575" y="598171"/>
                  </a:cubicBezTo>
                  <a:cubicBezTo>
                    <a:pt x="28575" y="601981"/>
                    <a:pt x="29845" y="604521"/>
                    <a:pt x="33655" y="606426"/>
                  </a:cubicBezTo>
                  <a:cubicBezTo>
                    <a:pt x="38099" y="608966"/>
                    <a:pt x="43814" y="610236"/>
                    <a:pt x="52704" y="612776"/>
                  </a:cubicBezTo>
                  <a:cubicBezTo>
                    <a:pt x="63500" y="615951"/>
                    <a:pt x="73659" y="617856"/>
                    <a:pt x="81915" y="624841"/>
                  </a:cubicBezTo>
                  <a:lnTo>
                    <a:pt x="92427" y="648959"/>
                  </a:lnTo>
                  <a:lnTo>
                    <a:pt x="79454" y="677626"/>
                  </a:lnTo>
                  <a:cubicBezTo>
                    <a:pt x="71279" y="683738"/>
                    <a:pt x="60008" y="686436"/>
                    <a:pt x="47625" y="686436"/>
                  </a:cubicBezTo>
                  <a:cubicBezTo>
                    <a:pt x="29845" y="686436"/>
                    <a:pt x="10795" y="680721"/>
                    <a:pt x="0" y="664846"/>
                  </a:cubicBezTo>
                  <a:lnTo>
                    <a:pt x="16510" y="650241"/>
                  </a:lnTo>
                  <a:cubicBezTo>
                    <a:pt x="24129" y="659766"/>
                    <a:pt x="35560" y="664211"/>
                    <a:pt x="46989" y="664211"/>
                  </a:cubicBezTo>
                  <a:cubicBezTo>
                    <a:pt x="60325" y="664211"/>
                    <a:pt x="68579" y="657861"/>
                    <a:pt x="68579" y="649606"/>
                  </a:cubicBezTo>
                  <a:cubicBezTo>
                    <a:pt x="68579" y="646431"/>
                    <a:pt x="67310" y="642621"/>
                    <a:pt x="61595" y="640081"/>
                  </a:cubicBezTo>
                  <a:cubicBezTo>
                    <a:pt x="57150" y="638176"/>
                    <a:pt x="52069" y="636906"/>
                    <a:pt x="41909" y="634366"/>
                  </a:cubicBezTo>
                  <a:cubicBezTo>
                    <a:pt x="35560" y="633096"/>
                    <a:pt x="22860" y="629921"/>
                    <a:pt x="14605" y="623571"/>
                  </a:cubicBezTo>
                  <a:cubicBezTo>
                    <a:pt x="6349" y="617221"/>
                    <a:pt x="4444" y="607696"/>
                    <a:pt x="4444" y="599441"/>
                  </a:cubicBezTo>
                  <a:cubicBezTo>
                    <a:pt x="4444" y="574041"/>
                    <a:pt x="26034" y="563881"/>
                    <a:pt x="47625" y="563881"/>
                  </a:cubicBezTo>
                  <a:close/>
                  <a:moveTo>
                    <a:pt x="814070" y="560071"/>
                  </a:moveTo>
                  <a:cubicBezTo>
                    <a:pt x="820420" y="560071"/>
                    <a:pt x="824864" y="561341"/>
                    <a:pt x="830579" y="562611"/>
                  </a:cubicBezTo>
                  <a:lnTo>
                    <a:pt x="829945" y="562611"/>
                  </a:lnTo>
                  <a:lnTo>
                    <a:pt x="829945" y="581026"/>
                  </a:lnTo>
                  <a:cubicBezTo>
                    <a:pt x="824864" y="579756"/>
                    <a:pt x="821055" y="579121"/>
                    <a:pt x="818515" y="579121"/>
                  </a:cubicBezTo>
                  <a:cubicBezTo>
                    <a:pt x="810260" y="579121"/>
                    <a:pt x="808989" y="582296"/>
                    <a:pt x="808989" y="586741"/>
                  </a:cubicBezTo>
                  <a:lnTo>
                    <a:pt x="808989" y="594361"/>
                  </a:lnTo>
                  <a:lnTo>
                    <a:pt x="824230" y="594361"/>
                  </a:lnTo>
                  <a:lnTo>
                    <a:pt x="824230" y="615951"/>
                  </a:lnTo>
                  <a:lnTo>
                    <a:pt x="808989" y="615951"/>
                  </a:lnTo>
                  <a:lnTo>
                    <a:pt x="808989" y="684531"/>
                  </a:lnTo>
                  <a:lnTo>
                    <a:pt x="786765" y="684531"/>
                  </a:lnTo>
                  <a:lnTo>
                    <a:pt x="786765" y="615951"/>
                  </a:lnTo>
                  <a:lnTo>
                    <a:pt x="775970" y="615951"/>
                  </a:lnTo>
                  <a:lnTo>
                    <a:pt x="775970" y="594361"/>
                  </a:lnTo>
                  <a:lnTo>
                    <a:pt x="786765" y="594361"/>
                  </a:lnTo>
                  <a:lnTo>
                    <a:pt x="786765" y="583566"/>
                  </a:lnTo>
                  <a:cubicBezTo>
                    <a:pt x="786765" y="567691"/>
                    <a:pt x="795019" y="560071"/>
                    <a:pt x="814070" y="560071"/>
                  </a:cubicBezTo>
                  <a:close/>
                  <a:moveTo>
                    <a:pt x="957579" y="559436"/>
                  </a:moveTo>
                  <a:lnTo>
                    <a:pt x="957579" y="594361"/>
                  </a:lnTo>
                  <a:lnTo>
                    <a:pt x="979170" y="594361"/>
                  </a:lnTo>
                  <a:lnTo>
                    <a:pt x="979170" y="615951"/>
                  </a:lnTo>
                  <a:lnTo>
                    <a:pt x="957579" y="615951"/>
                  </a:lnTo>
                  <a:lnTo>
                    <a:pt x="957579" y="654051"/>
                  </a:lnTo>
                  <a:cubicBezTo>
                    <a:pt x="957579" y="661671"/>
                    <a:pt x="960754" y="664846"/>
                    <a:pt x="966470" y="664846"/>
                  </a:cubicBezTo>
                  <a:cubicBezTo>
                    <a:pt x="972185" y="664846"/>
                    <a:pt x="977900" y="661671"/>
                    <a:pt x="981075" y="658496"/>
                  </a:cubicBezTo>
                  <a:lnTo>
                    <a:pt x="977900" y="681356"/>
                  </a:lnTo>
                  <a:cubicBezTo>
                    <a:pt x="973454" y="685166"/>
                    <a:pt x="965200" y="686436"/>
                    <a:pt x="959485" y="686436"/>
                  </a:cubicBezTo>
                  <a:cubicBezTo>
                    <a:pt x="945515" y="686436"/>
                    <a:pt x="935355" y="676276"/>
                    <a:pt x="935355" y="659766"/>
                  </a:cubicBezTo>
                  <a:lnTo>
                    <a:pt x="935355" y="615951"/>
                  </a:lnTo>
                  <a:lnTo>
                    <a:pt x="922655" y="615951"/>
                  </a:lnTo>
                  <a:lnTo>
                    <a:pt x="922655" y="594361"/>
                  </a:lnTo>
                  <a:lnTo>
                    <a:pt x="935355" y="594361"/>
                  </a:lnTo>
                  <a:lnTo>
                    <a:pt x="935355" y="570866"/>
                  </a:lnTo>
                  <a:close/>
                  <a:moveTo>
                    <a:pt x="586739" y="559436"/>
                  </a:moveTo>
                  <a:lnTo>
                    <a:pt x="586739" y="600711"/>
                  </a:lnTo>
                  <a:cubicBezTo>
                    <a:pt x="591820" y="595631"/>
                    <a:pt x="597534" y="592456"/>
                    <a:pt x="607695" y="592456"/>
                  </a:cubicBezTo>
                  <a:cubicBezTo>
                    <a:pt x="631825" y="592456"/>
                    <a:pt x="639445" y="610871"/>
                    <a:pt x="639445" y="633731"/>
                  </a:cubicBezTo>
                  <a:lnTo>
                    <a:pt x="639445" y="684531"/>
                  </a:lnTo>
                  <a:lnTo>
                    <a:pt x="617220" y="684531"/>
                  </a:lnTo>
                  <a:lnTo>
                    <a:pt x="617220" y="635636"/>
                  </a:lnTo>
                  <a:cubicBezTo>
                    <a:pt x="617220" y="623571"/>
                    <a:pt x="614680" y="614681"/>
                    <a:pt x="601980" y="614681"/>
                  </a:cubicBezTo>
                  <a:cubicBezTo>
                    <a:pt x="589280" y="614681"/>
                    <a:pt x="586739" y="622936"/>
                    <a:pt x="586739" y="635001"/>
                  </a:cubicBezTo>
                  <a:lnTo>
                    <a:pt x="586739" y="684531"/>
                  </a:lnTo>
                  <a:lnTo>
                    <a:pt x="564515" y="684531"/>
                  </a:lnTo>
                  <a:lnTo>
                    <a:pt x="564515" y="570866"/>
                  </a:lnTo>
                  <a:close/>
                  <a:moveTo>
                    <a:pt x="529590" y="559436"/>
                  </a:moveTo>
                  <a:lnTo>
                    <a:pt x="529590" y="594361"/>
                  </a:lnTo>
                  <a:lnTo>
                    <a:pt x="550545" y="594361"/>
                  </a:lnTo>
                  <a:lnTo>
                    <a:pt x="550545" y="615951"/>
                  </a:lnTo>
                  <a:lnTo>
                    <a:pt x="529590" y="615951"/>
                  </a:lnTo>
                  <a:lnTo>
                    <a:pt x="529590" y="654051"/>
                  </a:lnTo>
                  <a:cubicBezTo>
                    <a:pt x="529590" y="661671"/>
                    <a:pt x="532765" y="664846"/>
                    <a:pt x="538480" y="664846"/>
                  </a:cubicBezTo>
                  <a:cubicBezTo>
                    <a:pt x="544195" y="664846"/>
                    <a:pt x="549275" y="661671"/>
                    <a:pt x="553084" y="658496"/>
                  </a:cubicBezTo>
                  <a:lnTo>
                    <a:pt x="549909" y="681356"/>
                  </a:lnTo>
                  <a:cubicBezTo>
                    <a:pt x="545465" y="685166"/>
                    <a:pt x="537209" y="686436"/>
                    <a:pt x="531495" y="686436"/>
                  </a:cubicBezTo>
                  <a:cubicBezTo>
                    <a:pt x="517525" y="686436"/>
                    <a:pt x="507364" y="676276"/>
                    <a:pt x="507364" y="659766"/>
                  </a:cubicBezTo>
                  <a:lnTo>
                    <a:pt x="507364" y="615951"/>
                  </a:lnTo>
                  <a:lnTo>
                    <a:pt x="491489" y="615951"/>
                  </a:lnTo>
                  <a:lnTo>
                    <a:pt x="491489" y="594361"/>
                  </a:lnTo>
                  <a:lnTo>
                    <a:pt x="507364" y="594361"/>
                  </a:lnTo>
                  <a:lnTo>
                    <a:pt x="507364" y="570866"/>
                  </a:lnTo>
                  <a:close/>
                  <a:moveTo>
                    <a:pt x="128269" y="559436"/>
                  </a:moveTo>
                  <a:lnTo>
                    <a:pt x="128269" y="600711"/>
                  </a:lnTo>
                  <a:cubicBezTo>
                    <a:pt x="133349" y="595631"/>
                    <a:pt x="139064" y="592456"/>
                    <a:pt x="149224" y="592456"/>
                  </a:cubicBezTo>
                  <a:cubicBezTo>
                    <a:pt x="173355" y="592456"/>
                    <a:pt x="180974" y="610871"/>
                    <a:pt x="180974" y="633731"/>
                  </a:cubicBezTo>
                  <a:lnTo>
                    <a:pt x="180974" y="684531"/>
                  </a:lnTo>
                  <a:lnTo>
                    <a:pt x="158750" y="684531"/>
                  </a:lnTo>
                  <a:lnTo>
                    <a:pt x="158750" y="635636"/>
                  </a:lnTo>
                  <a:cubicBezTo>
                    <a:pt x="158750" y="623571"/>
                    <a:pt x="156209" y="614681"/>
                    <a:pt x="143510" y="614681"/>
                  </a:cubicBezTo>
                  <a:cubicBezTo>
                    <a:pt x="130810" y="614681"/>
                    <a:pt x="128269" y="622936"/>
                    <a:pt x="128269" y="635001"/>
                  </a:cubicBezTo>
                  <a:lnTo>
                    <a:pt x="128269" y="684531"/>
                  </a:lnTo>
                  <a:lnTo>
                    <a:pt x="106045" y="684531"/>
                  </a:lnTo>
                  <a:lnTo>
                    <a:pt x="106045" y="570866"/>
                  </a:lnTo>
                  <a:close/>
                  <a:moveTo>
                    <a:pt x="269875" y="635"/>
                  </a:moveTo>
                  <a:lnTo>
                    <a:pt x="501015" y="635"/>
                  </a:lnTo>
                  <a:lnTo>
                    <a:pt x="554989" y="94615"/>
                  </a:lnTo>
                  <a:lnTo>
                    <a:pt x="391795" y="94615"/>
                  </a:lnTo>
                  <a:lnTo>
                    <a:pt x="391795" y="161925"/>
                  </a:lnTo>
                  <a:lnTo>
                    <a:pt x="539114" y="161925"/>
                  </a:lnTo>
                  <a:lnTo>
                    <a:pt x="539114" y="247650"/>
                  </a:lnTo>
                  <a:lnTo>
                    <a:pt x="391795" y="247650"/>
                  </a:lnTo>
                  <a:lnTo>
                    <a:pt x="391795" y="314325"/>
                  </a:lnTo>
                  <a:lnTo>
                    <a:pt x="595629" y="314325"/>
                  </a:lnTo>
                  <a:lnTo>
                    <a:pt x="595629" y="408305"/>
                  </a:lnTo>
                  <a:lnTo>
                    <a:pt x="269875" y="408305"/>
                  </a:lnTo>
                  <a:close/>
                  <a:moveTo>
                    <a:pt x="539114" y="0"/>
                  </a:moveTo>
                  <a:lnTo>
                    <a:pt x="674370" y="0"/>
                  </a:lnTo>
                  <a:lnTo>
                    <a:pt x="743584" y="132715"/>
                  </a:lnTo>
                  <a:lnTo>
                    <a:pt x="812799" y="0"/>
                  </a:lnTo>
                  <a:lnTo>
                    <a:pt x="946150" y="0"/>
                  </a:lnTo>
                  <a:lnTo>
                    <a:pt x="803275" y="246380"/>
                  </a:lnTo>
                  <a:lnTo>
                    <a:pt x="803275" y="407670"/>
                  </a:lnTo>
                  <a:lnTo>
                    <a:pt x="681355" y="407670"/>
                  </a:lnTo>
                  <a:lnTo>
                    <a:pt x="681355" y="246380"/>
                  </a:lnTo>
                  <a:close/>
                </a:path>
              </a:pathLst>
            </a:custGeom>
            <a:solidFill>
              <a:srgbClr val="FFFFFF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6DE89320-B084-3AA1-F041-ECD9699F7EF4}"/>
              </a:ext>
            </a:extLst>
          </p:cNvPr>
          <p:cNvGrpSpPr/>
          <p:nvPr userDrawn="1"/>
        </p:nvGrpSpPr>
        <p:grpSpPr>
          <a:xfrm>
            <a:off x="486029" y="6164633"/>
            <a:ext cx="4943508" cy="318770"/>
            <a:chOff x="485775" y="6164633"/>
            <a:chExt cx="4940935" cy="318770"/>
          </a:xfrm>
        </p:grpSpPr>
        <p:sp>
          <p:nvSpPr>
            <p:cNvPr id="24" name="Freeform 23">
              <a:extLst>
                <a:ext uri="{FF2B5EF4-FFF2-40B4-BE49-F238E27FC236}">
                  <a16:creationId xmlns:a16="http://schemas.microsoft.com/office/drawing/2014/main" id="{BDF3ED9A-57E4-25C5-BC4E-AC1C77798191}"/>
                </a:ext>
              </a:extLst>
            </p:cNvPr>
            <p:cNvSpPr/>
            <p:nvPr userDrawn="1"/>
          </p:nvSpPr>
          <p:spPr>
            <a:xfrm>
              <a:off x="485775" y="6164633"/>
              <a:ext cx="405765" cy="81280"/>
            </a:xfrm>
            <a:custGeom>
              <a:avLst/>
              <a:gdLst>
                <a:gd name="connsiteX0" fmla="*/ 324485 w 405765"/>
                <a:gd name="connsiteY0" fmla="*/ 0 h 81280"/>
                <a:gd name="connsiteX1" fmla="*/ 405765 w 405765"/>
                <a:gd name="connsiteY1" fmla="*/ 0 h 81280"/>
                <a:gd name="connsiteX2" fmla="*/ 405765 w 405765"/>
                <a:gd name="connsiteY2" fmla="*/ 81280 h 81280"/>
                <a:gd name="connsiteX3" fmla="*/ 324485 w 405765"/>
                <a:gd name="connsiteY3" fmla="*/ 81280 h 81280"/>
                <a:gd name="connsiteX4" fmla="*/ 161925 w 405765"/>
                <a:gd name="connsiteY4" fmla="*/ 0 h 81280"/>
                <a:gd name="connsiteX5" fmla="*/ 243205 w 405765"/>
                <a:gd name="connsiteY5" fmla="*/ 0 h 81280"/>
                <a:gd name="connsiteX6" fmla="*/ 243205 w 405765"/>
                <a:gd name="connsiteY6" fmla="*/ 81280 h 81280"/>
                <a:gd name="connsiteX7" fmla="*/ 161925 w 405765"/>
                <a:gd name="connsiteY7" fmla="*/ 81280 h 81280"/>
                <a:gd name="connsiteX8" fmla="*/ 0 w 405765"/>
                <a:gd name="connsiteY8" fmla="*/ 0 h 81280"/>
                <a:gd name="connsiteX9" fmla="*/ 81280 w 405765"/>
                <a:gd name="connsiteY9" fmla="*/ 0 h 81280"/>
                <a:gd name="connsiteX10" fmla="*/ 81280 w 405765"/>
                <a:gd name="connsiteY10" fmla="*/ 81280 h 81280"/>
                <a:gd name="connsiteX11" fmla="*/ 0 w 405765"/>
                <a:gd name="connsiteY11" fmla="*/ 81280 h 812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05765" h="81280">
                  <a:moveTo>
                    <a:pt x="324485" y="0"/>
                  </a:moveTo>
                  <a:lnTo>
                    <a:pt x="405765" y="0"/>
                  </a:lnTo>
                  <a:lnTo>
                    <a:pt x="405765" y="81280"/>
                  </a:lnTo>
                  <a:lnTo>
                    <a:pt x="324485" y="81280"/>
                  </a:lnTo>
                  <a:close/>
                  <a:moveTo>
                    <a:pt x="161925" y="0"/>
                  </a:moveTo>
                  <a:lnTo>
                    <a:pt x="243205" y="0"/>
                  </a:lnTo>
                  <a:lnTo>
                    <a:pt x="243205" y="81280"/>
                  </a:lnTo>
                  <a:lnTo>
                    <a:pt x="161925" y="81280"/>
                  </a:lnTo>
                  <a:close/>
                  <a:moveTo>
                    <a:pt x="0" y="0"/>
                  </a:moveTo>
                  <a:lnTo>
                    <a:pt x="81280" y="0"/>
                  </a:lnTo>
                  <a:lnTo>
                    <a:pt x="81280" y="81280"/>
                  </a:lnTo>
                  <a:lnTo>
                    <a:pt x="0" y="81280"/>
                  </a:lnTo>
                  <a:close/>
                </a:path>
              </a:pathLst>
            </a:custGeom>
            <a:solidFill>
              <a:srgbClr val="FFE600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25" name="Freeform 24">
              <a:extLst>
                <a:ext uri="{FF2B5EF4-FFF2-40B4-BE49-F238E27FC236}">
                  <a16:creationId xmlns:a16="http://schemas.microsoft.com/office/drawing/2014/main" id="{F8AD9B21-63CE-8D03-9802-DB2391C6BC13}"/>
                </a:ext>
              </a:extLst>
            </p:cNvPr>
            <p:cNvSpPr/>
            <p:nvPr userDrawn="1"/>
          </p:nvSpPr>
          <p:spPr bwMode="black">
            <a:xfrm>
              <a:off x="485779" y="6344974"/>
              <a:ext cx="4940931" cy="138429"/>
            </a:xfrm>
            <a:custGeom>
              <a:avLst/>
              <a:gdLst>
                <a:gd name="connsiteX0" fmla="*/ 1032512 w 4940931"/>
                <a:gd name="connsiteY0" fmla="*/ 137477 h 138429"/>
                <a:gd name="connsiteX1" fmla="*/ 1032512 w 4940931"/>
                <a:gd name="connsiteY1" fmla="*/ 137794 h 138429"/>
                <a:gd name="connsiteX2" fmla="*/ 1030607 w 4940931"/>
                <a:gd name="connsiteY2" fmla="*/ 138429 h 138429"/>
                <a:gd name="connsiteX3" fmla="*/ 4929501 w 4940931"/>
                <a:gd name="connsiteY3" fmla="*/ 87629 h 138429"/>
                <a:gd name="connsiteX4" fmla="*/ 4933946 w 4940931"/>
                <a:gd name="connsiteY4" fmla="*/ 88264 h 138429"/>
                <a:gd name="connsiteX5" fmla="*/ 4937756 w 4940931"/>
                <a:gd name="connsiteY5" fmla="*/ 90804 h 138429"/>
                <a:gd name="connsiteX6" fmla="*/ 4940296 w 4940931"/>
                <a:gd name="connsiteY6" fmla="*/ 94614 h 138429"/>
                <a:gd name="connsiteX7" fmla="*/ 4940931 w 4940931"/>
                <a:gd name="connsiteY7" fmla="*/ 99059 h 138429"/>
                <a:gd name="connsiteX8" fmla="*/ 4940296 w 4940931"/>
                <a:gd name="connsiteY8" fmla="*/ 103504 h 138429"/>
                <a:gd name="connsiteX9" fmla="*/ 4937756 w 4940931"/>
                <a:gd name="connsiteY9" fmla="*/ 107314 h 138429"/>
                <a:gd name="connsiteX10" fmla="*/ 4933946 w 4940931"/>
                <a:gd name="connsiteY10" fmla="*/ 109854 h 138429"/>
                <a:gd name="connsiteX11" fmla="*/ 4929501 w 4940931"/>
                <a:gd name="connsiteY11" fmla="*/ 110489 h 138429"/>
                <a:gd name="connsiteX12" fmla="*/ 4925056 w 4940931"/>
                <a:gd name="connsiteY12" fmla="*/ 109854 h 138429"/>
                <a:gd name="connsiteX13" fmla="*/ 4921246 w 4940931"/>
                <a:gd name="connsiteY13" fmla="*/ 107314 h 138429"/>
                <a:gd name="connsiteX14" fmla="*/ 4918706 w 4940931"/>
                <a:gd name="connsiteY14" fmla="*/ 103504 h 138429"/>
                <a:gd name="connsiteX15" fmla="*/ 4918071 w 4940931"/>
                <a:gd name="connsiteY15" fmla="*/ 99059 h 138429"/>
                <a:gd name="connsiteX16" fmla="*/ 4918706 w 4940931"/>
                <a:gd name="connsiteY16" fmla="*/ 94614 h 138429"/>
                <a:gd name="connsiteX17" fmla="*/ 4921246 w 4940931"/>
                <a:gd name="connsiteY17" fmla="*/ 90804 h 138429"/>
                <a:gd name="connsiteX18" fmla="*/ 4925056 w 4940931"/>
                <a:gd name="connsiteY18" fmla="*/ 88264 h 138429"/>
                <a:gd name="connsiteX19" fmla="*/ 4929501 w 4940931"/>
                <a:gd name="connsiteY19" fmla="*/ 87629 h 138429"/>
                <a:gd name="connsiteX20" fmla="*/ 3079110 w 4940931"/>
                <a:gd name="connsiteY20" fmla="*/ 87629 h 138429"/>
                <a:gd name="connsiteX21" fmla="*/ 3083555 w 4940931"/>
                <a:gd name="connsiteY21" fmla="*/ 88264 h 138429"/>
                <a:gd name="connsiteX22" fmla="*/ 3087365 w 4940931"/>
                <a:gd name="connsiteY22" fmla="*/ 90804 h 138429"/>
                <a:gd name="connsiteX23" fmla="*/ 3089905 w 4940931"/>
                <a:gd name="connsiteY23" fmla="*/ 94614 h 138429"/>
                <a:gd name="connsiteX24" fmla="*/ 3090540 w 4940931"/>
                <a:gd name="connsiteY24" fmla="*/ 99059 h 138429"/>
                <a:gd name="connsiteX25" fmla="*/ 3089905 w 4940931"/>
                <a:gd name="connsiteY25" fmla="*/ 103504 h 138429"/>
                <a:gd name="connsiteX26" fmla="*/ 3087365 w 4940931"/>
                <a:gd name="connsiteY26" fmla="*/ 107314 h 138429"/>
                <a:gd name="connsiteX27" fmla="*/ 3083555 w 4940931"/>
                <a:gd name="connsiteY27" fmla="*/ 109854 h 138429"/>
                <a:gd name="connsiteX28" fmla="*/ 3079110 w 4940931"/>
                <a:gd name="connsiteY28" fmla="*/ 110489 h 138429"/>
                <a:gd name="connsiteX29" fmla="*/ 3074665 w 4940931"/>
                <a:gd name="connsiteY29" fmla="*/ 109854 h 138429"/>
                <a:gd name="connsiteX30" fmla="*/ 3070855 w 4940931"/>
                <a:gd name="connsiteY30" fmla="*/ 107314 h 138429"/>
                <a:gd name="connsiteX31" fmla="*/ 3068315 w 4940931"/>
                <a:gd name="connsiteY31" fmla="*/ 103504 h 138429"/>
                <a:gd name="connsiteX32" fmla="*/ 3067680 w 4940931"/>
                <a:gd name="connsiteY32" fmla="*/ 99059 h 138429"/>
                <a:gd name="connsiteX33" fmla="*/ 3068315 w 4940931"/>
                <a:gd name="connsiteY33" fmla="*/ 94614 h 138429"/>
                <a:gd name="connsiteX34" fmla="*/ 3070855 w 4940931"/>
                <a:gd name="connsiteY34" fmla="*/ 90804 h 138429"/>
                <a:gd name="connsiteX35" fmla="*/ 3074665 w 4940931"/>
                <a:gd name="connsiteY35" fmla="*/ 88264 h 138429"/>
                <a:gd name="connsiteX36" fmla="*/ 3079110 w 4940931"/>
                <a:gd name="connsiteY36" fmla="*/ 87629 h 138429"/>
                <a:gd name="connsiteX37" fmla="*/ 1565275 w 4940931"/>
                <a:gd name="connsiteY37" fmla="*/ 87629 h 138429"/>
                <a:gd name="connsiteX38" fmla="*/ 1569720 w 4940931"/>
                <a:gd name="connsiteY38" fmla="*/ 88264 h 138429"/>
                <a:gd name="connsiteX39" fmla="*/ 1573529 w 4940931"/>
                <a:gd name="connsiteY39" fmla="*/ 90804 h 138429"/>
                <a:gd name="connsiteX40" fmla="*/ 1576069 w 4940931"/>
                <a:gd name="connsiteY40" fmla="*/ 94614 h 138429"/>
                <a:gd name="connsiteX41" fmla="*/ 1576705 w 4940931"/>
                <a:gd name="connsiteY41" fmla="*/ 99059 h 138429"/>
                <a:gd name="connsiteX42" fmla="*/ 1576069 w 4940931"/>
                <a:gd name="connsiteY42" fmla="*/ 103504 h 138429"/>
                <a:gd name="connsiteX43" fmla="*/ 1573529 w 4940931"/>
                <a:gd name="connsiteY43" fmla="*/ 107314 h 138429"/>
                <a:gd name="connsiteX44" fmla="*/ 1569720 w 4940931"/>
                <a:gd name="connsiteY44" fmla="*/ 109854 h 138429"/>
                <a:gd name="connsiteX45" fmla="*/ 1565275 w 4940931"/>
                <a:gd name="connsiteY45" fmla="*/ 110489 h 138429"/>
                <a:gd name="connsiteX46" fmla="*/ 1560830 w 4940931"/>
                <a:gd name="connsiteY46" fmla="*/ 109854 h 138429"/>
                <a:gd name="connsiteX47" fmla="*/ 1557020 w 4940931"/>
                <a:gd name="connsiteY47" fmla="*/ 107314 h 138429"/>
                <a:gd name="connsiteX48" fmla="*/ 1554479 w 4940931"/>
                <a:gd name="connsiteY48" fmla="*/ 103504 h 138429"/>
                <a:gd name="connsiteX49" fmla="*/ 1553844 w 4940931"/>
                <a:gd name="connsiteY49" fmla="*/ 99059 h 138429"/>
                <a:gd name="connsiteX50" fmla="*/ 1554479 w 4940931"/>
                <a:gd name="connsiteY50" fmla="*/ 94614 h 138429"/>
                <a:gd name="connsiteX51" fmla="*/ 1557020 w 4940931"/>
                <a:gd name="connsiteY51" fmla="*/ 90804 h 138429"/>
                <a:gd name="connsiteX52" fmla="*/ 1560830 w 4940931"/>
                <a:gd name="connsiteY52" fmla="*/ 88264 h 138429"/>
                <a:gd name="connsiteX53" fmla="*/ 1565275 w 4940931"/>
                <a:gd name="connsiteY53" fmla="*/ 87629 h 138429"/>
                <a:gd name="connsiteX54" fmla="*/ 2642230 w 4940931"/>
                <a:gd name="connsiteY54" fmla="*/ 73024 h 138429"/>
                <a:gd name="connsiteX55" fmla="*/ 2630800 w 4940931"/>
                <a:gd name="connsiteY55" fmla="*/ 76199 h 138429"/>
                <a:gd name="connsiteX56" fmla="*/ 2626355 w 4940931"/>
                <a:gd name="connsiteY56" fmla="*/ 84454 h 138429"/>
                <a:gd name="connsiteX57" fmla="*/ 2627625 w 4940931"/>
                <a:gd name="connsiteY57" fmla="*/ 90169 h 138429"/>
                <a:gd name="connsiteX58" fmla="*/ 2630800 w 4940931"/>
                <a:gd name="connsiteY58" fmla="*/ 93979 h 138429"/>
                <a:gd name="connsiteX59" fmla="*/ 2635245 w 4940931"/>
                <a:gd name="connsiteY59" fmla="*/ 96519 h 138429"/>
                <a:gd name="connsiteX60" fmla="*/ 2641595 w 4940931"/>
                <a:gd name="connsiteY60" fmla="*/ 97154 h 138429"/>
                <a:gd name="connsiteX61" fmla="*/ 2647310 w 4940931"/>
                <a:gd name="connsiteY61" fmla="*/ 96519 h 138429"/>
                <a:gd name="connsiteX62" fmla="*/ 2652390 w 4940931"/>
                <a:gd name="connsiteY62" fmla="*/ 93979 h 138429"/>
                <a:gd name="connsiteX63" fmla="*/ 2656835 w 4940931"/>
                <a:gd name="connsiteY63" fmla="*/ 90804 h 138429"/>
                <a:gd name="connsiteX64" fmla="*/ 2660010 w 4940931"/>
                <a:gd name="connsiteY64" fmla="*/ 86994 h 138429"/>
                <a:gd name="connsiteX65" fmla="*/ 2660010 w 4940931"/>
                <a:gd name="connsiteY65" fmla="*/ 75564 h 138429"/>
                <a:gd name="connsiteX66" fmla="*/ 2656200 w 4940931"/>
                <a:gd name="connsiteY66" fmla="*/ 74294 h 138429"/>
                <a:gd name="connsiteX67" fmla="*/ 2652390 w 4940931"/>
                <a:gd name="connsiteY67" fmla="*/ 73659 h 138429"/>
                <a:gd name="connsiteX68" fmla="*/ 2647945 w 4940931"/>
                <a:gd name="connsiteY68" fmla="*/ 73024 h 138429"/>
                <a:gd name="connsiteX69" fmla="*/ 2642230 w 4940931"/>
                <a:gd name="connsiteY69" fmla="*/ 73024 h 138429"/>
                <a:gd name="connsiteX70" fmla="*/ 4664706 w 4940931"/>
                <a:gd name="connsiteY70" fmla="*/ 43814 h 138429"/>
                <a:gd name="connsiteX71" fmla="*/ 4657086 w 4940931"/>
                <a:gd name="connsiteY71" fmla="*/ 45719 h 138429"/>
                <a:gd name="connsiteX72" fmla="*/ 4651371 w 4940931"/>
                <a:gd name="connsiteY72" fmla="*/ 50799 h 138429"/>
                <a:gd name="connsiteX73" fmla="*/ 4647561 w 4940931"/>
                <a:gd name="connsiteY73" fmla="*/ 59054 h 138429"/>
                <a:gd name="connsiteX74" fmla="*/ 4646291 w 4940931"/>
                <a:gd name="connsiteY74" fmla="*/ 69849 h 138429"/>
                <a:gd name="connsiteX75" fmla="*/ 4647561 w 4940931"/>
                <a:gd name="connsiteY75" fmla="*/ 81279 h 138429"/>
                <a:gd name="connsiteX76" fmla="*/ 4651371 w 4940931"/>
                <a:gd name="connsiteY76" fmla="*/ 89534 h 138429"/>
                <a:gd name="connsiteX77" fmla="*/ 4657721 w 4940931"/>
                <a:gd name="connsiteY77" fmla="*/ 94614 h 138429"/>
                <a:gd name="connsiteX78" fmla="*/ 4665341 w 4940931"/>
                <a:gd name="connsiteY78" fmla="*/ 96519 h 138429"/>
                <a:gd name="connsiteX79" fmla="*/ 4672961 w 4940931"/>
                <a:gd name="connsiteY79" fmla="*/ 94614 h 138429"/>
                <a:gd name="connsiteX80" fmla="*/ 4678676 w 4940931"/>
                <a:gd name="connsiteY80" fmla="*/ 88899 h 138429"/>
                <a:gd name="connsiteX81" fmla="*/ 4682486 w 4940931"/>
                <a:gd name="connsiteY81" fmla="*/ 80644 h 138429"/>
                <a:gd name="connsiteX82" fmla="*/ 4683756 w 4940931"/>
                <a:gd name="connsiteY82" fmla="*/ 70484 h 138429"/>
                <a:gd name="connsiteX83" fmla="*/ 4684391 w 4940931"/>
                <a:gd name="connsiteY83" fmla="*/ 69849 h 138429"/>
                <a:gd name="connsiteX84" fmla="*/ 4683121 w 4940931"/>
                <a:gd name="connsiteY84" fmla="*/ 59054 h 138429"/>
                <a:gd name="connsiteX85" fmla="*/ 4679311 w 4940931"/>
                <a:gd name="connsiteY85" fmla="*/ 50799 h 138429"/>
                <a:gd name="connsiteX86" fmla="*/ 4672961 w 4940931"/>
                <a:gd name="connsiteY86" fmla="*/ 45719 h 138429"/>
                <a:gd name="connsiteX87" fmla="*/ 4664706 w 4940931"/>
                <a:gd name="connsiteY87" fmla="*/ 43814 h 138429"/>
                <a:gd name="connsiteX88" fmla="*/ 4264020 w 4940931"/>
                <a:gd name="connsiteY88" fmla="*/ 43814 h 138429"/>
                <a:gd name="connsiteX89" fmla="*/ 4256400 w 4940931"/>
                <a:gd name="connsiteY89" fmla="*/ 45719 h 138429"/>
                <a:gd name="connsiteX90" fmla="*/ 4250685 w 4940931"/>
                <a:gd name="connsiteY90" fmla="*/ 50799 h 138429"/>
                <a:gd name="connsiteX91" fmla="*/ 4246875 w 4940931"/>
                <a:gd name="connsiteY91" fmla="*/ 59054 h 138429"/>
                <a:gd name="connsiteX92" fmla="*/ 4245605 w 4940931"/>
                <a:gd name="connsiteY92" fmla="*/ 69849 h 138429"/>
                <a:gd name="connsiteX93" fmla="*/ 4246875 w 4940931"/>
                <a:gd name="connsiteY93" fmla="*/ 81279 h 138429"/>
                <a:gd name="connsiteX94" fmla="*/ 4250685 w 4940931"/>
                <a:gd name="connsiteY94" fmla="*/ 89534 h 138429"/>
                <a:gd name="connsiteX95" fmla="*/ 4257035 w 4940931"/>
                <a:gd name="connsiteY95" fmla="*/ 94614 h 138429"/>
                <a:gd name="connsiteX96" fmla="*/ 4264655 w 4940931"/>
                <a:gd name="connsiteY96" fmla="*/ 96519 h 138429"/>
                <a:gd name="connsiteX97" fmla="*/ 4272275 w 4940931"/>
                <a:gd name="connsiteY97" fmla="*/ 94614 h 138429"/>
                <a:gd name="connsiteX98" fmla="*/ 4277990 w 4940931"/>
                <a:gd name="connsiteY98" fmla="*/ 88899 h 138429"/>
                <a:gd name="connsiteX99" fmla="*/ 4281800 w 4940931"/>
                <a:gd name="connsiteY99" fmla="*/ 80644 h 138429"/>
                <a:gd name="connsiteX100" fmla="*/ 4283070 w 4940931"/>
                <a:gd name="connsiteY100" fmla="*/ 70484 h 138429"/>
                <a:gd name="connsiteX101" fmla="*/ 4283705 w 4940931"/>
                <a:gd name="connsiteY101" fmla="*/ 69849 h 138429"/>
                <a:gd name="connsiteX102" fmla="*/ 4282435 w 4940931"/>
                <a:gd name="connsiteY102" fmla="*/ 59054 h 138429"/>
                <a:gd name="connsiteX103" fmla="*/ 4278625 w 4940931"/>
                <a:gd name="connsiteY103" fmla="*/ 50799 h 138429"/>
                <a:gd name="connsiteX104" fmla="*/ 4272275 w 4940931"/>
                <a:gd name="connsiteY104" fmla="*/ 45719 h 138429"/>
                <a:gd name="connsiteX105" fmla="*/ 4264020 w 4940931"/>
                <a:gd name="connsiteY105" fmla="*/ 43814 h 138429"/>
                <a:gd name="connsiteX106" fmla="*/ 1420495 w 4940931"/>
                <a:gd name="connsiteY106" fmla="*/ 43814 h 138429"/>
                <a:gd name="connsiteX107" fmla="*/ 1412875 w 4940931"/>
                <a:gd name="connsiteY107" fmla="*/ 45719 h 138429"/>
                <a:gd name="connsiteX108" fmla="*/ 1407160 w 4940931"/>
                <a:gd name="connsiteY108" fmla="*/ 50799 h 138429"/>
                <a:gd name="connsiteX109" fmla="*/ 1403350 w 4940931"/>
                <a:gd name="connsiteY109" fmla="*/ 59054 h 138429"/>
                <a:gd name="connsiteX110" fmla="*/ 1402080 w 4940931"/>
                <a:gd name="connsiteY110" fmla="*/ 69849 h 138429"/>
                <a:gd name="connsiteX111" fmla="*/ 1403350 w 4940931"/>
                <a:gd name="connsiteY111" fmla="*/ 81279 h 138429"/>
                <a:gd name="connsiteX112" fmla="*/ 1407160 w 4940931"/>
                <a:gd name="connsiteY112" fmla="*/ 89534 h 138429"/>
                <a:gd name="connsiteX113" fmla="*/ 1413510 w 4940931"/>
                <a:gd name="connsiteY113" fmla="*/ 94614 h 138429"/>
                <a:gd name="connsiteX114" fmla="*/ 1421130 w 4940931"/>
                <a:gd name="connsiteY114" fmla="*/ 96519 h 138429"/>
                <a:gd name="connsiteX115" fmla="*/ 1428750 w 4940931"/>
                <a:gd name="connsiteY115" fmla="*/ 94614 h 138429"/>
                <a:gd name="connsiteX116" fmla="*/ 1434465 w 4940931"/>
                <a:gd name="connsiteY116" fmla="*/ 88899 h 138429"/>
                <a:gd name="connsiteX117" fmla="*/ 1438275 w 4940931"/>
                <a:gd name="connsiteY117" fmla="*/ 80644 h 138429"/>
                <a:gd name="connsiteX118" fmla="*/ 1439545 w 4940931"/>
                <a:gd name="connsiteY118" fmla="*/ 70484 h 138429"/>
                <a:gd name="connsiteX119" fmla="*/ 1440180 w 4940931"/>
                <a:gd name="connsiteY119" fmla="*/ 69849 h 138429"/>
                <a:gd name="connsiteX120" fmla="*/ 1438910 w 4940931"/>
                <a:gd name="connsiteY120" fmla="*/ 59054 h 138429"/>
                <a:gd name="connsiteX121" fmla="*/ 1435100 w 4940931"/>
                <a:gd name="connsiteY121" fmla="*/ 50799 h 138429"/>
                <a:gd name="connsiteX122" fmla="*/ 1428750 w 4940931"/>
                <a:gd name="connsiteY122" fmla="*/ 45719 h 138429"/>
                <a:gd name="connsiteX123" fmla="*/ 1420495 w 4940931"/>
                <a:gd name="connsiteY123" fmla="*/ 43814 h 138429"/>
                <a:gd name="connsiteX124" fmla="*/ 4041770 w 4940931"/>
                <a:gd name="connsiteY124" fmla="*/ 43180 h 138429"/>
                <a:gd name="connsiteX125" fmla="*/ 4034785 w 4940931"/>
                <a:gd name="connsiteY125" fmla="*/ 44450 h 138429"/>
                <a:gd name="connsiteX126" fmla="*/ 4029705 w 4940931"/>
                <a:gd name="connsiteY126" fmla="*/ 48260 h 138429"/>
                <a:gd name="connsiteX127" fmla="*/ 4025895 w 4940931"/>
                <a:gd name="connsiteY127" fmla="*/ 54610 h 138429"/>
                <a:gd name="connsiteX128" fmla="*/ 4023990 w 4940931"/>
                <a:gd name="connsiteY128" fmla="*/ 62865 h 138429"/>
                <a:gd name="connsiteX129" fmla="*/ 4060185 w 4940931"/>
                <a:gd name="connsiteY129" fmla="*/ 62865 h 138429"/>
                <a:gd name="connsiteX130" fmla="*/ 4058915 w 4940931"/>
                <a:gd name="connsiteY130" fmla="*/ 55245 h 138429"/>
                <a:gd name="connsiteX131" fmla="*/ 4055740 w 4940931"/>
                <a:gd name="connsiteY131" fmla="*/ 48895 h 138429"/>
                <a:gd name="connsiteX132" fmla="*/ 4050025 w 4940931"/>
                <a:gd name="connsiteY132" fmla="*/ 44450 h 138429"/>
                <a:gd name="connsiteX133" fmla="*/ 4041770 w 4940931"/>
                <a:gd name="connsiteY133" fmla="*/ 43180 h 138429"/>
                <a:gd name="connsiteX134" fmla="*/ 3728081 w 4940931"/>
                <a:gd name="connsiteY134" fmla="*/ 43180 h 138429"/>
                <a:gd name="connsiteX135" fmla="*/ 3721096 w 4940931"/>
                <a:gd name="connsiteY135" fmla="*/ 44450 h 138429"/>
                <a:gd name="connsiteX136" fmla="*/ 3716016 w 4940931"/>
                <a:gd name="connsiteY136" fmla="*/ 48260 h 138429"/>
                <a:gd name="connsiteX137" fmla="*/ 3712206 w 4940931"/>
                <a:gd name="connsiteY137" fmla="*/ 54610 h 138429"/>
                <a:gd name="connsiteX138" fmla="*/ 3710301 w 4940931"/>
                <a:gd name="connsiteY138" fmla="*/ 62865 h 138429"/>
                <a:gd name="connsiteX139" fmla="*/ 3746496 w 4940931"/>
                <a:gd name="connsiteY139" fmla="*/ 62865 h 138429"/>
                <a:gd name="connsiteX140" fmla="*/ 3745226 w 4940931"/>
                <a:gd name="connsiteY140" fmla="*/ 55245 h 138429"/>
                <a:gd name="connsiteX141" fmla="*/ 3742051 w 4940931"/>
                <a:gd name="connsiteY141" fmla="*/ 48895 h 138429"/>
                <a:gd name="connsiteX142" fmla="*/ 3736336 w 4940931"/>
                <a:gd name="connsiteY142" fmla="*/ 44450 h 138429"/>
                <a:gd name="connsiteX143" fmla="*/ 3728081 w 4940931"/>
                <a:gd name="connsiteY143" fmla="*/ 43180 h 138429"/>
                <a:gd name="connsiteX144" fmla="*/ 3541391 w 4940931"/>
                <a:gd name="connsiteY144" fmla="*/ 43180 h 138429"/>
                <a:gd name="connsiteX145" fmla="*/ 3534406 w 4940931"/>
                <a:gd name="connsiteY145" fmla="*/ 44450 h 138429"/>
                <a:gd name="connsiteX146" fmla="*/ 3529326 w 4940931"/>
                <a:gd name="connsiteY146" fmla="*/ 48260 h 138429"/>
                <a:gd name="connsiteX147" fmla="*/ 3525516 w 4940931"/>
                <a:gd name="connsiteY147" fmla="*/ 54610 h 138429"/>
                <a:gd name="connsiteX148" fmla="*/ 3523611 w 4940931"/>
                <a:gd name="connsiteY148" fmla="*/ 62865 h 138429"/>
                <a:gd name="connsiteX149" fmla="*/ 3559806 w 4940931"/>
                <a:gd name="connsiteY149" fmla="*/ 62865 h 138429"/>
                <a:gd name="connsiteX150" fmla="*/ 3558536 w 4940931"/>
                <a:gd name="connsiteY150" fmla="*/ 55245 h 138429"/>
                <a:gd name="connsiteX151" fmla="*/ 3555361 w 4940931"/>
                <a:gd name="connsiteY151" fmla="*/ 48895 h 138429"/>
                <a:gd name="connsiteX152" fmla="*/ 3549646 w 4940931"/>
                <a:gd name="connsiteY152" fmla="*/ 44450 h 138429"/>
                <a:gd name="connsiteX153" fmla="*/ 3541391 w 4940931"/>
                <a:gd name="connsiteY153" fmla="*/ 43180 h 138429"/>
                <a:gd name="connsiteX154" fmla="*/ 3463285 w 4940931"/>
                <a:gd name="connsiteY154" fmla="*/ 43180 h 138429"/>
                <a:gd name="connsiteX155" fmla="*/ 3458205 w 4940931"/>
                <a:gd name="connsiteY155" fmla="*/ 43815 h 138429"/>
                <a:gd name="connsiteX156" fmla="*/ 3453125 w 4940931"/>
                <a:gd name="connsiteY156" fmla="*/ 45720 h 138429"/>
                <a:gd name="connsiteX157" fmla="*/ 3448680 w 4940931"/>
                <a:gd name="connsiteY157" fmla="*/ 48895 h 138429"/>
                <a:gd name="connsiteX158" fmla="*/ 3445505 w 4940931"/>
                <a:gd name="connsiteY158" fmla="*/ 52705 h 138429"/>
                <a:gd name="connsiteX159" fmla="*/ 3445505 w 4940931"/>
                <a:gd name="connsiteY159" fmla="*/ 85725 h 138429"/>
                <a:gd name="connsiteX160" fmla="*/ 3448680 w 4940931"/>
                <a:gd name="connsiteY160" fmla="*/ 89535 h 138429"/>
                <a:gd name="connsiteX161" fmla="*/ 3453125 w 4940931"/>
                <a:gd name="connsiteY161" fmla="*/ 92710 h 138429"/>
                <a:gd name="connsiteX162" fmla="*/ 3458205 w 4940931"/>
                <a:gd name="connsiteY162" fmla="*/ 95250 h 138429"/>
                <a:gd name="connsiteX163" fmla="*/ 3463920 w 4940931"/>
                <a:gd name="connsiteY163" fmla="*/ 95885 h 138429"/>
                <a:gd name="connsiteX164" fmla="*/ 3476620 w 4940931"/>
                <a:gd name="connsiteY164" fmla="*/ 89535 h 138429"/>
                <a:gd name="connsiteX165" fmla="*/ 3481065 w 4940931"/>
                <a:gd name="connsiteY165" fmla="*/ 71120 h 138429"/>
                <a:gd name="connsiteX166" fmla="*/ 3480430 w 4940931"/>
                <a:gd name="connsiteY166" fmla="*/ 71755 h 138429"/>
                <a:gd name="connsiteX167" fmla="*/ 3475985 w 4940931"/>
                <a:gd name="connsiteY167" fmla="*/ 50165 h 138429"/>
                <a:gd name="connsiteX168" fmla="*/ 3463285 w 4940931"/>
                <a:gd name="connsiteY168" fmla="*/ 43180 h 138429"/>
                <a:gd name="connsiteX169" fmla="*/ 3343271 w 4940931"/>
                <a:gd name="connsiteY169" fmla="*/ 43180 h 138429"/>
                <a:gd name="connsiteX170" fmla="*/ 3336286 w 4940931"/>
                <a:gd name="connsiteY170" fmla="*/ 44450 h 138429"/>
                <a:gd name="connsiteX171" fmla="*/ 3331206 w 4940931"/>
                <a:gd name="connsiteY171" fmla="*/ 48260 h 138429"/>
                <a:gd name="connsiteX172" fmla="*/ 3327396 w 4940931"/>
                <a:gd name="connsiteY172" fmla="*/ 54610 h 138429"/>
                <a:gd name="connsiteX173" fmla="*/ 3325491 w 4940931"/>
                <a:gd name="connsiteY173" fmla="*/ 62865 h 138429"/>
                <a:gd name="connsiteX174" fmla="*/ 3361686 w 4940931"/>
                <a:gd name="connsiteY174" fmla="*/ 62865 h 138429"/>
                <a:gd name="connsiteX175" fmla="*/ 3360416 w 4940931"/>
                <a:gd name="connsiteY175" fmla="*/ 55245 h 138429"/>
                <a:gd name="connsiteX176" fmla="*/ 3357241 w 4940931"/>
                <a:gd name="connsiteY176" fmla="*/ 48895 h 138429"/>
                <a:gd name="connsiteX177" fmla="*/ 3351526 w 4940931"/>
                <a:gd name="connsiteY177" fmla="*/ 44450 h 138429"/>
                <a:gd name="connsiteX178" fmla="*/ 3343271 w 4940931"/>
                <a:gd name="connsiteY178" fmla="*/ 43180 h 138429"/>
                <a:gd name="connsiteX179" fmla="*/ 2976876 w 4940931"/>
                <a:gd name="connsiteY179" fmla="*/ 43180 h 138429"/>
                <a:gd name="connsiteX180" fmla="*/ 2969891 w 4940931"/>
                <a:gd name="connsiteY180" fmla="*/ 44450 h 138429"/>
                <a:gd name="connsiteX181" fmla="*/ 2964811 w 4940931"/>
                <a:gd name="connsiteY181" fmla="*/ 48260 h 138429"/>
                <a:gd name="connsiteX182" fmla="*/ 2961001 w 4940931"/>
                <a:gd name="connsiteY182" fmla="*/ 54610 h 138429"/>
                <a:gd name="connsiteX183" fmla="*/ 2959096 w 4940931"/>
                <a:gd name="connsiteY183" fmla="*/ 62865 h 138429"/>
                <a:gd name="connsiteX184" fmla="*/ 2995291 w 4940931"/>
                <a:gd name="connsiteY184" fmla="*/ 62865 h 138429"/>
                <a:gd name="connsiteX185" fmla="*/ 2994021 w 4940931"/>
                <a:gd name="connsiteY185" fmla="*/ 55245 h 138429"/>
                <a:gd name="connsiteX186" fmla="*/ 2990846 w 4940931"/>
                <a:gd name="connsiteY186" fmla="*/ 48895 h 138429"/>
                <a:gd name="connsiteX187" fmla="*/ 2985131 w 4940931"/>
                <a:gd name="connsiteY187" fmla="*/ 44450 h 138429"/>
                <a:gd name="connsiteX188" fmla="*/ 2976876 w 4940931"/>
                <a:gd name="connsiteY188" fmla="*/ 43180 h 138429"/>
                <a:gd name="connsiteX189" fmla="*/ 2527930 w 4940931"/>
                <a:gd name="connsiteY189" fmla="*/ 43180 h 138429"/>
                <a:gd name="connsiteX190" fmla="*/ 2520945 w 4940931"/>
                <a:gd name="connsiteY190" fmla="*/ 44450 h 138429"/>
                <a:gd name="connsiteX191" fmla="*/ 2515865 w 4940931"/>
                <a:gd name="connsiteY191" fmla="*/ 48260 h 138429"/>
                <a:gd name="connsiteX192" fmla="*/ 2512055 w 4940931"/>
                <a:gd name="connsiteY192" fmla="*/ 54610 h 138429"/>
                <a:gd name="connsiteX193" fmla="*/ 2510150 w 4940931"/>
                <a:gd name="connsiteY193" fmla="*/ 62865 h 138429"/>
                <a:gd name="connsiteX194" fmla="*/ 2546345 w 4940931"/>
                <a:gd name="connsiteY194" fmla="*/ 62865 h 138429"/>
                <a:gd name="connsiteX195" fmla="*/ 2545075 w 4940931"/>
                <a:gd name="connsiteY195" fmla="*/ 55245 h 138429"/>
                <a:gd name="connsiteX196" fmla="*/ 2541900 w 4940931"/>
                <a:gd name="connsiteY196" fmla="*/ 48895 h 138429"/>
                <a:gd name="connsiteX197" fmla="*/ 2536185 w 4940931"/>
                <a:gd name="connsiteY197" fmla="*/ 44450 h 138429"/>
                <a:gd name="connsiteX198" fmla="*/ 2527930 w 4940931"/>
                <a:gd name="connsiteY198" fmla="*/ 43180 h 138429"/>
                <a:gd name="connsiteX199" fmla="*/ 2214240 w 4940931"/>
                <a:gd name="connsiteY199" fmla="*/ 43180 h 138429"/>
                <a:gd name="connsiteX200" fmla="*/ 2207255 w 4940931"/>
                <a:gd name="connsiteY200" fmla="*/ 44450 h 138429"/>
                <a:gd name="connsiteX201" fmla="*/ 2202175 w 4940931"/>
                <a:gd name="connsiteY201" fmla="*/ 48260 h 138429"/>
                <a:gd name="connsiteX202" fmla="*/ 2198365 w 4940931"/>
                <a:gd name="connsiteY202" fmla="*/ 54610 h 138429"/>
                <a:gd name="connsiteX203" fmla="*/ 2196460 w 4940931"/>
                <a:gd name="connsiteY203" fmla="*/ 62865 h 138429"/>
                <a:gd name="connsiteX204" fmla="*/ 2232655 w 4940931"/>
                <a:gd name="connsiteY204" fmla="*/ 62865 h 138429"/>
                <a:gd name="connsiteX205" fmla="*/ 2231385 w 4940931"/>
                <a:gd name="connsiteY205" fmla="*/ 55245 h 138429"/>
                <a:gd name="connsiteX206" fmla="*/ 2228210 w 4940931"/>
                <a:gd name="connsiteY206" fmla="*/ 48895 h 138429"/>
                <a:gd name="connsiteX207" fmla="*/ 2222495 w 4940931"/>
                <a:gd name="connsiteY207" fmla="*/ 44450 h 138429"/>
                <a:gd name="connsiteX208" fmla="*/ 2214240 w 4940931"/>
                <a:gd name="connsiteY208" fmla="*/ 43180 h 138429"/>
                <a:gd name="connsiteX209" fmla="*/ 2027551 w 4940931"/>
                <a:gd name="connsiteY209" fmla="*/ 43180 h 138429"/>
                <a:gd name="connsiteX210" fmla="*/ 2020566 w 4940931"/>
                <a:gd name="connsiteY210" fmla="*/ 44450 h 138429"/>
                <a:gd name="connsiteX211" fmla="*/ 2015486 w 4940931"/>
                <a:gd name="connsiteY211" fmla="*/ 48260 h 138429"/>
                <a:gd name="connsiteX212" fmla="*/ 2011676 w 4940931"/>
                <a:gd name="connsiteY212" fmla="*/ 54610 h 138429"/>
                <a:gd name="connsiteX213" fmla="*/ 2009771 w 4940931"/>
                <a:gd name="connsiteY213" fmla="*/ 62865 h 138429"/>
                <a:gd name="connsiteX214" fmla="*/ 2045966 w 4940931"/>
                <a:gd name="connsiteY214" fmla="*/ 62865 h 138429"/>
                <a:gd name="connsiteX215" fmla="*/ 2044696 w 4940931"/>
                <a:gd name="connsiteY215" fmla="*/ 55245 h 138429"/>
                <a:gd name="connsiteX216" fmla="*/ 2041521 w 4940931"/>
                <a:gd name="connsiteY216" fmla="*/ 48895 h 138429"/>
                <a:gd name="connsiteX217" fmla="*/ 2035806 w 4940931"/>
                <a:gd name="connsiteY217" fmla="*/ 44450 h 138429"/>
                <a:gd name="connsiteX218" fmla="*/ 2027551 w 4940931"/>
                <a:gd name="connsiteY218" fmla="*/ 43180 h 138429"/>
                <a:gd name="connsiteX219" fmla="*/ 1949445 w 4940931"/>
                <a:gd name="connsiteY219" fmla="*/ 43180 h 138429"/>
                <a:gd name="connsiteX220" fmla="*/ 1944365 w 4940931"/>
                <a:gd name="connsiteY220" fmla="*/ 43815 h 138429"/>
                <a:gd name="connsiteX221" fmla="*/ 1939285 w 4940931"/>
                <a:gd name="connsiteY221" fmla="*/ 45720 h 138429"/>
                <a:gd name="connsiteX222" fmla="*/ 1934840 w 4940931"/>
                <a:gd name="connsiteY222" fmla="*/ 48895 h 138429"/>
                <a:gd name="connsiteX223" fmla="*/ 1931665 w 4940931"/>
                <a:gd name="connsiteY223" fmla="*/ 52705 h 138429"/>
                <a:gd name="connsiteX224" fmla="*/ 1931665 w 4940931"/>
                <a:gd name="connsiteY224" fmla="*/ 85725 h 138429"/>
                <a:gd name="connsiteX225" fmla="*/ 1934840 w 4940931"/>
                <a:gd name="connsiteY225" fmla="*/ 89535 h 138429"/>
                <a:gd name="connsiteX226" fmla="*/ 1939285 w 4940931"/>
                <a:gd name="connsiteY226" fmla="*/ 92710 h 138429"/>
                <a:gd name="connsiteX227" fmla="*/ 1944365 w 4940931"/>
                <a:gd name="connsiteY227" fmla="*/ 95250 h 138429"/>
                <a:gd name="connsiteX228" fmla="*/ 1950080 w 4940931"/>
                <a:gd name="connsiteY228" fmla="*/ 95885 h 138429"/>
                <a:gd name="connsiteX229" fmla="*/ 1962780 w 4940931"/>
                <a:gd name="connsiteY229" fmla="*/ 89535 h 138429"/>
                <a:gd name="connsiteX230" fmla="*/ 1967225 w 4940931"/>
                <a:gd name="connsiteY230" fmla="*/ 71120 h 138429"/>
                <a:gd name="connsiteX231" fmla="*/ 1966590 w 4940931"/>
                <a:gd name="connsiteY231" fmla="*/ 71755 h 138429"/>
                <a:gd name="connsiteX232" fmla="*/ 1962145 w 4940931"/>
                <a:gd name="connsiteY232" fmla="*/ 50165 h 138429"/>
                <a:gd name="connsiteX233" fmla="*/ 1949445 w 4940931"/>
                <a:gd name="connsiteY233" fmla="*/ 43180 h 138429"/>
                <a:gd name="connsiteX234" fmla="*/ 1829431 w 4940931"/>
                <a:gd name="connsiteY234" fmla="*/ 43180 h 138429"/>
                <a:gd name="connsiteX235" fmla="*/ 1822446 w 4940931"/>
                <a:gd name="connsiteY235" fmla="*/ 44450 h 138429"/>
                <a:gd name="connsiteX236" fmla="*/ 1817366 w 4940931"/>
                <a:gd name="connsiteY236" fmla="*/ 48260 h 138429"/>
                <a:gd name="connsiteX237" fmla="*/ 1813556 w 4940931"/>
                <a:gd name="connsiteY237" fmla="*/ 54610 h 138429"/>
                <a:gd name="connsiteX238" fmla="*/ 1811651 w 4940931"/>
                <a:gd name="connsiteY238" fmla="*/ 62865 h 138429"/>
                <a:gd name="connsiteX239" fmla="*/ 1847846 w 4940931"/>
                <a:gd name="connsiteY239" fmla="*/ 62865 h 138429"/>
                <a:gd name="connsiteX240" fmla="*/ 1846576 w 4940931"/>
                <a:gd name="connsiteY240" fmla="*/ 55245 h 138429"/>
                <a:gd name="connsiteX241" fmla="*/ 1843401 w 4940931"/>
                <a:gd name="connsiteY241" fmla="*/ 48895 h 138429"/>
                <a:gd name="connsiteX242" fmla="*/ 1837686 w 4940931"/>
                <a:gd name="connsiteY242" fmla="*/ 44450 h 138429"/>
                <a:gd name="connsiteX243" fmla="*/ 1829431 w 4940931"/>
                <a:gd name="connsiteY243" fmla="*/ 43180 h 138429"/>
                <a:gd name="connsiteX244" fmla="*/ 1178561 w 4940931"/>
                <a:gd name="connsiteY244" fmla="*/ 43180 h 138429"/>
                <a:gd name="connsiteX245" fmla="*/ 1171576 w 4940931"/>
                <a:gd name="connsiteY245" fmla="*/ 44450 h 138429"/>
                <a:gd name="connsiteX246" fmla="*/ 1166496 w 4940931"/>
                <a:gd name="connsiteY246" fmla="*/ 48260 h 138429"/>
                <a:gd name="connsiteX247" fmla="*/ 1162686 w 4940931"/>
                <a:gd name="connsiteY247" fmla="*/ 54610 h 138429"/>
                <a:gd name="connsiteX248" fmla="*/ 1160781 w 4940931"/>
                <a:gd name="connsiteY248" fmla="*/ 62865 h 138429"/>
                <a:gd name="connsiteX249" fmla="*/ 1196976 w 4940931"/>
                <a:gd name="connsiteY249" fmla="*/ 62865 h 138429"/>
                <a:gd name="connsiteX250" fmla="*/ 1195706 w 4940931"/>
                <a:gd name="connsiteY250" fmla="*/ 55245 h 138429"/>
                <a:gd name="connsiteX251" fmla="*/ 1192531 w 4940931"/>
                <a:gd name="connsiteY251" fmla="*/ 48895 h 138429"/>
                <a:gd name="connsiteX252" fmla="*/ 1186816 w 4940931"/>
                <a:gd name="connsiteY252" fmla="*/ 44450 h 138429"/>
                <a:gd name="connsiteX253" fmla="*/ 1178561 w 4940931"/>
                <a:gd name="connsiteY253" fmla="*/ 43180 h 138429"/>
                <a:gd name="connsiteX254" fmla="*/ 898525 w 4940931"/>
                <a:gd name="connsiteY254" fmla="*/ 43180 h 138429"/>
                <a:gd name="connsiteX255" fmla="*/ 891540 w 4940931"/>
                <a:gd name="connsiteY255" fmla="*/ 44450 h 138429"/>
                <a:gd name="connsiteX256" fmla="*/ 886460 w 4940931"/>
                <a:gd name="connsiteY256" fmla="*/ 48260 h 138429"/>
                <a:gd name="connsiteX257" fmla="*/ 882650 w 4940931"/>
                <a:gd name="connsiteY257" fmla="*/ 54610 h 138429"/>
                <a:gd name="connsiteX258" fmla="*/ 880745 w 4940931"/>
                <a:gd name="connsiteY258" fmla="*/ 62865 h 138429"/>
                <a:gd name="connsiteX259" fmla="*/ 916940 w 4940931"/>
                <a:gd name="connsiteY259" fmla="*/ 62865 h 138429"/>
                <a:gd name="connsiteX260" fmla="*/ 915670 w 4940931"/>
                <a:gd name="connsiteY260" fmla="*/ 55245 h 138429"/>
                <a:gd name="connsiteX261" fmla="*/ 912495 w 4940931"/>
                <a:gd name="connsiteY261" fmla="*/ 48895 h 138429"/>
                <a:gd name="connsiteX262" fmla="*/ 906780 w 4940931"/>
                <a:gd name="connsiteY262" fmla="*/ 44450 h 138429"/>
                <a:gd name="connsiteX263" fmla="*/ 898525 w 4940931"/>
                <a:gd name="connsiteY263" fmla="*/ 43180 h 138429"/>
                <a:gd name="connsiteX264" fmla="*/ 584834 w 4940931"/>
                <a:gd name="connsiteY264" fmla="*/ 43180 h 138429"/>
                <a:gd name="connsiteX265" fmla="*/ 577849 w 4940931"/>
                <a:gd name="connsiteY265" fmla="*/ 44450 h 138429"/>
                <a:gd name="connsiteX266" fmla="*/ 572769 w 4940931"/>
                <a:gd name="connsiteY266" fmla="*/ 48260 h 138429"/>
                <a:gd name="connsiteX267" fmla="*/ 568959 w 4940931"/>
                <a:gd name="connsiteY267" fmla="*/ 54610 h 138429"/>
                <a:gd name="connsiteX268" fmla="*/ 567054 w 4940931"/>
                <a:gd name="connsiteY268" fmla="*/ 62865 h 138429"/>
                <a:gd name="connsiteX269" fmla="*/ 603249 w 4940931"/>
                <a:gd name="connsiteY269" fmla="*/ 62865 h 138429"/>
                <a:gd name="connsiteX270" fmla="*/ 601979 w 4940931"/>
                <a:gd name="connsiteY270" fmla="*/ 55245 h 138429"/>
                <a:gd name="connsiteX271" fmla="*/ 598804 w 4940931"/>
                <a:gd name="connsiteY271" fmla="*/ 48895 h 138429"/>
                <a:gd name="connsiteX272" fmla="*/ 593089 w 4940931"/>
                <a:gd name="connsiteY272" fmla="*/ 44450 h 138429"/>
                <a:gd name="connsiteX273" fmla="*/ 584834 w 4940931"/>
                <a:gd name="connsiteY273" fmla="*/ 43180 h 138429"/>
                <a:gd name="connsiteX274" fmla="*/ 398145 w 4940931"/>
                <a:gd name="connsiteY274" fmla="*/ 43180 h 138429"/>
                <a:gd name="connsiteX275" fmla="*/ 391160 w 4940931"/>
                <a:gd name="connsiteY275" fmla="*/ 44450 h 138429"/>
                <a:gd name="connsiteX276" fmla="*/ 386080 w 4940931"/>
                <a:gd name="connsiteY276" fmla="*/ 48260 h 138429"/>
                <a:gd name="connsiteX277" fmla="*/ 382270 w 4940931"/>
                <a:gd name="connsiteY277" fmla="*/ 54610 h 138429"/>
                <a:gd name="connsiteX278" fmla="*/ 380365 w 4940931"/>
                <a:gd name="connsiteY278" fmla="*/ 62865 h 138429"/>
                <a:gd name="connsiteX279" fmla="*/ 416560 w 4940931"/>
                <a:gd name="connsiteY279" fmla="*/ 62865 h 138429"/>
                <a:gd name="connsiteX280" fmla="*/ 415290 w 4940931"/>
                <a:gd name="connsiteY280" fmla="*/ 55245 h 138429"/>
                <a:gd name="connsiteX281" fmla="*/ 412115 w 4940931"/>
                <a:gd name="connsiteY281" fmla="*/ 48895 h 138429"/>
                <a:gd name="connsiteX282" fmla="*/ 406400 w 4940931"/>
                <a:gd name="connsiteY282" fmla="*/ 44450 h 138429"/>
                <a:gd name="connsiteX283" fmla="*/ 398145 w 4940931"/>
                <a:gd name="connsiteY283" fmla="*/ 43180 h 138429"/>
                <a:gd name="connsiteX284" fmla="*/ 320039 w 4940931"/>
                <a:gd name="connsiteY284" fmla="*/ 43180 h 138429"/>
                <a:gd name="connsiteX285" fmla="*/ 314959 w 4940931"/>
                <a:gd name="connsiteY285" fmla="*/ 43815 h 138429"/>
                <a:gd name="connsiteX286" fmla="*/ 309879 w 4940931"/>
                <a:gd name="connsiteY286" fmla="*/ 45720 h 138429"/>
                <a:gd name="connsiteX287" fmla="*/ 305434 w 4940931"/>
                <a:gd name="connsiteY287" fmla="*/ 48895 h 138429"/>
                <a:gd name="connsiteX288" fmla="*/ 302259 w 4940931"/>
                <a:gd name="connsiteY288" fmla="*/ 52705 h 138429"/>
                <a:gd name="connsiteX289" fmla="*/ 302259 w 4940931"/>
                <a:gd name="connsiteY289" fmla="*/ 85725 h 138429"/>
                <a:gd name="connsiteX290" fmla="*/ 305434 w 4940931"/>
                <a:gd name="connsiteY290" fmla="*/ 89535 h 138429"/>
                <a:gd name="connsiteX291" fmla="*/ 309879 w 4940931"/>
                <a:gd name="connsiteY291" fmla="*/ 92710 h 138429"/>
                <a:gd name="connsiteX292" fmla="*/ 314959 w 4940931"/>
                <a:gd name="connsiteY292" fmla="*/ 95250 h 138429"/>
                <a:gd name="connsiteX293" fmla="*/ 320674 w 4940931"/>
                <a:gd name="connsiteY293" fmla="*/ 95885 h 138429"/>
                <a:gd name="connsiteX294" fmla="*/ 333374 w 4940931"/>
                <a:gd name="connsiteY294" fmla="*/ 89535 h 138429"/>
                <a:gd name="connsiteX295" fmla="*/ 337819 w 4940931"/>
                <a:gd name="connsiteY295" fmla="*/ 71120 h 138429"/>
                <a:gd name="connsiteX296" fmla="*/ 337184 w 4940931"/>
                <a:gd name="connsiteY296" fmla="*/ 71755 h 138429"/>
                <a:gd name="connsiteX297" fmla="*/ 332739 w 4940931"/>
                <a:gd name="connsiteY297" fmla="*/ 50165 h 138429"/>
                <a:gd name="connsiteX298" fmla="*/ 320039 w 4940931"/>
                <a:gd name="connsiteY298" fmla="*/ 43180 h 138429"/>
                <a:gd name="connsiteX299" fmla="*/ 200025 w 4940931"/>
                <a:gd name="connsiteY299" fmla="*/ 43180 h 138429"/>
                <a:gd name="connsiteX300" fmla="*/ 193040 w 4940931"/>
                <a:gd name="connsiteY300" fmla="*/ 44450 h 138429"/>
                <a:gd name="connsiteX301" fmla="*/ 187960 w 4940931"/>
                <a:gd name="connsiteY301" fmla="*/ 48260 h 138429"/>
                <a:gd name="connsiteX302" fmla="*/ 184150 w 4940931"/>
                <a:gd name="connsiteY302" fmla="*/ 54610 h 138429"/>
                <a:gd name="connsiteX303" fmla="*/ 182245 w 4940931"/>
                <a:gd name="connsiteY303" fmla="*/ 62865 h 138429"/>
                <a:gd name="connsiteX304" fmla="*/ 218440 w 4940931"/>
                <a:gd name="connsiteY304" fmla="*/ 62865 h 138429"/>
                <a:gd name="connsiteX305" fmla="*/ 217170 w 4940931"/>
                <a:gd name="connsiteY305" fmla="*/ 55245 h 138429"/>
                <a:gd name="connsiteX306" fmla="*/ 213995 w 4940931"/>
                <a:gd name="connsiteY306" fmla="*/ 48895 h 138429"/>
                <a:gd name="connsiteX307" fmla="*/ 208280 w 4940931"/>
                <a:gd name="connsiteY307" fmla="*/ 44450 h 138429"/>
                <a:gd name="connsiteX308" fmla="*/ 200025 w 4940931"/>
                <a:gd name="connsiteY308" fmla="*/ 43180 h 138429"/>
                <a:gd name="connsiteX309" fmla="*/ 4439281 w 4940931"/>
                <a:gd name="connsiteY309" fmla="*/ 43179 h 138429"/>
                <a:gd name="connsiteX310" fmla="*/ 4426581 w 4940931"/>
                <a:gd name="connsiteY310" fmla="*/ 49529 h 138429"/>
                <a:gd name="connsiteX311" fmla="*/ 4422136 w 4940931"/>
                <a:gd name="connsiteY311" fmla="*/ 67944 h 138429"/>
                <a:gd name="connsiteX312" fmla="*/ 4423406 w 4940931"/>
                <a:gd name="connsiteY312" fmla="*/ 80644 h 138429"/>
                <a:gd name="connsiteX313" fmla="*/ 4426581 w 4940931"/>
                <a:gd name="connsiteY313" fmla="*/ 89534 h 138429"/>
                <a:gd name="connsiteX314" fmla="*/ 4432296 w 4940931"/>
                <a:gd name="connsiteY314" fmla="*/ 94614 h 138429"/>
                <a:gd name="connsiteX315" fmla="*/ 4439916 w 4940931"/>
                <a:gd name="connsiteY315" fmla="*/ 96519 h 138429"/>
                <a:gd name="connsiteX316" fmla="*/ 4444996 w 4940931"/>
                <a:gd name="connsiteY316" fmla="*/ 95884 h 138429"/>
                <a:gd name="connsiteX317" fmla="*/ 4450076 w 4940931"/>
                <a:gd name="connsiteY317" fmla="*/ 93344 h 138429"/>
                <a:gd name="connsiteX318" fmla="*/ 4454521 w 4940931"/>
                <a:gd name="connsiteY318" fmla="*/ 90169 h 138429"/>
                <a:gd name="connsiteX319" fmla="*/ 4457696 w 4940931"/>
                <a:gd name="connsiteY319" fmla="*/ 86359 h 138429"/>
                <a:gd name="connsiteX320" fmla="*/ 4457696 w 4940931"/>
                <a:gd name="connsiteY320" fmla="*/ 53339 h 138429"/>
                <a:gd name="connsiteX321" fmla="*/ 4454521 w 4940931"/>
                <a:gd name="connsiteY321" fmla="*/ 49529 h 138429"/>
                <a:gd name="connsiteX322" fmla="*/ 4450076 w 4940931"/>
                <a:gd name="connsiteY322" fmla="*/ 46354 h 138429"/>
                <a:gd name="connsiteX323" fmla="*/ 4444996 w 4940931"/>
                <a:gd name="connsiteY323" fmla="*/ 43814 h 138429"/>
                <a:gd name="connsiteX324" fmla="*/ 4439281 w 4940931"/>
                <a:gd name="connsiteY324" fmla="*/ 43179 h 138429"/>
                <a:gd name="connsiteX325" fmla="*/ 1014731 w 4940931"/>
                <a:gd name="connsiteY325" fmla="*/ 43179 h 138429"/>
                <a:gd name="connsiteX326" fmla="*/ 1002032 w 4940931"/>
                <a:gd name="connsiteY326" fmla="*/ 49529 h 138429"/>
                <a:gd name="connsiteX327" fmla="*/ 997587 w 4940931"/>
                <a:gd name="connsiteY327" fmla="*/ 67944 h 138429"/>
                <a:gd name="connsiteX328" fmla="*/ 1002032 w 4940931"/>
                <a:gd name="connsiteY328" fmla="*/ 88899 h 138429"/>
                <a:gd name="connsiteX329" fmla="*/ 1015367 w 4940931"/>
                <a:gd name="connsiteY329" fmla="*/ 95884 h 138429"/>
                <a:gd name="connsiteX330" fmla="*/ 1024891 w 4940931"/>
                <a:gd name="connsiteY330" fmla="*/ 93344 h 138429"/>
                <a:gd name="connsiteX331" fmla="*/ 1033147 w 4940931"/>
                <a:gd name="connsiteY331" fmla="*/ 86359 h 138429"/>
                <a:gd name="connsiteX332" fmla="*/ 1033147 w 4940931"/>
                <a:gd name="connsiteY332" fmla="*/ 53339 h 138429"/>
                <a:gd name="connsiteX333" fmla="*/ 1029971 w 4940931"/>
                <a:gd name="connsiteY333" fmla="*/ 49529 h 138429"/>
                <a:gd name="connsiteX334" fmla="*/ 1025526 w 4940931"/>
                <a:gd name="connsiteY334" fmla="*/ 46354 h 138429"/>
                <a:gd name="connsiteX335" fmla="*/ 1020446 w 4940931"/>
                <a:gd name="connsiteY335" fmla="*/ 43814 h 138429"/>
                <a:gd name="connsiteX336" fmla="*/ 1014731 w 4940931"/>
                <a:gd name="connsiteY336" fmla="*/ 43179 h 138429"/>
                <a:gd name="connsiteX337" fmla="*/ 4524370 w 4940931"/>
                <a:gd name="connsiteY337" fmla="*/ 31114 h 138429"/>
                <a:gd name="connsiteX338" fmla="*/ 4538975 w 4940931"/>
                <a:gd name="connsiteY338" fmla="*/ 31114 h 138429"/>
                <a:gd name="connsiteX339" fmla="*/ 4552310 w 4940931"/>
                <a:gd name="connsiteY339" fmla="*/ 84454 h 138429"/>
                <a:gd name="connsiteX340" fmla="*/ 4566915 w 4940931"/>
                <a:gd name="connsiteY340" fmla="*/ 31114 h 138429"/>
                <a:gd name="connsiteX341" fmla="*/ 4579615 w 4940931"/>
                <a:gd name="connsiteY341" fmla="*/ 31114 h 138429"/>
                <a:gd name="connsiteX342" fmla="*/ 4594220 w 4940931"/>
                <a:gd name="connsiteY342" fmla="*/ 84454 h 138429"/>
                <a:gd name="connsiteX343" fmla="*/ 4606920 w 4940931"/>
                <a:gd name="connsiteY343" fmla="*/ 31114 h 138429"/>
                <a:gd name="connsiteX344" fmla="*/ 4622160 w 4940931"/>
                <a:gd name="connsiteY344" fmla="*/ 31114 h 138429"/>
                <a:gd name="connsiteX345" fmla="*/ 4600570 w 4940931"/>
                <a:gd name="connsiteY345" fmla="*/ 108584 h 138429"/>
                <a:gd name="connsiteX346" fmla="*/ 4587235 w 4940931"/>
                <a:gd name="connsiteY346" fmla="*/ 108584 h 138429"/>
                <a:gd name="connsiteX347" fmla="*/ 4572630 w 4940931"/>
                <a:gd name="connsiteY347" fmla="*/ 54609 h 138429"/>
                <a:gd name="connsiteX348" fmla="*/ 4558660 w 4940931"/>
                <a:gd name="connsiteY348" fmla="*/ 108584 h 138429"/>
                <a:gd name="connsiteX349" fmla="*/ 4545325 w 4940931"/>
                <a:gd name="connsiteY349" fmla="*/ 108584 h 138429"/>
                <a:gd name="connsiteX350" fmla="*/ 4123686 w 4940931"/>
                <a:gd name="connsiteY350" fmla="*/ 31114 h 138429"/>
                <a:gd name="connsiteX351" fmla="*/ 4138926 w 4940931"/>
                <a:gd name="connsiteY351" fmla="*/ 31114 h 138429"/>
                <a:gd name="connsiteX352" fmla="*/ 4152261 w 4940931"/>
                <a:gd name="connsiteY352" fmla="*/ 84454 h 138429"/>
                <a:gd name="connsiteX353" fmla="*/ 4166866 w 4940931"/>
                <a:gd name="connsiteY353" fmla="*/ 31114 h 138429"/>
                <a:gd name="connsiteX354" fmla="*/ 4178931 w 4940931"/>
                <a:gd name="connsiteY354" fmla="*/ 31114 h 138429"/>
                <a:gd name="connsiteX355" fmla="*/ 4193536 w 4940931"/>
                <a:gd name="connsiteY355" fmla="*/ 84454 h 138429"/>
                <a:gd name="connsiteX356" fmla="*/ 4206871 w 4940931"/>
                <a:gd name="connsiteY356" fmla="*/ 31114 h 138429"/>
                <a:gd name="connsiteX357" fmla="*/ 4222111 w 4940931"/>
                <a:gd name="connsiteY357" fmla="*/ 31114 h 138429"/>
                <a:gd name="connsiteX358" fmla="*/ 4200521 w 4940931"/>
                <a:gd name="connsiteY358" fmla="*/ 108584 h 138429"/>
                <a:gd name="connsiteX359" fmla="*/ 4187186 w 4940931"/>
                <a:gd name="connsiteY359" fmla="*/ 108584 h 138429"/>
                <a:gd name="connsiteX360" fmla="*/ 4172581 w 4940931"/>
                <a:gd name="connsiteY360" fmla="*/ 54609 h 138429"/>
                <a:gd name="connsiteX361" fmla="*/ 4157976 w 4940931"/>
                <a:gd name="connsiteY361" fmla="*/ 108584 h 138429"/>
                <a:gd name="connsiteX362" fmla="*/ 4145276 w 4940931"/>
                <a:gd name="connsiteY362" fmla="*/ 108584 h 138429"/>
                <a:gd name="connsiteX363" fmla="*/ 2837811 w 4940931"/>
                <a:gd name="connsiteY363" fmla="*/ 31114 h 138429"/>
                <a:gd name="connsiteX364" fmla="*/ 2852416 w 4940931"/>
                <a:gd name="connsiteY364" fmla="*/ 31114 h 138429"/>
                <a:gd name="connsiteX365" fmla="*/ 2865751 w 4940931"/>
                <a:gd name="connsiteY365" fmla="*/ 84454 h 138429"/>
                <a:gd name="connsiteX366" fmla="*/ 2880356 w 4940931"/>
                <a:gd name="connsiteY366" fmla="*/ 31114 h 138429"/>
                <a:gd name="connsiteX367" fmla="*/ 2893056 w 4940931"/>
                <a:gd name="connsiteY367" fmla="*/ 31114 h 138429"/>
                <a:gd name="connsiteX368" fmla="*/ 2907661 w 4940931"/>
                <a:gd name="connsiteY368" fmla="*/ 84454 h 138429"/>
                <a:gd name="connsiteX369" fmla="*/ 2920361 w 4940931"/>
                <a:gd name="connsiteY369" fmla="*/ 31114 h 138429"/>
                <a:gd name="connsiteX370" fmla="*/ 2935601 w 4940931"/>
                <a:gd name="connsiteY370" fmla="*/ 31114 h 138429"/>
                <a:gd name="connsiteX371" fmla="*/ 2914011 w 4940931"/>
                <a:gd name="connsiteY371" fmla="*/ 108584 h 138429"/>
                <a:gd name="connsiteX372" fmla="*/ 2900676 w 4940931"/>
                <a:gd name="connsiteY372" fmla="*/ 108584 h 138429"/>
                <a:gd name="connsiteX373" fmla="*/ 2886706 w 4940931"/>
                <a:gd name="connsiteY373" fmla="*/ 54609 h 138429"/>
                <a:gd name="connsiteX374" fmla="*/ 2872101 w 4940931"/>
                <a:gd name="connsiteY374" fmla="*/ 108584 h 138429"/>
                <a:gd name="connsiteX375" fmla="*/ 2858766 w 4940931"/>
                <a:gd name="connsiteY375" fmla="*/ 108584 h 138429"/>
                <a:gd name="connsiteX376" fmla="*/ 1354455 w 4940931"/>
                <a:gd name="connsiteY376" fmla="*/ 31114 h 138429"/>
                <a:gd name="connsiteX377" fmla="*/ 1369695 w 4940931"/>
                <a:gd name="connsiteY377" fmla="*/ 31114 h 138429"/>
                <a:gd name="connsiteX378" fmla="*/ 1369695 w 4940931"/>
                <a:gd name="connsiteY378" fmla="*/ 109219 h 138429"/>
                <a:gd name="connsiteX379" fmla="*/ 1354455 w 4940931"/>
                <a:gd name="connsiteY379" fmla="*/ 109219 h 138429"/>
                <a:gd name="connsiteX380" fmla="*/ 2646040 w 4940931"/>
                <a:gd name="connsiteY380" fmla="*/ 29844 h 138429"/>
                <a:gd name="connsiteX381" fmla="*/ 2658105 w 4940931"/>
                <a:gd name="connsiteY381" fmla="*/ 31749 h 138429"/>
                <a:gd name="connsiteX382" fmla="*/ 2667630 w 4940931"/>
                <a:gd name="connsiteY382" fmla="*/ 36829 h 138429"/>
                <a:gd name="connsiteX383" fmla="*/ 2673345 w 4940931"/>
                <a:gd name="connsiteY383" fmla="*/ 45084 h 138429"/>
                <a:gd name="connsiteX384" fmla="*/ 2675250 w 4940931"/>
                <a:gd name="connsiteY384" fmla="*/ 56514 h 138429"/>
                <a:gd name="connsiteX385" fmla="*/ 2675250 w 4940931"/>
                <a:gd name="connsiteY385" fmla="*/ 109854 h 138429"/>
                <a:gd name="connsiteX386" fmla="*/ 2660010 w 4940931"/>
                <a:gd name="connsiteY386" fmla="*/ 109854 h 138429"/>
                <a:gd name="connsiteX387" fmla="*/ 2660010 w 4940931"/>
                <a:gd name="connsiteY387" fmla="*/ 108584 h 138429"/>
                <a:gd name="connsiteX388" fmla="*/ 2660010 w 4940931"/>
                <a:gd name="connsiteY388" fmla="*/ 100964 h 138429"/>
                <a:gd name="connsiteX389" fmla="*/ 2654930 w 4940931"/>
                <a:gd name="connsiteY389" fmla="*/ 104774 h 138429"/>
                <a:gd name="connsiteX390" fmla="*/ 2651120 w 4940931"/>
                <a:gd name="connsiteY390" fmla="*/ 107314 h 138429"/>
                <a:gd name="connsiteX391" fmla="*/ 2646040 w 4940931"/>
                <a:gd name="connsiteY391" fmla="*/ 109219 h 138429"/>
                <a:gd name="connsiteX392" fmla="*/ 2639055 w 4940931"/>
                <a:gd name="connsiteY392" fmla="*/ 109854 h 138429"/>
                <a:gd name="connsiteX393" fmla="*/ 2629530 w 4940931"/>
                <a:gd name="connsiteY393" fmla="*/ 108584 h 138429"/>
                <a:gd name="connsiteX394" fmla="*/ 2620640 w 4940931"/>
                <a:gd name="connsiteY394" fmla="*/ 104139 h 138429"/>
                <a:gd name="connsiteX395" fmla="*/ 2614290 w 4940931"/>
                <a:gd name="connsiteY395" fmla="*/ 95884 h 138429"/>
                <a:gd name="connsiteX396" fmla="*/ 2611750 w 4940931"/>
                <a:gd name="connsiteY396" fmla="*/ 83819 h 138429"/>
                <a:gd name="connsiteX397" fmla="*/ 2614290 w 4940931"/>
                <a:gd name="connsiteY397" fmla="*/ 72389 h 138429"/>
                <a:gd name="connsiteX398" fmla="*/ 2620640 w 4940931"/>
                <a:gd name="connsiteY398" fmla="*/ 64769 h 138429"/>
                <a:gd name="connsiteX399" fmla="*/ 2630800 w 4940931"/>
                <a:gd name="connsiteY399" fmla="*/ 60324 h 138429"/>
                <a:gd name="connsiteX400" fmla="*/ 2642865 w 4940931"/>
                <a:gd name="connsiteY400" fmla="*/ 59054 h 138429"/>
                <a:gd name="connsiteX401" fmla="*/ 2653025 w 4940931"/>
                <a:gd name="connsiteY401" fmla="*/ 59689 h 138429"/>
                <a:gd name="connsiteX402" fmla="*/ 2660010 w 4940931"/>
                <a:gd name="connsiteY402" fmla="*/ 61594 h 138429"/>
                <a:gd name="connsiteX403" fmla="*/ 2660010 w 4940931"/>
                <a:gd name="connsiteY403" fmla="*/ 55879 h 138429"/>
                <a:gd name="connsiteX404" fmla="*/ 2656200 w 4940931"/>
                <a:gd name="connsiteY404" fmla="*/ 46354 h 138429"/>
                <a:gd name="connsiteX405" fmla="*/ 2645405 w 4940931"/>
                <a:gd name="connsiteY405" fmla="*/ 43179 h 138429"/>
                <a:gd name="connsiteX406" fmla="*/ 2634610 w 4940931"/>
                <a:gd name="connsiteY406" fmla="*/ 44449 h 138429"/>
                <a:gd name="connsiteX407" fmla="*/ 2625085 w 4940931"/>
                <a:gd name="connsiteY407" fmla="*/ 48259 h 138429"/>
                <a:gd name="connsiteX408" fmla="*/ 2619370 w 4940931"/>
                <a:gd name="connsiteY408" fmla="*/ 36829 h 138429"/>
                <a:gd name="connsiteX409" fmla="*/ 2631435 w 4940931"/>
                <a:gd name="connsiteY409" fmla="*/ 31749 h 138429"/>
                <a:gd name="connsiteX410" fmla="*/ 2646040 w 4940931"/>
                <a:gd name="connsiteY410" fmla="*/ 29844 h 138429"/>
                <a:gd name="connsiteX411" fmla="*/ 1114426 w 4940931"/>
                <a:gd name="connsiteY411" fmla="*/ 29844 h 138429"/>
                <a:gd name="connsiteX412" fmla="*/ 1129666 w 4940931"/>
                <a:gd name="connsiteY412" fmla="*/ 29844 h 138429"/>
                <a:gd name="connsiteX413" fmla="*/ 1129666 w 4940931"/>
                <a:gd name="connsiteY413" fmla="*/ 107949 h 138429"/>
                <a:gd name="connsiteX414" fmla="*/ 1114426 w 4940931"/>
                <a:gd name="connsiteY414" fmla="*/ 107949 h 138429"/>
                <a:gd name="connsiteX415" fmla="*/ 1114426 w 4940931"/>
                <a:gd name="connsiteY415" fmla="*/ 100964 h 138429"/>
                <a:gd name="connsiteX416" fmla="*/ 1106171 w 4940931"/>
                <a:gd name="connsiteY416" fmla="*/ 107314 h 138429"/>
                <a:gd name="connsiteX417" fmla="*/ 1094741 w 4940931"/>
                <a:gd name="connsiteY417" fmla="*/ 109854 h 138429"/>
                <a:gd name="connsiteX418" fmla="*/ 1073786 w 4940931"/>
                <a:gd name="connsiteY418" fmla="*/ 100964 h 138429"/>
                <a:gd name="connsiteX419" fmla="*/ 1066800 w 4940931"/>
                <a:gd name="connsiteY419" fmla="*/ 74929 h 138429"/>
                <a:gd name="connsiteX420" fmla="*/ 1066800 w 4940931"/>
                <a:gd name="connsiteY420" fmla="*/ 30479 h 138429"/>
                <a:gd name="connsiteX421" fmla="*/ 1082040 w 4940931"/>
                <a:gd name="connsiteY421" fmla="*/ 30479 h 138429"/>
                <a:gd name="connsiteX422" fmla="*/ 1082040 w 4940931"/>
                <a:gd name="connsiteY422" fmla="*/ 74294 h 138429"/>
                <a:gd name="connsiteX423" fmla="*/ 1085851 w 4940931"/>
                <a:gd name="connsiteY423" fmla="*/ 90169 h 138429"/>
                <a:gd name="connsiteX424" fmla="*/ 1097916 w 4940931"/>
                <a:gd name="connsiteY424" fmla="*/ 95249 h 138429"/>
                <a:gd name="connsiteX425" fmla="*/ 1109981 w 4940931"/>
                <a:gd name="connsiteY425" fmla="*/ 90169 h 138429"/>
                <a:gd name="connsiteX426" fmla="*/ 1114426 w 4940931"/>
                <a:gd name="connsiteY426" fmla="*/ 75564 h 138429"/>
                <a:gd name="connsiteX427" fmla="*/ 1011556 w 4940931"/>
                <a:gd name="connsiteY427" fmla="*/ 29844 h 138429"/>
                <a:gd name="connsiteX428" fmla="*/ 1017272 w 4940931"/>
                <a:gd name="connsiteY428" fmla="*/ 30479 h 138429"/>
                <a:gd name="connsiteX429" fmla="*/ 1022352 w 4940931"/>
                <a:gd name="connsiteY429" fmla="*/ 32384 h 138429"/>
                <a:gd name="connsiteX430" fmla="*/ 1026797 w 4940931"/>
                <a:gd name="connsiteY430" fmla="*/ 35559 h 138429"/>
                <a:gd name="connsiteX431" fmla="*/ 1030607 w 4940931"/>
                <a:gd name="connsiteY431" fmla="*/ 38734 h 138429"/>
                <a:gd name="connsiteX432" fmla="*/ 1030607 w 4940931"/>
                <a:gd name="connsiteY432" fmla="*/ 31749 h 138429"/>
                <a:gd name="connsiteX433" fmla="*/ 1045847 w 4940931"/>
                <a:gd name="connsiteY433" fmla="*/ 31749 h 138429"/>
                <a:gd name="connsiteX434" fmla="*/ 1045847 w 4940931"/>
                <a:gd name="connsiteY434" fmla="*/ 130809 h 138429"/>
                <a:gd name="connsiteX435" fmla="*/ 1032512 w 4940931"/>
                <a:gd name="connsiteY435" fmla="*/ 137477 h 138429"/>
                <a:gd name="connsiteX436" fmla="*/ 1032512 w 4940931"/>
                <a:gd name="connsiteY436" fmla="*/ 101599 h 138429"/>
                <a:gd name="connsiteX437" fmla="*/ 1022986 w 4940931"/>
                <a:gd name="connsiteY437" fmla="*/ 107949 h 138429"/>
                <a:gd name="connsiteX438" fmla="*/ 1011556 w 4940931"/>
                <a:gd name="connsiteY438" fmla="*/ 110489 h 138429"/>
                <a:gd name="connsiteX439" fmla="*/ 999491 w 4940931"/>
                <a:gd name="connsiteY439" fmla="*/ 107949 h 138429"/>
                <a:gd name="connsiteX440" fmla="*/ 989966 w 4940931"/>
                <a:gd name="connsiteY440" fmla="*/ 100329 h 138429"/>
                <a:gd name="connsiteX441" fmla="*/ 983616 w 4940931"/>
                <a:gd name="connsiteY441" fmla="*/ 87629 h 138429"/>
                <a:gd name="connsiteX442" fmla="*/ 981076 w 4940931"/>
                <a:gd name="connsiteY442" fmla="*/ 68579 h 138429"/>
                <a:gd name="connsiteX443" fmla="*/ 983616 w 4940931"/>
                <a:gd name="connsiteY443" fmla="*/ 51434 h 138429"/>
                <a:gd name="connsiteX444" fmla="*/ 990601 w 4940931"/>
                <a:gd name="connsiteY444" fmla="*/ 39369 h 138429"/>
                <a:gd name="connsiteX445" fmla="*/ 1000126 w 4940931"/>
                <a:gd name="connsiteY445" fmla="*/ 32384 h 138429"/>
                <a:gd name="connsiteX446" fmla="*/ 1011556 w 4940931"/>
                <a:gd name="connsiteY446" fmla="*/ 29844 h 138429"/>
                <a:gd name="connsiteX447" fmla="*/ 4871716 w 4940931"/>
                <a:gd name="connsiteY447" fmla="*/ 29210 h 138429"/>
                <a:gd name="connsiteX448" fmla="*/ 4885686 w 4940931"/>
                <a:gd name="connsiteY448" fmla="*/ 31750 h 138429"/>
                <a:gd name="connsiteX449" fmla="*/ 4897751 w 4940931"/>
                <a:gd name="connsiteY449" fmla="*/ 38100 h 138429"/>
                <a:gd name="connsiteX450" fmla="*/ 4899021 w 4940931"/>
                <a:gd name="connsiteY450" fmla="*/ 38100 h 138429"/>
                <a:gd name="connsiteX451" fmla="*/ 4892036 w 4940931"/>
                <a:gd name="connsiteY451" fmla="*/ 50165 h 138429"/>
                <a:gd name="connsiteX452" fmla="*/ 4882511 w 4940931"/>
                <a:gd name="connsiteY452" fmla="*/ 45085 h 138429"/>
                <a:gd name="connsiteX453" fmla="*/ 4872351 w 4940931"/>
                <a:gd name="connsiteY453" fmla="*/ 43180 h 138429"/>
                <a:gd name="connsiteX454" fmla="*/ 4864096 w 4940931"/>
                <a:gd name="connsiteY454" fmla="*/ 45085 h 138429"/>
                <a:gd name="connsiteX455" fmla="*/ 4861556 w 4940931"/>
                <a:gd name="connsiteY455" fmla="*/ 50165 h 138429"/>
                <a:gd name="connsiteX456" fmla="*/ 4861556 w 4940931"/>
                <a:gd name="connsiteY456" fmla="*/ 52705 h 138429"/>
                <a:gd name="connsiteX457" fmla="*/ 4863461 w 4940931"/>
                <a:gd name="connsiteY457" fmla="*/ 55245 h 138429"/>
                <a:gd name="connsiteX458" fmla="*/ 4867906 w 4940931"/>
                <a:gd name="connsiteY458" fmla="*/ 57785 h 138429"/>
                <a:gd name="connsiteX459" fmla="*/ 4874891 w 4940931"/>
                <a:gd name="connsiteY459" fmla="*/ 60960 h 138429"/>
                <a:gd name="connsiteX460" fmla="*/ 4886321 w 4940931"/>
                <a:gd name="connsiteY460" fmla="*/ 66040 h 138429"/>
                <a:gd name="connsiteX461" fmla="*/ 4894576 w 4940931"/>
                <a:gd name="connsiteY461" fmla="*/ 71120 h 138429"/>
                <a:gd name="connsiteX462" fmla="*/ 4899656 w 4940931"/>
                <a:gd name="connsiteY462" fmla="*/ 78105 h 138429"/>
                <a:gd name="connsiteX463" fmla="*/ 4901561 w 4940931"/>
                <a:gd name="connsiteY463" fmla="*/ 87630 h 138429"/>
                <a:gd name="connsiteX464" fmla="*/ 4899021 w 4940931"/>
                <a:gd name="connsiteY464" fmla="*/ 98425 h 138429"/>
                <a:gd name="connsiteX465" fmla="*/ 4892671 w 4940931"/>
                <a:gd name="connsiteY465" fmla="*/ 105410 h 138429"/>
                <a:gd name="connsiteX466" fmla="*/ 4883146 w 4940931"/>
                <a:gd name="connsiteY466" fmla="*/ 109220 h 138429"/>
                <a:gd name="connsiteX467" fmla="*/ 4872351 w 4940931"/>
                <a:gd name="connsiteY467" fmla="*/ 110490 h 138429"/>
                <a:gd name="connsiteX468" fmla="*/ 4857111 w 4940931"/>
                <a:gd name="connsiteY468" fmla="*/ 107950 h 138429"/>
                <a:gd name="connsiteX469" fmla="*/ 4842506 w 4940931"/>
                <a:gd name="connsiteY469" fmla="*/ 100965 h 138429"/>
                <a:gd name="connsiteX470" fmla="*/ 4849491 w 4940931"/>
                <a:gd name="connsiteY470" fmla="*/ 89535 h 138429"/>
                <a:gd name="connsiteX471" fmla="*/ 4860921 w 4940931"/>
                <a:gd name="connsiteY471" fmla="*/ 95250 h 138429"/>
                <a:gd name="connsiteX472" fmla="*/ 4872351 w 4940931"/>
                <a:gd name="connsiteY472" fmla="*/ 97155 h 138429"/>
                <a:gd name="connsiteX473" fmla="*/ 4883146 w 4940931"/>
                <a:gd name="connsiteY473" fmla="*/ 94615 h 138429"/>
                <a:gd name="connsiteX474" fmla="*/ 4886321 w 4940931"/>
                <a:gd name="connsiteY474" fmla="*/ 88265 h 138429"/>
                <a:gd name="connsiteX475" fmla="*/ 4885051 w 4940931"/>
                <a:gd name="connsiteY475" fmla="*/ 84455 h 138429"/>
                <a:gd name="connsiteX476" fmla="*/ 4881241 w 4940931"/>
                <a:gd name="connsiteY476" fmla="*/ 81280 h 138429"/>
                <a:gd name="connsiteX477" fmla="*/ 4875526 w 4940931"/>
                <a:gd name="connsiteY477" fmla="*/ 78105 h 138429"/>
                <a:gd name="connsiteX478" fmla="*/ 4867906 w 4940931"/>
                <a:gd name="connsiteY478" fmla="*/ 74930 h 138429"/>
                <a:gd name="connsiteX479" fmla="*/ 4857111 w 4940931"/>
                <a:gd name="connsiteY479" fmla="*/ 69850 h 138429"/>
                <a:gd name="connsiteX480" fmla="*/ 4850126 w 4940931"/>
                <a:gd name="connsiteY480" fmla="*/ 64770 h 138429"/>
                <a:gd name="connsiteX481" fmla="*/ 4846316 w 4940931"/>
                <a:gd name="connsiteY481" fmla="*/ 58420 h 138429"/>
                <a:gd name="connsiteX482" fmla="*/ 4845046 w 4940931"/>
                <a:gd name="connsiteY482" fmla="*/ 50165 h 138429"/>
                <a:gd name="connsiteX483" fmla="*/ 4846951 w 4940931"/>
                <a:gd name="connsiteY483" fmla="*/ 40640 h 138429"/>
                <a:gd name="connsiteX484" fmla="*/ 4852666 w 4940931"/>
                <a:gd name="connsiteY484" fmla="*/ 34290 h 138429"/>
                <a:gd name="connsiteX485" fmla="*/ 4860921 w 4940931"/>
                <a:gd name="connsiteY485" fmla="*/ 30480 h 138429"/>
                <a:gd name="connsiteX486" fmla="*/ 4871716 w 4940931"/>
                <a:gd name="connsiteY486" fmla="*/ 29210 h 138429"/>
                <a:gd name="connsiteX487" fmla="*/ 4749796 w 4940931"/>
                <a:gd name="connsiteY487" fmla="*/ 29210 h 138429"/>
                <a:gd name="connsiteX488" fmla="*/ 4757416 w 4940931"/>
                <a:gd name="connsiteY488" fmla="*/ 29845 h 138429"/>
                <a:gd name="connsiteX489" fmla="*/ 4763131 w 4940931"/>
                <a:gd name="connsiteY489" fmla="*/ 32385 h 138429"/>
                <a:gd name="connsiteX490" fmla="*/ 4759321 w 4940931"/>
                <a:gd name="connsiteY490" fmla="*/ 46990 h 138429"/>
                <a:gd name="connsiteX491" fmla="*/ 4758051 w 4940931"/>
                <a:gd name="connsiteY491" fmla="*/ 46990 h 138429"/>
                <a:gd name="connsiteX492" fmla="*/ 4752971 w 4940931"/>
                <a:gd name="connsiteY492" fmla="*/ 45085 h 138429"/>
                <a:gd name="connsiteX493" fmla="*/ 4746621 w 4940931"/>
                <a:gd name="connsiteY493" fmla="*/ 44450 h 138429"/>
                <a:gd name="connsiteX494" fmla="*/ 4735191 w 4940931"/>
                <a:gd name="connsiteY494" fmla="*/ 49530 h 138429"/>
                <a:gd name="connsiteX495" fmla="*/ 4731381 w 4940931"/>
                <a:gd name="connsiteY495" fmla="*/ 64770 h 138429"/>
                <a:gd name="connsiteX496" fmla="*/ 4731381 w 4940931"/>
                <a:gd name="connsiteY496" fmla="*/ 109220 h 138429"/>
                <a:gd name="connsiteX497" fmla="*/ 4716141 w 4940931"/>
                <a:gd name="connsiteY497" fmla="*/ 109220 h 138429"/>
                <a:gd name="connsiteX498" fmla="*/ 4716141 w 4940931"/>
                <a:gd name="connsiteY498" fmla="*/ 31115 h 138429"/>
                <a:gd name="connsiteX499" fmla="*/ 4731381 w 4940931"/>
                <a:gd name="connsiteY499" fmla="*/ 31115 h 138429"/>
                <a:gd name="connsiteX500" fmla="*/ 4731381 w 4940931"/>
                <a:gd name="connsiteY500" fmla="*/ 38735 h 138429"/>
                <a:gd name="connsiteX501" fmla="*/ 4734556 w 4940931"/>
                <a:gd name="connsiteY501" fmla="*/ 34925 h 138429"/>
                <a:gd name="connsiteX502" fmla="*/ 4739001 w 4940931"/>
                <a:gd name="connsiteY502" fmla="*/ 31750 h 138429"/>
                <a:gd name="connsiteX503" fmla="*/ 4744081 w 4940931"/>
                <a:gd name="connsiteY503" fmla="*/ 29845 h 138429"/>
                <a:gd name="connsiteX504" fmla="*/ 4749796 w 4940931"/>
                <a:gd name="connsiteY504" fmla="*/ 29210 h 138429"/>
                <a:gd name="connsiteX505" fmla="*/ 4349110 w 4940931"/>
                <a:gd name="connsiteY505" fmla="*/ 29210 h 138429"/>
                <a:gd name="connsiteX506" fmla="*/ 4356730 w 4940931"/>
                <a:gd name="connsiteY506" fmla="*/ 29845 h 138429"/>
                <a:gd name="connsiteX507" fmla="*/ 4362445 w 4940931"/>
                <a:gd name="connsiteY507" fmla="*/ 32385 h 138429"/>
                <a:gd name="connsiteX508" fmla="*/ 4358635 w 4940931"/>
                <a:gd name="connsiteY508" fmla="*/ 46990 h 138429"/>
                <a:gd name="connsiteX509" fmla="*/ 4357365 w 4940931"/>
                <a:gd name="connsiteY509" fmla="*/ 46990 h 138429"/>
                <a:gd name="connsiteX510" fmla="*/ 4352285 w 4940931"/>
                <a:gd name="connsiteY510" fmla="*/ 45085 h 138429"/>
                <a:gd name="connsiteX511" fmla="*/ 4345935 w 4940931"/>
                <a:gd name="connsiteY511" fmla="*/ 44450 h 138429"/>
                <a:gd name="connsiteX512" fmla="*/ 4334505 w 4940931"/>
                <a:gd name="connsiteY512" fmla="*/ 49530 h 138429"/>
                <a:gd name="connsiteX513" fmla="*/ 4330695 w 4940931"/>
                <a:gd name="connsiteY513" fmla="*/ 64770 h 138429"/>
                <a:gd name="connsiteX514" fmla="*/ 4330695 w 4940931"/>
                <a:gd name="connsiteY514" fmla="*/ 109220 h 138429"/>
                <a:gd name="connsiteX515" fmla="*/ 4315455 w 4940931"/>
                <a:gd name="connsiteY515" fmla="*/ 109220 h 138429"/>
                <a:gd name="connsiteX516" fmla="*/ 4315455 w 4940931"/>
                <a:gd name="connsiteY516" fmla="*/ 31115 h 138429"/>
                <a:gd name="connsiteX517" fmla="*/ 4330695 w 4940931"/>
                <a:gd name="connsiteY517" fmla="*/ 31115 h 138429"/>
                <a:gd name="connsiteX518" fmla="*/ 4330695 w 4940931"/>
                <a:gd name="connsiteY518" fmla="*/ 38735 h 138429"/>
                <a:gd name="connsiteX519" fmla="*/ 4333870 w 4940931"/>
                <a:gd name="connsiteY519" fmla="*/ 34925 h 138429"/>
                <a:gd name="connsiteX520" fmla="*/ 4338315 w 4940931"/>
                <a:gd name="connsiteY520" fmla="*/ 31750 h 138429"/>
                <a:gd name="connsiteX521" fmla="*/ 4343395 w 4940931"/>
                <a:gd name="connsiteY521" fmla="*/ 29845 h 138429"/>
                <a:gd name="connsiteX522" fmla="*/ 4349110 w 4940931"/>
                <a:gd name="connsiteY522" fmla="*/ 29210 h 138429"/>
                <a:gd name="connsiteX523" fmla="*/ 4044310 w 4940931"/>
                <a:gd name="connsiteY523" fmla="*/ 29210 h 138429"/>
                <a:gd name="connsiteX524" fmla="*/ 4058915 w 4940931"/>
                <a:gd name="connsiteY524" fmla="*/ 32385 h 138429"/>
                <a:gd name="connsiteX525" fmla="*/ 4069075 w 4940931"/>
                <a:gd name="connsiteY525" fmla="*/ 40640 h 138429"/>
                <a:gd name="connsiteX526" fmla="*/ 4075425 w 4940931"/>
                <a:gd name="connsiteY526" fmla="*/ 53340 h 138429"/>
                <a:gd name="connsiteX527" fmla="*/ 4077330 w 4940931"/>
                <a:gd name="connsiteY527" fmla="*/ 68580 h 138429"/>
                <a:gd name="connsiteX528" fmla="*/ 4076060 w 4940931"/>
                <a:gd name="connsiteY528" fmla="*/ 68580 h 138429"/>
                <a:gd name="connsiteX529" fmla="*/ 4076060 w 4940931"/>
                <a:gd name="connsiteY529" fmla="*/ 72390 h 138429"/>
                <a:gd name="connsiteX530" fmla="*/ 4076060 w 4940931"/>
                <a:gd name="connsiteY530" fmla="*/ 75565 h 138429"/>
                <a:gd name="connsiteX531" fmla="*/ 4024625 w 4940931"/>
                <a:gd name="connsiteY531" fmla="*/ 75565 h 138429"/>
                <a:gd name="connsiteX532" fmla="*/ 4027165 w 4940931"/>
                <a:gd name="connsiteY532" fmla="*/ 85090 h 138429"/>
                <a:gd name="connsiteX533" fmla="*/ 4031610 w 4940931"/>
                <a:gd name="connsiteY533" fmla="*/ 91440 h 138429"/>
                <a:gd name="connsiteX534" fmla="*/ 4037325 w 4940931"/>
                <a:gd name="connsiteY534" fmla="*/ 95250 h 138429"/>
                <a:gd name="connsiteX535" fmla="*/ 4044310 w 4940931"/>
                <a:gd name="connsiteY535" fmla="*/ 96520 h 138429"/>
                <a:gd name="connsiteX536" fmla="*/ 4049390 w 4940931"/>
                <a:gd name="connsiteY536" fmla="*/ 96520 h 138429"/>
                <a:gd name="connsiteX537" fmla="*/ 4053835 w 4940931"/>
                <a:gd name="connsiteY537" fmla="*/ 95250 h 138429"/>
                <a:gd name="connsiteX538" fmla="*/ 4057645 w 4940931"/>
                <a:gd name="connsiteY538" fmla="*/ 93345 h 138429"/>
                <a:gd name="connsiteX539" fmla="*/ 4062090 w 4940931"/>
                <a:gd name="connsiteY539" fmla="*/ 90805 h 138429"/>
                <a:gd name="connsiteX540" fmla="*/ 4070980 w 4940931"/>
                <a:gd name="connsiteY540" fmla="*/ 100330 h 138429"/>
                <a:gd name="connsiteX541" fmla="*/ 4065265 w 4940931"/>
                <a:gd name="connsiteY541" fmla="*/ 104775 h 138429"/>
                <a:gd name="connsiteX542" fmla="*/ 4059550 w 4940931"/>
                <a:gd name="connsiteY542" fmla="*/ 107950 h 138429"/>
                <a:gd name="connsiteX543" fmla="*/ 4052565 w 4940931"/>
                <a:gd name="connsiteY543" fmla="*/ 109855 h 138429"/>
                <a:gd name="connsiteX544" fmla="*/ 4043675 w 4940931"/>
                <a:gd name="connsiteY544" fmla="*/ 110490 h 138429"/>
                <a:gd name="connsiteX545" fmla="*/ 4034150 w 4940931"/>
                <a:gd name="connsiteY545" fmla="*/ 109220 h 138429"/>
                <a:gd name="connsiteX546" fmla="*/ 4026530 w 4940931"/>
                <a:gd name="connsiteY546" fmla="*/ 105410 h 138429"/>
                <a:gd name="connsiteX547" fmla="*/ 4020180 w 4940931"/>
                <a:gd name="connsiteY547" fmla="*/ 100330 h 138429"/>
                <a:gd name="connsiteX548" fmla="*/ 4015100 w 4940931"/>
                <a:gd name="connsiteY548" fmla="*/ 92710 h 138429"/>
                <a:gd name="connsiteX549" fmla="*/ 4011290 w 4940931"/>
                <a:gd name="connsiteY549" fmla="*/ 82550 h 138429"/>
                <a:gd name="connsiteX550" fmla="*/ 4010020 w 4940931"/>
                <a:gd name="connsiteY550" fmla="*/ 69850 h 138429"/>
                <a:gd name="connsiteX551" fmla="*/ 4012560 w 4940931"/>
                <a:gd name="connsiteY551" fmla="*/ 52070 h 138429"/>
                <a:gd name="connsiteX552" fmla="*/ 4019545 w 4940931"/>
                <a:gd name="connsiteY552" fmla="*/ 39370 h 138429"/>
                <a:gd name="connsiteX553" fmla="*/ 4030340 w 4940931"/>
                <a:gd name="connsiteY553" fmla="*/ 31750 h 138429"/>
                <a:gd name="connsiteX554" fmla="*/ 4044310 w 4940931"/>
                <a:gd name="connsiteY554" fmla="*/ 29210 h 138429"/>
                <a:gd name="connsiteX555" fmla="*/ 3811900 w 4940931"/>
                <a:gd name="connsiteY555" fmla="*/ 29210 h 138429"/>
                <a:gd name="connsiteX556" fmla="*/ 3819520 w 4940931"/>
                <a:gd name="connsiteY556" fmla="*/ 29845 h 138429"/>
                <a:gd name="connsiteX557" fmla="*/ 3825235 w 4940931"/>
                <a:gd name="connsiteY557" fmla="*/ 32385 h 138429"/>
                <a:gd name="connsiteX558" fmla="*/ 3821425 w 4940931"/>
                <a:gd name="connsiteY558" fmla="*/ 46990 h 138429"/>
                <a:gd name="connsiteX559" fmla="*/ 3820155 w 4940931"/>
                <a:gd name="connsiteY559" fmla="*/ 46990 h 138429"/>
                <a:gd name="connsiteX560" fmla="*/ 3815075 w 4940931"/>
                <a:gd name="connsiteY560" fmla="*/ 45085 h 138429"/>
                <a:gd name="connsiteX561" fmla="*/ 3808725 w 4940931"/>
                <a:gd name="connsiteY561" fmla="*/ 44450 h 138429"/>
                <a:gd name="connsiteX562" fmla="*/ 3797295 w 4940931"/>
                <a:gd name="connsiteY562" fmla="*/ 49530 h 138429"/>
                <a:gd name="connsiteX563" fmla="*/ 3793485 w 4940931"/>
                <a:gd name="connsiteY563" fmla="*/ 64770 h 138429"/>
                <a:gd name="connsiteX564" fmla="*/ 3793485 w 4940931"/>
                <a:gd name="connsiteY564" fmla="*/ 109220 h 138429"/>
                <a:gd name="connsiteX565" fmla="*/ 3778245 w 4940931"/>
                <a:gd name="connsiteY565" fmla="*/ 109220 h 138429"/>
                <a:gd name="connsiteX566" fmla="*/ 3778245 w 4940931"/>
                <a:gd name="connsiteY566" fmla="*/ 31115 h 138429"/>
                <a:gd name="connsiteX567" fmla="*/ 3793485 w 4940931"/>
                <a:gd name="connsiteY567" fmla="*/ 31115 h 138429"/>
                <a:gd name="connsiteX568" fmla="*/ 3793485 w 4940931"/>
                <a:gd name="connsiteY568" fmla="*/ 38735 h 138429"/>
                <a:gd name="connsiteX569" fmla="*/ 3796660 w 4940931"/>
                <a:gd name="connsiteY569" fmla="*/ 34925 h 138429"/>
                <a:gd name="connsiteX570" fmla="*/ 3801105 w 4940931"/>
                <a:gd name="connsiteY570" fmla="*/ 31750 h 138429"/>
                <a:gd name="connsiteX571" fmla="*/ 3806185 w 4940931"/>
                <a:gd name="connsiteY571" fmla="*/ 29845 h 138429"/>
                <a:gd name="connsiteX572" fmla="*/ 3811900 w 4940931"/>
                <a:gd name="connsiteY572" fmla="*/ 29210 h 138429"/>
                <a:gd name="connsiteX573" fmla="*/ 3729986 w 4940931"/>
                <a:gd name="connsiteY573" fmla="*/ 29210 h 138429"/>
                <a:gd name="connsiteX574" fmla="*/ 3744591 w 4940931"/>
                <a:gd name="connsiteY574" fmla="*/ 32385 h 138429"/>
                <a:gd name="connsiteX575" fmla="*/ 3754751 w 4940931"/>
                <a:gd name="connsiteY575" fmla="*/ 40640 h 138429"/>
                <a:gd name="connsiteX576" fmla="*/ 3761101 w 4940931"/>
                <a:gd name="connsiteY576" fmla="*/ 53340 h 138429"/>
                <a:gd name="connsiteX577" fmla="*/ 3763006 w 4940931"/>
                <a:gd name="connsiteY577" fmla="*/ 68580 h 138429"/>
                <a:gd name="connsiteX578" fmla="*/ 3761736 w 4940931"/>
                <a:gd name="connsiteY578" fmla="*/ 68580 h 138429"/>
                <a:gd name="connsiteX579" fmla="*/ 3761736 w 4940931"/>
                <a:gd name="connsiteY579" fmla="*/ 72390 h 138429"/>
                <a:gd name="connsiteX580" fmla="*/ 3761736 w 4940931"/>
                <a:gd name="connsiteY580" fmla="*/ 75565 h 138429"/>
                <a:gd name="connsiteX581" fmla="*/ 3710301 w 4940931"/>
                <a:gd name="connsiteY581" fmla="*/ 75565 h 138429"/>
                <a:gd name="connsiteX582" fmla="*/ 3712841 w 4940931"/>
                <a:gd name="connsiteY582" fmla="*/ 85090 h 138429"/>
                <a:gd name="connsiteX583" fmla="*/ 3717286 w 4940931"/>
                <a:gd name="connsiteY583" fmla="*/ 91440 h 138429"/>
                <a:gd name="connsiteX584" fmla="*/ 3723001 w 4940931"/>
                <a:gd name="connsiteY584" fmla="*/ 95250 h 138429"/>
                <a:gd name="connsiteX585" fmla="*/ 3729986 w 4940931"/>
                <a:gd name="connsiteY585" fmla="*/ 96520 h 138429"/>
                <a:gd name="connsiteX586" fmla="*/ 3735066 w 4940931"/>
                <a:gd name="connsiteY586" fmla="*/ 96520 h 138429"/>
                <a:gd name="connsiteX587" fmla="*/ 3739511 w 4940931"/>
                <a:gd name="connsiteY587" fmla="*/ 95250 h 138429"/>
                <a:gd name="connsiteX588" fmla="*/ 3743321 w 4940931"/>
                <a:gd name="connsiteY588" fmla="*/ 93345 h 138429"/>
                <a:gd name="connsiteX589" fmla="*/ 3747766 w 4940931"/>
                <a:gd name="connsiteY589" fmla="*/ 90805 h 138429"/>
                <a:gd name="connsiteX590" fmla="*/ 3756656 w 4940931"/>
                <a:gd name="connsiteY590" fmla="*/ 100330 h 138429"/>
                <a:gd name="connsiteX591" fmla="*/ 3750941 w 4940931"/>
                <a:gd name="connsiteY591" fmla="*/ 104775 h 138429"/>
                <a:gd name="connsiteX592" fmla="*/ 3745226 w 4940931"/>
                <a:gd name="connsiteY592" fmla="*/ 107950 h 138429"/>
                <a:gd name="connsiteX593" fmla="*/ 3738241 w 4940931"/>
                <a:gd name="connsiteY593" fmla="*/ 109855 h 138429"/>
                <a:gd name="connsiteX594" fmla="*/ 3729351 w 4940931"/>
                <a:gd name="connsiteY594" fmla="*/ 110490 h 138429"/>
                <a:gd name="connsiteX595" fmla="*/ 3719826 w 4940931"/>
                <a:gd name="connsiteY595" fmla="*/ 109220 h 138429"/>
                <a:gd name="connsiteX596" fmla="*/ 3712206 w 4940931"/>
                <a:gd name="connsiteY596" fmla="*/ 105410 h 138429"/>
                <a:gd name="connsiteX597" fmla="*/ 3705856 w 4940931"/>
                <a:gd name="connsiteY597" fmla="*/ 100330 h 138429"/>
                <a:gd name="connsiteX598" fmla="*/ 3700776 w 4940931"/>
                <a:gd name="connsiteY598" fmla="*/ 92710 h 138429"/>
                <a:gd name="connsiteX599" fmla="*/ 3696966 w 4940931"/>
                <a:gd name="connsiteY599" fmla="*/ 82550 h 138429"/>
                <a:gd name="connsiteX600" fmla="*/ 3695696 w 4940931"/>
                <a:gd name="connsiteY600" fmla="*/ 69850 h 138429"/>
                <a:gd name="connsiteX601" fmla="*/ 3698236 w 4940931"/>
                <a:gd name="connsiteY601" fmla="*/ 52070 h 138429"/>
                <a:gd name="connsiteX602" fmla="*/ 3705221 w 4940931"/>
                <a:gd name="connsiteY602" fmla="*/ 39370 h 138429"/>
                <a:gd name="connsiteX603" fmla="*/ 3716016 w 4940931"/>
                <a:gd name="connsiteY603" fmla="*/ 31750 h 138429"/>
                <a:gd name="connsiteX604" fmla="*/ 3729986 w 4940931"/>
                <a:gd name="connsiteY604" fmla="*/ 29210 h 138429"/>
                <a:gd name="connsiteX605" fmla="*/ 3543296 w 4940931"/>
                <a:gd name="connsiteY605" fmla="*/ 29210 h 138429"/>
                <a:gd name="connsiteX606" fmla="*/ 3557901 w 4940931"/>
                <a:gd name="connsiteY606" fmla="*/ 32385 h 138429"/>
                <a:gd name="connsiteX607" fmla="*/ 3568061 w 4940931"/>
                <a:gd name="connsiteY607" fmla="*/ 40640 h 138429"/>
                <a:gd name="connsiteX608" fmla="*/ 3574411 w 4940931"/>
                <a:gd name="connsiteY608" fmla="*/ 53340 h 138429"/>
                <a:gd name="connsiteX609" fmla="*/ 3576316 w 4940931"/>
                <a:gd name="connsiteY609" fmla="*/ 68580 h 138429"/>
                <a:gd name="connsiteX610" fmla="*/ 3575046 w 4940931"/>
                <a:gd name="connsiteY610" fmla="*/ 68580 h 138429"/>
                <a:gd name="connsiteX611" fmla="*/ 3575046 w 4940931"/>
                <a:gd name="connsiteY611" fmla="*/ 72390 h 138429"/>
                <a:gd name="connsiteX612" fmla="*/ 3575046 w 4940931"/>
                <a:gd name="connsiteY612" fmla="*/ 75565 h 138429"/>
                <a:gd name="connsiteX613" fmla="*/ 3523611 w 4940931"/>
                <a:gd name="connsiteY613" fmla="*/ 75565 h 138429"/>
                <a:gd name="connsiteX614" fmla="*/ 3526151 w 4940931"/>
                <a:gd name="connsiteY614" fmla="*/ 85090 h 138429"/>
                <a:gd name="connsiteX615" fmla="*/ 3530596 w 4940931"/>
                <a:gd name="connsiteY615" fmla="*/ 91440 h 138429"/>
                <a:gd name="connsiteX616" fmla="*/ 3536311 w 4940931"/>
                <a:gd name="connsiteY616" fmla="*/ 95250 h 138429"/>
                <a:gd name="connsiteX617" fmla="*/ 3543296 w 4940931"/>
                <a:gd name="connsiteY617" fmla="*/ 96520 h 138429"/>
                <a:gd name="connsiteX618" fmla="*/ 3548376 w 4940931"/>
                <a:gd name="connsiteY618" fmla="*/ 96520 h 138429"/>
                <a:gd name="connsiteX619" fmla="*/ 3552821 w 4940931"/>
                <a:gd name="connsiteY619" fmla="*/ 95250 h 138429"/>
                <a:gd name="connsiteX620" fmla="*/ 3556631 w 4940931"/>
                <a:gd name="connsiteY620" fmla="*/ 93345 h 138429"/>
                <a:gd name="connsiteX621" fmla="*/ 3561076 w 4940931"/>
                <a:gd name="connsiteY621" fmla="*/ 90805 h 138429"/>
                <a:gd name="connsiteX622" fmla="*/ 3569966 w 4940931"/>
                <a:gd name="connsiteY622" fmla="*/ 100330 h 138429"/>
                <a:gd name="connsiteX623" fmla="*/ 3564251 w 4940931"/>
                <a:gd name="connsiteY623" fmla="*/ 104775 h 138429"/>
                <a:gd name="connsiteX624" fmla="*/ 3558536 w 4940931"/>
                <a:gd name="connsiteY624" fmla="*/ 107950 h 138429"/>
                <a:gd name="connsiteX625" fmla="*/ 3551551 w 4940931"/>
                <a:gd name="connsiteY625" fmla="*/ 109855 h 138429"/>
                <a:gd name="connsiteX626" fmla="*/ 3542661 w 4940931"/>
                <a:gd name="connsiteY626" fmla="*/ 110490 h 138429"/>
                <a:gd name="connsiteX627" fmla="*/ 3533136 w 4940931"/>
                <a:gd name="connsiteY627" fmla="*/ 109220 h 138429"/>
                <a:gd name="connsiteX628" fmla="*/ 3525516 w 4940931"/>
                <a:gd name="connsiteY628" fmla="*/ 105410 h 138429"/>
                <a:gd name="connsiteX629" fmla="*/ 3519166 w 4940931"/>
                <a:gd name="connsiteY629" fmla="*/ 100330 h 138429"/>
                <a:gd name="connsiteX630" fmla="*/ 3514086 w 4940931"/>
                <a:gd name="connsiteY630" fmla="*/ 92710 h 138429"/>
                <a:gd name="connsiteX631" fmla="*/ 3510276 w 4940931"/>
                <a:gd name="connsiteY631" fmla="*/ 82550 h 138429"/>
                <a:gd name="connsiteX632" fmla="*/ 3509006 w 4940931"/>
                <a:gd name="connsiteY632" fmla="*/ 69850 h 138429"/>
                <a:gd name="connsiteX633" fmla="*/ 3511546 w 4940931"/>
                <a:gd name="connsiteY633" fmla="*/ 52070 h 138429"/>
                <a:gd name="connsiteX634" fmla="*/ 3518531 w 4940931"/>
                <a:gd name="connsiteY634" fmla="*/ 39370 h 138429"/>
                <a:gd name="connsiteX635" fmla="*/ 3529326 w 4940931"/>
                <a:gd name="connsiteY635" fmla="*/ 31750 h 138429"/>
                <a:gd name="connsiteX636" fmla="*/ 3543296 w 4940931"/>
                <a:gd name="connsiteY636" fmla="*/ 29210 h 138429"/>
                <a:gd name="connsiteX637" fmla="*/ 3345176 w 4940931"/>
                <a:gd name="connsiteY637" fmla="*/ 29210 h 138429"/>
                <a:gd name="connsiteX638" fmla="*/ 3359781 w 4940931"/>
                <a:gd name="connsiteY638" fmla="*/ 32385 h 138429"/>
                <a:gd name="connsiteX639" fmla="*/ 3369941 w 4940931"/>
                <a:gd name="connsiteY639" fmla="*/ 40640 h 138429"/>
                <a:gd name="connsiteX640" fmla="*/ 3376291 w 4940931"/>
                <a:gd name="connsiteY640" fmla="*/ 53340 h 138429"/>
                <a:gd name="connsiteX641" fmla="*/ 3378196 w 4940931"/>
                <a:gd name="connsiteY641" fmla="*/ 68580 h 138429"/>
                <a:gd name="connsiteX642" fmla="*/ 3376926 w 4940931"/>
                <a:gd name="connsiteY642" fmla="*/ 68580 h 138429"/>
                <a:gd name="connsiteX643" fmla="*/ 3376926 w 4940931"/>
                <a:gd name="connsiteY643" fmla="*/ 72390 h 138429"/>
                <a:gd name="connsiteX644" fmla="*/ 3376926 w 4940931"/>
                <a:gd name="connsiteY644" fmla="*/ 75565 h 138429"/>
                <a:gd name="connsiteX645" fmla="*/ 3325491 w 4940931"/>
                <a:gd name="connsiteY645" fmla="*/ 75565 h 138429"/>
                <a:gd name="connsiteX646" fmla="*/ 3328031 w 4940931"/>
                <a:gd name="connsiteY646" fmla="*/ 85090 h 138429"/>
                <a:gd name="connsiteX647" fmla="*/ 3332476 w 4940931"/>
                <a:gd name="connsiteY647" fmla="*/ 91440 h 138429"/>
                <a:gd name="connsiteX648" fmla="*/ 3338191 w 4940931"/>
                <a:gd name="connsiteY648" fmla="*/ 95250 h 138429"/>
                <a:gd name="connsiteX649" fmla="*/ 3345176 w 4940931"/>
                <a:gd name="connsiteY649" fmla="*/ 96520 h 138429"/>
                <a:gd name="connsiteX650" fmla="*/ 3350256 w 4940931"/>
                <a:gd name="connsiteY650" fmla="*/ 96520 h 138429"/>
                <a:gd name="connsiteX651" fmla="*/ 3354701 w 4940931"/>
                <a:gd name="connsiteY651" fmla="*/ 95250 h 138429"/>
                <a:gd name="connsiteX652" fmla="*/ 3358511 w 4940931"/>
                <a:gd name="connsiteY652" fmla="*/ 93345 h 138429"/>
                <a:gd name="connsiteX653" fmla="*/ 3362956 w 4940931"/>
                <a:gd name="connsiteY653" fmla="*/ 90805 h 138429"/>
                <a:gd name="connsiteX654" fmla="*/ 3371846 w 4940931"/>
                <a:gd name="connsiteY654" fmla="*/ 100330 h 138429"/>
                <a:gd name="connsiteX655" fmla="*/ 3366131 w 4940931"/>
                <a:gd name="connsiteY655" fmla="*/ 104775 h 138429"/>
                <a:gd name="connsiteX656" fmla="*/ 3360416 w 4940931"/>
                <a:gd name="connsiteY656" fmla="*/ 107950 h 138429"/>
                <a:gd name="connsiteX657" fmla="*/ 3353431 w 4940931"/>
                <a:gd name="connsiteY657" fmla="*/ 109855 h 138429"/>
                <a:gd name="connsiteX658" fmla="*/ 3344541 w 4940931"/>
                <a:gd name="connsiteY658" fmla="*/ 110490 h 138429"/>
                <a:gd name="connsiteX659" fmla="*/ 3335016 w 4940931"/>
                <a:gd name="connsiteY659" fmla="*/ 109220 h 138429"/>
                <a:gd name="connsiteX660" fmla="*/ 3327396 w 4940931"/>
                <a:gd name="connsiteY660" fmla="*/ 105410 h 138429"/>
                <a:gd name="connsiteX661" fmla="*/ 3321046 w 4940931"/>
                <a:gd name="connsiteY661" fmla="*/ 100330 h 138429"/>
                <a:gd name="connsiteX662" fmla="*/ 3315966 w 4940931"/>
                <a:gd name="connsiteY662" fmla="*/ 92710 h 138429"/>
                <a:gd name="connsiteX663" fmla="*/ 3312156 w 4940931"/>
                <a:gd name="connsiteY663" fmla="*/ 82550 h 138429"/>
                <a:gd name="connsiteX664" fmla="*/ 3310886 w 4940931"/>
                <a:gd name="connsiteY664" fmla="*/ 69850 h 138429"/>
                <a:gd name="connsiteX665" fmla="*/ 3313426 w 4940931"/>
                <a:gd name="connsiteY665" fmla="*/ 52070 h 138429"/>
                <a:gd name="connsiteX666" fmla="*/ 3320411 w 4940931"/>
                <a:gd name="connsiteY666" fmla="*/ 39370 h 138429"/>
                <a:gd name="connsiteX667" fmla="*/ 3331206 w 4940931"/>
                <a:gd name="connsiteY667" fmla="*/ 31750 h 138429"/>
                <a:gd name="connsiteX668" fmla="*/ 3345176 w 4940931"/>
                <a:gd name="connsiteY668" fmla="*/ 29210 h 138429"/>
                <a:gd name="connsiteX669" fmla="*/ 3060696 w 4940931"/>
                <a:gd name="connsiteY669" fmla="*/ 29210 h 138429"/>
                <a:gd name="connsiteX670" fmla="*/ 3068316 w 4940931"/>
                <a:gd name="connsiteY670" fmla="*/ 29845 h 138429"/>
                <a:gd name="connsiteX671" fmla="*/ 3074031 w 4940931"/>
                <a:gd name="connsiteY671" fmla="*/ 32385 h 138429"/>
                <a:gd name="connsiteX672" fmla="*/ 3070221 w 4940931"/>
                <a:gd name="connsiteY672" fmla="*/ 46990 h 138429"/>
                <a:gd name="connsiteX673" fmla="*/ 3068951 w 4940931"/>
                <a:gd name="connsiteY673" fmla="*/ 46990 h 138429"/>
                <a:gd name="connsiteX674" fmla="*/ 3063871 w 4940931"/>
                <a:gd name="connsiteY674" fmla="*/ 45085 h 138429"/>
                <a:gd name="connsiteX675" fmla="*/ 3057521 w 4940931"/>
                <a:gd name="connsiteY675" fmla="*/ 44450 h 138429"/>
                <a:gd name="connsiteX676" fmla="*/ 3046091 w 4940931"/>
                <a:gd name="connsiteY676" fmla="*/ 49530 h 138429"/>
                <a:gd name="connsiteX677" fmla="*/ 3042281 w 4940931"/>
                <a:gd name="connsiteY677" fmla="*/ 64770 h 138429"/>
                <a:gd name="connsiteX678" fmla="*/ 3042281 w 4940931"/>
                <a:gd name="connsiteY678" fmla="*/ 109220 h 138429"/>
                <a:gd name="connsiteX679" fmla="*/ 3027041 w 4940931"/>
                <a:gd name="connsiteY679" fmla="*/ 109220 h 138429"/>
                <a:gd name="connsiteX680" fmla="*/ 3027041 w 4940931"/>
                <a:gd name="connsiteY680" fmla="*/ 31115 h 138429"/>
                <a:gd name="connsiteX681" fmla="*/ 3042281 w 4940931"/>
                <a:gd name="connsiteY681" fmla="*/ 31115 h 138429"/>
                <a:gd name="connsiteX682" fmla="*/ 3042281 w 4940931"/>
                <a:gd name="connsiteY682" fmla="*/ 38735 h 138429"/>
                <a:gd name="connsiteX683" fmla="*/ 3045456 w 4940931"/>
                <a:gd name="connsiteY683" fmla="*/ 34925 h 138429"/>
                <a:gd name="connsiteX684" fmla="*/ 3049901 w 4940931"/>
                <a:gd name="connsiteY684" fmla="*/ 31750 h 138429"/>
                <a:gd name="connsiteX685" fmla="*/ 3054981 w 4940931"/>
                <a:gd name="connsiteY685" fmla="*/ 29845 h 138429"/>
                <a:gd name="connsiteX686" fmla="*/ 3060696 w 4940931"/>
                <a:gd name="connsiteY686" fmla="*/ 29210 h 138429"/>
                <a:gd name="connsiteX687" fmla="*/ 2978781 w 4940931"/>
                <a:gd name="connsiteY687" fmla="*/ 29210 h 138429"/>
                <a:gd name="connsiteX688" fmla="*/ 2993386 w 4940931"/>
                <a:gd name="connsiteY688" fmla="*/ 32385 h 138429"/>
                <a:gd name="connsiteX689" fmla="*/ 3003546 w 4940931"/>
                <a:gd name="connsiteY689" fmla="*/ 40640 h 138429"/>
                <a:gd name="connsiteX690" fmla="*/ 3009896 w 4940931"/>
                <a:gd name="connsiteY690" fmla="*/ 53340 h 138429"/>
                <a:gd name="connsiteX691" fmla="*/ 3011801 w 4940931"/>
                <a:gd name="connsiteY691" fmla="*/ 68580 h 138429"/>
                <a:gd name="connsiteX692" fmla="*/ 3010531 w 4940931"/>
                <a:gd name="connsiteY692" fmla="*/ 68580 h 138429"/>
                <a:gd name="connsiteX693" fmla="*/ 3010531 w 4940931"/>
                <a:gd name="connsiteY693" fmla="*/ 72390 h 138429"/>
                <a:gd name="connsiteX694" fmla="*/ 3010531 w 4940931"/>
                <a:gd name="connsiteY694" fmla="*/ 75565 h 138429"/>
                <a:gd name="connsiteX695" fmla="*/ 2959096 w 4940931"/>
                <a:gd name="connsiteY695" fmla="*/ 75565 h 138429"/>
                <a:gd name="connsiteX696" fmla="*/ 2961636 w 4940931"/>
                <a:gd name="connsiteY696" fmla="*/ 85090 h 138429"/>
                <a:gd name="connsiteX697" fmla="*/ 2966081 w 4940931"/>
                <a:gd name="connsiteY697" fmla="*/ 91440 h 138429"/>
                <a:gd name="connsiteX698" fmla="*/ 2971796 w 4940931"/>
                <a:gd name="connsiteY698" fmla="*/ 95250 h 138429"/>
                <a:gd name="connsiteX699" fmla="*/ 2978781 w 4940931"/>
                <a:gd name="connsiteY699" fmla="*/ 96520 h 138429"/>
                <a:gd name="connsiteX700" fmla="*/ 2983861 w 4940931"/>
                <a:gd name="connsiteY700" fmla="*/ 96520 h 138429"/>
                <a:gd name="connsiteX701" fmla="*/ 2988306 w 4940931"/>
                <a:gd name="connsiteY701" fmla="*/ 95250 h 138429"/>
                <a:gd name="connsiteX702" fmla="*/ 2992116 w 4940931"/>
                <a:gd name="connsiteY702" fmla="*/ 93345 h 138429"/>
                <a:gd name="connsiteX703" fmla="*/ 2996561 w 4940931"/>
                <a:gd name="connsiteY703" fmla="*/ 90805 h 138429"/>
                <a:gd name="connsiteX704" fmla="*/ 3005451 w 4940931"/>
                <a:gd name="connsiteY704" fmla="*/ 100330 h 138429"/>
                <a:gd name="connsiteX705" fmla="*/ 2999736 w 4940931"/>
                <a:gd name="connsiteY705" fmla="*/ 104775 h 138429"/>
                <a:gd name="connsiteX706" fmla="*/ 2994021 w 4940931"/>
                <a:gd name="connsiteY706" fmla="*/ 107950 h 138429"/>
                <a:gd name="connsiteX707" fmla="*/ 2987036 w 4940931"/>
                <a:gd name="connsiteY707" fmla="*/ 109855 h 138429"/>
                <a:gd name="connsiteX708" fmla="*/ 2978146 w 4940931"/>
                <a:gd name="connsiteY708" fmla="*/ 110490 h 138429"/>
                <a:gd name="connsiteX709" fmla="*/ 2968621 w 4940931"/>
                <a:gd name="connsiteY709" fmla="*/ 109220 h 138429"/>
                <a:gd name="connsiteX710" fmla="*/ 2961001 w 4940931"/>
                <a:gd name="connsiteY710" fmla="*/ 105410 h 138429"/>
                <a:gd name="connsiteX711" fmla="*/ 2954651 w 4940931"/>
                <a:gd name="connsiteY711" fmla="*/ 100330 h 138429"/>
                <a:gd name="connsiteX712" fmla="*/ 2949571 w 4940931"/>
                <a:gd name="connsiteY712" fmla="*/ 92710 h 138429"/>
                <a:gd name="connsiteX713" fmla="*/ 2945761 w 4940931"/>
                <a:gd name="connsiteY713" fmla="*/ 82550 h 138429"/>
                <a:gd name="connsiteX714" fmla="*/ 2944491 w 4940931"/>
                <a:gd name="connsiteY714" fmla="*/ 69850 h 138429"/>
                <a:gd name="connsiteX715" fmla="*/ 2947031 w 4940931"/>
                <a:gd name="connsiteY715" fmla="*/ 52070 h 138429"/>
                <a:gd name="connsiteX716" fmla="*/ 2954016 w 4940931"/>
                <a:gd name="connsiteY716" fmla="*/ 39370 h 138429"/>
                <a:gd name="connsiteX717" fmla="*/ 2964811 w 4940931"/>
                <a:gd name="connsiteY717" fmla="*/ 31750 h 138429"/>
                <a:gd name="connsiteX718" fmla="*/ 2978781 w 4940931"/>
                <a:gd name="connsiteY718" fmla="*/ 29210 h 138429"/>
                <a:gd name="connsiteX719" fmla="*/ 2798440 w 4940931"/>
                <a:gd name="connsiteY719" fmla="*/ 29210 h 138429"/>
                <a:gd name="connsiteX720" fmla="*/ 2813045 w 4940931"/>
                <a:gd name="connsiteY720" fmla="*/ 31750 h 138429"/>
                <a:gd name="connsiteX721" fmla="*/ 2825110 w 4940931"/>
                <a:gd name="connsiteY721" fmla="*/ 38100 h 138429"/>
                <a:gd name="connsiteX722" fmla="*/ 2827015 w 4940931"/>
                <a:gd name="connsiteY722" fmla="*/ 38100 h 138429"/>
                <a:gd name="connsiteX723" fmla="*/ 2820030 w 4940931"/>
                <a:gd name="connsiteY723" fmla="*/ 50165 h 138429"/>
                <a:gd name="connsiteX724" fmla="*/ 2810505 w 4940931"/>
                <a:gd name="connsiteY724" fmla="*/ 45085 h 138429"/>
                <a:gd name="connsiteX725" fmla="*/ 2799710 w 4940931"/>
                <a:gd name="connsiteY725" fmla="*/ 43180 h 138429"/>
                <a:gd name="connsiteX726" fmla="*/ 2791455 w 4940931"/>
                <a:gd name="connsiteY726" fmla="*/ 45085 h 138429"/>
                <a:gd name="connsiteX727" fmla="*/ 2788915 w 4940931"/>
                <a:gd name="connsiteY727" fmla="*/ 50165 h 138429"/>
                <a:gd name="connsiteX728" fmla="*/ 2788915 w 4940931"/>
                <a:gd name="connsiteY728" fmla="*/ 52705 h 138429"/>
                <a:gd name="connsiteX729" fmla="*/ 2790820 w 4940931"/>
                <a:gd name="connsiteY729" fmla="*/ 55245 h 138429"/>
                <a:gd name="connsiteX730" fmla="*/ 2795265 w 4940931"/>
                <a:gd name="connsiteY730" fmla="*/ 57785 h 138429"/>
                <a:gd name="connsiteX731" fmla="*/ 2802250 w 4940931"/>
                <a:gd name="connsiteY731" fmla="*/ 60960 h 138429"/>
                <a:gd name="connsiteX732" fmla="*/ 2813680 w 4940931"/>
                <a:gd name="connsiteY732" fmla="*/ 66040 h 138429"/>
                <a:gd name="connsiteX733" fmla="*/ 2821935 w 4940931"/>
                <a:gd name="connsiteY733" fmla="*/ 71120 h 138429"/>
                <a:gd name="connsiteX734" fmla="*/ 2827015 w 4940931"/>
                <a:gd name="connsiteY734" fmla="*/ 78105 h 138429"/>
                <a:gd name="connsiteX735" fmla="*/ 2828920 w 4940931"/>
                <a:gd name="connsiteY735" fmla="*/ 87630 h 138429"/>
                <a:gd name="connsiteX736" fmla="*/ 2826380 w 4940931"/>
                <a:gd name="connsiteY736" fmla="*/ 98425 h 138429"/>
                <a:gd name="connsiteX737" fmla="*/ 2820030 w 4940931"/>
                <a:gd name="connsiteY737" fmla="*/ 105410 h 138429"/>
                <a:gd name="connsiteX738" fmla="*/ 2810505 w 4940931"/>
                <a:gd name="connsiteY738" fmla="*/ 109220 h 138429"/>
                <a:gd name="connsiteX739" fmla="*/ 2799710 w 4940931"/>
                <a:gd name="connsiteY739" fmla="*/ 110490 h 138429"/>
                <a:gd name="connsiteX740" fmla="*/ 2783835 w 4940931"/>
                <a:gd name="connsiteY740" fmla="*/ 107950 h 138429"/>
                <a:gd name="connsiteX741" fmla="*/ 2769230 w 4940931"/>
                <a:gd name="connsiteY741" fmla="*/ 100965 h 138429"/>
                <a:gd name="connsiteX742" fmla="*/ 2776215 w 4940931"/>
                <a:gd name="connsiteY742" fmla="*/ 89535 h 138429"/>
                <a:gd name="connsiteX743" fmla="*/ 2787645 w 4940931"/>
                <a:gd name="connsiteY743" fmla="*/ 95250 h 138429"/>
                <a:gd name="connsiteX744" fmla="*/ 2799075 w 4940931"/>
                <a:gd name="connsiteY744" fmla="*/ 97155 h 138429"/>
                <a:gd name="connsiteX745" fmla="*/ 2809870 w 4940931"/>
                <a:gd name="connsiteY745" fmla="*/ 94615 h 138429"/>
                <a:gd name="connsiteX746" fmla="*/ 2813045 w 4940931"/>
                <a:gd name="connsiteY746" fmla="*/ 88265 h 138429"/>
                <a:gd name="connsiteX747" fmla="*/ 2811775 w 4940931"/>
                <a:gd name="connsiteY747" fmla="*/ 84455 h 138429"/>
                <a:gd name="connsiteX748" fmla="*/ 2807965 w 4940931"/>
                <a:gd name="connsiteY748" fmla="*/ 81280 h 138429"/>
                <a:gd name="connsiteX749" fmla="*/ 2802250 w 4940931"/>
                <a:gd name="connsiteY749" fmla="*/ 78105 h 138429"/>
                <a:gd name="connsiteX750" fmla="*/ 2794630 w 4940931"/>
                <a:gd name="connsiteY750" fmla="*/ 74930 h 138429"/>
                <a:gd name="connsiteX751" fmla="*/ 2783835 w 4940931"/>
                <a:gd name="connsiteY751" fmla="*/ 69850 h 138429"/>
                <a:gd name="connsiteX752" fmla="*/ 2776850 w 4940931"/>
                <a:gd name="connsiteY752" fmla="*/ 64770 h 138429"/>
                <a:gd name="connsiteX753" fmla="*/ 2773040 w 4940931"/>
                <a:gd name="connsiteY753" fmla="*/ 58420 h 138429"/>
                <a:gd name="connsiteX754" fmla="*/ 2771770 w 4940931"/>
                <a:gd name="connsiteY754" fmla="*/ 50165 h 138429"/>
                <a:gd name="connsiteX755" fmla="*/ 2773675 w 4940931"/>
                <a:gd name="connsiteY755" fmla="*/ 40640 h 138429"/>
                <a:gd name="connsiteX756" fmla="*/ 2779390 w 4940931"/>
                <a:gd name="connsiteY756" fmla="*/ 34290 h 138429"/>
                <a:gd name="connsiteX757" fmla="*/ 2787645 w 4940931"/>
                <a:gd name="connsiteY757" fmla="*/ 30480 h 138429"/>
                <a:gd name="connsiteX758" fmla="*/ 2798440 w 4940931"/>
                <a:gd name="connsiteY758" fmla="*/ 29210 h 138429"/>
                <a:gd name="connsiteX759" fmla="*/ 2723510 w 4940931"/>
                <a:gd name="connsiteY759" fmla="*/ 29210 h 138429"/>
                <a:gd name="connsiteX760" fmla="*/ 2729225 w 4940931"/>
                <a:gd name="connsiteY760" fmla="*/ 29210 h 138429"/>
                <a:gd name="connsiteX761" fmla="*/ 2741290 w 4940931"/>
                <a:gd name="connsiteY761" fmla="*/ 31750 h 138429"/>
                <a:gd name="connsiteX762" fmla="*/ 2750180 w 4940931"/>
                <a:gd name="connsiteY762" fmla="*/ 38100 h 138429"/>
                <a:gd name="connsiteX763" fmla="*/ 2755260 w 4940931"/>
                <a:gd name="connsiteY763" fmla="*/ 48895 h 138429"/>
                <a:gd name="connsiteX764" fmla="*/ 2757165 w 4940931"/>
                <a:gd name="connsiteY764" fmla="*/ 64135 h 138429"/>
                <a:gd name="connsiteX765" fmla="*/ 2757165 w 4940931"/>
                <a:gd name="connsiteY765" fmla="*/ 108585 h 138429"/>
                <a:gd name="connsiteX766" fmla="*/ 2741925 w 4940931"/>
                <a:gd name="connsiteY766" fmla="*/ 108585 h 138429"/>
                <a:gd name="connsiteX767" fmla="*/ 2741290 w 4940931"/>
                <a:gd name="connsiteY767" fmla="*/ 108585 h 138429"/>
                <a:gd name="connsiteX768" fmla="*/ 2741290 w 4940931"/>
                <a:gd name="connsiteY768" fmla="*/ 64770 h 138429"/>
                <a:gd name="connsiteX769" fmla="*/ 2737480 w 4940931"/>
                <a:gd name="connsiteY769" fmla="*/ 48895 h 138429"/>
                <a:gd name="connsiteX770" fmla="*/ 2725415 w 4940931"/>
                <a:gd name="connsiteY770" fmla="*/ 43180 h 138429"/>
                <a:gd name="connsiteX771" fmla="*/ 2718430 w 4940931"/>
                <a:gd name="connsiteY771" fmla="*/ 44450 h 138429"/>
                <a:gd name="connsiteX772" fmla="*/ 2713350 w 4940931"/>
                <a:gd name="connsiteY772" fmla="*/ 48260 h 138429"/>
                <a:gd name="connsiteX773" fmla="*/ 2710175 w 4940931"/>
                <a:gd name="connsiteY773" fmla="*/ 54610 h 138429"/>
                <a:gd name="connsiteX774" fmla="*/ 2709540 w 4940931"/>
                <a:gd name="connsiteY774" fmla="*/ 62865 h 138429"/>
                <a:gd name="connsiteX775" fmla="*/ 2709540 w 4940931"/>
                <a:gd name="connsiteY775" fmla="*/ 108585 h 138429"/>
                <a:gd name="connsiteX776" fmla="*/ 2694300 w 4940931"/>
                <a:gd name="connsiteY776" fmla="*/ 108585 h 138429"/>
                <a:gd name="connsiteX777" fmla="*/ 2694300 w 4940931"/>
                <a:gd name="connsiteY777" fmla="*/ 30480 h 138429"/>
                <a:gd name="connsiteX778" fmla="*/ 2709540 w 4940931"/>
                <a:gd name="connsiteY778" fmla="*/ 30480 h 138429"/>
                <a:gd name="connsiteX779" fmla="*/ 2709540 w 4940931"/>
                <a:gd name="connsiteY779" fmla="*/ 38100 h 138429"/>
                <a:gd name="connsiteX780" fmla="*/ 2713350 w 4940931"/>
                <a:gd name="connsiteY780" fmla="*/ 34290 h 138429"/>
                <a:gd name="connsiteX781" fmla="*/ 2717795 w 4940931"/>
                <a:gd name="connsiteY781" fmla="*/ 31115 h 138429"/>
                <a:gd name="connsiteX782" fmla="*/ 2723510 w 4940931"/>
                <a:gd name="connsiteY782" fmla="*/ 29210 h 138429"/>
                <a:gd name="connsiteX783" fmla="*/ 2530470 w 4940931"/>
                <a:gd name="connsiteY783" fmla="*/ 29210 h 138429"/>
                <a:gd name="connsiteX784" fmla="*/ 2545075 w 4940931"/>
                <a:gd name="connsiteY784" fmla="*/ 32385 h 138429"/>
                <a:gd name="connsiteX785" fmla="*/ 2555235 w 4940931"/>
                <a:gd name="connsiteY785" fmla="*/ 40640 h 138429"/>
                <a:gd name="connsiteX786" fmla="*/ 2561585 w 4940931"/>
                <a:gd name="connsiteY786" fmla="*/ 53340 h 138429"/>
                <a:gd name="connsiteX787" fmla="*/ 2563490 w 4940931"/>
                <a:gd name="connsiteY787" fmla="*/ 68580 h 138429"/>
                <a:gd name="connsiteX788" fmla="*/ 2562220 w 4940931"/>
                <a:gd name="connsiteY788" fmla="*/ 68580 h 138429"/>
                <a:gd name="connsiteX789" fmla="*/ 2562220 w 4940931"/>
                <a:gd name="connsiteY789" fmla="*/ 72390 h 138429"/>
                <a:gd name="connsiteX790" fmla="*/ 2562220 w 4940931"/>
                <a:gd name="connsiteY790" fmla="*/ 75565 h 138429"/>
                <a:gd name="connsiteX791" fmla="*/ 2510785 w 4940931"/>
                <a:gd name="connsiteY791" fmla="*/ 75565 h 138429"/>
                <a:gd name="connsiteX792" fmla="*/ 2513325 w 4940931"/>
                <a:gd name="connsiteY792" fmla="*/ 85090 h 138429"/>
                <a:gd name="connsiteX793" fmla="*/ 2517770 w 4940931"/>
                <a:gd name="connsiteY793" fmla="*/ 91440 h 138429"/>
                <a:gd name="connsiteX794" fmla="*/ 2523485 w 4940931"/>
                <a:gd name="connsiteY794" fmla="*/ 95250 h 138429"/>
                <a:gd name="connsiteX795" fmla="*/ 2530470 w 4940931"/>
                <a:gd name="connsiteY795" fmla="*/ 96520 h 138429"/>
                <a:gd name="connsiteX796" fmla="*/ 2535550 w 4940931"/>
                <a:gd name="connsiteY796" fmla="*/ 96520 h 138429"/>
                <a:gd name="connsiteX797" fmla="*/ 2539995 w 4940931"/>
                <a:gd name="connsiteY797" fmla="*/ 95250 h 138429"/>
                <a:gd name="connsiteX798" fmla="*/ 2543805 w 4940931"/>
                <a:gd name="connsiteY798" fmla="*/ 93345 h 138429"/>
                <a:gd name="connsiteX799" fmla="*/ 2548250 w 4940931"/>
                <a:gd name="connsiteY799" fmla="*/ 90805 h 138429"/>
                <a:gd name="connsiteX800" fmla="*/ 2557140 w 4940931"/>
                <a:gd name="connsiteY800" fmla="*/ 100330 h 138429"/>
                <a:gd name="connsiteX801" fmla="*/ 2551425 w 4940931"/>
                <a:gd name="connsiteY801" fmla="*/ 104775 h 138429"/>
                <a:gd name="connsiteX802" fmla="*/ 2545710 w 4940931"/>
                <a:gd name="connsiteY802" fmla="*/ 107950 h 138429"/>
                <a:gd name="connsiteX803" fmla="*/ 2538725 w 4940931"/>
                <a:gd name="connsiteY803" fmla="*/ 109855 h 138429"/>
                <a:gd name="connsiteX804" fmla="*/ 2529835 w 4940931"/>
                <a:gd name="connsiteY804" fmla="*/ 110490 h 138429"/>
                <a:gd name="connsiteX805" fmla="*/ 2520310 w 4940931"/>
                <a:gd name="connsiteY805" fmla="*/ 109220 h 138429"/>
                <a:gd name="connsiteX806" fmla="*/ 2512690 w 4940931"/>
                <a:gd name="connsiteY806" fmla="*/ 105410 h 138429"/>
                <a:gd name="connsiteX807" fmla="*/ 2506340 w 4940931"/>
                <a:gd name="connsiteY807" fmla="*/ 100330 h 138429"/>
                <a:gd name="connsiteX808" fmla="*/ 2501260 w 4940931"/>
                <a:gd name="connsiteY808" fmla="*/ 92710 h 138429"/>
                <a:gd name="connsiteX809" fmla="*/ 2497450 w 4940931"/>
                <a:gd name="connsiteY809" fmla="*/ 82550 h 138429"/>
                <a:gd name="connsiteX810" fmla="*/ 2496180 w 4940931"/>
                <a:gd name="connsiteY810" fmla="*/ 69850 h 138429"/>
                <a:gd name="connsiteX811" fmla="*/ 2498720 w 4940931"/>
                <a:gd name="connsiteY811" fmla="*/ 52070 h 138429"/>
                <a:gd name="connsiteX812" fmla="*/ 2505705 w 4940931"/>
                <a:gd name="connsiteY812" fmla="*/ 39370 h 138429"/>
                <a:gd name="connsiteX813" fmla="*/ 2516500 w 4940931"/>
                <a:gd name="connsiteY813" fmla="*/ 31750 h 138429"/>
                <a:gd name="connsiteX814" fmla="*/ 2530470 w 4940931"/>
                <a:gd name="connsiteY814" fmla="*/ 29210 h 138429"/>
                <a:gd name="connsiteX815" fmla="*/ 2298061 w 4940931"/>
                <a:gd name="connsiteY815" fmla="*/ 29210 h 138429"/>
                <a:gd name="connsiteX816" fmla="*/ 2305681 w 4940931"/>
                <a:gd name="connsiteY816" fmla="*/ 29845 h 138429"/>
                <a:gd name="connsiteX817" fmla="*/ 2311396 w 4940931"/>
                <a:gd name="connsiteY817" fmla="*/ 32385 h 138429"/>
                <a:gd name="connsiteX818" fmla="*/ 2307586 w 4940931"/>
                <a:gd name="connsiteY818" fmla="*/ 46990 h 138429"/>
                <a:gd name="connsiteX819" fmla="*/ 2306316 w 4940931"/>
                <a:gd name="connsiteY819" fmla="*/ 46990 h 138429"/>
                <a:gd name="connsiteX820" fmla="*/ 2301236 w 4940931"/>
                <a:gd name="connsiteY820" fmla="*/ 45085 h 138429"/>
                <a:gd name="connsiteX821" fmla="*/ 2294886 w 4940931"/>
                <a:gd name="connsiteY821" fmla="*/ 44450 h 138429"/>
                <a:gd name="connsiteX822" fmla="*/ 2283456 w 4940931"/>
                <a:gd name="connsiteY822" fmla="*/ 49530 h 138429"/>
                <a:gd name="connsiteX823" fmla="*/ 2279646 w 4940931"/>
                <a:gd name="connsiteY823" fmla="*/ 64770 h 138429"/>
                <a:gd name="connsiteX824" fmla="*/ 2279646 w 4940931"/>
                <a:gd name="connsiteY824" fmla="*/ 109220 h 138429"/>
                <a:gd name="connsiteX825" fmla="*/ 2264406 w 4940931"/>
                <a:gd name="connsiteY825" fmla="*/ 109220 h 138429"/>
                <a:gd name="connsiteX826" fmla="*/ 2264406 w 4940931"/>
                <a:gd name="connsiteY826" fmla="*/ 31115 h 138429"/>
                <a:gd name="connsiteX827" fmla="*/ 2279646 w 4940931"/>
                <a:gd name="connsiteY827" fmla="*/ 31115 h 138429"/>
                <a:gd name="connsiteX828" fmla="*/ 2279646 w 4940931"/>
                <a:gd name="connsiteY828" fmla="*/ 38735 h 138429"/>
                <a:gd name="connsiteX829" fmla="*/ 2282821 w 4940931"/>
                <a:gd name="connsiteY829" fmla="*/ 34925 h 138429"/>
                <a:gd name="connsiteX830" fmla="*/ 2287266 w 4940931"/>
                <a:gd name="connsiteY830" fmla="*/ 31750 h 138429"/>
                <a:gd name="connsiteX831" fmla="*/ 2292346 w 4940931"/>
                <a:gd name="connsiteY831" fmla="*/ 29845 h 138429"/>
                <a:gd name="connsiteX832" fmla="*/ 2298061 w 4940931"/>
                <a:gd name="connsiteY832" fmla="*/ 29210 h 138429"/>
                <a:gd name="connsiteX833" fmla="*/ 2216145 w 4940931"/>
                <a:gd name="connsiteY833" fmla="*/ 29210 h 138429"/>
                <a:gd name="connsiteX834" fmla="*/ 2230750 w 4940931"/>
                <a:gd name="connsiteY834" fmla="*/ 32385 h 138429"/>
                <a:gd name="connsiteX835" fmla="*/ 2240910 w 4940931"/>
                <a:gd name="connsiteY835" fmla="*/ 40640 h 138429"/>
                <a:gd name="connsiteX836" fmla="*/ 2247260 w 4940931"/>
                <a:gd name="connsiteY836" fmla="*/ 53340 h 138429"/>
                <a:gd name="connsiteX837" fmla="*/ 2249165 w 4940931"/>
                <a:gd name="connsiteY837" fmla="*/ 68580 h 138429"/>
                <a:gd name="connsiteX838" fmla="*/ 2247895 w 4940931"/>
                <a:gd name="connsiteY838" fmla="*/ 68580 h 138429"/>
                <a:gd name="connsiteX839" fmla="*/ 2247895 w 4940931"/>
                <a:gd name="connsiteY839" fmla="*/ 72390 h 138429"/>
                <a:gd name="connsiteX840" fmla="*/ 2247895 w 4940931"/>
                <a:gd name="connsiteY840" fmla="*/ 75565 h 138429"/>
                <a:gd name="connsiteX841" fmla="*/ 2196460 w 4940931"/>
                <a:gd name="connsiteY841" fmla="*/ 75565 h 138429"/>
                <a:gd name="connsiteX842" fmla="*/ 2199000 w 4940931"/>
                <a:gd name="connsiteY842" fmla="*/ 85090 h 138429"/>
                <a:gd name="connsiteX843" fmla="*/ 2203445 w 4940931"/>
                <a:gd name="connsiteY843" fmla="*/ 91440 h 138429"/>
                <a:gd name="connsiteX844" fmla="*/ 2209160 w 4940931"/>
                <a:gd name="connsiteY844" fmla="*/ 95250 h 138429"/>
                <a:gd name="connsiteX845" fmla="*/ 2216145 w 4940931"/>
                <a:gd name="connsiteY845" fmla="*/ 96520 h 138429"/>
                <a:gd name="connsiteX846" fmla="*/ 2221225 w 4940931"/>
                <a:gd name="connsiteY846" fmla="*/ 96520 h 138429"/>
                <a:gd name="connsiteX847" fmla="*/ 2225670 w 4940931"/>
                <a:gd name="connsiteY847" fmla="*/ 95250 h 138429"/>
                <a:gd name="connsiteX848" fmla="*/ 2229480 w 4940931"/>
                <a:gd name="connsiteY848" fmla="*/ 93345 h 138429"/>
                <a:gd name="connsiteX849" fmla="*/ 2233925 w 4940931"/>
                <a:gd name="connsiteY849" fmla="*/ 90805 h 138429"/>
                <a:gd name="connsiteX850" fmla="*/ 2242815 w 4940931"/>
                <a:gd name="connsiteY850" fmla="*/ 100330 h 138429"/>
                <a:gd name="connsiteX851" fmla="*/ 2237100 w 4940931"/>
                <a:gd name="connsiteY851" fmla="*/ 104775 h 138429"/>
                <a:gd name="connsiteX852" fmla="*/ 2231385 w 4940931"/>
                <a:gd name="connsiteY852" fmla="*/ 107950 h 138429"/>
                <a:gd name="connsiteX853" fmla="*/ 2224400 w 4940931"/>
                <a:gd name="connsiteY853" fmla="*/ 109855 h 138429"/>
                <a:gd name="connsiteX854" fmla="*/ 2215510 w 4940931"/>
                <a:gd name="connsiteY854" fmla="*/ 110490 h 138429"/>
                <a:gd name="connsiteX855" fmla="*/ 2205985 w 4940931"/>
                <a:gd name="connsiteY855" fmla="*/ 109220 h 138429"/>
                <a:gd name="connsiteX856" fmla="*/ 2198365 w 4940931"/>
                <a:gd name="connsiteY856" fmla="*/ 105410 h 138429"/>
                <a:gd name="connsiteX857" fmla="*/ 2192015 w 4940931"/>
                <a:gd name="connsiteY857" fmla="*/ 100330 h 138429"/>
                <a:gd name="connsiteX858" fmla="*/ 2186935 w 4940931"/>
                <a:gd name="connsiteY858" fmla="*/ 92710 h 138429"/>
                <a:gd name="connsiteX859" fmla="*/ 2183125 w 4940931"/>
                <a:gd name="connsiteY859" fmla="*/ 82550 h 138429"/>
                <a:gd name="connsiteX860" fmla="*/ 2181855 w 4940931"/>
                <a:gd name="connsiteY860" fmla="*/ 69850 h 138429"/>
                <a:gd name="connsiteX861" fmla="*/ 2184395 w 4940931"/>
                <a:gd name="connsiteY861" fmla="*/ 52070 h 138429"/>
                <a:gd name="connsiteX862" fmla="*/ 2191380 w 4940931"/>
                <a:gd name="connsiteY862" fmla="*/ 39370 h 138429"/>
                <a:gd name="connsiteX863" fmla="*/ 2202175 w 4940931"/>
                <a:gd name="connsiteY863" fmla="*/ 31750 h 138429"/>
                <a:gd name="connsiteX864" fmla="*/ 2216145 w 4940931"/>
                <a:gd name="connsiteY864" fmla="*/ 29210 h 138429"/>
                <a:gd name="connsiteX865" fmla="*/ 2029456 w 4940931"/>
                <a:gd name="connsiteY865" fmla="*/ 29210 h 138429"/>
                <a:gd name="connsiteX866" fmla="*/ 2044061 w 4940931"/>
                <a:gd name="connsiteY866" fmla="*/ 32385 h 138429"/>
                <a:gd name="connsiteX867" fmla="*/ 2054221 w 4940931"/>
                <a:gd name="connsiteY867" fmla="*/ 40640 h 138429"/>
                <a:gd name="connsiteX868" fmla="*/ 2060571 w 4940931"/>
                <a:gd name="connsiteY868" fmla="*/ 53340 h 138429"/>
                <a:gd name="connsiteX869" fmla="*/ 2062476 w 4940931"/>
                <a:gd name="connsiteY869" fmla="*/ 68580 h 138429"/>
                <a:gd name="connsiteX870" fmla="*/ 2061206 w 4940931"/>
                <a:gd name="connsiteY870" fmla="*/ 68580 h 138429"/>
                <a:gd name="connsiteX871" fmla="*/ 2061206 w 4940931"/>
                <a:gd name="connsiteY871" fmla="*/ 72390 h 138429"/>
                <a:gd name="connsiteX872" fmla="*/ 2061206 w 4940931"/>
                <a:gd name="connsiteY872" fmla="*/ 75565 h 138429"/>
                <a:gd name="connsiteX873" fmla="*/ 2009771 w 4940931"/>
                <a:gd name="connsiteY873" fmla="*/ 75565 h 138429"/>
                <a:gd name="connsiteX874" fmla="*/ 2012311 w 4940931"/>
                <a:gd name="connsiteY874" fmla="*/ 85090 h 138429"/>
                <a:gd name="connsiteX875" fmla="*/ 2016756 w 4940931"/>
                <a:gd name="connsiteY875" fmla="*/ 91440 h 138429"/>
                <a:gd name="connsiteX876" fmla="*/ 2022471 w 4940931"/>
                <a:gd name="connsiteY876" fmla="*/ 95250 h 138429"/>
                <a:gd name="connsiteX877" fmla="*/ 2029456 w 4940931"/>
                <a:gd name="connsiteY877" fmla="*/ 96520 h 138429"/>
                <a:gd name="connsiteX878" fmla="*/ 2034536 w 4940931"/>
                <a:gd name="connsiteY878" fmla="*/ 96520 h 138429"/>
                <a:gd name="connsiteX879" fmla="*/ 2038981 w 4940931"/>
                <a:gd name="connsiteY879" fmla="*/ 95250 h 138429"/>
                <a:gd name="connsiteX880" fmla="*/ 2042791 w 4940931"/>
                <a:gd name="connsiteY880" fmla="*/ 93345 h 138429"/>
                <a:gd name="connsiteX881" fmla="*/ 2047236 w 4940931"/>
                <a:gd name="connsiteY881" fmla="*/ 90805 h 138429"/>
                <a:gd name="connsiteX882" fmla="*/ 2056126 w 4940931"/>
                <a:gd name="connsiteY882" fmla="*/ 100330 h 138429"/>
                <a:gd name="connsiteX883" fmla="*/ 2050411 w 4940931"/>
                <a:gd name="connsiteY883" fmla="*/ 104775 h 138429"/>
                <a:gd name="connsiteX884" fmla="*/ 2044696 w 4940931"/>
                <a:gd name="connsiteY884" fmla="*/ 107950 h 138429"/>
                <a:gd name="connsiteX885" fmla="*/ 2037711 w 4940931"/>
                <a:gd name="connsiteY885" fmla="*/ 109855 h 138429"/>
                <a:gd name="connsiteX886" fmla="*/ 2028821 w 4940931"/>
                <a:gd name="connsiteY886" fmla="*/ 110490 h 138429"/>
                <a:gd name="connsiteX887" fmla="*/ 2019296 w 4940931"/>
                <a:gd name="connsiteY887" fmla="*/ 109220 h 138429"/>
                <a:gd name="connsiteX888" fmla="*/ 2011676 w 4940931"/>
                <a:gd name="connsiteY888" fmla="*/ 105410 h 138429"/>
                <a:gd name="connsiteX889" fmla="*/ 2005326 w 4940931"/>
                <a:gd name="connsiteY889" fmla="*/ 100330 h 138429"/>
                <a:gd name="connsiteX890" fmla="*/ 2000246 w 4940931"/>
                <a:gd name="connsiteY890" fmla="*/ 92710 h 138429"/>
                <a:gd name="connsiteX891" fmla="*/ 1996436 w 4940931"/>
                <a:gd name="connsiteY891" fmla="*/ 82550 h 138429"/>
                <a:gd name="connsiteX892" fmla="*/ 1995166 w 4940931"/>
                <a:gd name="connsiteY892" fmla="*/ 69850 h 138429"/>
                <a:gd name="connsiteX893" fmla="*/ 1997706 w 4940931"/>
                <a:gd name="connsiteY893" fmla="*/ 52070 h 138429"/>
                <a:gd name="connsiteX894" fmla="*/ 2004691 w 4940931"/>
                <a:gd name="connsiteY894" fmla="*/ 39370 h 138429"/>
                <a:gd name="connsiteX895" fmla="*/ 2015486 w 4940931"/>
                <a:gd name="connsiteY895" fmla="*/ 31750 h 138429"/>
                <a:gd name="connsiteX896" fmla="*/ 2029456 w 4940931"/>
                <a:gd name="connsiteY896" fmla="*/ 29210 h 138429"/>
                <a:gd name="connsiteX897" fmla="*/ 1831336 w 4940931"/>
                <a:gd name="connsiteY897" fmla="*/ 29210 h 138429"/>
                <a:gd name="connsiteX898" fmla="*/ 1845941 w 4940931"/>
                <a:gd name="connsiteY898" fmla="*/ 32385 h 138429"/>
                <a:gd name="connsiteX899" fmla="*/ 1856101 w 4940931"/>
                <a:gd name="connsiteY899" fmla="*/ 40640 h 138429"/>
                <a:gd name="connsiteX900" fmla="*/ 1862451 w 4940931"/>
                <a:gd name="connsiteY900" fmla="*/ 53340 h 138429"/>
                <a:gd name="connsiteX901" fmla="*/ 1864356 w 4940931"/>
                <a:gd name="connsiteY901" fmla="*/ 68580 h 138429"/>
                <a:gd name="connsiteX902" fmla="*/ 1863086 w 4940931"/>
                <a:gd name="connsiteY902" fmla="*/ 68580 h 138429"/>
                <a:gd name="connsiteX903" fmla="*/ 1863086 w 4940931"/>
                <a:gd name="connsiteY903" fmla="*/ 72390 h 138429"/>
                <a:gd name="connsiteX904" fmla="*/ 1863086 w 4940931"/>
                <a:gd name="connsiteY904" fmla="*/ 75565 h 138429"/>
                <a:gd name="connsiteX905" fmla="*/ 1811651 w 4940931"/>
                <a:gd name="connsiteY905" fmla="*/ 75565 h 138429"/>
                <a:gd name="connsiteX906" fmla="*/ 1814191 w 4940931"/>
                <a:gd name="connsiteY906" fmla="*/ 85090 h 138429"/>
                <a:gd name="connsiteX907" fmla="*/ 1818636 w 4940931"/>
                <a:gd name="connsiteY907" fmla="*/ 91440 h 138429"/>
                <a:gd name="connsiteX908" fmla="*/ 1824351 w 4940931"/>
                <a:gd name="connsiteY908" fmla="*/ 95250 h 138429"/>
                <a:gd name="connsiteX909" fmla="*/ 1831336 w 4940931"/>
                <a:gd name="connsiteY909" fmla="*/ 96520 h 138429"/>
                <a:gd name="connsiteX910" fmla="*/ 1836416 w 4940931"/>
                <a:gd name="connsiteY910" fmla="*/ 96520 h 138429"/>
                <a:gd name="connsiteX911" fmla="*/ 1840861 w 4940931"/>
                <a:gd name="connsiteY911" fmla="*/ 95250 h 138429"/>
                <a:gd name="connsiteX912" fmla="*/ 1844671 w 4940931"/>
                <a:gd name="connsiteY912" fmla="*/ 93345 h 138429"/>
                <a:gd name="connsiteX913" fmla="*/ 1849116 w 4940931"/>
                <a:gd name="connsiteY913" fmla="*/ 90805 h 138429"/>
                <a:gd name="connsiteX914" fmla="*/ 1858006 w 4940931"/>
                <a:gd name="connsiteY914" fmla="*/ 100330 h 138429"/>
                <a:gd name="connsiteX915" fmla="*/ 1852291 w 4940931"/>
                <a:gd name="connsiteY915" fmla="*/ 104775 h 138429"/>
                <a:gd name="connsiteX916" fmla="*/ 1846576 w 4940931"/>
                <a:gd name="connsiteY916" fmla="*/ 107950 h 138429"/>
                <a:gd name="connsiteX917" fmla="*/ 1839591 w 4940931"/>
                <a:gd name="connsiteY917" fmla="*/ 109855 h 138429"/>
                <a:gd name="connsiteX918" fmla="*/ 1830701 w 4940931"/>
                <a:gd name="connsiteY918" fmla="*/ 110490 h 138429"/>
                <a:gd name="connsiteX919" fmla="*/ 1821176 w 4940931"/>
                <a:gd name="connsiteY919" fmla="*/ 109220 h 138429"/>
                <a:gd name="connsiteX920" fmla="*/ 1813556 w 4940931"/>
                <a:gd name="connsiteY920" fmla="*/ 105410 h 138429"/>
                <a:gd name="connsiteX921" fmla="*/ 1807206 w 4940931"/>
                <a:gd name="connsiteY921" fmla="*/ 100330 h 138429"/>
                <a:gd name="connsiteX922" fmla="*/ 1802126 w 4940931"/>
                <a:gd name="connsiteY922" fmla="*/ 92710 h 138429"/>
                <a:gd name="connsiteX923" fmla="*/ 1798316 w 4940931"/>
                <a:gd name="connsiteY923" fmla="*/ 82550 h 138429"/>
                <a:gd name="connsiteX924" fmla="*/ 1797046 w 4940931"/>
                <a:gd name="connsiteY924" fmla="*/ 69850 h 138429"/>
                <a:gd name="connsiteX925" fmla="*/ 1799586 w 4940931"/>
                <a:gd name="connsiteY925" fmla="*/ 52070 h 138429"/>
                <a:gd name="connsiteX926" fmla="*/ 1806571 w 4940931"/>
                <a:gd name="connsiteY926" fmla="*/ 39370 h 138429"/>
                <a:gd name="connsiteX927" fmla="*/ 1817366 w 4940931"/>
                <a:gd name="connsiteY927" fmla="*/ 31750 h 138429"/>
                <a:gd name="connsiteX928" fmla="*/ 1831336 w 4940931"/>
                <a:gd name="connsiteY928" fmla="*/ 29210 h 138429"/>
                <a:gd name="connsiteX929" fmla="*/ 1501140 w 4940931"/>
                <a:gd name="connsiteY929" fmla="*/ 29210 h 138429"/>
                <a:gd name="connsiteX930" fmla="*/ 1506856 w 4940931"/>
                <a:gd name="connsiteY930" fmla="*/ 29210 h 138429"/>
                <a:gd name="connsiteX931" fmla="*/ 1518920 w 4940931"/>
                <a:gd name="connsiteY931" fmla="*/ 31750 h 138429"/>
                <a:gd name="connsiteX932" fmla="*/ 1527811 w 4940931"/>
                <a:gd name="connsiteY932" fmla="*/ 38100 h 138429"/>
                <a:gd name="connsiteX933" fmla="*/ 1532891 w 4940931"/>
                <a:gd name="connsiteY933" fmla="*/ 48895 h 138429"/>
                <a:gd name="connsiteX934" fmla="*/ 1534796 w 4940931"/>
                <a:gd name="connsiteY934" fmla="*/ 64135 h 138429"/>
                <a:gd name="connsiteX935" fmla="*/ 1534796 w 4940931"/>
                <a:gd name="connsiteY935" fmla="*/ 108585 h 138429"/>
                <a:gd name="connsiteX936" fmla="*/ 1519556 w 4940931"/>
                <a:gd name="connsiteY936" fmla="*/ 108585 h 138429"/>
                <a:gd name="connsiteX937" fmla="*/ 1518920 w 4940931"/>
                <a:gd name="connsiteY937" fmla="*/ 108585 h 138429"/>
                <a:gd name="connsiteX938" fmla="*/ 1518920 w 4940931"/>
                <a:gd name="connsiteY938" fmla="*/ 64770 h 138429"/>
                <a:gd name="connsiteX939" fmla="*/ 1515111 w 4940931"/>
                <a:gd name="connsiteY939" fmla="*/ 48895 h 138429"/>
                <a:gd name="connsiteX940" fmla="*/ 1503046 w 4940931"/>
                <a:gd name="connsiteY940" fmla="*/ 43180 h 138429"/>
                <a:gd name="connsiteX941" fmla="*/ 1496061 w 4940931"/>
                <a:gd name="connsiteY941" fmla="*/ 44450 h 138429"/>
                <a:gd name="connsiteX942" fmla="*/ 1490981 w 4940931"/>
                <a:gd name="connsiteY942" fmla="*/ 48260 h 138429"/>
                <a:gd name="connsiteX943" fmla="*/ 1487806 w 4940931"/>
                <a:gd name="connsiteY943" fmla="*/ 54610 h 138429"/>
                <a:gd name="connsiteX944" fmla="*/ 1487170 w 4940931"/>
                <a:gd name="connsiteY944" fmla="*/ 62865 h 138429"/>
                <a:gd name="connsiteX945" fmla="*/ 1487170 w 4940931"/>
                <a:gd name="connsiteY945" fmla="*/ 108585 h 138429"/>
                <a:gd name="connsiteX946" fmla="*/ 1471931 w 4940931"/>
                <a:gd name="connsiteY946" fmla="*/ 108585 h 138429"/>
                <a:gd name="connsiteX947" fmla="*/ 1471931 w 4940931"/>
                <a:gd name="connsiteY947" fmla="*/ 30480 h 138429"/>
                <a:gd name="connsiteX948" fmla="*/ 1487170 w 4940931"/>
                <a:gd name="connsiteY948" fmla="*/ 30480 h 138429"/>
                <a:gd name="connsiteX949" fmla="*/ 1487170 w 4940931"/>
                <a:gd name="connsiteY949" fmla="*/ 38100 h 138429"/>
                <a:gd name="connsiteX950" fmla="*/ 1490981 w 4940931"/>
                <a:gd name="connsiteY950" fmla="*/ 34290 h 138429"/>
                <a:gd name="connsiteX951" fmla="*/ 1495426 w 4940931"/>
                <a:gd name="connsiteY951" fmla="*/ 31115 h 138429"/>
                <a:gd name="connsiteX952" fmla="*/ 1501140 w 4940931"/>
                <a:gd name="connsiteY952" fmla="*/ 29210 h 138429"/>
                <a:gd name="connsiteX953" fmla="*/ 1250316 w 4940931"/>
                <a:gd name="connsiteY953" fmla="*/ 29210 h 138429"/>
                <a:gd name="connsiteX954" fmla="*/ 1264286 w 4940931"/>
                <a:gd name="connsiteY954" fmla="*/ 31750 h 138429"/>
                <a:gd name="connsiteX955" fmla="*/ 1276350 w 4940931"/>
                <a:gd name="connsiteY955" fmla="*/ 38100 h 138429"/>
                <a:gd name="connsiteX956" fmla="*/ 1278256 w 4940931"/>
                <a:gd name="connsiteY956" fmla="*/ 38100 h 138429"/>
                <a:gd name="connsiteX957" fmla="*/ 1271271 w 4940931"/>
                <a:gd name="connsiteY957" fmla="*/ 50165 h 138429"/>
                <a:gd name="connsiteX958" fmla="*/ 1261746 w 4940931"/>
                <a:gd name="connsiteY958" fmla="*/ 45085 h 138429"/>
                <a:gd name="connsiteX959" fmla="*/ 1250951 w 4940931"/>
                <a:gd name="connsiteY959" fmla="*/ 43180 h 138429"/>
                <a:gd name="connsiteX960" fmla="*/ 1242696 w 4940931"/>
                <a:gd name="connsiteY960" fmla="*/ 45085 h 138429"/>
                <a:gd name="connsiteX961" fmla="*/ 1240156 w 4940931"/>
                <a:gd name="connsiteY961" fmla="*/ 50165 h 138429"/>
                <a:gd name="connsiteX962" fmla="*/ 1240156 w 4940931"/>
                <a:gd name="connsiteY962" fmla="*/ 52705 h 138429"/>
                <a:gd name="connsiteX963" fmla="*/ 1242061 w 4940931"/>
                <a:gd name="connsiteY963" fmla="*/ 55245 h 138429"/>
                <a:gd name="connsiteX964" fmla="*/ 1246506 w 4940931"/>
                <a:gd name="connsiteY964" fmla="*/ 57785 h 138429"/>
                <a:gd name="connsiteX965" fmla="*/ 1253491 w 4940931"/>
                <a:gd name="connsiteY965" fmla="*/ 60960 h 138429"/>
                <a:gd name="connsiteX966" fmla="*/ 1264921 w 4940931"/>
                <a:gd name="connsiteY966" fmla="*/ 66040 h 138429"/>
                <a:gd name="connsiteX967" fmla="*/ 1273176 w 4940931"/>
                <a:gd name="connsiteY967" fmla="*/ 71120 h 138429"/>
                <a:gd name="connsiteX968" fmla="*/ 1278256 w 4940931"/>
                <a:gd name="connsiteY968" fmla="*/ 78105 h 138429"/>
                <a:gd name="connsiteX969" fmla="*/ 1280161 w 4940931"/>
                <a:gd name="connsiteY969" fmla="*/ 87630 h 138429"/>
                <a:gd name="connsiteX970" fmla="*/ 1277621 w 4940931"/>
                <a:gd name="connsiteY970" fmla="*/ 98425 h 138429"/>
                <a:gd name="connsiteX971" fmla="*/ 1271271 w 4940931"/>
                <a:gd name="connsiteY971" fmla="*/ 105410 h 138429"/>
                <a:gd name="connsiteX972" fmla="*/ 1261746 w 4940931"/>
                <a:gd name="connsiteY972" fmla="*/ 109220 h 138429"/>
                <a:gd name="connsiteX973" fmla="*/ 1250951 w 4940931"/>
                <a:gd name="connsiteY973" fmla="*/ 110490 h 138429"/>
                <a:gd name="connsiteX974" fmla="*/ 1235711 w 4940931"/>
                <a:gd name="connsiteY974" fmla="*/ 107950 h 138429"/>
                <a:gd name="connsiteX975" fmla="*/ 1221106 w 4940931"/>
                <a:gd name="connsiteY975" fmla="*/ 100965 h 138429"/>
                <a:gd name="connsiteX976" fmla="*/ 1228091 w 4940931"/>
                <a:gd name="connsiteY976" fmla="*/ 89535 h 138429"/>
                <a:gd name="connsiteX977" fmla="*/ 1239521 w 4940931"/>
                <a:gd name="connsiteY977" fmla="*/ 95250 h 138429"/>
                <a:gd name="connsiteX978" fmla="*/ 1250951 w 4940931"/>
                <a:gd name="connsiteY978" fmla="*/ 97155 h 138429"/>
                <a:gd name="connsiteX979" fmla="*/ 1261746 w 4940931"/>
                <a:gd name="connsiteY979" fmla="*/ 94615 h 138429"/>
                <a:gd name="connsiteX980" fmla="*/ 1264921 w 4940931"/>
                <a:gd name="connsiteY980" fmla="*/ 88265 h 138429"/>
                <a:gd name="connsiteX981" fmla="*/ 1263650 w 4940931"/>
                <a:gd name="connsiteY981" fmla="*/ 84455 h 138429"/>
                <a:gd name="connsiteX982" fmla="*/ 1259841 w 4940931"/>
                <a:gd name="connsiteY982" fmla="*/ 81280 h 138429"/>
                <a:gd name="connsiteX983" fmla="*/ 1254125 w 4940931"/>
                <a:gd name="connsiteY983" fmla="*/ 78105 h 138429"/>
                <a:gd name="connsiteX984" fmla="*/ 1246506 w 4940931"/>
                <a:gd name="connsiteY984" fmla="*/ 74930 h 138429"/>
                <a:gd name="connsiteX985" fmla="*/ 1235711 w 4940931"/>
                <a:gd name="connsiteY985" fmla="*/ 69850 h 138429"/>
                <a:gd name="connsiteX986" fmla="*/ 1228726 w 4940931"/>
                <a:gd name="connsiteY986" fmla="*/ 64770 h 138429"/>
                <a:gd name="connsiteX987" fmla="*/ 1224916 w 4940931"/>
                <a:gd name="connsiteY987" fmla="*/ 58420 h 138429"/>
                <a:gd name="connsiteX988" fmla="*/ 1223646 w 4940931"/>
                <a:gd name="connsiteY988" fmla="*/ 50165 h 138429"/>
                <a:gd name="connsiteX989" fmla="*/ 1225551 w 4940931"/>
                <a:gd name="connsiteY989" fmla="*/ 40640 h 138429"/>
                <a:gd name="connsiteX990" fmla="*/ 1231266 w 4940931"/>
                <a:gd name="connsiteY990" fmla="*/ 34290 h 138429"/>
                <a:gd name="connsiteX991" fmla="*/ 1239521 w 4940931"/>
                <a:gd name="connsiteY991" fmla="*/ 30480 h 138429"/>
                <a:gd name="connsiteX992" fmla="*/ 1250316 w 4940931"/>
                <a:gd name="connsiteY992" fmla="*/ 29210 h 138429"/>
                <a:gd name="connsiteX993" fmla="*/ 1180466 w 4940931"/>
                <a:gd name="connsiteY993" fmla="*/ 29210 h 138429"/>
                <a:gd name="connsiteX994" fmla="*/ 1195071 w 4940931"/>
                <a:gd name="connsiteY994" fmla="*/ 32385 h 138429"/>
                <a:gd name="connsiteX995" fmla="*/ 1205231 w 4940931"/>
                <a:gd name="connsiteY995" fmla="*/ 40640 h 138429"/>
                <a:gd name="connsiteX996" fmla="*/ 1211581 w 4940931"/>
                <a:gd name="connsiteY996" fmla="*/ 53340 h 138429"/>
                <a:gd name="connsiteX997" fmla="*/ 1213486 w 4940931"/>
                <a:gd name="connsiteY997" fmla="*/ 68580 h 138429"/>
                <a:gd name="connsiteX998" fmla="*/ 1212216 w 4940931"/>
                <a:gd name="connsiteY998" fmla="*/ 68580 h 138429"/>
                <a:gd name="connsiteX999" fmla="*/ 1212216 w 4940931"/>
                <a:gd name="connsiteY999" fmla="*/ 72390 h 138429"/>
                <a:gd name="connsiteX1000" fmla="*/ 1212216 w 4940931"/>
                <a:gd name="connsiteY1000" fmla="*/ 75565 h 138429"/>
                <a:gd name="connsiteX1001" fmla="*/ 1160781 w 4940931"/>
                <a:gd name="connsiteY1001" fmla="*/ 75565 h 138429"/>
                <a:gd name="connsiteX1002" fmla="*/ 1163321 w 4940931"/>
                <a:gd name="connsiteY1002" fmla="*/ 85090 h 138429"/>
                <a:gd name="connsiteX1003" fmla="*/ 1167766 w 4940931"/>
                <a:gd name="connsiteY1003" fmla="*/ 91440 h 138429"/>
                <a:gd name="connsiteX1004" fmla="*/ 1173481 w 4940931"/>
                <a:gd name="connsiteY1004" fmla="*/ 95250 h 138429"/>
                <a:gd name="connsiteX1005" fmla="*/ 1180466 w 4940931"/>
                <a:gd name="connsiteY1005" fmla="*/ 96520 h 138429"/>
                <a:gd name="connsiteX1006" fmla="*/ 1185546 w 4940931"/>
                <a:gd name="connsiteY1006" fmla="*/ 96520 h 138429"/>
                <a:gd name="connsiteX1007" fmla="*/ 1189991 w 4940931"/>
                <a:gd name="connsiteY1007" fmla="*/ 95250 h 138429"/>
                <a:gd name="connsiteX1008" fmla="*/ 1193801 w 4940931"/>
                <a:gd name="connsiteY1008" fmla="*/ 93345 h 138429"/>
                <a:gd name="connsiteX1009" fmla="*/ 1198246 w 4940931"/>
                <a:gd name="connsiteY1009" fmla="*/ 90805 h 138429"/>
                <a:gd name="connsiteX1010" fmla="*/ 1207136 w 4940931"/>
                <a:gd name="connsiteY1010" fmla="*/ 100330 h 138429"/>
                <a:gd name="connsiteX1011" fmla="*/ 1201421 w 4940931"/>
                <a:gd name="connsiteY1011" fmla="*/ 104775 h 138429"/>
                <a:gd name="connsiteX1012" fmla="*/ 1195706 w 4940931"/>
                <a:gd name="connsiteY1012" fmla="*/ 107950 h 138429"/>
                <a:gd name="connsiteX1013" fmla="*/ 1188721 w 4940931"/>
                <a:gd name="connsiteY1013" fmla="*/ 109855 h 138429"/>
                <a:gd name="connsiteX1014" fmla="*/ 1179831 w 4940931"/>
                <a:gd name="connsiteY1014" fmla="*/ 110490 h 138429"/>
                <a:gd name="connsiteX1015" fmla="*/ 1170306 w 4940931"/>
                <a:gd name="connsiteY1015" fmla="*/ 109220 h 138429"/>
                <a:gd name="connsiteX1016" fmla="*/ 1162686 w 4940931"/>
                <a:gd name="connsiteY1016" fmla="*/ 105410 h 138429"/>
                <a:gd name="connsiteX1017" fmla="*/ 1156336 w 4940931"/>
                <a:gd name="connsiteY1017" fmla="*/ 100330 h 138429"/>
                <a:gd name="connsiteX1018" fmla="*/ 1151256 w 4940931"/>
                <a:gd name="connsiteY1018" fmla="*/ 92710 h 138429"/>
                <a:gd name="connsiteX1019" fmla="*/ 1147446 w 4940931"/>
                <a:gd name="connsiteY1019" fmla="*/ 82550 h 138429"/>
                <a:gd name="connsiteX1020" fmla="*/ 1146176 w 4940931"/>
                <a:gd name="connsiteY1020" fmla="*/ 69850 h 138429"/>
                <a:gd name="connsiteX1021" fmla="*/ 1148716 w 4940931"/>
                <a:gd name="connsiteY1021" fmla="*/ 52070 h 138429"/>
                <a:gd name="connsiteX1022" fmla="*/ 1155701 w 4940931"/>
                <a:gd name="connsiteY1022" fmla="*/ 39370 h 138429"/>
                <a:gd name="connsiteX1023" fmla="*/ 1166496 w 4940931"/>
                <a:gd name="connsiteY1023" fmla="*/ 31750 h 138429"/>
                <a:gd name="connsiteX1024" fmla="*/ 1180466 w 4940931"/>
                <a:gd name="connsiteY1024" fmla="*/ 29210 h 138429"/>
                <a:gd name="connsiteX1025" fmla="*/ 901065 w 4940931"/>
                <a:gd name="connsiteY1025" fmla="*/ 29210 h 138429"/>
                <a:gd name="connsiteX1026" fmla="*/ 915670 w 4940931"/>
                <a:gd name="connsiteY1026" fmla="*/ 32385 h 138429"/>
                <a:gd name="connsiteX1027" fmla="*/ 925830 w 4940931"/>
                <a:gd name="connsiteY1027" fmla="*/ 40640 h 138429"/>
                <a:gd name="connsiteX1028" fmla="*/ 932180 w 4940931"/>
                <a:gd name="connsiteY1028" fmla="*/ 53340 h 138429"/>
                <a:gd name="connsiteX1029" fmla="*/ 934085 w 4940931"/>
                <a:gd name="connsiteY1029" fmla="*/ 68580 h 138429"/>
                <a:gd name="connsiteX1030" fmla="*/ 932815 w 4940931"/>
                <a:gd name="connsiteY1030" fmla="*/ 68580 h 138429"/>
                <a:gd name="connsiteX1031" fmla="*/ 932815 w 4940931"/>
                <a:gd name="connsiteY1031" fmla="*/ 72390 h 138429"/>
                <a:gd name="connsiteX1032" fmla="*/ 932815 w 4940931"/>
                <a:gd name="connsiteY1032" fmla="*/ 75565 h 138429"/>
                <a:gd name="connsiteX1033" fmla="*/ 881380 w 4940931"/>
                <a:gd name="connsiteY1033" fmla="*/ 75565 h 138429"/>
                <a:gd name="connsiteX1034" fmla="*/ 883920 w 4940931"/>
                <a:gd name="connsiteY1034" fmla="*/ 85090 h 138429"/>
                <a:gd name="connsiteX1035" fmla="*/ 888365 w 4940931"/>
                <a:gd name="connsiteY1035" fmla="*/ 91440 h 138429"/>
                <a:gd name="connsiteX1036" fmla="*/ 894080 w 4940931"/>
                <a:gd name="connsiteY1036" fmla="*/ 95250 h 138429"/>
                <a:gd name="connsiteX1037" fmla="*/ 901065 w 4940931"/>
                <a:gd name="connsiteY1037" fmla="*/ 96520 h 138429"/>
                <a:gd name="connsiteX1038" fmla="*/ 906145 w 4940931"/>
                <a:gd name="connsiteY1038" fmla="*/ 96520 h 138429"/>
                <a:gd name="connsiteX1039" fmla="*/ 910590 w 4940931"/>
                <a:gd name="connsiteY1039" fmla="*/ 95250 h 138429"/>
                <a:gd name="connsiteX1040" fmla="*/ 914400 w 4940931"/>
                <a:gd name="connsiteY1040" fmla="*/ 93345 h 138429"/>
                <a:gd name="connsiteX1041" fmla="*/ 918845 w 4940931"/>
                <a:gd name="connsiteY1041" fmla="*/ 90805 h 138429"/>
                <a:gd name="connsiteX1042" fmla="*/ 927735 w 4940931"/>
                <a:gd name="connsiteY1042" fmla="*/ 100330 h 138429"/>
                <a:gd name="connsiteX1043" fmla="*/ 922020 w 4940931"/>
                <a:gd name="connsiteY1043" fmla="*/ 104775 h 138429"/>
                <a:gd name="connsiteX1044" fmla="*/ 916305 w 4940931"/>
                <a:gd name="connsiteY1044" fmla="*/ 107950 h 138429"/>
                <a:gd name="connsiteX1045" fmla="*/ 909320 w 4940931"/>
                <a:gd name="connsiteY1045" fmla="*/ 109855 h 138429"/>
                <a:gd name="connsiteX1046" fmla="*/ 900430 w 4940931"/>
                <a:gd name="connsiteY1046" fmla="*/ 110490 h 138429"/>
                <a:gd name="connsiteX1047" fmla="*/ 890905 w 4940931"/>
                <a:gd name="connsiteY1047" fmla="*/ 109220 h 138429"/>
                <a:gd name="connsiteX1048" fmla="*/ 883285 w 4940931"/>
                <a:gd name="connsiteY1048" fmla="*/ 105410 h 138429"/>
                <a:gd name="connsiteX1049" fmla="*/ 876935 w 4940931"/>
                <a:gd name="connsiteY1049" fmla="*/ 100330 h 138429"/>
                <a:gd name="connsiteX1050" fmla="*/ 871855 w 4940931"/>
                <a:gd name="connsiteY1050" fmla="*/ 92710 h 138429"/>
                <a:gd name="connsiteX1051" fmla="*/ 868045 w 4940931"/>
                <a:gd name="connsiteY1051" fmla="*/ 82550 h 138429"/>
                <a:gd name="connsiteX1052" fmla="*/ 866775 w 4940931"/>
                <a:gd name="connsiteY1052" fmla="*/ 69850 h 138429"/>
                <a:gd name="connsiteX1053" fmla="*/ 869315 w 4940931"/>
                <a:gd name="connsiteY1053" fmla="*/ 52070 h 138429"/>
                <a:gd name="connsiteX1054" fmla="*/ 876300 w 4940931"/>
                <a:gd name="connsiteY1054" fmla="*/ 39370 h 138429"/>
                <a:gd name="connsiteX1055" fmla="*/ 887095 w 4940931"/>
                <a:gd name="connsiteY1055" fmla="*/ 31750 h 138429"/>
                <a:gd name="connsiteX1056" fmla="*/ 901065 w 4940931"/>
                <a:gd name="connsiteY1056" fmla="*/ 29210 h 138429"/>
                <a:gd name="connsiteX1057" fmla="*/ 668656 w 4940931"/>
                <a:gd name="connsiteY1057" fmla="*/ 29210 h 138429"/>
                <a:gd name="connsiteX1058" fmla="*/ 676275 w 4940931"/>
                <a:gd name="connsiteY1058" fmla="*/ 29845 h 138429"/>
                <a:gd name="connsiteX1059" fmla="*/ 681991 w 4940931"/>
                <a:gd name="connsiteY1059" fmla="*/ 32385 h 138429"/>
                <a:gd name="connsiteX1060" fmla="*/ 678181 w 4940931"/>
                <a:gd name="connsiteY1060" fmla="*/ 46990 h 138429"/>
                <a:gd name="connsiteX1061" fmla="*/ 676910 w 4940931"/>
                <a:gd name="connsiteY1061" fmla="*/ 46990 h 138429"/>
                <a:gd name="connsiteX1062" fmla="*/ 671830 w 4940931"/>
                <a:gd name="connsiteY1062" fmla="*/ 45085 h 138429"/>
                <a:gd name="connsiteX1063" fmla="*/ 665480 w 4940931"/>
                <a:gd name="connsiteY1063" fmla="*/ 44450 h 138429"/>
                <a:gd name="connsiteX1064" fmla="*/ 654050 w 4940931"/>
                <a:gd name="connsiteY1064" fmla="*/ 49530 h 138429"/>
                <a:gd name="connsiteX1065" fmla="*/ 650240 w 4940931"/>
                <a:gd name="connsiteY1065" fmla="*/ 64770 h 138429"/>
                <a:gd name="connsiteX1066" fmla="*/ 650240 w 4940931"/>
                <a:gd name="connsiteY1066" fmla="*/ 109220 h 138429"/>
                <a:gd name="connsiteX1067" fmla="*/ 635000 w 4940931"/>
                <a:gd name="connsiteY1067" fmla="*/ 109220 h 138429"/>
                <a:gd name="connsiteX1068" fmla="*/ 635000 w 4940931"/>
                <a:gd name="connsiteY1068" fmla="*/ 31115 h 138429"/>
                <a:gd name="connsiteX1069" fmla="*/ 650240 w 4940931"/>
                <a:gd name="connsiteY1069" fmla="*/ 31115 h 138429"/>
                <a:gd name="connsiteX1070" fmla="*/ 650240 w 4940931"/>
                <a:gd name="connsiteY1070" fmla="*/ 38735 h 138429"/>
                <a:gd name="connsiteX1071" fmla="*/ 653416 w 4940931"/>
                <a:gd name="connsiteY1071" fmla="*/ 34925 h 138429"/>
                <a:gd name="connsiteX1072" fmla="*/ 657861 w 4940931"/>
                <a:gd name="connsiteY1072" fmla="*/ 31750 h 138429"/>
                <a:gd name="connsiteX1073" fmla="*/ 662940 w 4940931"/>
                <a:gd name="connsiteY1073" fmla="*/ 29845 h 138429"/>
                <a:gd name="connsiteX1074" fmla="*/ 668656 w 4940931"/>
                <a:gd name="connsiteY1074" fmla="*/ 29210 h 138429"/>
                <a:gd name="connsiteX1075" fmla="*/ 586739 w 4940931"/>
                <a:gd name="connsiteY1075" fmla="*/ 29210 h 138429"/>
                <a:gd name="connsiteX1076" fmla="*/ 601344 w 4940931"/>
                <a:gd name="connsiteY1076" fmla="*/ 32385 h 138429"/>
                <a:gd name="connsiteX1077" fmla="*/ 611504 w 4940931"/>
                <a:gd name="connsiteY1077" fmla="*/ 40640 h 138429"/>
                <a:gd name="connsiteX1078" fmla="*/ 617854 w 4940931"/>
                <a:gd name="connsiteY1078" fmla="*/ 53340 h 138429"/>
                <a:gd name="connsiteX1079" fmla="*/ 619759 w 4940931"/>
                <a:gd name="connsiteY1079" fmla="*/ 68580 h 138429"/>
                <a:gd name="connsiteX1080" fmla="*/ 618489 w 4940931"/>
                <a:gd name="connsiteY1080" fmla="*/ 68580 h 138429"/>
                <a:gd name="connsiteX1081" fmla="*/ 618489 w 4940931"/>
                <a:gd name="connsiteY1081" fmla="*/ 72390 h 138429"/>
                <a:gd name="connsiteX1082" fmla="*/ 618489 w 4940931"/>
                <a:gd name="connsiteY1082" fmla="*/ 75565 h 138429"/>
                <a:gd name="connsiteX1083" fmla="*/ 567054 w 4940931"/>
                <a:gd name="connsiteY1083" fmla="*/ 75565 h 138429"/>
                <a:gd name="connsiteX1084" fmla="*/ 569594 w 4940931"/>
                <a:gd name="connsiteY1084" fmla="*/ 85090 h 138429"/>
                <a:gd name="connsiteX1085" fmla="*/ 574039 w 4940931"/>
                <a:gd name="connsiteY1085" fmla="*/ 91440 h 138429"/>
                <a:gd name="connsiteX1086" fmla="*/ 579754 w 4940931"/>
                <a:gd name="connsiteY1086" fmla="*/ 95250 h 138429"/>
                <a:gd name="connsiteX1087" fmla="*/ 586739 w 4940931"/>
                <a:gd name="connsiteY1087" fmla="*/ 96520 h 138429"/>
                <a:gd name="connsiteX1088" fmla="*/ 591819 w 4940931"/>
                <a:gd name="connsiteY1088" fmla="*/ 96520 h 138429"/>
                <a:gd name="connsiteX1089" fmla="*/ 596264 w 4940931"/>
                <a:gd name="connsiteY1089" fmla="*/ 95250 h 138429"/>
                <a:gd name="connsiteX1090" fmla="*/ 600074 w 4940931"/>
                <a:gd name="connsiteY1090" fmla="*/ 93345 h 138429"/>
                <a:gd name="connsiteX1091" fmla="*/ 604519 w 4940931"/>
                <a:gd name="connsiteY1091" fmla="*/ 90805 h 138429"/>
                <a:gd name="connsiteX1092" fmla="*/ 613409 w 4940931"/>
                <a:gd name="connsiteY1092" fmla="*/ 100330 h 138429"/>
                <a:gd name="connsiteX1093" fmla="*/ 607694 w 4940931"/>
                <a:gd name="connsiteY1093" fmla="*/ 104775 h 138429"/>
                <a:gd name="connsiteX1094" fmla="*/ 601979 w 4940931"/>
                <a:gd name="connsiteY1094" fmla="*/ 107950 h 138429"/>
                <a:gd name="connsiteX1095" fmla="*/ 594994 w 4940931"/>
                <a:gd name="connsiteY1095" fmla="*/ 109855 h 138429"/>
                <a:gd name="connsiteX1096" fmla="*/ 586104 w 4940931"/>
                <a:gd name="connsiteY1096" fmla="*/ 110490 h 138429"/>
                <a:gd name="connsiteX1097" fmla="*/ 576579 w 4940931"/>
                <a:gd name="connsiteY1097" fmla="*/ 109220 h 138429"/>
                <a:gd name="connsiteX1098" fmla="*/ 568959 w 4940931"/>
                <a:gd name="connsiteY1098" fmla="*/ 105410 h 138429"/>
                <a:gd name="connsiteX1099" fmla="*/ 562609 w 4940931"/>
                <a:gd name="connsiteY1099" fmla="*/ 100330 h 138429"/>
                <a:gd name="connsiteX1100" fmla="*/ 557529 w 4940931"/>
                <a:gd name="connsiteY1100" fmla="*/ 92710 h 138429"/>
                <a:gd name="connsiteX1101" fmla="*/ 553719 w 4940931"/>
                <a:gd name="connsiteY1101" fmla="*/ 82550 h 138429"/>
                <a:gd name="connsiteX1102" fmla="*/ 552449 w 4940931"/>
                <a:gd name="connsiteY1102" fmla="*/ 69850 h 138429"/>
                <a:gd name="connsiteX1103" fmla="*/ 554989 w 4940931"/>
                <a:gd name="connsiteY1103" fmla="*/ 52070 h 138429"/>
                <a:gd name="connsiteX1104" fmla="*/ 561974 w 4940931"/>
                <a:gd name="connsiteY1104" fmla="*/ 39370 h 138429"/>
                <a:gd name="connsiteX1105" fmla="*/ 572769 w 4940931"/>
                <a:gd name="connsiteY1105" fmla="*/ 31750 h 138429"/>
                <a:gd name="connsiteX1106" fmla="*/ 586739 w 4940931"/>
                <a:gd name="connsiteY1106" fmla="*/ 29210 h 138429"/>
                <a:gd name="connsiteX1107" fmla="*/ 400050 w 4940931"/>
                <a:gd name="connsiteY1107" fmla="*/ 29210 h 138429"/>
                <a:gd name="connsiteX1108" fmla="*/ 414655 w 4940931"/>
                <a:gd name="connsiteY1108" fmla="*/ 32385 h 138429"/>
                <a:gd name="connsiteX1109" fmla="*/ 424815 w 4940931"/>
                <a:gd name="connsiteY1109" fmla="*/ 40640 h 138429"/>
                <a:gd name="connsiteX1110" fmla="*/ 431165 w 4940931"/>
                <a:gd name="connsiteY1110" fmla="*/ 53340 h 138429"/>
                <a:gd name="connsiteX1111" fmla="*/ 433070 w 4940931"/>
                <a:gd name="connsiteY1111" fmla="*/ 68580 h 138429"/>
                <a:gd name="connsiteX1112" fmla="*/ 431800 w 4940931"/>
                <a:gd name="connsiteY1112" fmla="*/ 68580 h 138429"/>
                <a:gd name="connsiteX1113" fmla="*/ 431800 w 4940931"/>
                <a:gd name="connsiteY1113" fmla="*/ 72390 h 138429"/>
                <a:gd name="connsiteX1114" fmla="*/ 431800 w 4940931"/>
                <a:gd name="connsiteY1114" fmla="*/ 75565 h 138429"/>
                <a:gd name="connsiteX1115" fmla="*/ 380365 w 4940931"/>
                <a:gd name="connsiteY1115" fmla="*/ 75565 h 138429"/>
                <a:gd name="connsiteX1116" fmla="*/ 382905 w 4940931"/>
                <a:gd name="connsiteY1116" fmla="*/ 85090 h 138429"/>
                <a:gd name="connsiteX1117" fmla="*/ 387350 w 4940931"/>
                <a:gd name="connsiteY1117" fmla="*/ 91440 h 138429"/>
                <a:gd name="connsiteX1118" fmla="*/ 393065 w 4940931"/>
                <a:gd name="connsiteY1118" fmla="*/ 95250 h 138429"/>
                <a:gd name="connsiteX1119" fmla="*/ 400050 w 4940931"/>
                <a:gd name="connsiteY1119" fmla="*/ 96520 h 138429"/>
                <a:gd name="connsiteX1120" fmla="*/ 405130 w 4940931"/>
                <a:gd name="connsiteY1120" fmla="*/ 96520 h 138429"/>
                <a:gd name="connsiteX1121" fmla="*/ 409575 w 4940931"/>
                <a:gd name="connsiteY1121" fmla="*/ 95250 h 138429"/>
                <a:gd name="connsiteX1122" fmla="*/ 413385 w 4940931"/>
                <a:gd name="connsiteY1122" fmla="*/ 93345 h 138429"/>
                <a:gd name="connsiteX1123" fmla="*/ 417830 w 4940931"/>
                <a:gd name="connsiteY1123" fmla="*/ 90805 h 138429"/>
                <a:gd name="connsiteX1124" fmla="*/ 426720 w 4940931"/>
                <a:gd name="connsiteY1124" fmla="*/ 100330 h 138429"/>
                <a:gd name="connsiteX1125" fmla="*/ 421005 w 4940931"/>
                <a:gd name="connsiteY1125" fmla="*/ 104775 h 138429"/>
                <a:gd name="connsiteX1126" fmla="*/ 415290 w 4940931"/>
                <a:gd name="connsiteY1126" fmla="*/ 107950 h 138429"/>
                <a:gd name="connsiteX1127" fmla="*/ 408305 w 4940931"/>
                <a:gd name="connsiteY1127" fmla="*/ 109855 h 138429"/>
                <a:gd name="connsiteX1128" fmla="*/ 399415 w 4940931"/>
                <a:gd name="connsiteY1128" fmla="*/ 110490 h 138429"/>
                <a:gd name="connsiteX1129" fmla="*/ 389890 w 4940931"/>
                <a:gd name="connsiteY1129" fmla="*/ 109220 h 138429"/>
                <a:gd name="connsiteX1130" fmla="*/ 382270 w 4940931"/>
                <a:gd name="connsiteY1130" fmla="*/ 105410 h 138429"/>
                <a:gd name="connsiteX1131" fmla="*/ 375920 w 4940931"/>
                <a:gd name="connsiteY1131" fmla="*/ 100330 h 138429"/>
                <a:gd name="connsiteX1132" fmla="*/ 370840 w 4940931"/>
                <a:gd name="connsiteY1132" fmla="*/ 92710 h 138429"/>
                <a:gd name="connsiteX1133" fmla="*/ 367030 w 4940931"/>
                <a:gd name="connsiteY1133" fmla="*/ 82550 h 138429"/>
                <a:gd name="connsiteX1134" fmla="*/ 365760 w 4940931"/>
                <a:gd name="connsiteY1134" fmla="*/ 69850 h 138429"/>
                <a:gd name="connsiteX1135" fmla="*/ 368300 w 4940931"/>
                <a:gd name="connsiteY1135" fmla="*/ 52070 h 138429"/>
                <a:gd name="connsiteX1136" fmla="*/ 375285 w 4940931"/>
                <a:gd name="connsiteY1136" fmla="*/ 39370 h 138429"/>
                <a:gd name="connsiteX1137" fmla="*/ 386080 w 4940931"/>
                <a:gd name="connsiteY1137" fmla="*/ 31750 h 138429"/>
                <a:gd name="connsiteX1138" fmla="*/ 400050 w 4940931"/>
                <a:gd name="connsiteY1138" fmla="*/ 29210 h 138429"/>
                <a:gd name="connsiteX1139" fmla="*/ 201930 w 4940931"/>
                <a:gd name="connsiteY1139" fmla="*/ 29210 h 138429"/>
                <a:gd name="connsiteX1140" fmla="*/ 216535 w 4940931"/>
                <a:gd name="connsiteY1140" fmla="*/ 32385 h 138429"/>
                <a:gd name="connsiteX1141" fmla="*/ 226695 w 4940931"/>
                <a:gd name="connsiteY1141" fmla="*/ 40640 h 138429"/>
                <a:gd name="connsiteX1142" fmla="*/ 233045 w 4940931"/>
                <a:gd name="connsiteY1142" fmla="*/ 53340 h 138429"/>
                <a:gd name="connsiteX1143" fmla="*/ 234950 w 4940931"/>
                <a:gd name="connsiteY1143" fmla="*/ 68580 h 138429"/>
                <a:gd name="connsiteX1144" fmla="*/ 233680 w 4940931"/>
                <a:gd name="connsiteY1144" fmla="*/ 68580 h 138429"/>
                <a:gd name="connsiteX1145" fmla="*/ 233680 w 4940931"/>
                <a:gd name="connsiteY1145" fmla="*/ 72390 h 138429"/>
                <a:gd name="connsiteX1146" fmla="*/ 233680 w 4940931"/>
                <a:gd name="connsiteY1146" fmla="*/ 75565 h 138429"/>
                <a:gd name="connsiteX1147" fmla="*/ 182245 w 4940931"/>
                <a:gd name="connsiteY1147" fmla="*/ 75565 h 138429"/>
                <a:gd name="connsiteX1148" fmla="*/ 184785 w 4940931"/>
                <a:gd name="connsiteY1148" fmla="*/ 85090 h 138429"/>
                <a:gd name="connsiteX1149" fmla="*/ 189230 w 4940931"/>
                <a:gd name="connsiteY1149" fmla="*/ 91440 h 138429"/>
                <a:gd name="connsiteX1150" fmla="*/ 194945 w 4940931"/>
                <a:gd name="connsiteY1150" fmla="*/ 95250 h 138429"/>
                <a:gd name="connsiteX1151" fmla="*/ 201930 w 4940931"/>
                <a:gd name="connsiteY1151" fmla="*/ 96520 h 138429"/>
                <a:gd name="connsiteX1152" fmla="*/ 207010 w 4940931"/>
                <a:gd name="connsiteY1152" fmla="*/ 96520 h 138429"/>
                <a:gd name="connsiteX1153" fmla="*/ 211455 w 4940931"/>
                <a:gd name="connsiteY1153" fmla="*/ 95250 h 138429"/>
                <a:gd name="connsiteX1154" fmla="*/ 215265 w 4940931"/>
                <a:gd name="connsiteY1154" fmla="*/ 93345 h 138429"/>
                <a:gd name="connsiteX1155" fmla="*/ 219710 w 4940931"/>
                <a:gd name="connsiteY1155" fmla="*/ 90805 h 138429"/>
                <a:gd name="connsiteX1156" fmla="*/ 228600 w 4940931"/>
                <a:gd name="connsiteY1156" fmla="*/ 100330 h 138429"/>
                <a:gd name="connsiteX1157" fmla="*/ 222885 w 4940931"/>
                <a:gd name="connsiteY1157" fmla="*/ 104775 h 138429"/>
                <a:gd name="connsiteX1158" fmla="*/ 217170 w 4940931"/>
                <a:gd name="connsiteY1158" fmla="*/ 107950 h 138429"/>
                <a:gd name="connsiteX1159" fmla="*/ 210185 w 4940931"/>
                <a:gd name="connsiteY1159" fmla="*/ 109855 h 138429"/>
                <a:gd name="connsiteX1160" fmla="*/ 201295 w 4940931"/>
                <a:gd name="connsiteY1160" fmla="*/ 110490 h 138429"/>
                <a:gd name="connsiteX1161" fmla="*/ 191770 w 4940931"/>
                <a:gd name="connsiteY1161" fmla="*/ 109220 h 138429"/>
                <a:gd name="connsiteX1162" fmla="*/ 184150 w 4940931"/>
                <a:gd name="connsiteY1162" fmla="*/ 105410 h 138429"/>
                <a:gd name="connsiteX1163" fmla="*/ 177800 w 4940931"/>
                <a:gd name="connsiteY1163" fmla="*/ 100330 h 138429"/>
                <a:gd name="connsiteX1164" fmla="*/ 172720 w 4940931"/>
                <a:gd name="connsiteY1164" fmla="*/ 92710 h 138429"/>
                <a:gd name="connsiteX1165" fmla="*/ 168910 w 4940931"/>
                <a:gd name="connsiteY1165" fmla="*/ 82550 h 138429"/>
                <a:gd name="connsiteX1166" fmla="*/ 167640 w 4940931"/>
                <a:gd name="connsiteY1166" fmla="*/ 69850 h 138429"/>
                <a:gd name="connsiteX1167" fmla="*/ 170180 w 4940931"/>
                <a:gd name="connsiteY1167" fmla="*/ 52070 h 138429"/>
                <a:gd name="connsiteX1168" fmla="*/ 177165 w 4940931"/>
                <a:gd name="connsiteY1168" fmla="*/ 39370 h 138429"/>
                <a:gd name="connsiteX1169" fmla="*/ 187960 w 4940931"/>
                <a:gd name="connsiteY1169" fmla="*/ 31750 h 138429"/>
                <a:gd name="connsiteX1170" fmla="*/ 201930 w 4940931"/>
                <a:gd name="connsiteY1170" fmla="*/ 29210 h 138429"/>
                <a:gd name="connsiteX1171" fmla="*/ 4664706 w 4940931"/>
                <a:gd name="connsiteY1171" fmla="*/ 28574 h 138429"/>
                <a:gd name="connsiteX1172" fmla="*/ 4678676 w 4940931"/>
                <a:gd name="connsiteY1172" fmla="*/ 31749 h 138429"/>
                <a:gd name="connsiteX1173" fmla="*/ 4689471 w 4940931"/>
                <a:gd name="connsiteY1173" fmla="*/ 40004 h 138429"/>
                <a:gd name="connsiteX1174" fmla="*/ 4696456 w 4940931"/>
                <a:gd name="connsiteY1174" fmla="*/ 52704 h 138429"/>
                <a:gd name="connsiteX1175" fmla="*/ 4698996 w 4940931"/>
                <a:gd name="connsiteY1175" fmla="*/ 69214 h 138429"/>
                <a:gd name="connsiteX1176" fmla="*/ 4699631 w 4940931"/>
                <a:gd name="connsiteY1176" fmla="*/ 69214 h 138429"/>
                <a:gd name="connsiteX1177" fmla="*/ 4697091 w 4940931"/>
                <a:gd name="connsiteY1177" fmla="*/ 86359 h 138429"/>
                <a:gd name="connsiteX1178" fmla="*/ 4689471 w 4940931"/>
                <a:gd name="connsiteY1178" fmla="*/ 99059 h 138429"/>
                <a:gd name="connsiteX1179" fmla="*/ 4678041 w 4940931"/>
                <a:gd name="connsiteY1179" fmla="*/ 107314 h 138429"/>
                <a:gd name="connsiteX1180" fmla="*/ 4664071 w 4940931"/>
                <a:gd name="connsiteY1180" fmla="*/ 109854 h 138429"/>
                <a:gd name="connsiteX1181" fmla="*/ 4650101 w 4940931"/>
                <a:gd name="connsiteY1181" fmla="*/ 106679 h 138429"/>
                <a:gd name="connsiteX1182" fmla="*/ 4639306 w 4940931"/>
                <a:gd name="connsiteY1182" fmla="*/ 98424 h 138429"/>
                <a:gd name="connsiteX1183" fmla="*/ 4632321 w 4940931"/>
                <a:gd name="connsiteY1183" fmla="*/ 85724 h 138429"/>
                <a:gd name="connsiteX1184" fmla="*/ 4629781 w 4940931"/>
                <a:gd name="connsiteY1184" fmla="*/ 69214 h 138429"/>
                <a:gd name="connsiteX1185" fmla="*/ 4632321 w 4940931"/>
                <a:gd name="connsiteY1185" fmla="*/ 52069 h 138429"/>
                <a:gd name="connsiteX1186" fmla="*/ 4639941 w 4940931"/>
                <a:gd name="connsiteY1186" fmla="*/ 39369 h 138429"/>
                <a:gd name="connsiteX1187" fmla="*/ 4650736 w 4940931"/>
                <a:gd name="connsiteY1187" fmla="*/ 31114 h 138429"/>
                <a:gd name="connsiteX1188" fmla="*/ 4664706 w 4940931"/>
                <a:gd name="connsiteY1188" fmla="*/ 28574 h 138429"/>
                <a:gd name="connsiteX1189" fmla="*/ 4264655 w 4940931"/>
                <a:gd name="connsiteY1189" fmla="*/ 28574 h 138429"/>
                <a:gd name="connsiteX1190" fmla="*/ 4278625 w 4940931"/>
                <a:gd name="connsiteY1190" fmla="*/ 31749 h 138429"/>
                <a:gd name="connsiteX1191" fmla="*/ 4289420 w 4940931"/>
                <a:gd name="connsiteY1191" fmla="*/ 40004 h 138429"/>
                <a:gd name="connsiteX1192" fmla="*/ 4296405 w 4940931"/>
                <a:gd name="connsiteY1192" fmla="*/ 52704 h 138429"/>
                <a:gd name="connsiteX1193" fmla="*/ 4298945 w 4940931"/>
                <a:gd name="connsiteY1193" fmla="*/ 69214 h 138429"/>
                <a:gd name="connsiteX1194" fmla="*/ 4299580 w 4940931"/>
                <a:gd name="connsiteY1194" fmla="*/ 69214 h 138429"/>
                <a:gd name="connsiteX1195" fmla="*/ 4297040 w 4940931"/>
                <a:gd name="connsiteY1195" fmla="*/ 86359 h 138429"/>
                <a:gd name="connsiteX1196" fmla="*/ 4289420 w 4940931"/>
                <a:gd name="connsiteY1196" fmla="*/ 99059 h 138429"/>
                <a:gd name="connsiteX1197" fmla="*/ 4277990 w 4940931"/>
                <a:gd name="connsiteY1197" fmla="*/ 107314 h 138429"/>
                <a:gd name="connsiteX1198" fmla="*/ 4264020 w 4940931"/>
                <a:gd name="connsiteY1198" fmla="*/ 109854 h 138429"/>
                <a:gd name="connsiteX1199" fmla="*/ 4250050 w 4940931"/>
                <a:gd name="connsiteY1199" fmla="*/ 106679 h 138429"/>
                <a:gd name="connsiteX1200" fmla="*/ 4239255 w 4940931"/>
                <a:gd name="connsiteY1200" fmla="*/ 98424 h 138429"/>
                <a:gd name="connsiteX1201" fmla="*/ 4232270 w 4940931"/>
                <a:gd name="connsiteY1201" fmla="*/ 85724 h 138429"/>
                <a:gd name="connsiteX1202" fmla="*/ 4229730 w 4940931"/>
                <a:gd name="connsiteY1202" fmla="*/ 69214 h 138429"/>
                <a:gd name="connsiteX1203" fmla="*/ 4232270 w 4940931"/>
                <a:gd name="connsiteY1203" fmla="*/ 52069 h 138429"/>
                <a:gd name="connsiteX1204" fmla="*/ 4239890 w 4940931"/>
                <a:gd name="connsiteY1204" fmla="*/ 39369 h 138429"/>
                <a:gd name="connsiteX1205" fmla="*/ 4250685 w 4940931"/>
                <a:gd name="connsiteY1205" fmla="*/ 31114 h 138429"/>
                <a:gd name="connsiteX1206" fmla="*/ 4264655 w 4940931"/>
                <a:gd name="connsiteY1206" fmla="*/ 28574 h 138429"/>
                <a:gd name="connsiteX1207" fmla="*/ 1420495 w 4940931"/>
                <a:gd name="connsiteY1207" fmla="*/ 28574 h 138429"/>
                <a:gd name="connsiteX1208" fmla="*/ 1434465 w 4940931"/>
                <a:gd name="connsiteY1208" fmla="*/ 31749 h 138429"/>
                <a:gd name="connsiteX1209" fmla="*/ 1445260 w 4940931"/>
                <a:gd name="connsiteY1209" fmla="*/ 40004 h 138429"/>
                <a:gd name="connsiteX1210" fmla="*/ 1452245 w 4940931"/>
                <a:gd name="connsiteY1210" fmla="*/ 52704 h 138429"/>
                <a:gd name="connsiteX1211" fmla="*/ 1454785 w 4940931"/>
                <a:gd name="connsiteY1211" fmla="*/ 69214 h 138429"/>
                <a:gd name="connsiteX1212" fmla="*/ 1455420 w 4940931"/>
                <a:gd name="connsiteY1212" fmla="*/ 69214 h 138429"/>
                <a:gd name="connsiteX1213" fmla="*/ 1452880 w 4940931"/>
                <a:gd name="connsiteY1213" fmla="*/ 86359 h 138429"/>
                <a:gd name="connsiteX1214" fmla="*/ 1445260 w 4940931"/>
                <a:gd name="connsiteY1214" fmla="*/ 99059 h 138429"/>
                <a:gd name="connsiteX1215" fmla="*/ 1433830 w 4940931"/>
                <a:gd name="connsiteY1215" fmla="*/ 107314 h 138429"/>
                <a:gd name="connsiteX1216" fmla="*/ 1419860 w 4940931"/>
                <a:gd name="connsiteY1216" fmla="*/ 109854 h 138429"/>
                <a:gd name="connsiteX1217" fmla="*/ 1405890 w 4940931"/>
                <a:gd name="connsiteY1217" fmla="*/ 106679 h 138429"/>
                <a:gd name="connsiteX1218" fmla="*/ 1395095 w 4940931"/>
                <a:gd name="connsiteY1218" fmla="*/ 98424 h 138429"/>
                <a:gd name="connsiteX1219" fmla="*/ 1388110 w 4940931"/>
                <a:gd name="connsiteY1219" fmla="*/ 85724 h 138429"/>
                <a:gd name="connsiteX1220" fmla="*/ 1385570 w 4940931"/>
                <a:gd name="connsiteY1220" fmla="*/ 69214 h 138429"/>
                <a:gd name="connsiteX1221" fmla="*/ 1388110 w 4940931"/>
                <a:gd name="connsiteY1221" fmla="*/ 52069 h 138429"/>
                <a:gd name="connsiteX1222" fmla="*/ 1395730 w 4940931"/>
                <a:gd name="connsiteY1222" fmla="*/ 39369 h 138429"/>
                <a:gd name="connsiteX1223" fmla="*/ 1406525 w 4940931"/>
                <a:gd name="connsiteY1223" fmla="*/ 31114 h 138429"/>
                <a:gd name="connsiteX1224" fmla="*/ 1420495 w 4940931"/>
                <a:gd name="connsiteY1224" fmla="*/ 28574 h 138429"/>
                <a:gd name="connsiteX1225" fmla="*/ 3143245 w 4940931"/>
                <a:gd name="connsiteY1225" fmla="*/ 5079 h 138429"/>
                <a:gd name="connsiteX1226" fmla="*/ 3219445 w 4940931"/>
                <a:gd name="connsiteY1226" fmla="*/ 5079 h 138429"/>
                <a:gd name="connsiteX1227" fmla="*/ 3219445 w 4940931"/>
                <a:gd name="connsiteY1227" fmla="*/ 20319 h 138429"/>
                <a:gd name="connsiteX1228" fmla="*/ 3188965 w 4940931"/>
                <a:gd name="connsiteY1228" fmla="*/ 20319 h 138429"/>
                <a:gd name="connsiteX1229" fmla="*/ 3188965 w 4940931"/>
                <a:gd name="connsiteY1229" fmla="*/ 108584 h 138429"/>
                <a:gd name="connsiteX1230" fmla="*/ 3173090 w 4940931"/>
                <a:gd name="connsiteY1230" fmla="*/ 108584 h 138429"/>
                <a:gd name="connsiteX1231" fmla="*/ 3173090 w 4940931"/>
                <a:gd name="connsiteY1231" fmla="*/ 20319 h 138429"/>
                <a:gd name="connsiteX1232" fmla="*/ 3143245 w 4940931"/>
                <a:gd name="connsiteY1232" fmla="*/ 20319 h 138429"/>
                <a:gd name="connsiteX1233" fmla="*/ 1628774 w 4940931"/>
                <a:gd name="connsiteY1233" fmla="*/ 5079 h 138429"/>
                <a:gd name="connsiteX1234" fmla="*/ 1704970 w 4940931"/>
                <a:gd name="connsiteY1234" fmla="*/ 5079 h 138429"/>
                <a:gd name="connsiteX1235" fmla="*/ 1704970 w 4940931"/>
                <a:gd name="connsiteY1235" fmla="*/ 20319 h 138429"/>
                <a:gd name="connsiteX1236" fmla="*/ 1675129 w 4940931"/>
                <a:gd name="connsiteY1236" fmla="*/ 20319 h 138429"/>
                <a:gd name="connsiteX1237" fmla="*/ 1675129 w 4940931"/>
                <a:gd name="connsiteY1237" fmla="*/ 108584 h 138429"/>
                <a:gd name="connsiteX1238" fmla="*/ 1659255 w 4940931"/>
                <a:gd name="connsiteY1238" fmla="*/ 108584 h 138429"/>
                <a:gd name="connsiteX1239" fmla="*/ 1659255 w 4940931"/>
                <a:gd name="connsiteY1239" fmla="*/ 20319 h 138429"/>
                <a:gd name="connsiteX1240" fmla="*/ 1628774 w 4940931"/>
                <a:gd name="connsiteY1240" fmla="*/ 20319 h 138429"/>
                <a:gd name="connsiteX1241" fmla="*/ 0 w 4940931"/>
                <a:gd name="connsiteY1241" fmla="*/ 5079 h 138429"/>
                <a:gd name="connsiteX1242" fmla="*/ 76200 w 4940931"/>
                <a:gd name="connsiteY1242" fmla="*/ 5079 h 138429"/>
                <a:gd name="connsiteX1243" fmla="*/ 76200 w 4940931"/>
                <a:gd name="connsiteY1243" fmla="*/ 20319 h 138429"/>
                <a:gd name="connsiteX1244" fmla="*/ 45720 w 4940931"/>
                <a:gd name="connsiteY1244" fmla="*/ 20319 h 138429"/>
                <a:gd name="connsiteX1245" fmla="*/ 45720 w 4940931"/>
                <a:gd name="connsiteY1245" fmla="*/ 108584 h 138429"/>
                <a:gd name="connsiteX1246" fmla="*/ 29845 w 4940931"/>
                <a:gd name="connsiteY1246" fmla="*/ 108584 h 138429"/>
                <a:gd name="connsiteX1247" fmla="*/ 29845 w 4940931"/>
                <a:gd name="connsiteY1247" fmla="*/ 20319 h 138429"/>
                <a:gd name="connsiteX1248" fmla="*/ 0 w 4940931"/>
                <a:gd name="connsiteY1248" fmla="*/ 20319 h 138429"/>
                <a:gd name="connsiteX1249" fmla="*/ 1362075 w 4940931"/>
                <a:gd name="connsiteY1249" fmla="*/ 1269 h 138429"/>
                <a:gd name="connsiteX1250" fmla="*/ 1365885 w 4940931"/>
                <a:gd name="connsiteY1250" fmla="*/ 1904 h 138429"/>
                <a:gd name="connsiteX1251" fmla="*/ 1369060 w 4940931"/>
                <a:gd name="connsiteY1251" fmla="*/ 3809 h 138429"/>
                <a:gd name="connsiteX1252" fmla="*/ 1370965 w 4940931"/>
                <a:gd name="connsiteY1252" fmla="*/ 6984 h 138429"/>
                <a:gd name="connsiteX1253" fmla="*/ 1371600 w 4940931"/>
                <a:gd name="connsiteY1253" fmla="*/ 10794 h 138429"/>
                <a:gd name="connsiteX1254" fmla="*/ 1370965 w 4940931"/>
                <a:gd name="connsiteY1254" fmla="*/ 14604 h 138429"/>
                <a:gd name="connsiteX1255" fmla="*/ 1369060 w 4940931"/>
                <a:gd name="connsiteY1255" fmla="*/ 17779 h 138429"/>
                <a:gd name="connsiteX1256" fmla="*/ 1365885 w 4940931"/>
                <a:gd name="connsiteY1256" fmla="*/ 19684 h 138429"/>
                <a:gd name="connsiteX1257" fmla="*/ 1362075 w 4940931"/>
                <a:gd name="connsiteY1257" fmla="*/ 20319 h 138429"/>
                <a:gd name="connsiteX1258" fmla="*/ 1358265 w 4940931"/>
                <a:gd name="connsiteY1258" fmla="*/ 19684 h 138429"/>
                <a:gd name="connsiteX1259" fmla="*/ 1355090 w 4940931"/>
                <a:gd name="connsiteY1259" fmla="*/ 17779 h 138429"/>
                <a:gd name="connsiteX1260" fmla="*/ 1353185 w 4940931"/>
                <a:gd name="connsiteY1260" fmla="*/ 14604 h 138429"/>
                <a:gd name="connsiteX1261" fmla="*/ 1352550 w 4940931"/>
                <a:gd name="connsiteY1261" fmla="*/ 10794 h 138429"/>
                <a:gd name="connsiteX1262" fmla="*/ 1353185 w 4940931"/>
                <a:gd name="connsiteY1262" fmla="*/ 6984 h 138429"/>
                <a:gd name="connsiteX1263" fmla="*/ 1355090 w 4940931"/>
                <a:gd name="connsiteY1263" fmla="*/ 3809 h 138429"/>
                <a:gd name="connsiteX1264" fmla="*/ 1358265 w 4940931"/>
                <a:gd name="connsiteY1264" fmla="*/ 1904 h 138429"/>
                <a:gd name="connsiteX1265" fmla="*/ 1362075 w 4940931"/>
                <a:gd name="connsiteY1265" fmla="*/ 1269 h 138429"/>
                <a:gd name="connsiteX1266" fmla="*/ 4789801 w 4940931"/>
                <a:gd name="connsiteY1266" fmla="*/ 634 h 138429"/>
                <a:gd name="connsiteX1267" fmla="*/ 4789801 w 4940931"/>
                <a:gd name="connsiteY1267" fmla="*/ 65404 h 138429"/>
                <a:gd name="connsiteX1268" fmla="*/ 4814566 w 4940931"/>
                <a:gd name="connsiteY1268" fmla="*/ 31114 h 138429"/>
                <a:gd name="connsiteX1269" fmla="*/ 4831711 w 4940931"/>
                <a:gd name="connsiteY1269" fmla="*/ 31114 h 138429"/>
                <a:gd name="connsiteX1270" fmla="*/ 4812026 w 4940931"/>
                <a:gd name="connsiteY1270" fmla="*/ 57149 h 138429"/>
                <a:gd name="connsiteX1271" fmla="*/ 4835521 w 4940931"/>
                <a:gd name="connsiteY1271" fmla="*/ 108584 h 138429"/>
                <a:gd name="connsiteX1272" fmla="*/ 4819011 w 4940931"/>
                <a:gd name="connsiteY1272" fmla="*/ 108584 h 138429"/>
                <a:gd name="connsiteX1273" fmla="*/ 4801866 w 4940931"/>
                <a:gd name="connsiteY1273" fmla="*/ 69849 h 138429"/>
                <a:gd name="connsiteX1274" fmla="*/ 4789801 w 4940931"/>
                <a:gd name="connsiteY1274" fmla="*/ 85724 h 138429"/>
                <a:gd name="connsiteX1275" fmla="*/ 4789801 w 4940931"/>
                <a:gd name="connsiteY1275" fmla="*/ 108584 h 138429"/>
                <a:gd name="connsiteX1276" fmla="*/ 4774561 w 4940931"/>
                <a:gd name="connsiteY1276" fmla="*/ 108584 h 138429"/>
                <a:gd name="connsiteX1277" fmla="*/ 4774561 w 4940931"/>
                <a:gd name="connsiteY1277" fmla="*/ 8889 h 138429"/>
                <a:gd name="connsiteX1278" fmla="*/ 4472301 w 4940931"/>
                <a:gd name="connsiteY1278" fmla="*/ 634 h 138429"/>
                <a:gd name="connsiteX1279" fmla="*/ 4472301 w 4940931"/>
                <a:gd name="connsiteY1279" fmla="*/ 109219 h 138429"/>
                <a:gd name="connsiteX1280" fmla="*/ 4457061 w 4940931"/>
                <a:gd name="connsiteY1280" fmla="*/ 109219 h 138429"/>
                <a:gd name="connsiteX1281" fmla="*/ 4457696 w 4940931"/>
                <a:gd name="connsiteY1281" fmla="*/ 108584 h 138429"/>
                <a:gd name="connsiteX1282" fmla="*/ 4457696 w 4940931"/>
                <a:gd name="connsiteY1282" fmla="*/ 100964 h 138429"/>
                <a:gd name="connsiteX1283" fmla="*/ 4453251 w 4940931"/>
                <a:gd name="connsiteY1283" fmla="*/ 104774 h 138429"/>
                <a:gd name="connsiteX1284" fmla="*/ 4448171 w 4940931"/>
                <a:gd name="connsiteY1284" fmla="*/ 107949 h 138429"/>
                <a:gd name="connsiteX1285" fmla="*/ 4443091 w 4940931"/>
                <a:gd name="connsiteY1285" fmla="*/ 109854 h 138429"/>
                <a:gd name="connsiteX1286" fmla="*/ 4437376 w 4940931"/>
                <a:gd name="connsiteY1286" fmla="*/ 109854 h 138429"/>
                <a:gd name="connsiteX1287" fmla="*/ 4425946 w 4940931"/>
                <a:gd name="connsiteY1287" fmla="*/ 107314 h 138429"/>
                <a:gd name="connsiteX1288" fmla="*/ 4416421 w 4940931"/>
                <a:gd name="connsiteY1288" fmla="*/ 99694 h 138429"/>
                <a:gd name="connsiteX1289" fmla="*/ 4410071 w 4940931"/>
                <a:gd name="connsiteY1289" fmla="*/ 86994 h 138429"/>
                <a:gd name="connsiteX1290" fmla="*/ 4407531 w 4940931"/>
                <a:gd name="connsiteY1290" fmla="*/ 67944 h 138429"/>
                <a:gd name="connsiteX1291" fmla="*/ 4410071 w 4940931"/>
                <a:gd name="connsiteY1291" fmla="*/ 50799 h 138429"/>
                <a:gd name="connsiteX1292" fmla="*/ 4417056 w 4940931"/>
                <a:gd name="connsiteY1292" fmla="*/ 38734 h 138429"/>
                <a:gd name="connsiteX1293" fmla="*/ 4426581 w 4940931"/>
                <a:gd name="connsiteY1293" fmla="*/ 31749 h 138429"/>
                <a:gd name="connsiteX1294" fmla="*/ 4438011 w 4940931"/>
                <a:gd name="connsiteY1294" fmla="*/ 29209 h 138429"/>
                <a:gd name="connsiteX1295" fmla="*/ 4443726 w 4940931"/>
                <a:gd name="connsiteY1295" fmla="*/ 29844 h 138429"/>
                <a:gd name="connsiteX1296" fmla="*/ 4448806 w 4940931"/>
                <a:gd name="connsiteY1296" fmla="*/ 31749 h 138429"/>
                <a:gd name="connsiteX1297" fmla="*/ 4453251 w 4940931"/>
                <a:gd name="connsiteY1297" fmla="*/ 34924 h 138429"/>
                <a:gd name="connsiteX1298" fmla="*/ 4457061 w 4940931"/>
                <a:gd name="connsiteY1298" fmla="*/ 38099 h 138429"/>
                <a:gd name="connsiteX1299" fmla="*/ 4457061 w 4940931"/>
                <a:gd name="connsiteY1299" fmla="*/ 8254 h 138429"/>
                <a:gd name="connsiteX1300" fmla="*/ 4390385 w 4940931"/>
                <a:gd name="connsiteY1300" fmla="*/ 634 h 138429"/>
                <a:gd name="connsiteX1301" fmla="*/ 4390385 w 4940931"/>
                <a:gd name="connsiteY1301" fmla="*/ 108584 h 138429"/>
                <a:gd name="connsiteX1302" fmla="*/ 4375145 w 4940931"/>
                <a:gd name="connsiteY1302" fmla="*/ 108584 h 138429"/>
                <a:gd name="connsiteX1303" fmla="*/ 4375145 w 4940931"/>
                <a:gd name="connsiteY1303" fmla="*/ 8889 h 138429"/>
                <a:gd name="connsiteX1304" fmla="*/ 3946521 w 4940931"/>
                <a:gd name="connsiteY1304" fmla="*/ 634 h 138429"/>
                <a:gd name="connsiteX1305" fmla="*/ 3946521 w 4940931"/>
                <a:gd name="connsiteY1305" fmla="*/ 38099 h 138429"/>
                <a:gd name="connsiteX1306" fmla="*/ 3950331 w 4940931"/>
                <a:gd name="connsiteY1306" fmla="*/ 34289 h 138429"/>
                <a:gd name="connsiteX1307" fmla="*/ 3954776 w 4940931"/>
                <a:gd name="connsiteY1307" fmla="*/ 31114 h 138429"/>
                <a:gd name="connsiteX1308" fmla="*/ 3960491 w 4940931"/>
                <a:gd name="connsiteY1308" fmla="*/ 29209 h 138429"/>
                <a:gd name="connsiteX1309" fmla="*/ 3966206 w 4940931"/>
                <a:gd name="connsiteY1309" fmla="*/ 29209 h 138429"/>
                <a:gd name="connsiteX1310" fmla="*/ 3978271 w 4940931"/>
                <a:gd name="connsiteY1310" fmla="*/ 31749 h 138429"/>
                <a:gd name="connsiteX1311" fmla="*/ 3987161 w 4940931"/>
                <a:gd name="connsiteY1311" fmla="*/ 38099 h 138429"/>
                <a:gd name="connsiteX1312" fmla="*/ 3992241 w 4940931"/>
                <a:gd name="connsiteY1312" fmla="*/ 49529 h 138429"/>
                <a:gd name="connsiteX1313" fmla="*/ 3994146 w 4940931"/>
                <a:gd name="connsiteY1313" fmla="*/ 64134 h 138429"/>
                <a:gd name="connsiteX1314" fmla="*/ 3994146 w 4940931"/>
                <a:gd name="connsiteY1314" fmla="*/ 108584 h 138429"/>
                <a:gd name="connsiteX1315" fmla="*/ 3978906 w 4940931"/>
                <a:gd name="connsiteY1315" fmla="*/ 108584 h 138429"/>
                <a:gd name="connsiteX1316" fmla="*/ 3978271 w 4940931"/>
                <a:gd name="connsiteY1316" fmla="*/ 108584 h 138429"/>
                <a:gd name="connsiteX1317" fmla="*/ 3978271 w 4940931"/>
                <a:gd name="connsiteY1317" fmla="*/ 64769 h 138429"/>
                <a:gd name="connsiteX1318" fmla="*/ 3974461 w 4940931"/>
                <a:gd name="connsiteY1318" fmla="*/ 48894 h 138429"/>
                <a:gd name="connsiteX1319" fmla="*/ 3962396 w 4940931"/>
                <a:gd name="connsiteY1319" fmla="*/ 43814 h 138429"/>
                <a:gd name="connsiteX1320" fmla="*/ 3956046 w 4940931"/>
                <a:gd name="connsiteY1320" fmla="*/ 45084 h 138429"/>
                <a:gd name="connsiteX1321" fmla="*/ 3950966 w 4940931"/>
                <a:gd name="connsiteY1321" fmla="*/ 48894 h 138429"/>
                <a:gd name="connsiteX1322" fmla="*/ 3947791 w 4940931"/>
                <a:gd name="connsiteY1322" fmla="*/ 55244 h 138429"/>
                <a:gd name="connsiteX1323" fmla="*/ 3946521 w 4940931"/>
                <a:gd name="connsiteY1323" fmla="*/ 63499 h 138429"/>
                <a:gd name="connsiteX1324" fmla="*/ 3946521 w 4940931"/>
                <a:gd name="connsiteY1324" fmla="*/ 109219 h 138429"/>
                <a:gd name="connsiteX1325" fmla="*/ 3931281 w 4940931"/>
                <a:gd name="connsiteY1325" fmla="*/ 109219 h 138429"/>
                <a:gd name="connsiteX1326" fmla="*/ 3931281 w 4940931"/>
                <a:gd name="connsiteY1326" fmla="*/ 8889 h 138429"/>
                <a:gd name="connsiteX1327" fmla="*/ 3248021 w 4940931"/>
                <a:gd name="connsiteY1327" fmla="*/ 634 h 138429"/>
                <a:gd name="connsiteX1328" fmla="*/ 3248021 w 4940931"/>
                <a:gd name="connsiteY1328" fmla="*/ 38099 h 138429"/>
                <a:gd name="connsiteX1329" fmla="*/ 3251831 w 4940931"/>
                <a:gd name="connsiteY1329" fmla="*/ 34289 h 138429"/>
                <a:gd name="connsiteX1330" fmla="*/ 3256276 w 4940931"/>
                <a:gd name="connsiteY1330" fmla="*/ 31114 h 138429"/>
                <a:gd name="connsiteX1331" fmla="*/ 3261991 w 4940931"/>
                <a:gd name="connsiteY1331" fmla="*/ 29209 h 138429"/>
                <a:gd name="connsiteX1332" fmla="*/ 3267706 w 4940931"/>
                <a:gd name="connsiteY1332" fmla="*/ 29209 h 138429"/>
                <a:gd name="connsiteX1333" fmla="*/ 3279771 w 4940931"/>
                <a:gd name="connsiteY1333" fmla="*/ 31749 h 138429"/>
                <a:gd name="connsiteX1334" fmla="*/ 3288661 w 4940931"/>
                <a:gd name="connsiteY1334" fmla="*/ 38099 h 138429"/>
                <a:gd name="connsiteX1335" fmla="*/ 3293741 w 4940931"/>
                <a:gd name="connsiteY1335" fmla="*/ 49529 h 138429"/>
                <a:gd name="connsiteX1336" fmla="*/ 3295646 w 4940931"/>
                <a:gd name="connsiteY1336" fmla="*/ 64134 h 138429"/>
                <a:gd name="connsiteX1337" fmla="*/ 3295646 w 4940931"/>
                <a:gd name="connsiteY1337" fmla="*/ 108584 h 138429"/>
                <a:gd name="connsiteX1338" fmla="*/ 3280406 w 4940931"/>
                <a:gd name="connsiteY1338" fmla="*/ 108584 h 138429"/>
                <a:gd name="connsiteX1339" fmla="*/ 3279771 w 4940931"/>
                <a:gd name="connsiteY1339" fmla="*/ 108584 h 138429"/>
                <a:gd name="connsiteX1340" fmla="*/ 3279771 w 4940931"/>
                <a:gd name="connsiteY1340" fmla="*/ 64769 h 138429"/>
                <a:gd name="connsiteX1341" fmla="*/ 3275961 w 4940931"/>
                <a:gd name="connsiteY1341" fmla="*/ 48894 h 138429"/>
                <a:gd name="connsiteX1342" fmla="*/ 3263896 w 4940931"/>
                <a:gd name="connsiteY1342" fmla="*/ 43814 h 138429"/>
                <a:gd name="connsiteX1343" fmla="*/ 3257546 w 4940931"/>
                <a:gd name="connsiteY1343" fmla="*/ 45084 h 138429"/>
                <a:gd name="connsiteX1344" fmla="*/ 3252466 w 4940931"/>
                <a:gd name="connsiteY1344" fmla="*/ 48894 h 138429"/>
                <a:gd name="connsiteX1345" fmla="*/ 3249291 w 4940931"/>
                <a:gd name="connsiteY1345" fmla="*/ 55244 h 138429"/>
                <a:gd name="connsiteX1346" fmla="*/ 3248021 w 4940931"/>
                <a:gd name="connsiteY1346" fmla="*/ 63499 h 138429"/>
                <a:gd name="connsiteX1347" fmla="*/ 3248021 w 4940931"/>
                <a:gd name="connsiteY1347" fmla="*/ 109219 h 138429"/>
                <a:gd name="connsiteX1348" fmla="*/ 3232781 w 4940931"/>
                <a:gd name="connsiteY1348" fmla="*/ 109219 h 138429"/>
                <a:gd name="connsiteX1349" fmla="*/ 3232781 w 4940931"/>
                <a:gd name="connsiteY1349" fmla="*/ 8889 h 138429"/>
                <a:gd name="connsiteX1350" fmla="*/ 2432681 w 4940931"/>
                <a:gd name="connsiteY1350" fmla="*/ 634 h 138429"/>
                <a:gd name="connsiteX1351" fmla="*/ 2432681 w 4940931"/>
                <a:gd name="connsiteY1351" fmla="*/ 38099 h 138429"/>
                <a:gd name="connsiteX1352" fmla="*/ 2436491 w 4940931"/>
                <a:gd name="connsiteY1352" fmla="*/ 34289 h 138429"/>
                <a:gd name="connsiteX1353" fmla="*/ 2440936 w 4940931"/>
                <a:gd name="connsiteY1353" fmla="*/ 31114 h 138429"/>
                <a:gd name="connsiteX1354" fmla="*/ 2446651 w 4940931"/>
                <a:gd name="connsiteY1354" fmla="*/ 29209 h 138429"/>
                <a:gd name="connsiteX1355" fmla="*/ 2452366 w 4940931"/>
                <a:gd name="connsiteY1355" fmla="*/ 29209 h 138429"/>
                <a:gd name="connsiteX1356" fmla="*/ 2464431 w 4940931"/>
                <a:gd name="connsiteY1356" fmla="*/ 31749 h 138429"/>
                <a:gd name="connsiteX1357" fmla="*/ 2473321 w 4940931"/>
                <a:gd name="connsiteY1357" fmla="*/ 38099 h 138429"/>
                <a:gd name="connsiteX1358" fmla="*/ 2478401 w 4940931"/>
                <a:gd name="connsiteY1358" fmla="*/ 49529 h 138429"/>
                <a:gd name="connsiteX1359" fmla="*/ 2480306 w 4940931"/>
                <a:gd name="connsiteY1359" fmla="*/ 64134 h 138429"/>
                <a:gd name="connsiteX1360" fmla="*/ 2480306 w 4940931"/>
                <a:gd name="connsiteY1360" fmla="*/ 108584 h 138429"/>
                <a:gd name="connsiteX1361" fmla="*/ 2465066 w 4940931"/>
                <a:gd name="connsiteY1361" fmla="*/ 108584 h 138429"/>
                <a:gd name="connsiteX1362" fmla="*/ 2464431 w 4940931"/>
                <a:gd name="connsiteY1362" fmla="*/ 108584 h 138429"/>
                <a:gd name="connsiteX1363" fmla="*/ 2464431 w 4940931"/>
                <a:gd name="connsiteY1363" fmla="*/ 64769 h 138429"/>
                <a:gd name="connsiteX1364" fmla="*/ 2460621 w 4940931"/>
                <a:gd name="connsiteY1364" fmla="*/ 48894 h 138429"/>
                <a:gd name="connsiteX1365" fmla="*/ 2448556 w 4940931"/>
                <a:gd name="connsiteY1365" fmla="*/ 43814 h 138429"/>
                <a:gd name="connsiteX1366" fmla="*/ 2442206 w 4940931"/>
                <a:gd name="connsiteY1366" fmla="*/ 45084 h 138429"/>
                <a:gd name="connsiteX1367" fmla="*/ 2437126 w 4940931"/>
                <a:gd name="connsiteY1367" fmla="*/ 48894 h 138429"/>
                <a:gd name="connsiteX1368" fmla="*/ 2433951 w 4940931"/>
                <a:gd name="connsiteY1368" fmla="*/ 55244 h 138429"/>
                <a:gd name="connsiteX1369" fmla="*/ 2432681 w 4940931"/>
                <a:gd name="connsiteY1369" fmla="*/ 63499 h 138429"/>
                <a:gd name="connsiteX1370" fmla="*/ 2432681 w 4940931"/>
                <a:gd name="connsiteY1370" fmla="*/ 109219 h 138429"/>
                <a:gd name="connsiteX1371" fmla="*/ 2417441 w 4940931"/>
                <a:gd name="connsiteY1371" fmla="*/ 109219 h 138429"/>
                <a:gd name="connsiteX1372" fmla="*/ 2417441 w 4940931"/>
                <a:gd name="connsiteY1372" fmla="*/ 8889 h 138429"/>
                <a:gd name="connsiteX1373" fmla="*/ 1734181 w 4940931"/>
                <a:gd name="connsiteY1373" fmla="*/ 634 h 138429"/>
                <a:gd name="connsiteX1374" fmla="*/ 1734181 w 4940931"/>
                <a:gd name="connsiteY1374" fmla="*/ 38099 h 138429"/>
                <a:gd name="connsiteX1375" fmla="*/ 1737991 w 4940931"/>
                <a:gd name="connsiteY1375" fmla="*/ 34289 h 138429"/>
                <a:gd name="connsiteX1376" fmla="*/ 1742436 w 4940931"/>
                <a:gd name="connsiteY1376" fmla="*/ 31114 h 138429"/>
                <a:gd name="connsiteX1377" fmla="*/ 1748151 w 4940931"/>
                <a:gd name="connsiteY1377" fmla="*/ 29209 h 138429"/>
                <a:gd name="connsiteX1378" fmla="*/ 1753866 w 4940931"/>
                <a:gd name="connsiteY1378" fmla="*/ 29209 h 138429"/>
                <a:gd name="connsiteX1379" fmla="*/ 1765931 w 4940931"/>
                <a:gd name="connsiteY1379" fmla="*/ 31749 h 138429"/>
                <a:gd name="connsiteX1380" fmla="*/ 1774821 w 4940931"/>
                <a:gd name="connsiteY1380" fmla="*/ 38099 h 138429"/>
                <a:gd name="connsiteX1381" fmla="*/ 1779901 w 4940931"/>
                <a:gd name="connsiteY1381" fmla="*/ 49529 h 138429"/>
                <a:gd name="connsiteX1382" fmla="*/ 1781806 w 4940931"/>
                <a:gd name="connsiteY1382" fmla="*/ 64134 h 138429"/>
                <a:gd name="connsiteX1383" fmla="*/ 1781806 w 4940931"/>
                <a:gd name="connsiteY1383" fmla="*/ 108584 h 138429"/>
                <a:gd name="connsiteX1384" fmla="*/ 1766566 w 4940931"/>
                <a:gd name="connsiteY1384" fmla="*/ 108584 h 138429"/>
                <a:gd name="connsiteX1385" fmla="*/ 1765931 w 4940931"/>
                <a:gd name="connsiteY1385" fmla="*/ 108584 h 138429"/>
                <a:gd name="connsiteX1386" fmla="*/ 1765931 w 4940931"/>
                <a:gd name="connsiteY1386" fmla="*/ 64769 h 138429"/>
                <a:gd name="connsiteX1387" fmla="*/ 1762121 w 4940931"/>
                <a:gd name="connsiteY1387" fmla="*/ 48894 h 138429"/>
                <a:gd name="connsiteX1388" fmla="*/ 1750056 w 4940931"/>
                <a:gd name="connsiteY1388" fmla="*/ 43814 h 138429"/>
                <a:gd name="connsiteX1389" fmla="*/ 1743706 w 4940931"/>
                <a:gd name="connsiteY1389" fmla="*/ 45084 h 138429"/>
                <a:gd name="connsiteX1390" fmla="*/ 1738626 w 4940931"/>
                <a:gd name="connsiteY1390" fmla="*/ 48894 h 138429"/>
                <a:gd name="connsiteX1391" fmla="*/ 1735451 w 4940931"/>
                <a:gd name="connsiteY1391" fmla="*/ 55244 h 138429"/>
                <a:gd name="connsiteX1392" fmla="*/ 1734181 w 4940931"/>
                <a:gd name="connsiteY1392" fmla="*/ 63499 h 138429"/>
                <a:gd name="connsiteX1393" fmla="*/ 1734181 w 4940931"/>
                <a:gd name="connsiteY1393" fmla="*/ 109219 h 138429"/>
                <a:gd name="connsiteX1394" fmla="*/ 1718941 w 4940931"/>
                <a:gd name="connsiteY1394" fmla="*/ 109219 h 138429"/>
                <a:gd name="connsiteX1395" fmla="*/ 1718941 w 4940931"/>
                <a:gd name="connsiteY1395" fmla="*/ 8889 h 138429"/>
                <a:gd name="connsiteX1396" fmla="*/ 803275 w 4940931"/>
                <a:gd name="connsiteY1396" fmla="*/ 634 h 138429"/>
                <a:gd name="connsiteX1397" fmla="*/ 803275 w 4940931"/>
                <a:gd name="connsiteY1397" fmla="*/ 38099 h 138429"/>
                <a:gd name="connsiteX1398" fmla="*/ 807085 w 4940931"/>
                <a:gd name="connsiteY1398" fmla="*/ 34289 h 138429"/>
                <a:gd name="connsiteX1399" fmla="*/ 811530 w 4940931"/>
                <a:gd name="connsiteY1399" fmla="*/ 31114 h 138429"/>
                <a:gd name="connsiteX1400" fmla="*/ 817245 w 4940931"/>
                <a:gd name="connsiteY1400" fmla="*/ 29209 h 138429"/>
                <a:gd name="connsiteX1401" fmla="*/ 822960 w 4940931"/>
                <a:gd name="connsiteY1401" fmla="*/ 29209 h 138429"/>
                <a:gd name="connsiteX1402" fmla="*/ 835025 w 4940931"/>
                <a:gd name="connsiteY1402" fmla="*/ 31749 h 138429"/>
                <a:gd name="connsiteX1403" fmla="*/ 843915 w 4940931"/>
                <a:gd name="connsiteY1403" fmla="*/ 38099 h 138429"/>
                <a:gd name="connsiteX1404" fmla="*/ 848995 w 4940931"/>
                <a:gd name="connsiteY1404" fmla="*/ 49529 h 138429"/>
                <a:gd name="connsiteX1405" fmla="*/ 850900 w 4940931"/>
                <a:gd name="connsiteY1405" fmla="*/ 64134 h 138429"/>
                <a:gd name="connsiteX1406" fmla="*/ 850900 w 4940931"/>
                <a:gd name="connsiteY1406" fmla="*/ 108584 h 138429"/>
                <a:gd name="connsiteX1407" fmla="*/ 835660 w 4940931"/>
                <a:gd name="connsiteY1407" fmla="*/ 108584 h 138429"/>
                <a:gd name="connsiteX1408" fmla="*/ 835025 w 4940931"/>
                <a:gd name="connsiteY1408" fmla="*/ 108584 h 138429"/>
                <a:gd name="connsiteX1409" fmla="*/ 835025 w 4940931"/>
                <a:gd name="connsiteY1409" fmla="*/ 64769 h 138429"/>
                <a:gd name="connsiteX1410" fmla="*/ 831215 w 4940931"/>
                <a:gd name="connsiteY1410" fmla="*/ 48894 h 138429"/>
                <a:gd name="connsiteX1411" fmla="*/ 819150 w 4940931"/>
                <a:gd name="connsiteY1411" fmla="*/ 43814 h 138429"/>
                <a:gd name="connsiteX1412" fmla="*/ 812800 w 4940931"/>
                <a:gd name="connsiteY1412" fmla="*/ 45084 h 138429"/>
                <a:gd name="connsiteX1413" fmla="*/ 807720 w 4940931"/>
                <a:gd name="connsiteY1413" fmla="*/ 48894 h 138429"/>
                <a:gd name="connsiteX1414" fmla="*/ 804545 w 4940931"/>
                <a:gd name="connsiteY1414" fmla="*/ 55244 h 138429"/>
                <a:gd name="connsiteX1415" fmla="*/ 803275 w 4940931"/>
                <a:gd name="connsiteY1415" fmla="*/ 63499 h 138429"/>
                <a:gd name="connsiteX1416" fmla="*/ 803275 w 4940931"/>
                <a:gd name="connsiteY1416" fmla="*/ 109219 h 138429"/>
                <a:gd name="connsiteX1417" fmla="*/ 788035 w 4940931"/>
                <a:gd name="connsiteY1417" fmla="*/ 109219 h 138429"/>
                <a:gd name="connsiteX1418" fmla="*/ 788035 w 4940931"/>
                <a:gd name="connsiteY1418" fmla="*/ 8889 h 138429"/>
                <a:gd name="connsiteX1419" fmla="*/ 104774 w 4940931"/>
                <a:gd name="connsiteY1419" fmla="*/ 634 h 138429"/>
                <a:gd name="connsiteX1420" fmla="*/ 104774 w 4940931"/>
                <a:gd name="connsiteY1420" fmla="*/ 38099 h 138429"/>
                <a:gd name="connsiteX1421" fmla="*/ 108584 w 4940931"/>
                <a:gd name="connsiteY1421" fmla="*/ 34289 h 138429"/>
                <a:gd name="connsiteX1422" fmla="*/ 113029 w 4940931"/>
                <a:gd name="connsiteY1422" fmla="*/ 31114 h 138429"/>
                <a:gd name="connsiteX1423" fmla="*/ 118744 w 4940931"/>
                <a:gd name="connsiteY1423" fmla="*/ 29209 h 138429"/>
                <a:gd name="connsiteX1424" fmla="*/ 124459 w 4940931"/>
                <a:gd name="connsiteY1424" fmla="*/ 29209 h 138429"/>
                <a:gd name="connsiteX1425" fmla="*/ 136524 w 4940931"/>
                <a:gd name="connsiteY1425" fmla="*/ 31749 h 138429"/>
                <a:gd name="connsiteX1426" fmla="*/ 145414 w 4940931"/>
                <a:gd name="connsiteY1426" fmla="*/ 38099 h 138429"/>
                <a:gd name="connsiteX1427" fmla="*/ 150494 w 4940931"/>
                <a:gd name="connsiteY1427" fmla="*/ 49529 h 138429"/>
                <a:gd name="connsiteX1428" fmla="*/ 152399 w 4940931"/>
                <a:gd name="connsiteY1428" fmla="*/ 64134 h 138429"/>
                <a:gd name="connsiteX1429" fmla="*/ 152399 w 4940931"/>
                <a:gd name="connsiteY1429" fmla="*/ 108584 h 138429"/>
                <a:gd name="connsiteX1430" fmla="*/ 137159 w 4940931"/>
                <a:gd name="connsiteY1430" fmla="*/ 108584 h 138429"/>
                <a:gd name="connsiteX1431" fmla="*/ 136524 w 4940931"/>
                <a:gd name="connsiteY1431" fmla="*/ 108584 h 138429"/>
                <a:gd name="connsiteX1432" fmla="*/ 136524 w 4940931"/>
                <a:gd name="connsiteY1432" fmla="*/ 64769 h 138429"/>
                <a:gd name="connsiteX1433" fmla="*/ 132714 w 4940931"/>
                <a:gd name="connsiteY1433" fmla="*/ 48894 h 138429"/>
                <a:gd name="connsiteX1434" fmla="*/ 120649 w 4940931"/>
                <a:gd name="connsiteY1434" fmla="*/ 43814 h 138429"/>
                <a:gd name="connsiteX1435" fmla="*/ 114299 w 4940931"/>
                <a:gd name="connsiteY1435" fmla="*/ 45084 h 138429"/>
                <a:gd name="connsiteX1436" fmla="*/ 109219 w 4940931"/>
                <a:gd name="connsiteY1436" fmla="*/ 48894 h 138429"/>
                <a:gd name="connsiteX1437" fmla="*/ 106044 w 4940931"/>
                <a:gd name="connsiteY1437" fmla="*/ 55244 h 138429"/>
                <a:gd name="connsiteX1438" fmla="*/ 104774 w 4940931"/>
                <a:gd name="connsiteY1438" fmla="*/ 63499 h 138429"/>
                <a:gd name="connsiteX1439" fmla="*/ 104774 w 4940931"/>
                <a:gd name="connsiteY1439" fmla="*/ 109219 h 138429"/>
                <a:gd name="connsiteX1440" fmla="*/ 89534 w 4940931"/>
                <a:gd name="connsiteY1440" fmla="*/ 109219 h 138429"/>
                <a:gd name="connsiteX1441" fmla="*/ 89534 w 4940931"/>
                <a:gd name="connsiteY1441" fmla="*/ 8889 h 138429"/>
                <a:gd name="connsiteX1442" fmla="*/ 3894450 w 4940931"/>
                <a:gd name="connsiteY1442" fmla="*/ 0 h 138429"/>
                <a:gd name="connsiteX1443" fmla="*/ 3894450 w 4940931"/>
                <a:gd name="connsiteY1443" fmla="*/ 30480 h 138429"/>
                <a:gd name="connsiteX1444" fmla="*/ 3913500 w 4940931"/>
                <a:gd name="connsiteY1444" fmla="*/ 30480 h 138429"/>
                <a:gd name="connsiteX1445" fmla="*/ 3913500 w 4940931"/>
                <a:gd name="connsiteY1445" fmla="*/ 44450 h 138429"/>
                <a:gd name="connsiteX1446" fmla="*/ 3894450 w 4940931"/>
                <a:gd name="connsiteY1446" fmla="*/ 44450 h 138429"/>
                <a:gd name="connsiteX1447" fmla="*/ 3894450 w 4940931"/>
                <a:gd name="connsiteY1447" fmla="*/ 86995 h 138429"/>
                <a:gd name="connsiteX1448" fmla="*/ 3894450 w 4940931"/>
                <a:gd name="connsiteY1448" fmla="*/ 91440 h 138429"/>
                <a:gd name="connsiteX1449" fmla="*/ 3895720 w 4940931"/>
                <a:gd name="connsiteY1449" fmla="*/ 94615 h 138429"/>
                <a:gd name="connsiteX1450" fmla="*/ 3898260 w 4940931"/>
                <a:gd name="connsiteY1450" fmla="*/ 95885 h 138429"/>
                <a:gd name="connsiteX1451" fmla="*/ 3902070 w 4940931"/>
                <a:gd name="connsiteY1451" fmla="*/ 95885 h 138429"/>
                <a:gd name="connsiteX1452" fmla="*/ 3908420 w 4940931"/>
                <a:gd name="connsiteY1452" fmla="*/ 95250 h 138429"/>
                <a:gd name="connsiteX1453" fmla="*/ 3913500 w 4940931"/>
                <a:gd name="connsiteY1453" fmla="*/ 93345 h 138429"/>
                <a:gd name="connsiteX1454" fmla="*/ 3911595 w 4940931"/>
                <a:gd name="connsiteY1454" fmla="*/ 106680 h 138429"/>
                <a:gd name="connsiteX1455" fmla="*/ 3905245 w 4940931"/>
                <a:gd name="connsiteY1455" fmla="*/ 109220 h 138429"/>
                <a:gd name="connsiteX1456" fmla="*/ 3896990 w 4940931"/>
                <a:gd name="connsiteY1456" fmla="*/ 110490 h 138429"/>
                <a:gd name="connsiteX1457" fmla="*/ 3890005 w 4940931"/>
                <a:gd name="connsiteY1457" fmla="*/ 109220 h 138429"/>
                <a:gd name="connsiteX1458" fmla="*/ 3884290 w 4940931"/>
                <a:gd name="connsiteY1458" fmla="*/ 105410 h 138429"/>
                <a:gd name="connsiteX1459" fmla="*/ 3880480 w 4940931"/>
                <a:gd name="connsiteY1459" fmla="*/ 99060 h 138429"/>
                <a:gd name="connsiteX1460" fmla="*/ 3879210 w 4940931"/>
                <a:gd name="connsiteY1460" fmla="*/ 89535 h 138429"/>
                <a:gd name="connsiteX1461" fmla="*/ 3879210 w 4940931"/>
                <a:gd name="connsiteY1461" fmla="*/ 44450 h 138429"/>
                <a:gd name="connsiteX1462" fmla="*/ 3868415 w 4940931"/>
                <a:gd name="connsiteY1462" fmla="*/ 44450 h 138429"/>
                <a:gd name="connsiteX1463" fmla="*/ 3868415 w 4940931"/>
                <a:gd name="connsiteY1463" fmla="*/ 30480 h 138429"/>
                <a:gd name="connsiteX1464" fmla="*/ 3879210 w 4940931"/>
                <a:gd name="connsiteY1464" fmla="*/ 30480 h 138429"/>
                <a:gd name="connsiteX1465" fmla="*/ 3879210 w 4940931"/>
                <a:gd name="connsiteY1465" fmla="*/ 8255 h 138429"/>
                <a:gd name="connsiteX1466" fmla="*/ 3664581 w 4940931"/>
                <a:gd name="connsiteY1466" fmla="*/ 0 h 138429"/>
                <a:gd name="connsiteX1467" fmla="*/ 3664581 w 4940931"/>
                <a:gd name="connsiteY1467" fmla="*/ 30480 h 138429"/>
                <a:gd name="connsiteX1468" fmla="*/ 3683631 w 4940931"/>
                <a:gd name="connsiteY1468" fmla="*/ 30480 h 138429"/>
                <a:gd name="connsiteX1469" fmla="*/ 3683631 w 4940931"/>
                <a:gd name="connsiteY1469" fmla="*/ 44450 h 138429"/>
                <a:gd name="connsiteX1470" fmla="*/ 3664581 w 4940931"/>
                <a:gd name="connsiteY1470" fmla="*/ 44450 h 138429"/>
                <a:gd name="connsiteX1471" fmla="*/ 3664581 w 4940931"/>
                <a:gd name="connsiteY1471" fmla="*/ 86995 h 138429"/>
                <a:gd name="connsiteX1472" fmla="*/ 3664581 w 4940931"/>
                <a:gd name="connsiteY1472" fmla="*/ 91440 h 138429"/>
                <a:gd name="connsiteX1473" fmla="*/ 3665851 w 4940931"/>
                <a:gd name="connsiteY1473" fmla="*/ 94615 h 138429"/>
                <a:gd name="connsiteX1474" fmla="*/ 3668391 w 4940931"/>
                <a:gd name="connsiteY1474" fmla="*/ 95885 h 138429"/>
                <a:gd name="connsiteX1475" fmla="*/ 3672201 w 4940931"/>
                <a:gd name="connsiteY1475" fmla="*/ 95885 h 138429"/>
                <a:gd name="connsiteX1476" fmla="*/ 3678551 w 4940931"/>
                <a:gd name="connsiteY1476" fmla="*/ 95250 h 138429"/>
                <a:gd name="connsiteX1477" fmla="*/ 3683631 w 4940931"/>
                <a:gd name="connsiteY1477" fmla="*/ 93345 h 138429"/>
                <a:gd name="connsiteX1478" fmla="*/ 3681726 w 4940931"/>
                <a:gd name="connsiteY1478" fmla="*/ 106680 h 138429"/>
                <a:gd name="connsiteX1479" fmla="*/ 3675376 w 4940931"/>
                <a:gd name="connsiteY1479" fmla="*/ 109220 h 138429"/>
                <a:gd name="connsiteX1480" fmla="*/ 3667121 w 4940931"/>
                <a:gd name="connsiteY1480" fmla="*/ 110490 h 138429"/>
                <a:gd name="connsiteX1481" fmla="*/ 3660136 w 4940931"/>
                <a:gd name="connsiteY1481" fmla="*/ 109220 h 138429"/>
                <a:gd name="connsiteX1482" fmla="*/ 3654421 w 4940931"/>
                <a:gd name="connsiteY1482" fmla="*/ 105410 h 138429"/>
                <a:gd name="connsiteX1483" fmla="*/ 3650611 w 4940931"/>
                <a:gd name="connsiteY1483" fmla="*/ 99060 h 138429"/>
                <a:gd name="connsiteX1484" fmla="*/ 3649341 w 4940931"/>
                <a:gd name="connsiteY1484" fmla="*/ 89535 h 138429"/>
                <a:gd name="connsiteX1485" fmla="*/ 3649341 w 4940931"/>
                <a:gd name="connsiteY1485" fmla="*/ 44450 h 138429"/>
                <a:gd name="connsiteX1486" fmla="*/ 3638546 w 4940931"/>
                <a:gd name="connsiteY1486" fmla="*/ 44450 h 138429"/>
                <a:gd name="connsiteX1487" fmla="*/ 3638546 w 4940931"/>
                <a:gd name="connsiteY1487" fmla="*/ 30480 h 138429"/>
                <a:gd name="connsiteX1488" fmla="*/ 3649341 w 4940931"/>
                <a:gd name="connsiteY1488" fmla="*/ 30480 h 138429"/>
                <a:gd name="connsiteX1489" fmla="*/ 3649341 w 4940931"/>
                <a:gd name="connsiteY1489" fmla="*/ 8255 h 138429"/>
                <a:gd name="connsiteX1490" fmla="*/ 3610605 w 4940931"/>
                <a:gd name="connsiteY1490" fmla="*/ 0 h 138429"/>
                <a:gd name="connsiteX1491" fmla="*/ 3610605 w 4940931"/>
                <a:gd name="connsiteY1491" fmla="*/ 30480 h 138429"/>
                <a:gd name="connsiteX1492" fmla="*/ 3629655 w 4940931"/>
                <a:gd name="connsiteY1492" fmla="*/ 30480 h 138429"/>
                <a:gd name="connsiteX1493" fmla="*/ 3629655 w 4940931"/>
                <a:gd name="connsiteY1493" fmla="*/ 44450 h 138429"/>
                <a:gd name="connsiteX1494" fmla="*/ 3610605 w 4940931"/>
                <a:gd name="connsiteY1494" fmla="*/ 44450 h 138429"/>
                <a:gd name="connsiteX1495" fmla="*/ 3610605 w 4940931"/>
                <a:gd name="connsiteY1495" fmla="*/ 86995 h 138429"/>
                <a:gd name="connsiteX1496" fmla="*/ 3610605 w 4940931"/>
                <a:gd name="connsiteY1496" fmla="*/ 91440 h 138429"/>
                <a:gd name="connsiteX1497" fmla="*/ 3611875 w 4940931"/>
                <a:gd name="connsiteY1497" fmla="*/ 94615 h 138429"/>
                <a:gd name="connsiteX1498" fmla="*/ 3614415 w 4940931"/>
                <a:gd name="connsiteY1498" fmla="*/ 95885 h 138429"/>
                <a:gd name="connsiteX1499" fmla="*/ 3618225 w 4940931"/>
                <a:gd name="connsiteY1499" fmla="*/ 95885 h 138429"/>
                <a:gd name="connsiteX1500" fmla="*/ 3624575 w 4940931"/>
                <a:gd name="connsiteY1500" fmla="*/ 95250 h 138429"/>
                <a:gd name="connsiteX1501" fmla="*/ 3629655 w 4940931"/>
                <a:gd name="connsiteY1501" fmla="*/ 93345 h 138429"/>
                <a:gd name="connsiteX1502" fmla="*/ 3627750 w 4940931"/>
                <a:gd name="connsiteY1502" fmla="*/ 106680 h 138429"/>
                <a:gd name="connsiteX1503" fmla="*/ 3621400 w 4940931"/>
                <a:gd name="connsiteY1503" fmla="*/ 109220 h 138429"/>
                <a:gd name="connsiteX1504" fmla="*/ 3613145 w 4940931"/>
                <a:gd name="connsiteY1504" fmla="*/ 110490 h 138429"/>
                <a:gd name="connsiteX1505" fmla="*/ 3606160 w 4940931"/>
                <a:gd name="connsiteY1505" fmla="*/ 109220 h 138429"/>
                <a:gd name="connsiteX1506" fmla="*/ 3600445 w 4940931"/>
                <a:gd name="connsiteY1506" fmla="*/ 105410 h 138429"/>
                <a:gd name="connsiteX1507" fmla="*/ 3596635 w 4940931"/>
                <a:gd name="connsiteY1507" fmla="*/ 99060 h 138429"/>
                <a:gd name="connsiteX1508" fmla="*/ 3595365 w 4940931"/>
                <a:gd name="connsiteY1508" fmla="*/ 89535 h 138429"/>
                <a:gd name="connsiteX1509" fmla="*/ 3595365 w 4940931"/>
                <a:gd name="connsiteY1509" fmla="*/ 44450 h 138429"/>
                <a:gd name="connsiteX1510" fmla="*/ 3584570 w 4940931"/>
                <a:gd name="connsiteY1510" fmla="*/ 44450 h 138429"/>
                <a:gd name="connsiteX1511" fmla="*/ 3584570 w 4940931"/>
                <a:gd name="connsiteY1511" fmla="*/ 30480 h 138429"/>
                <a:gd name="connsiteX1512" fmla="*/ 3595365 w 4940931"/>
                <a:gd name="connsiteY1512" fmla="*/ 30480 h 138429"/>
                <a:gd name="connsiteX1513" fmla="*/ 3595365 w 4940931"/>
                <a:gd name="connsiteY1513" fmla="*/ 8255 h 138429"/>
                <a:gd name="connsiteX1514" fmla="*/ 3445505 w 4940931"/>
                <a:gd name="connsiteY1514" fmla="*/ 0 h 138429"/>
                <a:gd name="connsiteX1515" fmla="*/ 3445505 w 4940931"/>
                <a:gd name="connsiteY1515" fmla="*/ 37465 h 138429"/>
                <a:gd name="connsiteX1516" fmla="*/ 3449950 w 4940931"/>
                <a:gd name="connsiteY1516" fmla="*/ 33655 h 138429"/>
                <a:gd name="connsiteX1517" fmla="*/ 3453760 w 4940931"/>
                <a:gd name="connsiteY1517" fmla="*/ 31115 h 138429"/>
                <a:gd name="connsiteX1518" fmla="*/ 3458840 w 4940931"/>
                <a:gd name="connsiteY1518" fmla="*/ 29210 h 138429"/>
                <a:gd name="connsiteX1519" fmla="*/ 3465825 w 4940931"/>
                <a:gd name="connsiteY1519" fmla="*/ 28575 h 138429"/>
                <a:gd name="connsiteX1520" fmla="*/ 3477890 w 4940931"/>
                <a:gd name="connsiteY1520" fmla="*/ 31115 h 138429"/>
                <a:gd name="connsiteX1521" fmla="*/ 3487415 w 4940931"/>
                <a:gd name="connsiteY1521" fmla="*/ 38735 h 138429"/>
                <a:gd name="connsiteX1522" fmla="*/ 3493765 w 4940931"/>
                <a:gd name="connsiteY1522" fmla="*/ 51435 h 138429"/>
                <a:gd name="connsiteX1523" fmla="*/ 3496305 w 4940931"/>
                <a:gd name="connsiteY1523" fmla="*/ 70485 h 138429"/>
                <a:gd name="connsiteX1524" fmla="*/ 3495670 w 4940931"/>
                <a:gd name="connsiteY1524" fmla="*/ 71120 h 138429"/>
                <a:gd name="connsiteX1525" fmla="*/ 3493130 w 4940931"/>
                <a:gd name="connsiteY1525" fmla="*/ 88265 h 138429"/>
                <a:gd name="connsiteX1526" fmla="*/ 3486145 w 4940931"/>
                <a:gd name="connsiteY1526" fmla="*/ 100330 h 138429"/>
                <a:gd name="connsiteX1527" fmla="*/ 3476620 w 4940931"/>
                <a:gd name="connsiteY1527" fmla="*/ 107315 h 138429"/>
                <a:gd name="connsiteX1528" fmla="*/ 3465190 w 4940931"/>
                <a:gd name="connsiteY1528" fmla="*/ 109855 h 138429"/>
                <a:gd name="connsiteX1529" fmla="*/ 3454395 w 4940931"/>
                <a:gd name="connsiteY1529" fmla="*/ 107315 h 138429"/>
                <a:gd name="connsiteX1530" fmla="*/ 3445505 w 4940931"/>
                <a:gd name="connsiteY1530" fmla="*/ 100965 h 138429"/>
                <a:gd name="connsiteX1531" fmla="*/ 3445505 w 4940931"/>
                <a:gd name="connsiteY1531" fmla="*/ 107950 h 138429"/>
                <a:gd name="connsiteX1532" fmla="*/ 3430265 w 4940931"/>
                <a:gd name="connsiteY1532" fmla="*/ 107950 h 138429"/>
                <a:gd name="connsiteX1533" fmla="*/ 3430265 w 4940931"/>
                <a:gd name="connsiteY1533" fmla="*/ 7620 h 138429"/>
                <a:gd name="connsiteX1534" fmla="*/ 2380611 w 4940931"/>
                <a:gd name="connsiteY1534" fmla="*/ 0 h 138429"/>
                <a:gd name="connsiteX1535" fmla="*/ 2380611 w 4940931"/>
                <a:gd name="connsiteY1535" fmla="*/ 30480 h 138429"/>
                <a:gd name="connsiteX1536" fmla="*/ 2399661 w 4940931"/>
                <a:gd name="connsiteY1536" fmla="*/ 30480 h 138429"/>
                <a:gd name="connsiteX1537" fmla="*/ 2399661 w 4940931"/>
                <a:gd name="connsiteY1537" fmla="*/ 44450 h 138429"/>
                <a:gd name="connsiteX1538" fmla="*/ 2380611 w 4940931"/>
                <a:gd name="connsiteY1538" fmla="*/ 44450 h 138429"/>
                <a:gd name="connsiteX1539" fmla="*/ 2380611 w 4940931"/>
                <a:gd name="connsiteY1539" fmla="*/ 86995 h 138429"/>
                <a:gd name="connsiteX1540" fmla="*/ 2380611 w 4940931"/>
                <a:gd name="connsiteY1540" fmla="*/ 91440 h 138429"/>
                <a:gd name="connsiteX1541" fmla="*/ 2381881 w 4940931"/>
                <a:gd name="connsiteY1541" fmla="*/ 94615 h 138429"/>
                <a:gd name="connsiteX1542" fmla="*/ 2384421 w 4940931"/>
                <a:gd name="connsiteY1542" fmla="*/ 95885 h 138429"/>
                <a:gd name="connsiteX1543" fmla="*/ 2388231 w 4940931"/>
                <a:gd name="connsiteY1543" fmla="*/ 95885 h 138429"/>
                <a:gd name="connsiteX1544" fmla="*/ 2394581 w 4940931"/>
                <a:gd name="connsiteY1544" fmla="*/ 95250 h 138429"/>
                <a:gd name="connsiteX1545" fmla="*/ 2399661 w 4940931"/>
                <a:gd name="connsiteY1545" fmla="*/ 93345 h 138429"/>
                <a:gd name="connsiteX1546" fmla="*/ 2397756 w 4940931"/>
                <a:gd name="connsiteY1546" fmla="*/ 106680 h 138429"/>
                <a:gd name="connsiteX1547" fmla="*/ 2391406 w 4940931"/>
                <a:gd name="connsiteY1547" fmla="*/ 109220 h 138429"/>
                <a:gd name="connsiteX1548" fmla="*/ 2383151 w 4940931"/>
                <a:gd name="connsiteY1548" fmla="*/ 110490 h 138429"/>
                <a:gd name="connsiteX1549" fmla="*/ 2376166 w 4940931"/>
                <a:gd name="connsiteY1549" fmla="*/ 109220 h 138429"/>
                <a:gd name="connsiteX1550" fmla="*/ 2370451 w 4940931"/>
                <a:gd name="connsiteY1550" fmla="*/ 105410 h 138429"/>
                <a:gd name="connsiteX1551" fmla="*/ 2366641 w 4940931"/>
                <a:gd name="connsiteY1551" fmla="*/ 99060 h 138429"/>
                <a:gd name="connsiteX1552" fmla="*/ 2365371 w 4940931"/>
                <a:gd name="connsiteY1552" fmla="*/ 89535 h 138429"/>
                <a:gd name="connsiteX1553" fmla="*/ 2365371 w 4940931"/>
                <a:gd name="connsiteY1553" fmla="*/ 44450 h 138429"/>
                <a:gd name="connsiteX1554" fmla="*/ 2354576 w 4940931"/>
                <a:gd name="connsiteY1554" fmla="*/ 44450 h 138429"/>
                <a:gd name="connsiteX1555" fmla="*/ 2354576 w 4940931"/>
                <a:gd name="connsiteY1555" fmla="*/ 30480 h 138429"/>
                <a:gd name="connsiteX1556" fmla="*/ 2365371 w 4940931"/>
                <a:gd name="connsiteY1556" fmla="*/ 30480 h 138429"/>
                <a:gd name="connsiteX1557" fmla="*/ 2365371 w 4940931"/>
                <a:gd name="connsiteY1557" fmla="*/ 8255 h 138429"/>
                <a:gd name="connsiteX1558" fmla="*/ 2150741 w 4940931"/>
                <a:gd name="connsiteY1558" fmla="*/ 0 h 138429"/>
                <a:gd name="connsiteX1559" fmla="*/ 2150741 w 4940931"/>
                <a:gd name="connsiteY1559" fmla="*/ 30480 h 138429"/>
                <a:gd name="connsiteX1560" fmla="*/ 2169791 w 4940931"/>
                <a:gd name="connsiteY1560" fmla="*/ 30480 h 138429"/>
                <a:gd name="connsiteX1561" fmla="*/ 2169791 w 4940931"/>
                <a:gd name="connsiteY1561" fmla="*/ 44450 h 138429"/>
                <a:gd name="connsiteX1562" fmla="*/ 2150741 w 4940931"/>
                <a:gd name="connsiteY1562" fmla="*/ 44450 h 138429"/>
                <a:gd name="connsiteX1563" fmla="*/ 2150741 w 4940931"/>
                <a:gd name="connsiteY1563" fmla="*/ 86995 h 138429"/>
                <a:gd name="connsiteX1564" fmla="*/ 2150741 w 4940931"/>
                <a:gd name="connsiteY1564" fmla="*/ 91440 h 138429"/>
                <a:gd name="connsiteX1565" fmla="*/ 2152011 w 4940931"/>
                <a:gd name="connsiteY1565" fmla="*/ 94615 h 138429"/>
                <a:gd name="connsiteX1566" fmla="*/ 2154551 w 4940931"/>
                <a:gd name="connsiteY1566" fmla="*/ 95885 h 138429"/>
                <a:gd name="connsiteX1567" fmla="*/ 2158361 w 4940931"/>
                <a:gd name="connsiteY1567" fmla="*/ 95885 h 138429"/>
                <a:gd name="connsiteX1568" fmla="*/ 2164711 w 4940931"/>
                <a:gd name="connsiteY1568" fmla="*/ 95250 h 138429"/>
                <a:gd name="connsiteX1569" fmla="*/ 2169791 w 4940931"/>
                <a:gd name="connsiteY1569" fmla="*/ 93345 h 138429"/>
                <a:gd name="connsiteX1570" fmla="*/ 2167886 w 4940931"/>
                <a:gd name="connsiteY1570" fmla="*/ 106680 h 138429"/>
                <a:gd name="connsiteX1571" fmla="*/ 2161536 w 4940931"/>
                <a:gd name="connsiteY1571" fmla="*/ 109220 h 138429"/>
                <a:gd name="connsiteX1572" fmla="*/ 2153281 w 4940931"/>
                <a:gd name="connsiteY1572" fmla="*/ 110490 h 138429"/>
                <a:gd name="connsiteX1573" fmla="*/ 2146296 w 4940931"/>
                <a:gd name="connsiteY1573" fmla="*/ 109220 h 138429"/>
                <a:gd name="connsiteX1574" fmla="*/ 2140581 w 4940931"/>
                <a:gd name="connsiteY1574" fmla="*/ 105410 h 138429"/>
                <a:gd name="connsiteX1575" fmla="*/ 2136771 w 4940931"/>
                <a:gd name="connsiteY1575" fmla="*/ 99060 h 138429"/>
                <a:gd name="connsiteX1576" fmla="*/ 2135501 w 4940931"/>
                <a:gd name="connsiteY1576" fmla="*/ 89535 h 138429"/>
                <a:gd name="connsiteX1577" fmla="*/ 2135501 w 4940931"/>
                <a:gd name="connsiteY1577" fmla="*/ 44450 h 138429"/>
                <a:gd name="connsiteX1578" fmla="*/ 2124706 w 4940931"/>
                <a:gd name="connsiteY1578" fmla="*/ 44450 h 138429"/>
                <a:gd name="connsiteX1579" fmla="*/ 2124706 w 4940931"/>
                <a:gd name="connsiteY1579" fmla="*/ 30480 h 138429"/>
                <a:gd name="connsiteX1580" fmla="*/ 2135501 w 4940931"/>
                <a:gd name="connsiteY1580" fmla="*/ 30480 h 138429"/>
                <a:gd name="connsiteX1581" fmla="*/ 2135501 w 4940931"/>
                <a:gd name="connsiteY1581" fmla="*/ 8255 h 138429"/>
                <a:gd name="connsiteX1582" fmla="*/ 2096131 w 4940931"/>
                <a:gd name="connsiteY1582" fmla="*/ 0 h 138429"/>
                <a:gd name="connsiteX1583" fmla="*/ 2096131 w 4940931"/>
                <a:gd name="connsiteY1583" fmla="*/ 30480 h 138429"/>
                <a:gd name="connsiteX1584" fmla="*/ 2115181 w 4940931"/>
                <a:gd name="connsiteY1584" fmla="*/ 30480 h 138429"/>
                <a:gd name="connsiteX1585" fmla="*/ 2115181 w 4940931"/>
                <a:gd name="connsiteY1585" fmla="*/ 44450 h 138429"/>
                <a:gd name="connsiteX1586" fmla="*/ 2096131 w 4940931"/>
                <a:gd name="connsiteY1586" fmla="*/ 44450 h 138429"/>
                <a:gd name="connsiteX1587" fmla="*/ 2096131 w 4940931"/>
                <a:gd name="connsiteY1587" fmla="*/ 86995 h 138429"/>
                <a:gd name="connsiteX1588" fmla="*/ 2096131 w 4940931"/>
                <a:gd name="connsiteY1588" fmla="*/ 91440 h 138429"/>
                <a:gd name="connsiteX1589" fmla="*/ 2097401 w 4940931"/>
                <a:gd name="connsiteY1589" fmla="*/ 94615 h 138429"/>
                <a:gd name="connsiteX1590" fmla="*/ 2099941 w 4940931"/>
                <a:gd name="connsiteY1590" fmla="*/ 95885 h 138429"/>
                <a:gd name="connsiteX1591" fmla="*/ 2103751 w 4940931"/>
                <a:gd name="connsiteY1591" fmla="*/ 95885 h 138429"/>
                <a:gd name="connsiteX1592" fmla="*/ 2110101 w 4940931"/>
                <a:gd name="connsiteY1592" fmla="*/ 95250 h 138429"/>
                <a:gd name="connsiteX1593" fmla="*/ 2115181 w 4940931"/>
                <a:gd name="connsiteY1593" fmla="*/ 93345 h 138429"/>
                <a:gd name="connsiteX1594" fmla="*/ 2113276 w 4940931"/>
                <a:gd name="connsiteY1594" fmla="*/ 106680 h 138429"/>
                <a:gd name="connsiteX1595" fmla="*/ 2106926 w 4940931"/>
                <a:gd name="connsiteY1595" fmla="*/ 109220 h 138429"/>
                <a:gd name="connsiteX1596" fmla="*/ 2098671 w 4940931"/>
                <a:gd name="connsiteY1596" fmla="*/ 110490 h 138429"/>
                <a:gd name="connsiteX1597" fmla="*/ 2091686 w 4940931"/>
                <a:gd name="connsiteY1597" fmla="*/ 109220 h 138429"/>
                <a:gd name="connsiteX1598" fmla="*/ 2085971 w 4940931"/>
                <a:gd name="connsiteY1598" fmla="*/ 105410 h 138429"/>
                <a:gd name="connsiteX1599" fmla="*/ 2082161 w 4940931"/>
                <a:gd name="connsiteY1599" fmla="*/ 99060 h 138429"/>
                <a:gd name="connsiteX1600" fmla="*/ 2080891 w 4940931"/>
                <a:gd name="connsiteY1600" fmla="*/ 89535 h 138429"/>
                <a:gd name="connsiteX1601" fmla="*/ 2080891 w 4940931"/>
                <a:gd name="connsiteY1601" fmla="*/ 44450 h 138429"/>
                <a:gd name="connsiteX1602" fmla="*/ 2070096 w 4940931"/>
                <a:gd name="connsiteY1602" fmla="*/ 44450 h 138429"/>
                <a:gd name="connsiteX1603" fmla="*/ 2070096 w 4940931"/>
                <a:gd name="connsiteY1603" fmla="*/ 30480 h 138429"/>
                <a:gd name="connsiteX1604" fmla="*/ 2080891 w 4940931"/>
                <a:gd name="connsiteY1604" fmla="*/ 30480 h 138429"/>
                <a:gd name="connsiteX1605" fmla="*/ 2080891 w 4940931"/>
                <a:gd name="connsiteY1605" fmla="*/ 8255 h 138429"/>
                <a:gd name="connsiteX1606" fmla="*/ 1931665 w 4940931"/>
                <a:gd name="connsiteY1606" fmla="*/ 0 h 138429"/>
                <a:gd name="connsiteX1607" fmla="*/ 1931665 w 4940931"/>
                <a:gd name="connsiteY1607" fmla="*/ 37465 h 138429"/>
                <a:gd name="connsiteX1608" fmla="*/ 1936110 w 4940931"/>
                <a:gd name="connsiteY1608" fmla="*/ 33655 h 138429"/>
                <a:gd name="connsiteX1609" fmla="*/ 1939920 w 4940931"/>
                <a:gd name="connsiteY1609" fmla="*/ 31115 h 138429"/>
                <a:gd name="connsiteX1610" fmla="*/ 1945000 w 4940931"/>
                <a:gd name="connsiteY1610" fmla="*/ 29210 h 138429"/>
                <a:gd name="connsiteX1611" fmla="*/ 1951985 w 4940931"/>
                <a:gd name="connsiteY1611" fmla="*/ 28575 h 138429"/>
                <a:gd name="connsiteX1612" fmla="*/ 1964050 w 4940931"/>
                <a:gd name="connsiteY1612" fmla="*/ 31115 h 138429"/>
                <a:gd name="connsiteX1613" fmla="*/ 1973575 w 4940931"/>
                <a:gd name="connsiteY1613" fmla="*/ 38735 h 138429"/>
                <a:gd name="connsiteX1614" fmla="*/ 1979925 w 4940931"/>
                <a:gd name="connsiteY1614" fmla="*/ 51435 h 138429"/>
                <a:gd name="connsiteX1615" fmla="*/ 1982465 w 4940931"/>
                <a:gd name="connsiteY1615" fmla="*/ 70485 h 138429"/>
                <a:gd name="connsiteX1616" fmla="*/ 1981830 w 4940931"/>
                <a:gd name="connsiteY1616" fmla="*/ 71120 h 138429"/>
                <a:gd name="connsiteX1617" fmla="*/ 1979290 w 4940931"/>
                <a:gd name="connsiteY1617" fmla="*/ 88265 h 138429"/>
                <a:gd name="connsiteX1618" fmla="*/ 1972305 w 4940931"/>
                <a:gd name="connsiteY1618" fmla="*/ 100330 h 138429"/>
                <a:gd name="connsiteX1619" fmla="*/ 1962780 w 4940931"/>
                <a:gd name="connsiteY1619" fmla="*/ 107315 h 138429"/>
                <a:gd name="connsiteX1620" fmla="*/ 1951350 w 4940931"/>
                <a:gd name="connsiteY1620" fmla="*/ 109855 h 138429"/>
                <a:gd name="connsiteX1621" fmla="*/ 1940555 w 4940931"/>
                <a:gd name="connsiteY1621" fmla="*/ 107315 h 138429"/>
                <a:gd name="connsiteX1622" fmla="*/ 1931665 w 4940931"/>
                <a:gd name="connsiteY1622" fmla="*/ 100965 h 138429"/>
                <a:gd name="connsiteX1623" fmla="*/ 1931665 w 4940931"/>
                <a:gd name="connsiteY1623" fmla="*/ 107950 h 138429"/>
                <a:gd name="connsiteX1624" fmla="*/ 1916425 w 4940931"/>
                <a:gd name="connsiteY1624" fmla="*/ 107950 h 138429"/>
                <a:gd name="connsiteX1625" fmla="*/ 1916425 w 4940931"/>
                <a:gd name="connsiteY1625" fmla="*/ 7620 h 138429"/>
                <a:gd name="connsiteX1626" fmla="*/ 1316991 w 4940931"/>
                <a:gd name="connsiteY1626" fmla="*/ 0 h 138429"/>
                <a:gd name="connsiteX1627" fmla="*/ 1316991 w 4940931"/>
                <a:gd name="connsiteY1627" fmla="*/ 30480 h 138429"/>
                <a:gd name="connsiteX1628" fmla="*/ 1336041 w 4940931"/>
                <a:gd name="connsiteY1628" fmla="*/ 30480 h 138429"/>
                <a:gd name="connsiteX1629" fmla="*/ 1336041 w 4940931"/>
                <a:gd name="connsiteY1629" fmla="*/ 44450 h 138429"/>
                <a:gd name="connsiteX1630" fmla="*/ 1316991 w 4940931"/>
                <a:gd name="connsiteY1630" fmla="*/ 44450 h 138429"/>
                <a:gd name="connsiteX1631" fmla="*/ 1316991 w 4940931"/>
                <a:gd name="connsiteY1631" fmla="*/ 86995 h 138429"/>
                <a:gd name="connsiteX1632" fmla="*/ 1316991 w 4940931"/>
                <a:gd name="connsiteY1632" fmla="*/ 91440 h 138429"/>
                <a:gd name="connsiteX1633" fmla="*/ 1318261 w 4940931"/>
                <a:gd name="connsiteY1633" fmla="*/ 94615 h 138429"/>
                <a:gd name="connsiteX1634" fmla="*/ 1320801 w 4940931"/>
                <a:gd name="connsiteY1634" fmla="*/ 95885 h 138429"/>
                <a:gd name="connsiteX1635" fmla="*/ 1324611 w 4940931"/>
                <a:gd name="connsiteY1635" fmla="*/ 95885 h 138429"/>
                <a:gd name="connsiteX1636" fmla="*/ 1330961 w 4940931"/>
                <a:gd name="connsiteY1636" fmla="*/ 95250 h 138429"/>
                <a:gd name="connsiteX1637" fmla="*/ 1336041 w 4940931"/>
                <a:gd name="connsiteY1637" fmla="*/ 93345 h 138429"/>
                <a:gd name="connsiteX1638" fmla="*/ 1334136 w 4940931"/>
                <a:gd name="connsiteY1638" fmla="*/ 106680 h 138429"/>
                <a:gd name="connsiteX1639" fmla="*/ 1327786 w 4940931"/>
                <a:gd name="connsiteY1639" fmla="*/ 109220 h 138429"/>
                <a:gd name="connsiteX1640" fmla="*/ 1319531 w 4940931"/>
                <a:gd name="connsiteY1640" fmla="*/ 110490 h 138429"/>
                <a:gd name="connsiteX1641" fmla="*/ 1312546 w 4940931"/>
                <a:gd name="connsiteY1641" fmla="*/ 109220 h 138429"/>
                <a:gd name="connsiteX1642" fmla="*/ 1306831 w 4940931"/>
                <a:gd name="connsiteY1642" fmla="*/ 105410 h 138429"/>
                <a:gd name="connsiteX1643" fmla="*/ 1303021 w 4940931"/>
                <a:gd name="connsiteY1643" fmla="*/ 99060 h 138429"/>
                <a:gd name="connsiteX1644" fmla="*/ 1301751 w 4940931"/>
                <a:gd name="connsiteY1644" fmla="*/ 89535 h 138429"/>
                <a:gd name="connsiteX1645" fmla="*/ 1301751 w 4940931"/>
                <a:gd name="connsiteY1645" fmla="*/ 44450 h 138429"/>
                <a:gd name="connsiteX1646" fmla="*/ 1290956 w 4940931"/>
                <a:gd name="connsiteY1646" fmla="*/ 44450 h 138429"/>
                <a:gd name="connsiteX1647" fmla="*/ 1290956 w 4940931"/>
                <a:gd name="connsiteY1647" fmla="*/ 30480 h 138429"/>
                <a:gd name="connsiteX1648" fmla="*/ 1301751 w 4940931"/>
                <a:gd name="connsiteY1648" fmla="*/ 30480 h 138429"/>
                <a:gd name="connsiteX1649" fmla="*/ 1301751 w 4940931"/>
                <a:gd name="connsiteY1649" fmla="*/ 8255 h 138429"/>
                <a:gd name="connsiteX1650" fmla="*/ 751206 w 4940931"/>
                <a:gd name="connsiteY1650" fmla="*/ 0 h 138429"/>
                <a:gd name="connsiteX1651" fmla="*/ 751206 w 4940931"/>
                <a:gd name="connsiteY1651" fmla="*/ 30480 h 138429"/>
                <a:gd name="connsiteX1652" fmla="*/ 770256 w 4940931"/>
                <a:gd name="connsiteY1652" fmla="*/ 30480 h 138429"/>
                <a:gd name="connsiteX1653" fmla="*/ 770256 w 4940931"/>
                <a:gd name="connsiteY1653" fmla="*/ 44450 h 138429"/>
                <a:gd name="connsiteX1654" fmla="*/ 751206 w 4940931"/>
                <a:gd name="connsiteY1654" fmla="*/ 44450 h 138429"/>
                <a:gd name="connsiteX1655" fmla="*/ 751206 w 4940931"/>
                <a:gd name="connsiteY1655" fmla="*/ 86995 h 138429"/>
                <a:gd name="connsiteX1656" fmla="*/ 751206 w 4940931"/>
                <a:gd name="connsiteY1656" fmla="*/ 91440 h 138429"/>
                <a:gd name="connsiteX1657" fmla="*/ 752476 w 4940931"/>
                <a:gd name="connsiteY1657" fmla="*/ 94615 h 138429"/>
                <a:gd name="connsiteX1658" fmla="*/ 755016 w 4940931"/>
                <a:gd name="connsiteY1658" fmla="*/ 95885 h 138429"/>
                <a:gd name="connsiteX1659" fmla="*/ 758826 w 4940931"/>
                <a:gd name="connsiteY1659" fmla="*/ 95885 h 138429"/>
                <a:gd name="connsiteX1660" fmla="*/ 765176 w 4940931"/>
                <a:gd name="connsiteY1660" fmla="*/ 95250 h 138429"/>
                <a:gd name="connsiteX1661" fmla="*/ 770256 w 4940931"/>
                <a:gd name="connsiteY1661" fmla="*/ 93345 h 138429"/>
                <a:gd name="connsiteX1662" fmla="*/ 768351 w 4940931"/>
                <a:gd name="connsiteY1662" fmla="*/ 106680 h 138429"/>
                <a:gd name="connsiteX1663" fmla="*/ 762001 w 4940931"/>
                <a:gd name="connsiteY1663" fmla="*/ 109220 h 138429"/>
                <a:gd name="connsiteX1664" fmla="*/ 753746 w 4940931"/>
                <a:gd name="connsiteY1664" fmla="*/ 110490 h 138429"/>
                <a:gd name="connsiteX1665" fmla="*/ 746761 w 4940931"/>
                <a:gd name="connsiteY1665" fmla="*/ 109220 h 138429"/>
                <a:gd name="connsiteX1666" fmla="*/ 741045 w 4940931"/>
                <a:gd name="connsiteY1666" fmla="*/ 105410 h 138429"/>
                <a:gd name="connsiteX1667" fmla="*/ 737236 w 4940931"/>
                <a:gd name="connsiteY1667" fmla="*/ 99060 h 138429"/>
                <a:gd name="connsiteX1668" fmla="*/ 735966 w 4940931"/>
                <a:gd name="connsiteY1668" fmla="*/ 89535 h 138429"/>
                <a:gd name="connsiteX1669" fmla="*/ 735966 w 4940931"/>
                <a:gd name="connsiteY1669" fmla="*/ 44450 h 138429"/>
                <a:gd name="connsiteX1670" fmla="*/ 725171 w 4940931"/>
                <a:gd name="connsiteY1670" fmla="*/ 44450 h 138429"/>
                <a:gd name="connsiteX1671" fmla="*/ 725171 w 4940931"/>
                <a:gd name="connsiteY1671" fmla="*/ 30480 h 138429"/>
                <a:gd name="connsiteX1672" fmla="*/ 735966 w 4940931"/>
                <a:gd name="connsiteY1672" fmla="*/ 30480 h 138429"/>
                <a:gd name="connsiteX1673" fmla="*/ 735966 w 4940931"/>
                <a:gd name="connsiteY1673" fmla="*/ 8255 h 138429"/>
                <a:gd name="connsiteX1674" fmla="*/ 521335 w 4940931"/>
                <a:gd name="connsiteY1674" fmla="*/ 0 h 138429"/>
                <a:gd name="connsiteX1675" fmla="*/ 521335 w 4940931"/>
                <a:gd name="connsiteY1675" fmla="*/ 30480 h 138429"/>
                <a:gd name="connsiteX1676" fmla="*/ 540385 w 4940931"/>
                <a:gd name="connsiteY1676" fmla="*/ 30480 h 138429"/>
                <a:gd name="connsiteX1677" fmla="*/ 540385 w 4940931"/>
                <a:gd name="connsiteY1677" fmla="*/ 44450 h 138429"/>
                <a:gd name="connsiteX1678" fmla="*/ 521335 w 4940931"/>
                <a:gd name="connsiteY1678" fmla="*/ 44450 h 138429"/>
                <a:gd name="connsiteX1679" fmla="*/ 521335 w 4940931"/>
                <a:gd name="connsiteY1679" fmla="*/ 86995 h 138429"/>
                <a:gd name="connsiteX1680" fmla="*/ 521335 w 4940931"/>
                <a:gd name="connsiteY1680" fmla="*/ 91440 h 138429"/>
                <a:gd name="connsiteX1681" fmla="*/ 522605 w 4940931"/>
                <a:gd name="connsiteY1681" fmla="*/ 94615 h 138429"/>
                <a:gd name="connsiteX1682" fmla="*/ 525145 w 4940931"/>
                <a:gd name="connsiteY1682" fmla="*/ 95885 h 138429"/>
                <a:gd name="connsiteX1683" fmla="*/ 528955 w 4940931"/>
                <a:gd name="connsiteY1683" fmla="*/ 95885 h 138429"/>
                <a:gd name="connsiteX1684" fmla="*/ 535305 w 4940931"/>
                <a:gd name="connsiteY1684" fmla="*/ 95250 h 138429"/>
                <a:gd name="connsiteX1685" fmla="*/ 540385 w 4940931"/>
                <a:gd name="connsiteY1685" fmla="*/ 93345 h 138429"/>
                <a:gd name="connsiteX1686" fmla="*/ 538480 w 4940931"/>
                <a:gd name="connsiteY1686" fmla="*/ 106680 h 138429"/>
                <a:gd name="connsiteX1687" fmla="*/ 532130 w 4940931"/>
                <a:gd name="connsiteY1687" fmla="*/ 109220 h 138429"/>
                <a:gd name="connsiteX1688" fmla="*/ 523875 w 4940931"/>
                <a:gd name="connsiteY1688" fmla="*/ 110490 h 138429"/>
                <a:gd name="connsiteX1689" fmla="*/ 516890 w 4940931"/>
                <a:gd name="connsiteY1689" fmla="*/ 109220 h 138429"/>
                <a:gd name="connsiteX1690" fmla="*/ 511175 w 4940931"/>
                <a:gd name="connsiteY1690" fmla="*/ 105410 h 138429"/>
                <a:gd name="connsiteX1691" fmla="*/ 507365 w 4940931"/>
                <a:gd name="connsiteY1691" fmla="*/ 99060 h 138429"/>
                <a:gd name="connsiteX1692" fmla="*/ 506095 w 4940931"/>
                <a:gd name="connsiteY1692" fmla="*/ 89535 h 138429"/>
                <a:gd name="connsiteX1693" fmla="*/ 506095 w 4940931"/>
                <a:gd name="connsiteY1693" fmla="*/ 44450 h 138429"/>
                <a:gd name="connsiteX1694" fmla="*/ 495300 w 4940931"/>
                <a:gd name="connsiteY1694" fmla="*/ 44450 h 138429"/>
                <a:gd name="connsiteX1695" fmla="*/ 495300 w 4940931"/>
                <a:gd name="connsiteY1695" fmla="*/ 30480 h 138429"/>
                <a:gd name="connsiteX1696" fmla="*/ 506095 w 4940931"/>
                <a:gd name="connsiteY1696" fmla="*/ 30480 h 138429"/>
                <a:gd name="connsiteX1697" fmla="*/ 506095 w 4940931"/>
                <a:gd name="connsiteY1697" fmla="*/ 8255 h 138429"/>
                <a:gd name="connsiteX1698" fmla="*/ 466724 w 4940931"/>
                <a:gd name="connsiteY1698" fmla="*/ 0 h 138429"/>
                <a:gd name="connsiteX1699" fmla="*/ 466724 w 4940931"/>
                <a:gd name="connsiteY1699" fmla="*/ 30480 h 138429"/>
                <a:gd name="connsiteX1700" fmla="*/ 485774 w 4940931"/>
                <a:gd name="connsiteY1700" fmla="*/ 30480 h 138429"/>
                <a:gd name="connsiteX1701" fmla="*/ 485774 w 4940931"/>
                <a:gd name="connsiteY1701" fmla="*/ 44450 h 138429"/>
                <a:gd name="connsiteX1702" fmla="*/ 466724 w 4940931"/>
                <a:gd name="connsiteY1702" fmla="*/ 44450 h 138429"/>
                <a:gd name="connsiteX1703" fmla="*/ 466724 w 4940931"/>
                <a:gd name="connsiteY1703" fmla="*/ 86995 h 138429"/>
                <a:gd name="connsiteX1704" fmla="*/ 466724 w 4940931"/>
                <a:gd name="connsiteY1704" fmla="*/ 91440 h 138429"/>
                <a:gd name="connsiteX1705" fmla="*/ 467994 w 4940931"/>
                <a:gd name="connsiteY1705" fmla="*/ 94615 h 138429"/>
                <a:gd name="connsiteX1706" fmla="*/ 470534 w 4940931"/>
                <a:gd name="connsiteY1706" fmla="*/ 95885 h 138429"/>
                <a:gd name="connsiteX1707" fmla="*/ 474344 w 4940931"/>
                <a:gd name="connsiteY1707" fmla="*/ 95885 h 138429"/>
                <a:gd name="connsiteX1708" fmla="*/ 480694 w 4940931"/>
                <a:gd name="connsiteY1708" fmla="*/ 95250 h 138429"/>
                <a:gd name="connsiteX1709" fmla="*/ 485774 w 4940931"/>
                <a:gd name="connsiteY1709" fmla="*/ 93345 h 138429"/>
                <a:gd name="connsiteX1710" fmla="*/ 483869 w 4940931"/>
                <a:gd name="connsiteY1710" fmla="*/ 106680 h 138429"/>
                <a:gd name="connsiteX1711" fmla="*/ 477519 w 4940931"/>
                <a:gd name="connsiteY1711" fmla="*/ 109220 h 138429"/>
                <a:gd name="connsiteX1712" fmla="*/ 469264 w 4940931"/>
                <a:gd name="connsiteY1712" fmla="*/ 110490 h 138429"/>
                <a:gd name="connsiteX1713" fmla="*/ 462279 w 4940931"/>
                <a:gd name="connsiteY1713" fmla="*/ 109220 h 138429"/>
                <a:gd name="connsiteX1714" fmla="*/ 456564 w 4940931"/>
                <a:gd name="connsiteY1714" fmla="*/ 105410 h 138429"/>
                <a:gd name="connsiteX1715" fmla="*/ 452754 w 4940931"/>
                <a:gd name="connsiteY1715" fmla="*/ 99060 h 138429"/>
                <a:gd name="connsiteX1716" fmla="*/ 451484 w 4940931"/>
                <a:gd name="connsiteY1716" fmla="*/ 89535 h 138429"/>
                <a:gd name="connsiteX1717" fmla="*/ 451484 w 4940931"/>
                <a:gd name="connsiteY1717" fmla="*/ 44450 h 138429"/>
                <a:gd name="connsiteX1718" fmla="*/ 440689 w 4940931"/>
                <a:gd name="connsiteY1718" fmla="*/ 44450 h 138429"/>
                <a:gd name="connsiteX1719" fmla="*/ 440689 w 4940931"/>
                <a:gd name="connsiteY1719" fmla="*/ 30480 h 138429"/>
                <a:gd name="connsiteX1720" fmla="*/ 451484 w 4940931"/>
                <a:gd name="connsiteY1720" fmla="*/ 30480 h 138429"/>
                <a:gd name="connsiteX1721" fmla="*/ 451484 w 4940931"/>
                <a:gd name="connsiteY1721" fmla="*/ 8255 h 138429"/>
                <a:gd name="connsiteX1722" fmla="*/ 302259 w 4940931"/>
                <a:gd name="connsiteY1722" fmla="*/ 0 h 138429"/>
                <a:gd name="connsiteX1723" fmla="*/ 302259 w 4940931"/>
                <a:gd name="connsiteY1723" fmla="*/ 37465 h 138429"/>
                <a:gd name="connsiteX1724" fmla="*/ 306704 w 4940931"/>
                <a:gd name="connsiteY1724" fmla="*/ 33655 h 138429"/>
                <a:gd name="connsiteX1725" fmla="*/ 310514 w 4940931"/>
                <a:gd name="connsiteY1725" fmla="*/ 31115 h 138429"/>
                <a:gd name="connsiteX1726" fmla="*/ 315594 w 4940931"/>
                <a:gd name="connsiteY1726" fmla="*/ 29210 h 138429"/>
                <a:gd name="connsiteX1727" fmla="*/ 322579 w 4940931"/>
                <a:gd name="connsiteY1727" fmla="*/ 28575 h 138429"/>
                <a:gd name="connsiteX1728" fmla="*/ 334644 w 4940931"/>
                <a:gd name="connsiteY1728" fmla="*/ 31115 h 138429"/>
                <a:gd name="connsiteX1729" fmla="*/ 344169 w 4940931"/>
                <a:gd name="connsiteY1729" fmla="*/ 38735 h 138429"/>
                <a:gd name="connsiteX1730" fmla="*/ 350519 w 4940931"/>
                <a:gd name="connsiteY1730" fmla="*/ 51435 h 138429"/>
                <a:gd name="connsiteX1731" fmla="*/ 353059 w 4940931"/>
                <a:gd name="connsiteY1731" fmla="*/ 70485 h 138429"/>
                <a:gd name="connsiteX1732" fmla="*/ 352424 w 4940931"/>
                <a:gd name="connsiteY1732" fmla="*/ 71120 h 138429"/>
                <a:gd name="connsiteX1733" fmla="*/ 349884 w 4940931"/>
                <a:gd name="connsiteY1733" fmla="*/ 88265 h 138429"/>
                <a:gd name="connsiteX1734" fmla="*/ 342899 w 4940931"/>
                <a:gd name="connsiteY1734" fmla="*/ 100330 h 138429"/>
                <a:gd name="connsiteX1735" fmla="*/ 333374 w 4940931"/>
                <a:gd name="connsiteY1735" fmla="*/ 107315 h 138429"/>
                <a:gd name="connsiteX1736" fmla="*/ 321944 w 4940931"/>
                <a:gd name="connsiteY1736" fmla="*/ 109855 h 138429"/>
                <a:gd name="connsiteX1737" fmla="*/ 311149 w 4940931"/>
                <a:gd name="connsiteY1737" fmla="*/ 107315 h 138429"/>
                <a:gd name="connsiteX1738" fmla="*/ 302259 w 4940931"/>
                <a:gd name="connsiteY1738" fmla="*/ 100965 h 138429"/>
                <a:gd name="connsiteX1739" fmla="*/ 302259 w 4940931"/>
                <a:gd name="connsiteY1739" fmla="*/ 107950 h 138429"/>
                <a:gd name="connsiteX1740" fmla="*/ 287019 w 4940931"/>
                <a:gd name="connsiteY1740" fmla="*/ 107950 h 138429"/>
                <a:gd name="connsiteX1741" fmla="*/ 287019 w 4940931"/>
                <a:gd name="connsiteY1741" fmla="*/ 7620 h 138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  <a:cxn ang="0">
                  <a:pos x="connsiteX1535" y="connsiteY1535"/>
                </a:cxn>
                <a:cxn ang="0">
                  <a:pos x="connsiteX1536" y="connsiteY1536"/>
                </a:cxn>
                <a:cxn ang="0">
                  <a:pos x="connsiteX1537" y="connsiteY1537"/>
                </a:cxn>
                <a:cxn ang="0">
                  <a:pos x="connsiteX1538" y="connsiteY1538"/>
                </a:cxn>
                <a:cxn ang="0">
                  <a:pos x="connsiteX1539" y="connsiteY1539"/>
                </a:cxn>
                <a:cxn ang="0">
                  <a:pos x="connsiteX1540" y="connsiteY1540"/>
                </a:cxn>
                <a:cxn ang="0">
                  <a:pos x="connsiteX1541" y="connsiteY1541"/>
                </a:cxn>
                <a:cxn ang="0">
                  <a:pos x="connsiteX1542" y="connsiteY1542"/>
                </a:cxn>
                <a:cxn ang="0">
                  <a:pos x="connsiteX1543" y="connsiteY1543"/>
                </a:cxn>
                <a:cxn ang="0">
                  <a:pos x="connsiteX1544" y="connsiteY1544"/>
                </a:cxn>
                <a:cxn ang="0">
                  <a:pos x="connsiteX1545" y="connsiteY1545"/>
                </a:cxn>
                <a:cxn ang="0">
                  <a:pos x="connsiteX1546" y="connsiteY1546"/>
                </a:cxn>
                <a:cxn ang="0">
                  <a:pos x="connsiteX1547" y="connsiteY1547"/>
                </a:cxn>
                <a:cxn ang="0">
                  <a:pos x="connsiteX1548" y="connsiteY1548"/>
                </a:cxn>
                <a:cxn ang="0">
                  <a:pos x="connsiteX1549" y="connsiteY1549"/>
                </a:cxn>
                <a:cxn ang="0">
                  <a:pos x="connsiteX1550" y="connsiteY1550"/>
                </a:cxn>
                <a:cxn ang="0">
                  <a:pos x="connsiteX1551" y="connsiteY1551"/>
                </a:cxn>
                <a:cxn ang="0">
                  <a:pos x="connsiteX1552" y="connsiteY1552"/>
                </a:cxn>
                <a:cxn ang="0">
                  <a:pos x="connsiteX1553" y="connsiteY1553"/>
                </a:cxn>
                <a:cxn ang="0">
                  <a:pos x="connsiteX1554" y="connsiteY1554"/>
                </a:cxn>
                <a:cxn ang="0">
                  <a:pos x="connsiteX1555" y="connsiteY1555"/>
                </a:cxn>
                <a:cxn ang="0">
                  <a:pos x="connsiteX1556" y="connsiteY1556"/>
                </a:cxn>
                <a:cxn ang="0">
                  <a:pos x="connsiteX1557" y="connsiteY1557"/>
                </a:cxn>
                <a:cxn ang="0">
                  <a:pos x="connsiteX1558" y="connsiteY1558"/>
                </a:cxn>
                <a:cxn ang="0">
                  <a:pos x="connsiteX1559" y="connsiteY1559"/>
                </a:cxn>
                <a:cxn ang="0">
                  <a:pos x="connsiteX1560" y="connsiteY1560"/>
                </a:cxn>
                <a:cxn ang="0">
                  <a:pos x="connsiteX1561" y="connsiteY1561"/>
                </a:cxn>
                <a:cxn ang="0">
                  <a:pos x="connsiteX1562" y="connsiteY1562"/>
                </a:cxn>
                <a:cxn ang="0">
                  <a:pos x="connsiteX1563" y="connsiteY1563"/>
                </a:cxn>
                <a:cxn ang="0">
                  <a:pos x="connsiteX1564" y="connsiteY1564"/>
                </a:cxn>
                <a:cxn ang="0">
                  <a:pos x="connsiteX1565" y="connsiteY1565"/>
                </a:cxn>
                <a:cxn ang="0">
                  <a:pos x="connsiteX1566" y="connsiteY1566"/>
                </a:cxn>
                <a:cxn ang="0">
                  <a:pos x="connsiteX1567" y="connsiteY1567"/>
                </a:cxn>
                <a:cxn ang="0">
                  <a:pos x="connsiteX1568" y="connsiteY1568"/>
                </a:cxn>
                <a:cxn ang="0">
                  <a:pos x="connsiteX1569" y="connsiteY1569"/>
                </a:cxn>
                <a:cxn ang="0">
                  <a:pos x="connsiteX1570" y="connsiteY1570"/>
                </a:cxn>
                <a:cxn ang="0">
                  <a:pos x="connsiteX1571" y="connsiteY1571"/>
                </a:cxn>
                <a:cxn ang="0">
                  <a:pos x="connsiteX1572" y="connsiteY1572"/>
                </a:cxn>
                <a:cxn ang="0">
                  <a:pos x="connsiteX1573" y="connsiteY1573"/>
                </a:cxn>
                <a:cxn ang="0">
                  <a:pos x="connsiteX1574" y="connsiteY1574"/>
                </a:cxn>
                <a:cxn ang="0">
                  <a:pos x="connsiteX1575" y="connsiteY1575"/>
                </a:cxn>
                <a:cxn ang="0">
                  <a:pos x="connsiteX1576" y="connsiteY1576"/>
                </a:cxn>
                <a:cxn ang="0">
                  <a:pos x="connsiteX1577" y="connsiteY1577"/>
                </a:cxn>
                <a:cxn ang="0">
                  <a:pos x="connsiteX1578" y="connsiteY1578"/>
                </a:cxn>
                <a:cxn ang="0">
                  <a:pos x="connsiteX1579" y="connsiteY1579"/>
                </a:cxn>
                <a:cxn ang="0">
                  <a:pos x="connsiteX1580" y="connsiteY1580"/>
                </a:cxn>
                <a:cxn ang="0">
                  <a:pos x="connsiteX1581" y="connsiteY1581"/>
                </a:cxn>
                <a:cxn ang="0">
                  <a:pos x="connsiteX1582" y="connsiteY1582"/>
                </a:cxn>
                <a:cxn ang="0">
                  <a:pos x="connsiteX1583" y="connsiteY1583"/>
                </a:cxn>
                <a:cxn ang="0">
                  <a:pos x="connsiteX1584" y="connsiteY1584"/>
                </a:cxn>
                <a:cxn ang="0">
                  <a:pos x="connsiteX1585" y="connsiteY1585"/>
                </a:cxn>
                <a:cxn ang="0">
                  <a:pos x="connsiteX1586" y="connsiteY1586"/>
                </a:cxn>
                <a:cxn ang="0">
                  <a:pos x="connsiteX1587" y="connsiteY1587"/>
                </a:cxn>
                <a:cxn ang="0">
                  <a:pos x="connsiteX1588" y="connsiteY1588"/>
                </a:cxn>
                <a:cxn ang="0">
                  <a:pos x="connsiteX1589" y="connsiteY1589"/>
                </a:cxn>
                <a:cxn ang="0">
                  <a:pos x="connsiteX1590" y="connsiteY1590"/>
                </a:cxn>
                <a:cxn ang="0">
                  <a:pos x="connsiteX1591" y="connsiteY1591"/>
                </a:cxn>
                <a:cxn ang="0">
                  <a:pos x="connsiteX1592" y="connsiteY1592"/>
                </a:cxn>
                <a:cxn ang="0">
                  <a:pos x="connsiteX1593" y="connsiteY1593"/>
                </a:cxn>
                <a:cxn ang="0">
                  <a:pos x="connsiteX1594" y="connsiteY1594"/>
                </a:cxn>
                <a:cxn ang="0">
                  <a:pos x="connsiteX1595" y="connsiteY1595"/>
                </a:cxn>
                <a:cxn ang="0">
                  <a:pos x="connsiteX1596" y="connsiteY1596"/>
                </a:cxn>
                <a:cxn ang="0">
                  <a:pos x="connsiteX1597" y="connsiteY1597"/>
                </a:cxn>
                <a:cxn ang="0">
                  <a:pos x="connsiteX1598" y="connsiteY1598"/>
                </a:cxn>
                <a:cxn ang="0">
                  <a:pos x="connsiteX1599" y="connsiteY1599"/>
                </a:cxn>
                <a:cxn ang="0">
                  <a:pos x="connsiteX1600" y="connsiteY1600"/>
                </a:cxn>
                <a:cxn ang="0">
                  <a:pos x="connsiteX1601" y="connsiteY1601"/>
                </a:cxn>
                <a:cxn ang="0">
                  <a:pos x="connsiteX1602" y="connsiteY1602"/>
                </a:cxn>
                <a:cxn ang="0">
                  <a:pos x="connsiteX1603" y="connsiteY1603"/>
                </a:cxn>
                <a:cxn ang="0">
                  <a:pos x="connsiteX1604" y="connsiteY1604"/>
                </a:cxn>
                <a:cxn ang="0">
                  <a:pos x="connsiteX1605" y="connsiteY1605"/>
                </a:cxn>
                <a:cxn ang="0">
                  <a:pos x="connsiteX1606" y="connsiteY1606"/>
                </a:cxn>
                <a:cxn ang="0">
                  <a:pos x="connsiteX1607" y="connsiteY1607"/>
                </a:cxn>
                <a:cxn ang="0">
                  <a:pos x="connsiteX1608" y="connsiteY1608"/>
                </a:cxn>
                <a:cxn ang="0">
                  <a:pos x="connsiteX1609" y="connsiteY1609"/>
                </a:cxn>
                <a:cxn ang="0">
                  <a:pos x="connsiteX1610" y="connsiteY1610"/>
                </a:cxn>
                <a:cxn ang="0">
                  <a:pos x="connsiteX1611" y="connsiteY1611"/>
                </a:cxn>
                <a:cxn ang="0">
                  <a:pos x="connsiteX1612" y="connsiteY1612"/>
                </a:cxn>
                <a:cxn ang="0">
                  <a:pos x="connsiteX1613" y="connsiteY1613"/>
                </a:cxn>
                <a:cxn ang="0">
                  <a:pos x="connsiteX1614" y="connsiteY1614"/>
                </a:cxn>
                <a:cxn ang="0">
                  <a:pos x="connsiteX1615" y="connsiteY1615"/>
                </a:cxn>
                <a:cxn ang="0">
                  <a:pos x="connsiteX1616" y="connsiteY1616"/>
                </a:cxn>
                <a:cxn ang="0">
                  <a:pos x="connsiteX1617" y="connsiteY1617"/>
                </a:cxn>
                <a:cxn ang="0">
                  <a:pos x="connsiteX1618" y="connsiteY1618"/>
                </a:cxn>
                <a:cxn ang="0">
                  <a:pos x="connsiteX1619" y="connsiteY1619"/>
                </a:cxn>
                <a:cxn ang="0">
                  <a:pos x="connsiteX1620" y="connsiteY1620"/>
                </a:cxn>
                <a:cxn ang="0">
                  <a:pos x="connsiteX1621" y="connsiteY1621"/>
                </a:cxn>
                <a:cxn ang="0">
                  <a:pos x="connsiteX1622" y="connsiteY1622"/>
                </a:cxn>
                <a:cxn ang="0">
                  <a:pos x="connsiteX1623" y="connsiteY1623"/>
                </a:cxn>
                <a:cxn ang="0">
                  <a:pos x="connsiteX1624" y="connsiteY1624"/>
                </a:cxn>
                <a:cxn ang="0">
                  <a:pos x="connsiteX1625" y="connsiteY1625"/>
                </a:cxn>
                <a:cxn ang="0">
                  <a:pos x="connsiteX1626" y="connsiteY1626"/>
                </a:cxn>
                <a:cxn ang="0">
                  <a:pos x="connsiteX1627" y="connsiteY1627"/>
                </a:cxn>
                <a:cxn ang="0">
                  <a:pos x="connsiteX1628" y="connsiteY1628"/>
                </a:cxn>
                <a:cxn ang="0">
                  <a:pos x="connsiteX1629" y="connsiteY1629"/>
                </a:cxn>
                <a:cxn ang="0">
                  <a:pos x="connsiteX1630" y="connsiteY1630"/>
                </a:cxn>
                <a:cxn ang="0">
                  <a:pos x="connsiteX1631" y="connsiteY1631"/>
                </a:cxn>
                <a:cxn ang="0">
                  <a:pos x="connsiteX1632" y="connsiteY1632"/>
                </a:cxn>
                <a:cxn ang="0">
                  <a:pos x="connsiteX1633" y="connsiteY1633"/>
                </a:cxn>
                <a:cxn ang="0">
                  <a:pos x="connsiteX1634" y="connsiteY1634"/>
                </a:cxn>
                <a:cxn ang="0">
                  <a:pos x="connsiteX1635" y="connsiteY1635"/>
                </a:cxn>
                <a:cxn ang="0">
                  <a:pos x="connsiteX1636" y="connsiteY1636"/>
                </a:cxn>
                <a:cxn ang="0">
                  <a:pos x="connsiteX1637" y="connsiteY1637"/>
                </a:cxn>
                <a:cxn ang="0">
                  <a:pos x="connsiteX1638" y="connsiteY1638"/>
                </a:cxn>
                <a:cxn ang="0">
                  <a:pos x="connsiteX1639" y="connsiteY1639"/>
                </a:cxn>
                <a:cxn ang="0">
                  <a:pos x="connsiteX1640" y="connsiteY1640"/>
                </a:cxn>
                <a:cxn ang="0">
                  <a:pos x="connsiteX1641" y="connsiteY1641"/>
                </a:cxn>
                <a:cxn ang="0">
                  <a:pos x="connsiteX1642" y="connsiteY1642"/>
                </a:cxn>
                <a:cxn ang="0">
                  <a:pos x="connsiteX1643" y="connsiteY1643"/>
                </a:cxn>
                <a:cxn ang="0">
                  <a:pos x="connsiteX1644" y="connsiteY1644"/>
                </a:cxn>
                <a:cxn ang="0">
                  <a:pos x="connsiteX1645" y="connsiteY1645"/>
                </a:cxn>
                <a:cxn ang="0">
                  <a:pos x="connsiteX1646" y="connsiteY1646"/>
                </a:cxn>
                <a:cxn ang="0">
                  <a:pos x="connsiteX1647" y="connsiteY1647"/>
                </a:cxn>
                <a:cxn ang="0">
                  <a:pos x="connsiteX1648" y="connsiteY1648"/>
                </a:cxn>
                <a:cxn ang="0">
                  <a:pos x="connsiteX1649" y="connsiteY1649"/>
                </a:cxn>
                <a:cxn ang="0">
                  <a:pos x="connsiteX1650" y="connsiteY1650"/>
                </a:cxn>
                <a:cxn ang="0">
                  <a:pos x="connsiteX1651" y="connsiteY1651"/>
                </a:cxn>
                <a:cxn ang="0">
                  <a:pos x="connsiteX1652" y="connsiteY1652"/>
                </a:cxn>
                <a:cxn ang="0">
                  <a:pos x="connsiteX1653" y="connsiteY1653"/>
                </a:cxn>
                <a:cxn ang="0">
                  <a:pos x="connsiteX1654" y="connsiteY1654"/>
                </a:cxn>
                <a:cxn ang="0">
                  <a:pos x="connsiteX1655" y="connsiteY1655"/>
                </a:cxn>
                <a:cxn ang="0">
                  <a:pos x="connsiteX1656" y="connsiteY1656"/>
                </a:cxn>
                <a:cxn ang="0">
                  <a:pos x="connsiteX1657" y="connsiteY1657"/>
                </a:cxn>
                <a:cxn ang="0">
                  <a:pos x="connsiteX1658" y="connsiteY1658"/>
                </a:cxn>
                <a:cxn ang="0">
                  <a:pos x="connsiteX1659" y="connsiteY1659"/>
                </a:cxn>
                <a:cxn ang="0">
                  <a:pos x="connsiteX1660" y="connsiteY1660"/>
                </a:cxn>
                <a:cxn ang="0">
                  <a:pos x="connsiteX1661" y="connsiteY1661"/>
                </a:cxn>
                <a:cxn ang="0">
                  <a:pos x="connsiteX1662" y="connsiteY1662"/>
                </a:cxn>
                <a:cxn ang="0">
                  <a:pos x="connsiteX1663" y="connsiteY1663"/>
                </a:cxn>
                <a:cxn ang="0">
                  <a:pos x="connsiteX1664" y="connsiteY1664"/>
                </a:cxn>
                <a:cxn ang="0">
                  <a:pos x="connsiteX1665" y="connsiteY1665"/>
                </a:cxn>
                <a:cxn ang="0">
                  <a:pos x="connsiteX1666" y="connsiteY1666"/>
                </a:cxn>
                <a:cxn ang="0">
                  <a:pos x="connsiteX1667" y="connsiteY1667"/>
                </a:cxn>
                <a:cxn ang="0">
                  <a:pos x="connsiteX1668" y="connsiteY1668"/>
                </a:cxn>
                <a:cxn ang="0">
                  <a:pos x="connsiteX1669" y="connsiteY1669"/>
                </a:cxn>
                <a:cxn ang="0">
                  <a:pos x="connsiteX1670" y="connsiteY1670"/>
                </a:cxn>
                <a:cxn ang="0">
                  <a:pos x="connsiteX1671" y="connsiteY1671"/>
                </a:cxn>
                <a:cxn ang="0">
                  <a:pos x="connsiteX1672" y="connsiteY1672"/>
                </a:cxn>
                <a:cxn ang="0">
                  <a:pos x="connsiteX1673" y="connsiteY1673"/>
                </a:cxn>
                <a:cxn ang="0">
                  <a:pos x="connsiteX1674" y="connsiteY1674"/>
                </a:cxn>
                <a:cxn ang="0">
                  <a:pos x="connsiteX1675" y="connsiteY1675"/>
                </a:cxn>
                <a:cxn ang="0">
                  <a:pos x="connsiteX1676" y="connsiteY1676"/>
                </a:cxn>
                <a:cxn ang="0">
                  <a:pos x="connsiteX1677" y="connsiteY1677"/>
                </a:cxn>
                <a:cxn ang="0">
                  <a:pos x="connsiteX1678" y="connsiteY1678"/>
                </a:cxn>
                <a:cxn ang="0">
                  <a:pos x="connsiteX1679" y="connsiteY1679"/>
                </a:cxn>
                <a:cxn ang="0">
                  <a:pos x="connsiteX1680" y="connsiteY1680"/>
                </a:cxn>
                <a:cxn ang="0">
                  <a:pos x="connsiteX1681" y="connsiteY1681"/>
                </a:cxn>
                <a:cxn ang="0">
                  <a:pos x="connsiteX1682" y="connsiteY1682"/>
                </a:cxn>
                <a:cxn ang="0">
                  <a:pos x="connsiteX1683" y="connsiteY1683"/>
                </a:cxn>
                <a:cxn ang="0">
                  <a:pos x="connsiteX1684" y="connsiteY1684"/>
                </a:cxn>
                <a:cxn ang="0">
                  <a:pos x="connsiteX1685" y="connsiteY1685"/>
                </a:cxn>
                <a:cxn ang="0">
                  <a:pos x="connsiteX1686" y="connsiteY1686"/>
                </a:cxn>
                <a:cxn ang="0">
                  <a:pos x="connsiteX1687" y="connsiteY1687"/>
                </a:cxn>
                <a:cxn ang="0">
                  <a:pos x="connsiteX1688" y="connsiteY1688"/>
                </a:cxn>
                <a:cxn ang="0">
                  <a:pos x="connsiteX1689" y="connsiteY1689"/>
                </a:cxn>
                <a:cxn ang="0">
                  <a:pos x="connsiteX1690" y="connsiteY1690"/>
                </a:cxn>
                <a:cxn ang="0">
                  <a:pos x="connsiteX1691" y="connsiteY1691"/>
                </a:cxn>
                <a:cxn ang="0">
                  <a:pos x="connsiteX1692" y="connsiteY1692"/>
                </a:cxn>
                <a:cxn ang="0">
                  <a:pos x="connsiteX1693" y="connsiteY1693"/>
                </a:cxn>
                <a:cxn ang="0">
                  <a:pos x="connsiteX1694" y="connsiteY1694"/>
                </a:cxn>
                <a:cxn ang="0">
                  <a:pos x="connsiteX1695" y="connsiteY1695"/>
                </a:cxn>
                <a:cxn ang="0">
                  <a:pos x="connsiteX1696" y="connsiteY1696"/>
                </a:cxn>
                <a:cxn ang="0">
                  <a:pos x="connsiteX1697" y="connsiteY1697"/>
                </a:cxn>
                <a:cxn ang="0">
                  <a:pos x="connsiteX1698" y="connsiteY1698"/>
                </a:cxn>
                <a:cxn ang="0">
                  <a:pos x="connsiteX1699" y="connsiteY1699"/>
                </a:cxn>
                <a:cxn ang="0">
                  <a:pos x="connsiteX1700" y="connsiteY1700"/>
                </a:cxn>
                <a:cxn ang="0">
                  <a:pos x="connsiteX1701" y="connsiteY1701"/>
                </a:cxn>
                <a:cxn ang="0">
                  <a:pos x="connsiteX1702" y="connsiteY1702"/>
                </a:cxn>
                <a:cxn ang="0">
                  <a:pos x="connsiteX1703" y="connsiteY1703"/>
                </a:cxn>
                <a:cxn ang="0">
                  <a:pos x="connsiteX1704" y="connsiteY1704"/>
                </a:cxn>
                <a:cxn ang="0">
                  <a:pos x="connsiteX1705" y="connsiteY1705"/>
                </a:cxn>
                <a:cxn ang="0">
                  <a:pos x="connsiteX1706" y="connsiteY1706"/>
                </a:cxn>
                <a:cxn ang="0">
                  <a:pos x="connsiteX1707" y="connsiteY1707"/>
                </a:cxn>
                <a:cxn ang="0">
                  <a:pos x="connsiteX1708" y="connsiteY1708"/>
                </a:cxn>
                <a:cxn ang="0">
                  <a:pos x="connsiteX1709" y="connsiteY1709"/>
                </a:cxn>
                <a:cxn ang="0">
                  <a:pos x="connsiteX1710" y="connsiteY1710"/>
                </a:cxn>
                <a:cxn ang="0">
                  <a:pos x="connsiteX1711" y="connsiteY1711"/>
                </a:cxn>
                <a:cxn ang="0">
                  <a:pos x="connsiteX1712" y="connsiteY1712"/>
                </a:cxn>
                <a:cxn ang="0">
                  <a:pos x="connsiteX1713" y="connsiteY1713"/>
                </a:cxn>
                <a:cxn ang="0">
                  <a:pos x="connsiteX1714" y="connsiteY1714"/>
                </a:cxn>
                <a:cxn ang="0">
                  <a:pos x="connsiteX1715" y="connsiteY1715"/>
                </a:cxn>
                <a:cxn ang="0">
                  <a:pos x="connsiteX1716" y="connsiteY1716"/>
                </a:cxn>
                <a:cxn ang="0">
                  <a:pos x="connsiteX1717" y="connsiteY1717"/>
                </a:cxn>
                <a:cxn ang="0">
                  <a:pos x="connsiteX1718" y="connsiteY1718"/>
                </a:cxn>
                <a:cxn ang="0">
                  <a:pos x="connsiteX1719" y="connsiteY1719"/>
                </a:cxn>
                <a:cxn ang="0">
                  <a:pos x="connsiteX1720" y="connsiteY1720"/>
                </a:cxn>
                <a:cxn ang="0">
                  <a:pos x="connsiteX1721" y="connsiteY1721"/>
                </a:cxn>
                <a:cxn ang="0">
                  <a:pos x="connsiteX1722" y="connsiteY1722"/>
                </a:cxn>
                <a:cxn ang="0">
                  <a:pos x="connsiteX1723" y="connsiteY1723"/>
                </a:cxn>
                <a:cxn ang="0">
                  <a:pos x="connsiteX1724" y="connsiteY1724"/>
                </a:cxn>
                <a:cxn ang="0">
                  <a:pos x="connsiteX1725" y="connsiteY1725"/>
                </a:cxn>
                <a:cxn ang="0">
                  <a:pos x="connsiteX1726" y="connsiteY1726"/>
                </a:cxn>
                <a:cxn ang="0">
                  <a:pos x="connsiteX1727" y="connsiteY1727"/>
                </a:cxn>
                <a:cxn ang="0">
                  <a:pos x="connsiteX1728" y="connsiteY1728"/>
                </a:cxn>
                <a:cxn ang="0">
                  <a:pos x="connsiteX1729" y="connsiteY1729"/>
                </a:cxn>
                <a:cxn ang="0">
                  <a:pos x="connsiteX1730" y="connsiteY1730"/>
                </a:cxn>
                <a:cxn ang="0">
                  <a:pos x="connsiteX1731" y="connsiteY1731"/>
                </a:cxn>
                <a:cxn ang="0">
                  <a:pos x="connsiteX1732" y="connsiteY1732"/>
                </a:cxn>
                <a:cxn ang="0">
                  <a:pos x="connsiteX1733" y="connsiteY1733"/>
                </a:cxn>
                <a:cxn ang="0">
                  <a:pos x="connsiteX1734" y="connsiteY1734"/>
                </a:cxn>
                <a:cxn ang="0">
                  <a:pos x="connsiteX1735" y="connsiteY1735"/>
                </a:cxn>
                <a:cxn ang="0">
                  <a:pos x="connsiteX1736" y="connsiteY1736"/>
                </a:cxn>
                <a:cxn ang="0">
                  <a:pos x="connsiteX1737" y="connsiteY1737"/>
                </a:cxn>
                <a:cxn ang="0">
                  <a:pos x="connsiteX1738" y="connsiteY1738"/>
                </a:cxn>
                <a:cxn ang="0">
                  <a:pos x="connsiteX1739" y="connsiteY1739"/>
                </a:cxn>
                <a:cxn ang="0">
                  <a:pos x="connsiteX1740" y="connsiteY1740"/>
                </a:cxn>
                <a:cxn ang="0">
                  <a:pos x="connsiteX1741" y="connsiteY1741"/>
                </a:cxn>
              </a:cxnLst>
              <a:rect l="l" t="t" r="r" b="b"/>
              <a:pathLst>
                <a:path w="4940931" h="138429">
                  <a:moveTo>
                    <a:pt x="1032512" y="137477"/>
                  </a:moveTo>
                  <a:lnTo>
                    <a:pt x="1032512" y="137794"/>
                  </a:lnTo>
                  <a:lnTo>
                    <a:pt x="1030607" y="138429"/>
                  </a:lnTo>
                  <a:close/>
                  <a:moveTo>
                    <a:pt x="4929501" y="87629"/>
                  </a:moveTo>
                  <a:cubicBezTo>
                    <a:pt x="4930771" y="87629"/>
                    <a:pt x="4932676" y="87629"/>
                    <a:pt x="4933946" y="88264"/>
                  </a:cubicBezTo>
                  <a:cubicBezTo>
                    <a:pt x="4935216" y="88264"/>
                    <a:pt x="4936486" y="89534"/>
                    <a:pt x="4937756" y="90804"/>
                  </a:cubicBezTo>
                  <a:cubicBezTo>
                    <a:pt x="4939026" y="92074"/>
                    <a:pt x="4939661" y="93344"/>
                    <a:pt x="4940296" y="94614"/>
                  </a:cubicBezTo>
                  <a:cubicBezTo>
                    <a:pt x="4940296" y="95884"/>
                    <a:pt x="4940931" y="97789"/>
                    <a:pt x="4940931" y="99059"/>
                  </a:cubicBezTo>
                  <a:cubicBezTo>
                    <a:pt x="4940931" y="99059"/>
                    <a:pt x="4940931" y="102234"/>
                    <a:pt x="4940296" y="103504"/>
                  </a:cubicBezTo>
                  <a:cubicBezTo>
                    <a:pt x="4940296" y="104774"/>
                    <a:pt x="4939026" y="106044"/>
                    <a:pt x="4937756" y="107314"/>
                  </a:cubicBezTo>
                  <a:cubicBezTo>
                    <a:pt x="4936486" y="108584"/>
                    <a:pt x="4935216" y="109219"/>
                    <a:pt x="4933946" y="109854"/>
                  </a:cubicBezTo>
                  <a:cubicBezTo>
                    <a:pt x="4932676" y="109854"/>
                    <a:pt x="4930771" y="110489"/>
                    <a:pt x="4929501" y="110489"/>
                  </a:cubicBezTo>
                  <a:cubicBezTo>
                    <a:pt x="4928231" y="110489"/>
                    <a:pt x="4926326" y="110489"/>
                    <a:pt x="4925056" y="109854"/>
                  </a:cubicBezTo>
                  <a:cubicBezTo>
                    <a:pt x="4923786" y="109854"/>
                    <a:pt x="4922516" y="108584"/>
                    <a:pt x="4921246" y="107314"/>
                  </a:cubicBezTo>
                  <a:cubicBezTo>
                    <a:pt x="4919976" y="106044"/>
                    <a:pt x="4919341" y="104774"/>
                    <a:pt x="4918706" y="103504"/>
                  </a:cubicBezTo>
                  <a:cubicBezTo>
                    <a:pt x="4918706" y="102234"/>
                    <a:pt x="4918071" y="100329"/>
                    <a:pt x="4918071" y="99059"/>
                  </a:cubicBezTo>
                  <a:cubicBezTo>
                    <a:pt x="4918071" y="97789"/>
                    <a:pt x="4918071" y="95884"/>
                    <a:pt x="4918706" y="94614"/>
                  </a:cubicBezTo>
                  <a:cubicBezTo>
                    <a:pt x="4918706" y="93344"/>
                    <a:pt x="4919976" y="92074"/>
                    <a:pt x="4921246" y="90804"/>
                  </a:cubicBezTo>
                  <a:cubicBezTo>
                    <a:pt x="4922516" y="89534"/>
                    <a:pt x="4923786" y="88899"/>
                    <a:pt x="4925056" y="88264"/>
                  </a:cubicBezTo>
                  <a:cubicBezTo>
                    <a:pt x="4926326" y="88264"/>
                    <a:pt x="4928231" y="87629"/>
                    <a:pt x="4929501" y="87629"/>
                  </a:cubicBezTo>
                  <a:close/>
                  <a:moveTo>
                    <a:pt x="3079110" y="87629"/>
                  </a:moveTo>
                  <a:cubicBezTo>
                    <a:pt x="3080380" y="87629"/>
                    <a:pt x="3082285" y="87629"/>
                    <a:pt x="3083555" y="88264"/>
                  </a:cubicBezTo>
                  <a:cubicBezTo>
                    <a:pt x="3084825" y="88264"/>
                    <a:pt x="3086095" y="89534"/>
                    <a:pt x="3087365" y="90804"/>
                  </a:cubicBezTo>
                  <a:cubicBezTo>
                    <a:pt x="3088635" y="92074"/>
                    <a:pt x="3089270" y="93344"/>
                    <a:pt x="3089905" y="94614"/>
                  </a:cubicBezTo>
                  <a:cubicBezTo>
                    <a:pt x="3089905" y="95884"/>
                    <a:pt x="3090540" y="97789"/>
                    <a:pt x="3090540" y="99059"/>
                  </a:cubicBezTo>
                  <a:cubicBezTo>
                    <a:pt x="3090540" y="99059"/>
                    <a:pt x="3090540" y="102234"/>
                    <a:pt x="3089905" y="103504"/>
                  </a:cubicBezTo>
                  <a:cubicBezTo>
                    <a:pt x="3089905" y="104774"/>
                    <a:pt x="3088635" y="106044"/>
                    <a:pt x="3087365" y="107314"/>
                  </a:cubicBezTo>
                  <a:cubicBezTo>
                    <a:pt x="3086095" y="108584"/>
                    <a:pt x="3084825" y="109219"/>
                    <a:pt x="3083555" y="109854"/>
                  </a:cubicBezTo>
                  <a:cubicBezTo>
                    <a:pt x="3082285" y="109854"/>
                    <a:pt x="3080380" y="110489"/>
                    <a:pt x="3079110" y="110489"/>
                  </a:cubicBezTo>
                  <a:cubicBezTo>
                    <a:pt x="3077840" y="110489"/>
                    <a:pt x="3075935" y="110489"/>
                    <a:pt x="3074665" y="109854"/>
                  </a:cubicBezTo>
                  <a:cubicBezTo>
                    <a:pt x="3073395" y="109854"/>
                    <a:pt x="3072125" y="108584"/>
                    <a:pt x="3070855" y="107314"/>
                  </a:cubicBezTo>
                  <a:cubicBezTo>
                    <a:pt x="3069585" y="106044"/>
                    <a:pt x="3068950" y="104774"/>
                    <a:pt x="3068315" y="103504"/>
                  </a:cubicBezTo>
                  <a:cubicBezTo>
                    <a:pt x="3068315" y="102234"/>
                    <a:pt x="3067680" y="100329"/>
                    <a:pt x="3067680" y="99059"/>
                  </a:cubicBezTo>
                  <a:cubicBezTo>
                    <a:pt x="3067680" y="97789"/>
                    <a:pt x="3067680" y="95884"/>
                    <a:pt x="3068315" y="94614"/>
                  </a:cubicBezTo>
                  <a:cubicBezTo>
                    <a:pt x="3068315" y="93344"/>
                    <a:pt x="3069585" y="92074"/>
                    <a:pt x="3070855" y="90804"/>
                  </a:cubicBezTo>
                  <a:cubicBezTo>
                    <a:pt x="3072125" y="89534"/>
                    <a:pt x="3073395" y="88899"/>
                    <a:pt x="3074665" y="88264"/>
                  </a:cubicBezTo>
                  <a:cubicBezTo>
                    <a:pt x="3075935" y="88264"/>
                    <a:pt x="3077840" y="87629"/>
                    <a:pt x="3079110" y="87629"/>
                  </a:cubicBezTo>
                  <a:close/>
                  <a:moveTo>
                    <a:pt x="1565275" y="87629"/>
                  </a:moveTo>
                  <a:cubicBezTo>
                    <a:pt x="1566545" y="87629"/>
                    <a:pt x="1568450" y="87629"/>
                    <a:pt x="1569720" y="88264"/>
                  </a:cubicBezTo>
                  <a:cubicBezTo>
                    <a:pt x="1570990" y="88264"/>
                    <a:pt x="1572260" y="89534"/>
                    <a:pt x="1573529" y="90804"/>
                  </a:cubicBezTo>
                  <a:cubicBezTo>
                    <a:pt x="1574800" y="92074"/>
                    <a:pt x="1575435" y="93344"/>
                    <a:pt x="1576069" y="94614"/>
                  </a:cubicBezTo>
                  <a:cubicBezTo>
                    <a:pt x="1576069" y="95884"/>
                    <a:pt x="1576705" y="97789"/>
                    <a:pt x="1576705" y="99059"/>
                  </a:cubicBezTo>
                  <a:cubicBezTo>
                    <a:pt x="1576705" y="99059"/>
                    <a:pt x="1576705" y="102234"/>
                    <a:pt x="1576069" y="103504"/>
                  </a:cubicBezTo>
                  <a:cubicBezTo>
                    <a:pt x="1576069" y="104774"/>
                    <a:pt x="1574800" y="106044"/>
                    <a:pt x="1573529" y="107314"/>
                  </a:cubicBezTo>
                  <a:cubicBezTo>
                    <a:pt x="1572260" y="108584"/>
                    <a:pt x="1570990" y="109219"/>
                    <a:pt x="1569720" y="109854"/>
                  </a:cubicBezTo>
                  <a:cubicBezTo>
                    <a:pt x="1568450" y="109854"/>
                    <a:pt x="1566545" y="110489"/>
                    <a:pt x="1565275" y="110489"/>
                  </a:cubicBezTo>
                  <a:cubicBezTo>
                    <a:pt x="1564005" y="110489"/>
                    <a:pt x="1562099" y="110489"/>
                    <a:pt x="1560830" y="109854"/>
                  </a:cubicBezTo>
                  <a:cubicBezTo>
                    <a:pt x="1559559" y="109854"/>
                    <a:pt x="1558289" y="108584"/>
                    <a:pt x="1557020" y="107314"/>
                  </a:cubicBezTo>
                  <a:cubicBezTo>
                    <a:pt x="1555750" y="106044"/>
                    <a:pt x="1555114" y="104774"/>
                    <a:pt x="1554479" y="103504"/>
                  </a:cubicBezTo>
                  <a:cubicBezTo>
                    <a:pt x="1554479" y="102234"/>
                    <a:pt x="1553844" y="100329"/>
                    <a:pt x="1553844" y="99059"/>
                  </a:cubicBezTo>
                  <a:cubicBezTo>
                    <a:pt x="1553844" y="97789"/>
                    <a:pt x="1553844" y="95884"/>
                    <a:pt x="1554479" y="94614"/>
                  </a:cubicBezTo>
                  <a:cubicBezTo>
                    <a:pt x="1554479" y="93344"/>
                    <a:pt x="1555750" y="92074"/>
                    <a:pt x="1557020" y="90804"/>
                  </a:cubicBezTo>
                  <a:cubicBezTo>
                    <a:pt x="1558289" y="89534"/>
                    <a:pt x="1559559" y="88899"/>
                    <a:pt x="1560830" y="88264"/>
                  </a:cubicBezTo>
                  <a:cubicBezTo>
                    <a:pt x="1562099" y="88264"/>
                    <a:pt x="1564005" y="87629"/>
                    <a:pt x="1565275" y="87629"/>
                  </a:cubicBezTo>
                  <a:close/>
                  <a:moveTo>
                    <a:pt x="2642230" y="73024"/>
                  </a:moveTo>
                  <a:cubicBezTo>
                    <a:pt x="2637150" y="73024"/>
                    <a:pt x="2633340" y="74294"/>
                    <a:pt x="2630800" y="76199"/>
                  </a:cubicBezTo>
                  <a:cubicBezTo>
                    <a:pt x="2627625" y="78104"/>
                    <a:pt x="2626355" y="81279"/>
                    <a:pt x="2626355" y="84454"/>
                  </a:cubicBezTo>
                  <a:cubicBezTo>
                    <a:pt x="2626355" y="86994"/>
                    <a:pt x="2626355" y="88899"/>
                    <a:pt x="2627625" y="90169"/>
                  </a:cubicBezTo>
                  <a:cubicBezTo>
                    <a:pt x="2628260" y="92074"/>
                    <a:pt x="2629530" y="93344"/>
                    <a:pt x="2630800" y="93979"/>
                  </a:cubicBezTo>
                  <a:cubicBezTo>
                    <a:pt x="2632070" y="95249"/>
                    <a:pt x="2633340" y="95884"/>
                    <a:pt x="2635245" y="96519"/>
                  </a:cubicBezTo>
                  <a:cubicBezTo>
                    <a:pt x="2637150" y="96519"/>
                    <a:pt x="2639055" y="97154"/>
                    <a:pt x="2641595" y="97154"/>
                  </a:cubicBezTo>
                  <a:cubicBezTo>
                    <a:pt x="2643500" y="97154"/>
                    <a:pt x="2645405" y="97154"/>
                    <a:pt x="2647310" y="96519"/>
                  </a:cubicBezTo>
                  <a:cubicBezTo>
                    <a:pt x="2649215" y="96519"/>
                    <a:pt x="2651120" y="95249"/>
                    <a:pt x="2652390" y="93979"/>
                  </a:cubicBezTo>
                  <a:cubicBezTo>
                    <a:pt x="2654295" y="93344"/>
                    <a:pt x="2655565" y="92074"/>
                    <a:pt x="2656835" y="90804"/>
                  </a:cubicBezTo>
                  <a:cubicBezTo>
                    <a:pt x="2658105" y="89534"/>
                    <a:pt x="2659375" y="88264"/>
                    <a:pt x="2660010" y="86994"/>
                  </a:cubicBezTo>
                  <a:lnTo>
                    <a:pt x="2660010" y="75564"/>
                  </a:lnTo>
                  <a:cubicBezTo>
                    <a:pt x="2660010" y="75564"/>
                    <a:pt x="2657470" y="74294"/>
                    <a:pt x="2656200" y="74294"/>
                  </a:cubicBezTo>
                  <a:cubicBezTo>
                    <a:pt x="2654930" y="74294"/>
                    <a:pt x="2653660" y="73659"/>
                    <a:pt x="2652390" y="73659"/>
                  </a:cubicBezTo>
                  <a:cubicBezTo>
                    <a:pt x="2651120" y="73659"/>
                    <a:pt x="2649850" y="73659"/>
                    <a:pt x="2647945" y="73024"/>
                  </a:cubicBezTo>
                  <a:cubicBezTo>
                    <a:pt x="2646040" y="73024"/>
                    <a:pt x="2644135" y="73024"/>
                    <a:pt x="2642230" y="73024"/>
                  </a:cubicBezTo>
                  <a:close/>
                  <a:moveTo>
                    <a:pt x="4664706" y="43814"/>
                  </a:moveTo>
                  <a:cubicBezTo>
                    <a:pt x="4661531" y="43814"/>
                    <a:pt x="4658991" y="43814"/>
                    <a:pt x="4657086" y="45719"/>
                  </a:cubicBezTo>
                  <a:cubicBezTo>
                    <a:pt x="4654546" y="46989"/>
                    <a:pt x="4652641" y="48894"/>
                    <a:pt x="4651371" y="50799"/>
                  </a:cubicBezTo>
                  <a:cubicBezTo>
                    <a:pt x="4649466" y="53339"/>
                    <a:pt x="4648831" y="55879"/>
                    <a:pt x="4647561" y="59054"/>
                  </a:cubicBezTo>
                  <a:cubicBezTo>
                    <a:pt x="4646926" y="62229"/>
                    <a:pt x="4646291" y="65404"/>
                    <a:pt x="4646291" y="69849"/>
                  </a:cubicBezTo>
                  <a:cubicBezTo>
                    <a:pt x="4646291" y="74294"/>
                    <a:pt x="4646291" y="78104"/>
                    <a:pt x="4647561" y="81279"/>
                  </a:cubicBezTo>
                  <a:cubicBezTo>
                    <a:pt x="4648196" y="84454"/>
                    <a:pt x="4650101" y="87629"/>
                    <a:pt x="4651371" y="89534"/>
                  </a:cubicBezTo>
                  <a:cubicBezTo>
                    <a:pt x="4653276" y="92074"/>
                    <a:pt x="4655181" y="93344"/>
                    <a:pt x="4657721" y="94614"/>
                  </a:cubicBezTo>
                  <a:cubicBezTo>
                    <a:pt x="4660261" y="95884"/>
                    <a:pt x="4662801" y="96519"/>
                    <a:pt x="4665341" y="96519"/>
                  </a:cubicBezTo>
                  <a:cubicBezTo>
                    <a:pt x="4667881" y="96519"/>
                    <a:pt x="4671056" y="95884"/>
                    <a:pt x="4672961" y="94614"/>
                  </a:cubicBezTo>
                  <a:cubicBezTo>
                    <a:pt x="4675501" y="93344"/>
                    <a:pt x="4677406" y="91439"/>
                    <a:pt x="4678676" y="88899"/>
                  </a:cubicBezTo>
                  <a:cubicBezTo>
                    <a:pt x="4680581" y="86359"/>
                    <a:pt x="4681851" y="83819"/>
                    <a:pt x="4682486" y="80644"/>
                  </a:cubicBezTo>
                  <a:cubicBezTo>
                    <a:pt x="4683121" y="77469"/>
                    <a:pt x="4683756" y="74294"/>
                    <a:pt x="4683756" y="70484"/>
                  </a:cubicBezTo>
                  <a:lnTo>
                    <a:pt x="4684391" y="69849"/>
                  </a:lnTo>
                  <a:cubicBezTo>
                    <a:pt x="4684391" y="66039"/>
                    <a:pt x="4684391" y="62229"/>
                    <a:pt x="4683121" y="59054"/>
                  </a:cubicBezTo>
                  <a:cubicBezTo>
                    <a:pt x="4682486" y="55879"/>
                    <a:pt x="4680581" y="53339"/>
                    <a:pt x="4679311" y="50799"/>
                  </a:cubicBezTo>
                  <a:cubicBezTo>
                    <a:pt x="4677406" y="48259"/>
                    <a:pt x="4675501" y="46989"/>
                    <a:pt x="4672961" y="45719"/>
                  </a:cubicBezTo>
                  <a:cubicBezTo>
                    <a:pt x="4670421" y="44449"/>
                    <a:pt x="4667881" y="43814"/>
                    <a:pt x="4664706" y="43814"/>
                  </a:cubicBezTo>
                  <a:close/>
                  <a:moveTo>
                    <a:pt x="4264020" y="43814"/>
                  </a:moveTo>
                  <a:cubicBezTo>
                    <a:pt x="4260845" y="43814"/>
                    <a:pt x="4258305" y="43814"/>
                    <a:pt x="4256400" y="45719"/>
                  </a:cubicBezTo>
                  <a:cubicBezTo>
                    <a:pt x="4253860" y="46989"/>
                    <a:pt x="4251955" y="48894"/>
                    <a:pt x="4250685" y="50799"/>
                  </a:cubicBezTo>
                  <a:cubicBezTo>
                    <a:pt x="4248780" y="53339"/>
                    <a:pt x="4247510" y="55879"/>
                    <a:pt x="4246875" y="59054"/>
                  </a:cubicBezTo>
                  <a:cubicBezTo>
                    <a:pt x="4246240" y="62229"/>
                    <a:pt x="4245605" y="65404"/>
                    <a:pt x="4245605" y="69849"/>
                  </a:cubicBezTo>
                  <a:cubicBezTo>
                    <a:pt x="4245605" y="74294"/>
                    <a:pt x="4245605" y="78104"/>
                    <a:pt x="4246875" y="81279"/>
                  </a:cubicBezTo>
                  <a:cubicBezTo>
                    <a:pt x="4247510" y="84454"/>
                    <a:pt x="4249415" y="87629"/>
                    <a:pt x="4250685" y="89534"/>
                  </a:cubicBezTo>
                  <a:cubicBezTo>
                    <a:pt x="4252590" y="92074"/>
                    <a:pt x="4254495" y="93344"/>
                    <a:pt x="4257035" y="94614"/>
                  </a:cubicBezTo>
                  <a:cubicBezTo>
                    <a:pt x="4259575" y="95884"/>
                    <a:pt x="4262115" y="96519"/>
                    <a:pt x="4264655" y="96519"/>
                  </a:cubicBezTo>
                  <a:cubicBezTo>
                    <a:pt x="4267195" y="96519"/>
                    <a:pt x="4270370" y="95884"/>
                    <a:pt x="4272275" y="94614"/>
                  </a:cubicBezTo>
                  <a:cubicBezTo>
                    <a:pt x="4274815" y="93344"/>
                    <a:pt x="4276720" y="91439"/>
                    <a:pt x="4277990" y="88899"/>
                  </a:cubicBezTo>
                  <a:cubicBezTo>
                    <a:pt x="4279895" y="86359"/>
                    <a:pt x="4281165" y="83819"/>
                    <a:pt x="4281800" y="80644"/>
                  </a:cubicBezTo>
                  <a:cubicBezTo>
                    <a:pt x="4282435" y="77469"/>
                    <a:pt x="4283070" y="74294"/>
                    <a:pt x="4283070" y="70484"/>
                  </a:cubicBezTo>
                  <a:lnTo>
                    <a:pt x="4283705" y="69849"/>
                  </a:lnTo>
                  <a:cubicBezTo>
                    <a:pt x="4283705" y="66039"/>
                    <a:pt x="4283705" y="62229"/>
                    <a:pt x="4282435" y="59054"/>
                  </a:cubicBezTo>
                  <a:cubicBezTo>
                    <a:pt x="4281800" y="55879"/>
                    <a:pt x="4279895" y="53339"/>
                    <a:pt x="4278625" y="50799"/>
                  </a:cubicBezTo>
                  <a:cubicBezTo>
                    <a:pt x="4276720" y="48259"/>
                    <a:pt x="4274815" y="46989"/>
                    <a:pt x="4272275" y="45719"/>
                  </a:cubicBezTo>
                  <a:cubicBezTo>
                    <a:pt x="4269735" y="44449"/>
                    <a:pt x="4267195" y="43814"/>
                    <a:pt x="4264020" y="43814"/>
                  </a:cubicBezTo>
                  <a:close/>
                  <a:moveTo>
                    <a:pt x="1420495" y="43814"/>
                  </a:moveTo>
                  <a:cubicBezTo>
                    <a:pt x="1417320" y="43814"/>
                    <a:pt x="1414780" y="43814"/>
                    <a:pt x="1412875" y="45719"/>
                  </a:cubicBezTo>
                  <a:cubicBezTo>
                    <a:pt x="1410335" y="46989"/>
                    <a:pt x="1408430" y="48894"/>
                    <a:pt x="1407160" y="50799"/>
                  </a:cubicBezTo>
                  <a:cubicBezTo>
                    <a:pt x="1405255" y="53339"/>
                    <a:pt x="1403985" y="55879"/>
                    <a:pt x="1403350" y="59054"/>
                  </a:cubicBezTo>
                  <a:cubicBezTo>
                    <a:pt x="1402715" y="62229"/>
                    <a:pt x="1402080" y="65404"/>
                    <a:pt x="1402080" y="69849"/>
                  </a:cubicBezTo>
                  <a:cubicBezTo>
                    <a:pt x="1402080" y="74294"/>
                    <a:pt x="1402080" y="78104"/>
                    <a:pt x="1403350" y="81279"/>
                  </a:cubicBezTo>
                  <a:cubicBezTo>
                    <a:pt x="1403985" y="84454"/>
                    <a:pt x="1405890" y="87629"/>
                    <a:pt x="1407160" y="89534"/>
                  </a:cubicBezTo>
                  <a:cubicBezTo>
                    <a:pt x="1409065" y="92074"/>
                    <a:pt x="1410970" y="93344"/>
                    <a:pt x="1413510" y="94614"/>
                  </a:cubicBezTo>
                  <a:cubicBezTo>
                    <a:pt x="1416050" y="95884"/>
                    <a:pt x="1418590" y="96519"/>
                    <a:pt x="1421130" y="96519"/>
                  </a:cubicBezTo>
                  <a:cubicBezTo>
                    <a:pt x="1423670" y="96519"/>
                    <a:pt x="1426845" y="95884"/>
                    <a:pt x="1428750" y="94614"/>
                  </a:cubicBezTo>
                  <a:cubicBezTo>
                    <a:pt x="1431290" y="93344"/>
                    <a:pt x="1433195" y="91439"/>
                    <a:pt x="1434465" y="88899"/>
                  </a:cubicBezTo>
                  <a:cubicBezTo>
                    <a:pt x="1436370" y="86359"/>
                    <a:pt x="1437640" y="83819"/>
                    <a:pt x="1438275" y="80644"/>
                  </a:cubicBezTo>
                  <a:cubicBezTo>
                    <a:pt x="1438910" y="77469"/>
                    <a:pt x="1439545" y="74294"/>
                    <a:pt x="1439545" y="70484"/>
                  </a:cubicBezTo>
                  <a:lnTo>
                    <a:pt x="1440180" y="69849"/>
                  </a:lnTo>
                  <a:cubicBezTo>
                    <a:pt x="1440180" y="66039"/>
                    <a:pt x="1440180" y="62229"/>
                    <a:pt x="1438910" y="59054"/>
                  </a:cubicBezTo>
                  <a:cubicBezTo>
                    <a:pt x="1438275" y="55879"/>
                    <a:pt x="1436370" y="53339"/>
                    <a:pt x="1435100" y="50799"/>
                  </a:cubicBezTo>
                  <a:cubicBezTo>
                    <a:pt x="1433195" y="48259"/>
                    <a:pt x="1431290" y="46989"/>
                    <a:pt x="1428750" y="45719"/>
                  </a:cubicBezTo>
                  <a:cubicBezTo>
                    <a:pt x="1426210" y="44449"/>
                    <a:pt x="1423670" y="43814"/>
                    <a:pt x="1420495" y="43814"/>
                  </a:cubicBezTo>
                  <a:close/>
                  <a:moveTo>
                    <a:pt x="4041770" y="43180"/>
                  </a:moveTo>
                  <a:cubicBezTo>
                    <a:pt x="4039230" y="43180"/>
                    <a:pt x="4036690" y="43180"/>
                    <a:pt x="4034785" y="44450"/>
                  </a:cubicBezTo>
                  <a:cubicBezTo>
                    <a:pt x="4032880" y="45085"/>
                    <a:pt x="4030975" y="46355"/>
                    <a:pt x="4029705" y="48260"/>
                  </a:cubicBezTo>
                  <a:cubicBezTo>
                    <a:pt x="4028435" y="50165"/>
                    <a:pt x="4027165" y="52070"/>
                    <a:pt x="4025895" y="54610"/>
                  </a:cubicBezTo>
                  <a:cubicBezTo>
                    <a:pt x="4025260" y="57150"/>
                    <a:pt x="4023990" y="59690"/>
                    <a:pt x="4023990" y="62865"/>
                  </a:cubicBezTo>
                  <a:lnTo>
                    <a:pt x="4060185" y="62865"/>
                  </a:lnTo>
                  <a:cubicBezTo>
                    <a:pt x="4060185" y="62865"/>
                    <a:pt x="4059550" y="57785"/>
                    <a:pt x="4058915" y="55245"/>
                  </a:cubicBezTo>
                  <a:cubicBezTo>
                    <a:pt x="4058280" y="52705"/>
                    <a:pt x="4057010" y="50800"/>
                    <a:pt x="4055740" y="48895"/>
                  </a:cubicBezTo>
                  <a:cubicBezTo>
                    <a:pt x="4054470" y="46990"/>
                    <a:pt x="4052565" y="45720"/>
                    <a:pt x="4050025" y="44450"/>
                  </a:cubicBezTo>
                  <a:cubicBezTo>
                    <a:pt x="4047485" y="43180"/>
                    <a:pt x="4044945" y="43180"/>
                    <a:pt x="4041770" y="43180"/>
                  </a:cubicBezTo>
                  <a:close/>
                  <a:moveTo>
                    <a:pt x="3728081" y="43180"/>
                  </a:moveTo>
                  <a:cubicBezTo>
                    <a:pt x="3725541" y="43180"/>
                    <a:pt x="3723001" y="43180"/>
                    <a:pt x="3721096" y="44450"/>
                  </a:cubicBezTo>
                  <a:cubicBezTo>
                    <a:pt x="3719191" y="45085"/>
                    <a:pt x="3717286" y="46355"/>
                    <a:pt x="3716016" y="48260"/>
                  </a:cubicBezTo>
                  <a:cubicBezTo>
                    <a:pt x="3714746" y="50165"/>
                    <a:pt x="3713476" y="52070"/>
                    <a:pt x="3712206" y="54610"/>
                  </a:cubicBezTo>
                  <a:cubicBezTo>
                    <a:pt x="3711571" y="57150"/>
                    <a:pt x="3710301" y="59690"/>
                    <a:pt x="3710301" y="62865"/>
                  </a:cubicBezTo>
                  <a:lnTo>
                    <a:pt x="3746496" y="62865"/>
                  </a:lnTo>
                  <a:cubicBezTo>
                    <a:pt x="3746496" y="62865"/>
                    <a:pt x="3745861" y="57785"/>
                    <a:pt x="3745226" y="55245"/>
                  </a:cubicBezTo>
                  <a:cubicBezTo>
                    <a:pt x="3744591" y="52705"/>
                    <a:pt x="3743321" y="50800"/>
                    <a:pt x="3742051" y="48895"/>
                  </a:cubicBezTo>
                  <a:cubicBezTo>
                    <a:pt x="3740781" y="46990"/>
                    <a:pt x="3738876" y="45720"/>
                    <a:pt x="3736336" y="44450"/>
                  </a:cubicBezTo>
                  <a:cubicBezTo>
                    <a:pt x="3733796" y="43180"/>
                    <a:pt x="3731256" y="43180"/>
                    <a:pt x="3728081" y="43180"/>
                  </a:cubicBezTo>
                  <a:close/>
                  <a:moveTo>
                    <a:pt x="3541391" y="43180"/>
                  </a:moveTo>
                  <a:cubicBezTo>
                    <a:pt x="3538851" y="43180"/>
                    <a:pt x="3536311" y="43180"/>
                    <a:pt x="3534406" y="44450"/>
                  </a:cubicBezTo>
                  <a:cubicBezTo>
                    <a:pt x="3532501" y="45085"/>
                    <a:pt x="3530596" y="46355"/>
                    <a:pt x="3529326" y="48260"/>
                  </a:cubicBezTo>
                  <a:cubicBezTo>
                    <a:pt x="3528056" y="50165"/>
                    <a:pt x="3526786" y="52070"/>
                    <a:pt x="3525516" y="54610"/>
                  </a:cubicBezTo>
                  <a:cubicBezTo>
                    <a:pt x="3524881" y="57150"/>
                    <a:pt x="3524246" y="59690"/>
                    <a:pt x="3523611" y="62865"/>
                  </a:cubicBezTo>
                  <a:lnTo>
                    <a:pt x="3559806" y="62865"/>
                  </a:lnTo>
                  <a:cubicBezTo>
                    <a:pt x="3559806" y="62865"/>
                    <a:pt x="3559171" y="57785"/>
                    <a:pt x="3558536" y="55245"/>
                  </a:cubicBezTo>
                  <a:cubicBezTo>
                    <a:pt x="3557901" y="52705"/>
                    <a:pt x="3556631" y="50800"/>
                    <a:pt x="3555361" y="48895"/>
                  </a:cubicBezTo>
                  <a:cubicBezTo>
                    <a:pt x="3554091" y="46990"/>
                    <a:pt x="3552186" y="45720"/>
                    <a:pt x="3549646" y="44450"/>
                  </a:cubicBezTo>
                  <a:cubicBezTo>
                    <a:pt x="3547106" y="43180"/>
                    <a:pt x="3544566" y="43180"/>
                    <a:pt x="3541391" y="43180"/>
                  </a:cubicBezTo>
                  <a:close/>
                  <a:moveTo>
                    <a:pt x="3463285" y="43180"/>
                  </a:moveTo>
                  <a:cubicBezTo>
                    <a:pt x="3461380" y="43180"/>
                    <a:pt x="3459475" y="43180"/>
                    <a:pt x="3458205" y="43815"/>
                  </a:cubicBezTo>
                  <a:cubicBezTo>
                    <a:pt x="3456300" y="43815"/>
                    <a:pt x="3455030" y="45085"/>
                    <a:pt x="3453125" y="45720"/>
                  </a:cubicBezTo>
                  <a:cubicBezTo>
                    <a:pt x="3451855" y="46355"/>
                    <a:pt x="3449950" y="47625"/>
                    <a:pt x="3448680" y="48895"/>
                  </a:cubicBezTo>
                  <a:cubicBezTo>
                    <a:pt x="3447410" y="50165"/>
                    <a:pt x="3446140" y="51435"/>
                    <a:pt x="3445505" y="52705"/>
                  </a:cubicBezTo>
                  <a:lnTo>
                    <a:pt x="3445505" y="85725"/>
                  </a:lnTo>
                  <a:cubicBezTo>
                    <a:pt x="3445505" y="85725"/>
                    <a:pt x="3447410" y="88265"/>
                    <a:pt x="3448680" y="89535"/>
                  </a:cubicBezTo>
                  <a:cubicBezTo>
                    <a:pt x="3449950" y="90805"/>
                    <a:pt x="3451220" y="92075"/>
                    <a:pt x="3453125" y="92710"/>
                  </a:cubicBezTo>
                  <a:cubicBezTo>
                    <a:pt x="3455030" y="93980"/>
                    <a:pt x="3456300" y="94615"/>
                    <a:pt x="3458205" y="95250"/>
                  </a:cubicBezTo>
                  <a:cubicBezTo>
                    <a:pt x="3460110" y="95250"/>
                    <a:pt x="3462015" y="95885"/>
                    <a:pt x="3463920" y="95885"/>
                  </a:cubicBezTo>
                  <a:cubicBezTo>
                    <a:pt x="3469635" y="95885"/>
                    <a:pt x="3473445" y="93980"/>
                    <a:pt x="3476620" y="89535"/>
                  </a:cubicBezTo>
                  <a:cubicBezTo>
                    <a:pt x="3479795" y="85090"/>
                    <a:pt x="3481065" y="79375"/>
                    <a:pt x="3481065" y="71120"/>
                  </a:cubicBezTo>
                  <a:lnTo>
                    <a:pt x="3480430" y="71755"/>
                  </a:lnTo>
                  <a:cubicBezTo>
                    <a:pt x="3480430" y="62230"/>
                    <a:pt x="3479160" y="54610"/>
                    <a:pt x="3475985" y="50165"/>
                  </a:cubicBezTo>
                  <a:cubicBezTo>
                    <a:pt x="3472810" y="45720"/>
                    <a:pt x="3468365" y="43180"/>
                    <a:pt x="3463285" y="43180"/>
                  </a:cubicBezTo>
                  <a:close/>
                  <a:moveTo>
                    <a:pt x="3343271" y="43180"/>
                  </a:moveTo>
                  <a:cubicBezTo>
                    <a:pt x="3340731" y="43180"/>
                    <a:pt x="3338191" y="43180"/>
                    <a:pt x="3336286" y="44450"/>
                  </a:cubicBezTo>
                  <a:cubicBezTo>
                    <a:pt x="3334381" y="45085"/>
                    <a:pt x="3332476" y="46355"/>
                    <a:pt x="3331206" y="48260"/>
                  </a:cubicBezTo>
                  <a:cubicBezTo>
                    <a:pt x="3329936" y="50165"/>
                    <a:pt x="3328666" y="52070"/>
                    <a:pt x="3327396" y="54610"/>
                  </a:cubicBezTo>
                  <a:cubicBezTo>
                    <a:pt x="3326761" y="57150"/>
                    <a:pt x="3326126" y="59690"/>
                    <a:pt x="3325491" y="62865"/>
                  </a:cubicBezTo>
                  <a:lnTo>
                    <a:pt x="3361686" y="62865"/>
                  </a:lnTo>
                  <a:cubicBezTo>
                    <a:pt x="3361686" y="62865"/>
                    <a:pt x="3361051" y="57785"/>
                    <a:pt x="3360416" y="55245"/>
                  </a:cubicBezTo>
                  <a:cubicBezTo>
                    <a:pt x="3359781" y="52705"/>
                    <a:pt x="3358511" y="50800"/>
                    <a:pt x="3357241" y="48895"/>
                  </a:cubicBezTo>
                  <a:cubicBezTo>
                    <a:pt x="3355971" y="46990"/>
                    <a:pt x="3354066" y="45720"/>
                    <a:pt x="3351526" y="44450"/>
                  </a:cubicBezTo>
                  <a:cubicBezTo>
                    <a:pt x="3348986" y="43180"/>
                    <a:pt x="3346446" y="43180"/>
                    <a:pt x="3343271" y="43180"/>
                  </a:cubicBezTo>
                  <a:close/>
                  <a:moveTo>
                    <a:pt x="2976876" y="43180"/>
                  </a:moveTo>
                  <a:cubicBezTo>
                    <a:pt x="2974336" y="43180"/>
                    <a:pt x="2971796" y="43180"/>
                    <a:pt x="2969891" y="44450"/>
                  </a:cubicBezTo>
                  <a:cubicBezTo>
                    <a:pt x="2967986" y="45085"/>
                    <a:pt x="2966081" y="46355"/>
                    <a:pt x="2964811" y="48260"/>
                  </a:cubicBezTo>
                  <a:cubicBezTo>
                    <a:pt x="2963541" y="50165"/>
                    <a:pt x="2962271" y="52070"/>
                    <a:pt x="2961001" y="54610"/>
                  </a:cubicBezTo>
                  <a:cubicBezTo>
                    <a:pt x="2960366" y="57150"/>
                    <a:pt x="2959731" y="59690"/>
                    <a:pt x="2959096" y="62865"/>
                  </a:cubicBezTo>
                  <a:lnTo>
                    <a:pt x="2995291" y="62865"/>
                  </a:lnTo>
                  <a:cubicBezTo>
                    <a:pt x="2995291" y="62865"/>
                    <a:pt x="2994656" y="57785"/>
                    <a:pt x="2994021" y="55245"/>
                  </a:cubicBezTo>
                  <a:cubicBezTo>
                    <a:pt x="2993386" y="52705"/>
                    <a:pt x="2992116" y="50800"/>
                    <a:pt x="2990846" y="48895"/>
                  </a:cubicBezTo>
                  <a:cubicBezTo>
                    <a:pt x="2989576" y="46990"/>
                    <a:pt x="2987671" y="45720"/>
                    <a:pt x="2985131" y="44450"/>
                  </a:cubicBezTo>
                  <a:cubicBezTo>
                    <a:pt x="2982591" y="43180"/>
                    <a:pt x="2980051" y="43180"/>
                    <a:pt x="2976876" y="43180"/>
                  </a:cubicBezTo>
                  <a:close/>
                  <a:moveTo>
                    <a:pt x="2527930" y="43180"/>
                  </a:moveTo>
                  <a:cubicBezTo>
                    <a:pt x="2525390" y="43180"/>
                    <a:pt x="2522850" y="43180"/>
                    <a:pt x="2520945" y="44450"/>
                  </a:cubicBezTo>
                  <a:cubicBezTo>
                    <a:pt x="2519040" y="45085"/>
                    <a:pt x="2517135" y="46355"/>
                    <a:pt x="2515865" y="48260"/>
                  </a:cubicBezTo>
                  <a:cubicBezTo>
                    <a:pt x="2514595" y="50165"/>
                    <a:pt x="2513325" y="52070"/>
                    <a:pt x="2512055" y="54610"/>
                  </a:cubicBezTo>
                  <a:cubicBezTo>
                    <a:pt x="2511420" y="57150"/>
                    <a:pt x="2510150" y="59690"/>
                    <a:pt x="2510150" y="62865"/>
                  </a:cubicBezTo>
                  <a:lnTo>
                    <a:pt x="2546345" y="62865"/>
                  </a:lnTo>
                  <a:cubicBezTo>
                    <a:pt x="2546345" y="62865"/>
                    <a:pt x="2545710" y="57785"/>
                    <a:pt x="2545075" y="55245"/>
                  </a:cubicBezTo>
                  <a:cubicBezTo>
                    <a:pt x="2544440" y="52705"/>
                    <a:pt x="2543170" y="50800"/>
                    <a:pt x="2541900" y="48895"/>
                  </a:cubicBezTo>
                  <a:cubicBezTo>
                    <a:pt x="2540630" y="46990"/>
                    <a:pt x="2538725" y="45720"/>
                    <a:pt x="2536185" y="44450"/>
                  </a:cubicBezTo>
                  <a:cubicBezTo>
                    <a:pt x="2533645" y="43180"/>
                    <a:pt x="2531105" y="43180"/>
                    <a:pt x="2527930" y="43180"/>
                  </a:cubicBezTo>
                  <a:close/>
                  <a:moveTo>
                    <a:pt x="2214240" y="43180"/>
                  </a:moveTo>
                  <a:cubicBezTo>
                    <a:pt x="2211700" y="43180"/>
                    <a:pt x="2209160" y="43180"/>
                    <a:pt x="2207255" y="44450"/>
                  </a:cubicBezTo>
                  <a:cubicBezTo>
                    <a:pt x="2205350" y="45085"/>
                    <a:pt x="2203445" y="46355"/>
                    <a:pt x="2202175" y="48260"/>
                  </a:cubicBezTo>
                  <a:cubicBezTo>
                    <a:pt x="2200905" y="50165"/>
                    <a:pt x="2199635" y="52070"/>
                    <a:pt x="2198365" y="54610"/>
                  </a:cubicBezTo>
                  <a:cubicBezTo>
                    <a:pt x="2197730" y="57150"/>
                    <a:pt x="2196460" y="59690"/>
                    <a:pt x="2196460" y="62865"/>
                  </a:cubicBezTo>
                  <a:lnTo>
                    <a:pt x="2232655" y="62865"/>
                  </a:lnTo>
                  <a:cubicBezTo>
                    <a:pt x="2232655" y="62865"/>
                    <a:pt x="2232020" y="57785"/>
                    <a:pt x="2231385" y="55245"/>
                  </a:cubicBezTo>
                  <a:cubicBezTo>
                    <a:pt x="2230750" y="52705"/>
                    <a:pt x="2229480" y="50800"/>
                    <a:pt x="2228210" y="48895"/>
                  </a:cubicBezTo>
                  <a:cubicBezTo>
                    <a:pt x="2226940" y="46990"/>
                    <a:pt x="2225035" y="45720"/>
                    <a:pt x="2222495" y="44450"/>
                  </a:cubicBezTo>
                  <a:cubicBezTo>
                    <a:pt x="2219955" y="43180"/>
                    <a:pt x="2217415" y="43180"/>
                    <a:pt x="2214240" y="43180"/>
                  </a:cubicBezTo>
                  <a:close/>
                  <a:moveTo>
                    <a:pt x="2027551" y="43180"/>
                  </a:moveTo>
                  <a:cubicBezTo>
                    <a:pt x="2025011" y="43180"/>
                    <a:pt x="2022471" y="43180"/>
                    <a:pt x="2020566" y="44450"/>
                  </a:cubicBezTo>
                  <a:cubicBezTo>
                    <a:pt x="2018661" y="45085"/>
                    <a:pt x="2016756" y="46355"/>
                    <a:pt x="2015486" y="48260"/>
                  </a:cubicBezTo>
                  <a:cubicBezTo>
                    <a:pt x="2014216" y="50165"/>
                    <a:pt x="2012946" y="52070"/>
                    <a:pt x="2011676" y="54610"/>
                  </a:cubicBezTo>
                  <a:cubicBezTo>
                    <a:pt x="2011041" y="57150"/>
                    <a:pt x="2010406" y="59690"/>
                    <a:pt x="2009771" y="62865"/>
                  </a:cubicBezTo>
                  <a:lnTo>
                    <a:pt x="2045966" y="62865"/>
                  </a:lnTo>
                  <a:cubicBezTo>
                    <a:pt x="2045966" y="62865"/>
                    <a:pt x="2045331" y="57785"/>
                    <a:pt x="2044696" y="55245"/>
                  </a:cubicBezTo>
                  <a:cubicBezTo>
                    <a:pt x="2044061" y="52705"/>
                    <a:pt x="2042791" y="50800"/>
                    <a:pt x="2041521" y="48895"/>
                  </a:cubicBezTo>
                  <a:cubicBezTo>
                    <a:pt x="2040251" y="46990"/>
                    <a:pt x="2038346" y="45720"/>
                    <a:pt x="2035806" y="44450"/>
                  </a:cubicBezTo>
                  <a:cubicBezTo>
                    <a:pt x="2033266" y="43180"/>
                    <a:pt x="2030726" y="43180"/>
                    <a:pt x="2027551" y="43180"/>
                  </a:cubicBezTo>
                  <a:close/>
                  <a:moveTo>
                    <a:pt x="1949445" y="43180"/>
                  </a:moveTo>
                  <a:cubicBezTo>
                    <a:pt x="1947540" y="43180"/>
                    <a:pt x="1945635" y="43180"/>
                    <a:pt x="1944365" y="43815"/>
                  </a:cubicBezTo>
                  <a:cubicBezTo>
                    <a:pt x="1942460" y="43815"/>
                    <a:pt x="1941190" y="45085"/>
                    <a:pt x="1939285" y="45720"/>
                  </a:cubicBezTo>
                  <a:cubicBezTo>
                    <a:pt x="1938015" y="46355"/>
                    <a:pt x="1936110" y="47625"/>
                    <a:pt x="1934840" y="48895"/>
                  </a:cubicBezTo>
                  <a:cubicBezTo>
                    <a:pt x="1933570" y="50165"/>
                    <a:pt x="1932300" y="51435"/>
                    <a:pt x="1931665" y="52705"/>
                  </a:cubicBezTo>
                  <a:lnTo>
                    <a:pt x="1931665" y="85725"/>
                  </a:lnTo>
                  <a:cubicBezTo>
                    <a:pt x="1931665" y="85725"/>
                    <a:pt x="1933570" y="88265"/>
                    <a:pt x="1934840" y="89535"/>
                  </a:cubicBezTo>
                  <a:cubicBezTo>
                    <a:pt x="1936110" y="90805"/>
                    <a:pt x="1937380" y="92075"/>
                    <a:pt x="1939285" y="92710"/>
                  </a:cubicBezTo>
                  <a:cubicBezTo>
                    <a:pt x="1941190" y="93980"/>
                    <a:pt x="1942460" y="94615"/>
                    <a:pt x="1944365" y="95250"/>
                  </a:cubicBezTo>
                  <a:cubicBezTo>
                    <a:pt x="1946270" y="95250"/>
                    <a:pt x="1948175" y="95885"/>
                    <a:pt x="1950080" y="95885"/>
                  </a:cubicBezTo>
                  <a:cubicBezTo>
                    <a:pt x="1955795" y="95885"/>
                    <a:pt x="1959605" y="93980"/>
                    <a:pt x="1962780" y="89535"/>
                  </a:cubicBezTo>
                  <a:cubicBezTo>
                    <a:pt x="1965955" y="85090"/>
                    <a:pt x="1967225" y="79375"/>
                    <a:pt x="1967225" y="71120"/>
                  </a:cubicBezTo>
                  <a:lnTo>
                    <a:pt x="1966590" y="71755"/>
                  </a:lnTo>
                  <a:cubicBezTo>
                    <a:pt x="1966590" y="62230"/>
                    <a:pt x="1965320" y="54610"/>
                    <a:pt x="1962145" y="50165"/>
                  </a:cubicBezTo>
                  <a:cubicBezTo>
                    <a:pt x="1958970" y="45720"/>
                    <a:pt x="1954525" y="43180"/>
                    <a:pt x="1949445" y="43180"/>
                  </a:cubicBezTo>
                  <a:close/>
                  <a:moveTo>
                    <a:pt x="1829431" y="43180"/>
                  </a:moveTo>
                  <a:cubicBezTo>
                    <a:pt x="1826891" y="43180"/>
                    <a:pt x="1824351" y="43180"/>
                    <a:pt x="1822446" y="44450"/>
                  </a:cubicBezTo>
                  <a:cubicBezTo>
                    <a:pt x="1820541" y="45085"/>
                    <a:pt x="1818636" y="46355"/>
                    <a:pt x="1817366" y="48260"/>
                  </a:cubicBezTo>
                  <a:cubicBezTo>
                    <a:pt x="1816096" y="50165"/>
                    <a:pt x="1814826" y="52070"/>
                    <a:pt x="1813556" y="54610"/>
                  </a:cubicBezTo>
                  <a:cubicBezTo>
                    <a:pt x="1812921" y="57150"/>
                    <a:pt x="1811651" y="59690"/>
                    <a:pt x="1811651" y="62865"/>
                  </a:cubicBezTo>
                  <a:lnTo>
                    <a:pt x="1847846" y="62865"/>
                  </a:lnTo>
                  <a:cubicBezTo>
                    <a:pt x="1847846" y="62865"/>
                    <a:pt x="1847211" y="57785"/>
                    <a:pt x="1846576" y="55245"/>
                  </a:cubicBezTo>
                  <a:cubicBezTo>
                    <a:pt x="1845941" y="52705"/>
                    <a:pt x="1844671" y="50800"/>
                    <a:pt x="1843401" y="48895"/>
                  </a:cubicBezTo>
                  <a:cubicBezTo>
                    <a:pt x="1842131" y="46990"/>
                    <a:pt x="1840226" y="45720"/>
                    <a:pt x="1837686" y="44450"/>
                  </a:cubicBezTo>
                  <a:cubicBezTo>
                    <a:pt x="1835146" y="43180"/>
                    <a:pt x="1832606" y="43180"/>
                    <a:pt x="1829431" y="43180"/>
                  </a:cubicBezTo>
                  <a:close/>
                  <a:moveTo>
                    <a:pt x="1178561" y="43180"/>
                  </a:moveTo>
                  <a:cubicBezTo>
                    <a:pt x="1176021" y="43180"/>
                    <a:pt x="1173481" y="43180"/>
                    <a:pt x="1171576" y="44450"/>
                  </a:cubicBezTo>
                  <a:cubicBezTo>
                    <a:pt x="1169671" y="45085"/>
                    <a:pt x="1167766" y="46355"/>
                    <a:pt x="1166496" y="48260"/>
                  </a:cubicBezTo>
                  <a:cubicBezTo>
                    <a:pt x="1165226" y="50165"/>
                    <a:pt x="1163956" y="52070"/>
                    <a:pt x="1162686" y="54610"/>
                  </a:cubicBezTo>
                  <a:cubicBezTo>
                    <a:pt x="1162051" y="57150"/>
                    <a:pt x="1160781" y="59690"/>
                    <a:pt x="1160781" y="62865"/>
                  </a:cubicBezTo>
                  <a:lnTo>
                    <a:pt x="1196976" y="62865"/>
                  </a:lnTo>
                  <a:cubicBezTo>
                    <a:pt x="1196976" y="62865"/>
                    <a:pt x="1196341" y="57785"/>
                    <a:pt x="1195706" y="55245"/>
                  </a:cubicBezTo>
                  <a:cubicBezTo>
                    <a:pt x="1195071" y="52705"/>
                    <a:pt x="1193801" y="50800"/>
                    <a:pt x="1192531" y="48895"/>
                  </a:cubicBezTo>
                  <a:cubicBezTo>
                    <a:pt x="1191261" y="46990"/>
                    <a:pt x="1189356" y="45720"/>
                    <a:pt x="1186816" y="44450"/>
                  </a:cubicBezTo>
                  <a:cubicBezTo>
                    <a:pt x="1184276" y="43180"/>
                    <a:pt x="1181736" y="43180"/>
                    <a:pt x="1178561" y="43180"/>
                  </a:cubicBezTo>
                  <a:close/>
                  <a:moveTo>
                    <a:pt x="898525" y="43180"/>
                  </a:moveTo>
                  <a:cubicBezTo>
                    <a:pt x="895985" y="43180"/>
                    <a:pt x="893445" y="43180"/>
                    <a:pt x="891540" y="44450"/>
                  </a:cubicBezTo>
                  <a:cubicBezTo>
                    <a:pt x="889635" y="45085"/>
                    <a:pt x="887730" y="46355"/>
                    <a:pt x="886460" y="48260"/>
                  </a:cubicBezTo>
                  <a:cubicBezTo>
                    <a:pt x="885190" y="50165"/>
                    <a:pt x="883920" y="52070"/>
                    <a:pt x="882650" y="54610"/>
                  </a:cubicBezTo>
                  <a:cubicBezTo>
                    <a:pt x="882015" y="57150"/>
                    <a:pt x="881380" y="59690"/>
                    <a:pt x="880745" y="62865"/>
                  </a:cubicBezTo>
                  <a:lnTo>
                    <a:pt x="916940" y="62865"/>
                  </a:lnTo>
                  <a:cubicBezTo>
                    <a:pt x="916940" y="62865"/>
                    <a:pt x="916305" y="57785"/>
                    <a:pt x="915670" y="55245"/>
                  </a:cubicBezTo>
                  <a:cubicBezTo>
                    <a:pt x="915035" y="52705"/>
                    <a:pt x="913765" y="50800"/>
                    <a:pt x="912495" y="48895"/>
                  </a:cubicBezTo>
                  <a:cubicBezTo>
                    <a:pt x="911225" y="46990"/>
                    <a:pt x="909320" y="45720"/>
                    <a:pt x="906780" y="44450"/>
                  </a:cubicBezTo>
                  <a:cubicBezTo>
                    <a:pt x="904240" y="43180"/>
                    <a:pt x="901700" y="43180"/>
                    <a:pt x="898525" y="43180"/>
                  </a:cubicBezTo>
                  <a:close/>
                  <a:moveTo>
                    <a:pt x="584834" y="43180"/>
                  </a:moveTo>
                  <a:cubicBezTo>
                    <a:pt x="582294" y="43180"/>
                    <a:pt x="579754" y="43180"/>
                    <a:pt x="577849" y="44450"/>
                  </a:cubicBezTo>
                  <a:cubicBezTo>
                    <a:pt x="575944" y="45085"/>
                    <a:pt x="574039" y="46355"/>
                    <a:pt x="572769" y="48260"/>
                  </a:cubicBezTo>
                  <a:cubicBezTo>
                    <a:pt x="571499" y="50165"/>
                    <a:pt x="570229" y="52070"/>
                    <a:pt x="568959" y="54610"/>
                  </a:cubicBezTo>
                  <a:cubicBezTo>
                    <a:pt x="568324" y="57150"/>
                    <a:pt x="567689" y="59690"/>
                    <a:pt x="567054" y="62865"/>
                  </a:cubicBezTo>
                  <a:lnTo>
                    <a:pt x="603249" y="62865"/>
                  </a:lnTo>
                  <a:cubicBezTo>
                    <a:pt x="603249" y="62865"/>
                    <a:pt x="602614" y="57785"/>
                    <a:pt x="601979" y="55245"/>
                  </a:cubicBezTo>
                  <a:cubicBezTo>
                    <a:pt x="601344" y="52705"/>
                    <a:pt x="600074" y="50800"/>
                    <a:pt x="598804" y="48895"/>
                  </a:cubicBezTo>
                  <a:cubicBezTo>
                    <a:pt x="597534" y="46990"/>
                    <a:pt x="595629" y="45720"/>
                    <a:pt x="593089" y="44450"/>
                  </a:cubicBezTo>
                  <a:cubicBezTo>
                    <a:pt x="590549" y="43180"/>
                    <a:pt x="588009" y="43180"/>
                    <a:pt x="584834" y="43180"/>
                  </a:cubicBezTo>
                  <a:close/>
                  <a:moveTo>
                    <a:pt x="398145" y="43180"/>
                  </a:moveTo>
                  <a:cubicBezTo>
                    <a:pt x="395605" y="43180"/>
                    <a:pt x="393065" y="43180"/>
                    <a:pt x="391160" y="44450"/>
                  </a:cubicBezTo>
                  <a:cubicBezTo>
                    <a:pt x="389255" y="45085"/>
                    <a:pt x="387350" y="46355"/>
                    <a:pt x="386080" y="48260"/>
                  </a:cubicBezTo>
                  <a:cubicBezTo>
                    <a:pt x="384810" y="50165"/>
                    <a:pt x="383540" y="52070"/>
                    <a:pt x="382270" y="54610"/>
                  </a:cubicBezTo>
                  <a:cubicBezTo>
                    <a:pt x="381635" y="57150"/>
                    <a:pt x="380365" y="59690"/>
                    <a:pt x="380365" y="62865"/>
                  </a:cubicBezTo>
                  <a:lnTo>
                    <a:pt x="416560" y="62865"/>
                  </a:lnTo>
                  <a:cubicBezTo>
                    <a:pt x="416560" y="62865"/>
                    <a:pt x="415925" y="57785"/>
                    <a:pt x="415290" y="55245"/>
                  </a:cubicBezTo>
                  <a:cubicBezTo>
                    <a:pt x="414655" y="52705"/>
                    <a:pt x="413385" y="50800"/>
                    <a:pt x="412115" y="48895"/>
                  </a:cubicBezTo>
                  <a:cubicBezTo>
                    <a:pt x="410845" y="46990"/>
                    <a:pt x="408940" y="45720"/>
                    <a:pt x="406400" y="44450"/>
                  </a:cubicBezTo>
                  <a:cubicBezTo>
                    <a:pt x="403860" y="43180"/>
                    <a:pt x="401320" y="43180"/>
                    <a:pt x="398145" y="43180"/>
                  </a:cubicBezTo>
                  <a:close/>
                  <a:moveTo>
                    <a:pt x="320039" y="43180"/>
                  </a:moveTo>
                  <a:cubicBezTo>
                    <a:pt x="318134" y="43180"/>
                    <a:pt x="316229" y="43180"/>
                    <a:pt x="314959" y="43815"/>
                  </a:cubicBezTo>
                  <a:cubicBezTo>
                    <a:pt x="313054" y="43815"/>
                    <a:pt x="311784" y="45085"/>
                    <a:pt x="309879" y="45720"/>
                  </a:cubicBezTo>
                  <a:cubicBezTo>
                    <a:pt x="308609" y="46355"/>
                    <a:pt x="306704" y="47625"/>
                    <a:pt x="305434" y="48895"/>
                  </a:cubicBezTo>
                  <a:cubicBezTo>
                    <a:pt x="304164" y="50165"/>
                    <a:pt x="302894" y="51435"/>
                    <a:pt x="302259" y="52705"/>
                  </a:cubicBezTo>
                  <a:lnTo>
                    <a:pt x="302259" y="85725"/>
                  </a:lnTo>
                  <a:cubicBezTo>
                    <a:pt x="302259" y="85725"/>
                    <a:pt x="304164" y="88265"/>
                    <a:pt x="305434" y="89535"/>
                  </a:cubicBezTo>
                  <a:cubicBezTo>
                    <a:pt x="306704" y="90805"/>
                    <a:pt x="307974" y="92075"/>
                    <a:pt x="309879" y="92710"/>
                  </a:cubicBezTo>
                  <a:cubicBezTo>
                    <a:pt x="311784" y="93980"/>
                    <a:pt x="313054" y="94615"/>
                    <a:pt x="314959" y="95250"/>
                  </a:cubicBezTo>
                  <a:cubicBezTo>
                    <a:pt x="316864" y="95250"/>
                    <a:pt x="318769" y="95885"/>
                    <a:pt x="320674" y="95885"/>
                  </a:cubicBezTo>
                  <a:cubicBezTo>
                    <a:pt x="326389" y="95885"/>
                    <a:pt x="330199" y="93980"/>
                    <a:pt x="333374" y="89535"/>
                  </a:cubicBezTo>
                  <a:cubicBezTo>
                    <a:pt x="336549" y="85090"/>
                    <a:pt x="337819" y="79375"/>
                    <a:pt x="337819" y="71120"/>
                  </a:cubicBezTo>
                  <a:lnTo>
                    <a:pt x="337184" y="71755"/>
                  </a:lnTo>
                  <a:cubicBezTo>
                    <a:pt x="337184" y="62230"/>
                    <a:pt x="335914" y="54610"/>
                    <a:pt x="332739" y="50165"/>
                  </a:cubicBezTo>
                  <a:cubicBezTo>
                    <a:pt x="329564" y="45720"/>
                    <a:pt x="325119" y="43180"/>
                    <a:pt x="320039" y="43180"/>
                  </a:cubicBezTo>
                  <a:close/>
                  <a:moveTo>
                    <a:pt x="200025" y="43180"/>
                  </a:moveTo>
                  <a:cubicBezTo>
                    <a:pt x="197485" y="43180"/>
                    <a:pt x="194945" y="43180"/>
                    <a:pt x="193040" y="44450"/>
                  </a:cubicBezTo>
                  <a:cubicBezTo>
                    <a:pt x="191135" y="45085"/>
                    <a:pt x="189230" y="46355"/>
                    <a:pt x="187960" y="48260"/>
                  </a:cubicBezTo>
                  <a:cubicBezTo>
                    <a:pt x="186690" y="50165"/>
                    <a:pt x="185420" y="52070"/>
                    <a:pt x="184150" y="54610"/>
                  </a:cubicBezTo>
                  <a:cubicBezTo>
                    <a:pt x="183515" y="57150"/>
                    <a:pt x="182880" y="59690"/>
                    <a:pt x="182245" y="62865"/>
                  </a:cubicBezTo>
                  <a:lnTo>
                    <a:pt x="218440" y="62865"/>
                  </a:lnTo>
                  <a:cubicBezTo>
                    <a:pt x="218440" y="62865"/>
                    <a:pt x="217805" y="57785"/>
                    <a:pt x="217170" y="55245"/>
                  </a:cubicBezTo>
                  <a:cubicBezTo>
                    <a:pt x="216535" y="52705"/>
                    <a:pt x="215265" y="50800"/>
                    <a:pt x="213995" y="48895"/>
                  </a:cubicBezTo>
                  <a:cubicBezTo>
                    <a:pt x="212725" y="46990"/>
                    <a:pt x="210820" y="45720"/>
                    <a:pt x="208280" y="44450"/>
                  </a:cubicBezTo>
                  <a:cubicBezTo>
                    <a:pt x="205740" y="43180"/>
                    <a:pt x="203200" y="43180"/>
                    <a:pt x="200025" y="43180"/>
                  </a:cubicBezTo>
                  <a:close/>
                  <a:moveTo>
                    <a:pt x="4439281" y="43179"/>
                  </a:moveTo>
                  <a:cubicBezTo>
                    <a:pt x="4433566" y="43179"/>
                    <a:pt x="4429756" y="45084"/>
                    <a:pt x="4426581" y="49529"/>
                  </a:cubicBezTo>
                  <a:cubicBezTo>
                    <a:pt x="4423406" y="53974"/>
                    <a:pt x="4422136" y="59689"/>
                    <a:pt x="4422136" y="67944"/>
                  </a:cubicBezTo>
                  <a:cubicBezTo>
                    <a:pt x="4422136" y="73024"/>
                    <a:pt x="4422136" y="76834"/>
                    <a:pt x="4423406" y="80644"/>
                  </a:cubicBezTo>
                  <a:cubicBezTo>
                    <a:pt x="4424041" y="84454"/>
                    <a:pt x="4425311" y="86994"/>
                    <a:pt x="4426581" y="89534"/>
                  </a:cubicBezTo>
                  <a:cubicBezTo>
                    <a:pt x="4427851" y="92074"/>
                    <a:pt x="4429756" y="93344"/>
                    <a:pt x="4432296" y="94614"/>
                  </a:cubicBezTo>
                  <a:cubicBezTo>
                    <a:pt x="4434201" y="95884"/>
                    <a:pt x="4436741" y="96519"/>
                    <a:pt x="4439916" y="96519"/>
                  </a:cubicBezTo>
                  <a:cubicBezTo>
                    <a:pt x="4441821" y="96519"/>
                    <a:pt x="4443726" y="96519"/>
                    <a:pt x="4444996" y="95884"/>
                  </a:cubicBezTo>
                  <a:cubicBezTo>
                    <a:pt x="4446901" y="95884"/>
                    <a:pt x="4448171" y="94614"/>
                    <a:pt x="4450076" y="93344"/>
                  </a:cubicBezTo>
                  <a:cubicBezTo>
                    <a:pt x="4451346" y="92709"/>
                    <a:pt x="4453251" y="91439"/>
                    <a:pt x="4454521" y="90169"/>
                  </a:cubicBezTo>
                  <a:cubicBezTo>
                    <a:pt x="4455791" y="88899"/>
                    <a:pt x="4457061" y="87629"/>
                    <a:pt x="4457696" y="86359"/>
                  </a:cubicBezTo>
                  <a:lnTo>
                    <a:pt x="4457696" y="53339"/>
                  </a:lnTo>
                  <a:cubicBezTo>
                    <a:pt x="4457696" y="53339"/>
                    <a:pt x="4455791" y="50799"/>
                    <a:pt x="4454521" y="49529"/>
                  </a:cubicBezTo>
                  <a:cubicBezTo>
                    <a:pt x="4453251" y="48259"/>
                    <a:pt x="4451981" y="46989"/>
                    <a:pt x="4450076" y="46354"/>
                  </a:cubicBezTo>
                  <a:cubicBezTo>
                    <a:pt x="4448806" y="45084"/>
                    <a:pt x="4446901" y="44449"/>
                    <a:pt x="4444996" y="43814"/>
                  </a:cubicBezTo>
                  <a:cubicBezTo>
                    <a:pt x="4443091" y="43814"/>
                    <a:pt x="4441186" y="43179"/>
                    <a:pt x="4439281" y="43179"/>
                  </a:cubicBezTo>
                  <a:close/>
                  <a:moveTo>
                    <a:pt x="1014731" y="43179"/>
                  </a:moveTo>
                  <a:cubicBezTo>
                    <a:pt x="1009016" y="43179"/>
                    <a:pt x="1005206" y="45084"/>
                    <a:pt x="1002032" y="49529"/>
                  </a:cubicBezTo>
                  <a:cubicBezTo>
                    <a:pt x="998856" y="53974"/>
                    <a:pt x="997587" y="59689"/>
                    <a:pt x="997587" y="67944"/>
                  </a:cubicBezTo>
                  <a:cubicBezTo>
                    <a:pt x="997587" y="77469"/>
                    <a:pt x="998856" y="84454"/>
                    <a:pt x="1002032" y="88899"/>
                  </a:cubicBezTo>
                  <a:cubicBezTo>
                    <a:pt x="1005206" y="93979"/>
                    <a:pt x="1009016" y="95884"/>
                    <a:pt x="1015367" y="95884"/>
                  </a:cubicBezTo>
                  <a:cubicBezTo>
                    <a:pt x="1018541" y="95884"/>
                    <a:pt x="1022352" y="95249"/>
                    <a:pt x="1024891" y="93344"/>
                  </a:cubicBezTo>
                  <a:cubicBezTo>
                    <a:pt x="1028067" y="91439"/>
                    <a:pt x="1030607" y="88899"/>
                    <a:pt x="1033147" y="86359"/>
                  </a:cubicBezTo>
                  <a:lnTo>
                    <a:pt x="1033147" y="53339"/>
                  </a:lnTo>
                  <a:cubicBezTo>
                    <a:pt x="1033147" y="53339"/>
                    <a:pt x="1031242" y="50799"/>
                    <a:pt x="1029971" y="49529"/>
                  </a:cubicBezTo>
                  <a:cubicBezTo>
                    <a:pt x="1028702" y="48259"/>
                    <a:pt x="1027431" y="46989"/>
                    <a:pt x="1025526" y="46354"/>
                  </a:cubicBezTo>
                  <a:cubicBezTo>
                    <a:pt x="1023621" y="45084"/>
                    <a:pt x="1022352" y="44449"/>
                    <a:pt x="1020446" y="43814"/>
                  </a:cubicBezTo>
                  <a:cubicBezTo>
                    <a:pt x="1018541" y="43179"/>
                    <a:pt x="1016636" y="43179"/>
                    <a:pt x="1014731" y="43179"/>
                  </a:cubicBezTo>
                  <a:close/>
                  <a:moveTo>
                    <a:pt x="4524370" y="31114"/>
                  </a:moveTo>
                  <a:lnTo>
                    <a:pt x="4538975" y="31114"/>
                  </a:lnTo>
                  <a:lnTo>
                    <a:pt x="4552310" y="84454"/>
                  </a:lnTo>
                  <a:lnTo>
                    <a:pt x="4566915" y="31114"/>
                  </a:lnTo>
                  <a:lnTo>
                    <a:pt x="4579615" y="31114"/>
                  </a:lnTo>
                  <a:lnTo>
                    <a:pt x="4594220" y="84454"/>
                  </a:lnTo>
                  <a:lnTo>
                    <a:pt x="4606920" y="31114"/>
                  </a:lnTo>
                  <a:lnTo>
                    <a:pt x="4622160" y="31114"/>
                  </a:lnTo>
                  <a:lnTo>
                    <a:pt x="4600570" y="108584"/>
                  </a:lnTo>
                  <a:lnTo>
                    <a:pt x="4587235" y="108584"/>
                  </a:lnTo>
                  <a:lnTo>
                    <a:pt x="4572630" y="54609"/>
                  </a:lnTo>
                  <a:lnTo>
                    <a:pt x="4558660" y="108584"/>
                  </a:lnTo>
                  <a:lnTo>
                    <a:pt x="4545325" y="108584"/>
                  </a:lnTo>
                  <a:close/>
                  <a:moveTo>
                    <a:pt x="4123686" y="31114"/>
                  </a:moveTo>
                  <a:lnTo>
                    <a:pt x="4138926" y="31114"/>
                  </a:lnTo>
                  <a:lnTo>
                    <a:pt x="4152261" y="84454"/>
                  </a:lnTo>
                  <a:lnTo>
                    <a:pt x="4166866" y="31114"/>
                  </a:lnTo>
                  <a:lnTo>
                    <a:pt x="4178931" y="31114"/>
                  </a:lnTo>
                  <a:lnTo>
                    <a:pt x="4193536" y="84454"/>
                  </a:lnTo>
                  <a:lnTo>
                    <a:pt x="4206871" y="31114"/>
                  </a:lnTo>
                  <a:lnTo>
                    <a:pt x="4222111" y="31114"/>
                  </a:lnTo>
                  <a:lnTo>
                    <a:pt x="4200521" y="108584"/>
                  </a:lnTo>
                  <a:lnTo>
                    <a:pt x="4187186" y="108584"/>
                  </a:lnTo>
                  <a:lnTo>
                    <a:pt x="4172581" y="54609"/>
                  </a:lnTo>
                  <a:lnTo>
                    <a:pt x="4157976" y="108584"/>
                  </a:lnTo>
                  <a:lnTo>
                    <a:pt x="4145276" y="108584"/>
                  </a:lnTo>
                  <a:close/>
                  <a:moveTo>
                    <a:pt x="2837811" y="31114"/>
                  </a:moveTo>
                  <a:lnTo>
                    <a:pt x="2852416" y="31114"/>
                  </a:lnTo>
                  <a:lnTo>
                    <a:pt x="2865751" y="84454"/>
                  </a:lnTo>
                  <a:lnTo>
                    <a:pt x="2880356" y="31114"/>
                  </a:lnTo>
                  <a:lnTo>
                    <a:pt x="2893056" y="31114"/>
                  </a:lnTo>
                  <a:lnTo>
                    <a:pt x="2907661" y="84454"/>
                  </a:lnTo>
                  <a:lnTo>
                    <a:pt x="2920361" y="31114"/>
                  </a:lnTo>
                  <a:lnTo>
                    <a:pt x="2935601" y="31114"/>
                  </a:lnTo>
                  <a:lnTo>
                    <a:pt x="2914011" y="108584"/>
                  </a:lnTo>
                  <a:lnTo>
                    <a:pt x="2900676" y="108584"/>
                  </a:lnTo>
                  <a:lnTo>
                    <a:pt x="2886706" y="54609"/>
                  </a:lnTo>
                  <a:lnTo>
                    <a:pt x="2872101" y="108584"/>
                  </a:lnTo>
                  <a:lnTo>
                    <a:pt x="2858766" y="108584"/>
                  </a:lnTo>
                  <a:close/>
                  <a:moveTo>
                    <a:pt x="1354455" y="31114"/>
                  </a:moveTo>
                  <a:lnTo>
                    <a:pt x="1369695" y="31114"/>
                  </a:lnTo>
                  <a:lnTo>
                    <a:pt x="1369695" y="109219"/>
                  </a:lnTo>
                  <a:lnTo>
                    <a:pt x="1354455" y="109219"/>
                  </a:lnTo>
                  <a:close/>
                  <a:moveTo>
                    <a:pt x="2646040" y="29844"/>
                  </a:moveTo>
                  <a:cubicBezTo>
                    <a:pt x="2650485" y="29844"/>
                    <a:pt x="2654295" y="29844"/>
                    <a:pt x="2658105" y="31749"/>
                  </a:cubicBezTo>
                  <a:cubicBezTo>
                    <a:pt x="2661915" y="33019"/>
                    <a:pt x="2665090" y="34289"/>
                    <a:pt x="2667630" y="36829"/>
                  </a:cubicBezTo>
                  <a:cubicBezTo>
                    <a:pt x="2670170" y="38734"/>
                    <a:pt x="2672075" y="41909"/>
                    <a:pt x="2673345" y="45084"/>
                  </a:cubicBezTo>
                  <a:cubicBezTo>
                    <a:pt x="2674615" y="48259"/>
                    <a:pt x="2675250" y="52069"/>
                    <a:pt x="2675250" y="56514"/>
                  </a:cubicBezTo>
                  <a:lnTo>
                    <a:pt x="2675250" y="109854"/>
                  </a:lnTo>
                  <a:lnTo>
                    <a:pt x="2660010" y="109854"/>
                  </a:lnTo>
                  <a:lnTo>
                    <a:pt x="2660010" y="108584"/>
                  </a:lnTo>
                  <a:lnTo>
                    <a:pt x="2660010" y="100964"/>
                  </a:lnTo>
                  <a:cubicBezTo>
                    <a:pt x="2660010" y="100964"/>
                    <a:pt x="2656200" y="104139"/>
                    <a:pt x="2654930" y="104774"/>
                  </a:cubicBezTo>
                  <a:cubicBezTo>
                    <a:pt x="2653660" y="105409"/>
                    <a:pt x="2652390" y="106679"/>
                    <a:pt x="2651120" y="107314"/>
                  </a:cubicBezTo>
                  <a:cubicBezTo>
                    <a:pt x="2649850" y="107949"/>
                    <a:pt x="2647945" y="108584"/>
                    <a:pt x="2646040" y="109219"/>
                  </a:cubicBezTo>
                  <a:cubicBezTo>
                    <a:pt x="2644135" y="109219"/>
                    <a:pt x="2641595" y="109854"/>
                    <a:pt x="2639055" y="109854"/>
                  </a:cubicBezTo>
                  <a:cubicBezTo>
                    <a:pt x="2635880" y="109854"/>
                    <a:pt x="2632705" y="109854"/>
                    <a:pt x="2629530" y="108584"/>
                  </a:cubicBezTo>
                  <a:cubicBezTo>
                    <a:pt x="2626355" y="107949"/>
                    <a:pt x="2623180" y="106044"/>
                    <a:pt x="2620640" y="104139"/>
                  </a:cubicBezTo>
                  <a:cubicBezTo>
                    <a:pt x="2618100" y="102234"/>
                    <a:pt x="2616195" y="99059"/>
                    <a:pt x="2614290" y="95884"/>
                  </a:cubicBezTo>
                  <a:cubicBezTo>
                    <a:pt x="2612385" y="92709"/>
                    <a:pt x="2611750" y="88264"/>
                    <a:pt x="2611750" y="83819"/>
                  </a:cubicBezTo>
                  <a:cubicBezTo>
                    <a:pt x="2611750" y="79374"/>
                    <a:pt x="2612385" y="75564"/>
                    <a:pt x="2614290" y="72389"/>
                  </a:cubicBezTo>
                  <a:cubicBezTo>
                    <a:pt x="2615560" y="69214"/>
                    <a:pt x="2618100" y="66674"/>
                    <a:pt x="2620640" y="64769"/>
                  </a:cubicBezTo>
                  <a:cubicBezTo>
                    <a:pt x="2623180" y="62864"/>
                    <a:pt x="2626990" y="60959"/>
                    <a:pt x="2630800" y="60324"/>
                  </a:cubicBezTo>
                  <a:cubicBezTo>
                    <a:pt x="2634610" y="59054"/>
                    <a:pt x="2638420" y="59054"/>
                    <a:pt x="2642865" y="59054"/>
                  </a:cubicBezTo>
                  <a:cubicBezTo>
                    <a:pt x="2646675" y="59054"/>
                    <a:pt x="2650485" y="59054"/>
                    <a:pt x="2653025" y="59689"/>
                  </a:cubicBezTo>
                  <a:cubicBezTo>
                    <a:pt x="2655565" y="59689"/>
                    <a:pt x="2658105" y="60959"/>
                    <a:pt x="2660010" y="61594"/>
                  </a:cubicBezTo>
                  <a:lnTo>
                    <a:pt x="2660010" y="55879"/>
                  </a:lnTo>
                  <a:cubicBezTo>
                    <a:pt x="2660010" y="51434"/>
                    <a:pt x="2658740" y="48259"/>
                    <a:pt x="2656200" y="46354"/>
                  </a:cubicBezTo>
                  <a:cubicBezTo>
                    <a:pt x="2653660" y="43814"/>
                    <a:pt x="2649850" y="43179"/>
                    <a:pt x="2645405" y="43179"/>
                  </a:cubicBezTo>
                  <a:cubicBezTo>
                    <a:pt x="2641595" y="43179"/>
                    <a:pt x="2637785" y="43179"/>
                    <a:pt x="2634610" y="44449"/>
                  </a:cubicBezTo>
                  <a:cubicBezTo>
                    <a:pt x="2631435" y="45084"/>
                    <a:pt x="2628260" y="46354"/>
                    <a:pt x="2625085" y="48259"/>
                  </a:cubicBezTo>
                  <a:lnTo>
                    <a:pt x="2619370" y="36829"/>
                  </a:lnTo>
                  <a:cubicBezTo>
                    <a:pt x="2623180" y="34289"/>
                    <a:pt x="2626990" y="33019"/>
                    <a:pt x="2631435" y="31749"/>
                  </a:cubicBezTo>
                  <a:cubicBezTo>
                    <a:pt x="2635880" y="30479"/>
                    <a:pt x="2640325" y="29844"/>
                    <a:pt x="2646040" y="29844"/>
                  </a:cubicBezTo>
                  <a:close/>
                  <a:moveTo>
                    <a:pt x="1114426" y="29844"/>
                  </a:moveTo>
                  <a:lnTo>
                    <a:pt x="1129666" y="29844"/>
                  </a:lnTo>
                  <a:lnTo>
                    <a:pt x="1129666" y="107949"/>
                  </a:lnTo>
                  <a:lnTo>
                    <a:pt x="1114426" y="107949"/>
                  </a:lnTo>
                  <a:lnTo>
                    <a:pt x="1114426" y="100964"/>
                  </a:lnTo>
                  <a:cubicBezTo>
                    <a:pt x="1114426" y="100964"/>
                    <a:pt x="1109981" y="106044"/>
                    <a:pt x="1106171" y="107314"/>
                  </a:cubicBezTo>
                  <a:cubicBezTo>
                    <a:pt x="1102996" y="109219"/>
                    <a:pt x="1098551" y="109854"/>
                    <a:pt x="1094741" y="109854"/>
                  </a:cubicBezTo>
                  <a:cubicBezTo>
                    <a:pt x="1085851" y="109854"/>
                    <a:pt x="1078866" y="106679"/>
                    <a:pt x="1073786" y="100964"/>
                  </a:cubicBezTo>
                  <a:cubicBezTo>
                    <a:pt x="1069341" y="95249"/>
                    <a:pt x="1066800" y="86359"/>
                    <a:pt x="1066800" y="74929"/>
                  </a:cubicBezTo>
                  <a:lnTo>
                    <a:pt x="1066800" y="30479"/>
                  </a:lnTo>
                  <a:lnTo>
                    <a:pt x="1082040" y="30479"/>
                  </a:lnTo>
                  <a:lnTo>
                    <a:pt x="1082040" y="74294"/>
                  </a:lnTo>
                  <a:cubicBezTo>
                    <a:pt x="1082040" y="81279"/>
                    <a:pt x="1083311" y="86994"/>
                    <a:pt x="1085851" y="90169"/>
                  </a:cubicBezTo>
                  <a:cubicBezTo>
                    <a:pt x="1088390" y="93979"/>
                    <a:pt x="1092201" y="95249"/>
                    <a:pt x="1097916" y="95249"/>
                  </a:cubicBezTo>
                  <a:cubicBezTo>
                    <a:pt x="1102996" y="95249"/>
                    <a:pt x="1106806" y="93344"/>
                    <a:pt x="1109981" y="90169"/>
                  </a:cubicBezTo>
                  <a:cubicBezTo>
                    <a:pt x="1112521" y="86994"/>
                    <a:pt x="1114426" y="81914"/>
                    <a:pt x="1114426" y="75564"/>
                  </a:cubicBezTo>
                  <a:close/>
                  <a:moveTo>
                    <a:pt x="1011556" y="29844"/>
                  </a:moveTo>
                  <a:cubicBezTo>
                    <a:pt x="1013461" y="29844"/>
                    <a:pt x="1015367" y="29844"/>
                    <a:pt x="1017272" y="30479"/>
                  </a:cubicBezTo>
                  <a:cubicBezTo>
                    <a:pt x="1019176" y="30479"/>
                    <a:pt x="1021081" y="31749"/>
                    <a:pt x="1022352" y="32384"/>
                  </a:cubicBezTo>
                  <a:cubicBezTo>
                    <a:pt x="1024257" y="33019"/>
                    <a:pt x="1025526" y="34289"/>
                    <a:pt x="1026797" y="35559"/>
                  </a:cubicBezTo>
                  <a:cubicBezTo>
                    <a:pt x="1028067" y="36829"/>
                    <a:pt x="1029336" y="37464"/>
                    <a:pt x="1030607" y="38734"/>
                  </a:cubicBezTo>
                  <a:lnTo>
                    <a:pt x="1030607" y="31749"/>
                  </a:lnTo>
                  <a:lnTo>
                    <a:pt x="1045847" y="31749"/>
                  </a:lnTo>
                  <a:lnTo>
                    <a:pt x="1045847" y="130809"/>
                  </a:lnTo>
                  <a:lnTo>
                    <a:pt x="1032512" y="137477"/>
                  </a:lnTo>
                  <a:lnTo>
                    <a:pt x="1032512" y="101599"/>
                  </a:lnTo>
                  <a:cubicBezTo>
                    <a:pt x="1032512" y="101599"/>
                    <a:pt x="1026797" y="106679"/>
                    <a:pt x="1022986" y="107949"/>
                  </a:cubicBezTo>
                  <a:cubicBezTo>
                    <a:pt x="1019812" y="109854"/>
                    <a:pt x="1016001" y="110489"/>
                    <a:pt x="1011556" y="110489"/>
                  </a:cubicBezTo>
                  <a:cubicBezTo>
                    <a:pt x="1007111" y="110489"/>
                    <a:pt x="1003301" y="109854"/>
                    <a:pt x="999491" y="107949"/>
                  </a:cubicBezTo>
                  <a:cubicBezTo>
                    <a:pt x="995681" y="106679"/>
                    <a:pt x="992506" y="104139"/>
                    <a:pt x="989966" y="100329"/>
                  </a:cubicBezTo>
                  <a:cubicBezTo>
                    <a:pt x="987426" y="97154"/>
                    <a:pt x="984886" y="92709"/>
                    <a:pt x="983616" y="87629"/>
                  </a:cubicBezTo>
                  <a:cubicBezTo>
                    <a:pt x="982346" y="82549"/>
                    <a:pt x="981076" y="76199"/>
                    <a:pt x="981076" y="68579"/>
                  </a:cubicBezTo>
                  <a:cubicBezTo>
                    <a:pt x="981076" y="61594"/>
                    <a:pt x="981711" y="55879"/>
                    <a:pt x="983616" y="51434"/>
                  </a:cubicBezTo>
                  <a:cubicBezTo>
                    <a:pt x="985521" y="46354"/>
                    <a:pt x="987426" y="42544"/>
                    <a:pt x="990601" y="39369"/>
                  </a:cubicBezTo>
                  <a:cubicBezTo>
                    <a:pt x="993142" y="36194"/>
                    <a:pt x="996951" y="33654"/>
                    <a:pt x="1000126" y="32384"/>
                  </a:cubicBezTo>
                  <a:cubicBezTo>
                    <a:pt x="1003937" y="31114"/>
                    <a:pt x="1007746" y="29844"/>
                    <a:pt x="1011556" y="29844"/>
                  </a:cubicBezTo>
                  <a:close/>
                  <a:moveTo>
                    <a:pt x="4871716" y="29210"/>
                  </a:moveTo>
                  <a:cubicBezTo>
                    <a:pt x="4876796" y="29210"/>
                    <a:pt x="4881241" y="29845"/>
                    <a:pt x="4885686" y="31750"/>
                  </a:cubicBezTo>
                  <a:cubicBezTo>
                    <a:pt x="4890131" y="33655"/>
                    <a:pt x="4894576" y="35560"/>
                    <a:pt x="4897751" y="38100"/>
                  </a:cubicBezTo>
                  <a:lnTo>
                    <a:pt x="4899021" y="38100"/>
                  </a:lnTo>
                  <a:lnTo>
                    <a:pt x="4892036" y="50165"/>
                  </a:lnTo>
                  <a:cubicBezTo>
                    <a:pt x="4888861" y="47625"/>
                    <a:pt x="4885686" y="46355"/>
                    <a:pt x="4882511" y="45085"/>
                  </a:cubicBezTo>
                  <a:cubicBezTo>
                    <a:pt x="4879336" y="43815"/>
                    <a:pt x="4875526" y="43180"/>
                    <a:pt x="4872351" y="43180"/>
                  </a:cubicBezTo>
                  <a:cubicBezTo>
                    <a:pt x="4869176" y="43180"/>
                    <a:pt x="4866001" y="43815"/>
                    <a:pt x="4864096" y="45085"/>
                  </a:cubicBezTo>
                  <a:cubicBezTo>
                    <a:pt x="4862191" y="46355"/>
                    <a:pt x="4861556" y="48260"/>
                    <a:pt x="4861556" y="50165"/>
                  </a:cubicBezTo>
                  <a:cubicBezTo>
                    <a:pt x="4861556" y="51435"/>
                    <a:pt x="4861556" y="52070"/>
                    <a:pt x="4861556" y="52705"/>
                  </a:cubicBezTo>
                  <a:cubicBezTo>
                    <a:pt x="4861556" y="53340"/>
                    <a:pt x="4862826" y="54610"/>
                    <a:pt x="4863461" y="55245"/>
                  </a:cubicBezTo>
                  <a:cubicBezTo>
                    <a:pt x="4864731" y="55880"/>
                    <a:pt x="4866001" y="57150"/>
                    <a:pt x="4867906" y="57785"/>
                  </a:cubicBezTo>
                  <a:cubicBezTo>
                    <a:pt x="4869811" y="59055"/>
                    <a:pt x="4872351" y="59690"/>
                    <a:pt x="4874891" y="60960"/>
                  </a:cubicBezTo>
                  <a:cubicBezTo>
                    <a:pt x="4879336" y="62865"/>
                    <a:pt x="4883146" y="64135"/>
                    <a:pt x="4886321" y="66040"/>
                  </a:cubicBezTo>
                  <a:cubicBezTo>
                    <a:pt x="4889496" y="67310"/>
                    <a:pt x="4892036" y="69215"/>
                    <a:pt x="4894576" y="71120"/>
                  </a:cubicBezTo>
                  <a:cubicBezTo>
                    <a:pt x="4896481" y="73025"/>
                    <a:pt x="4898386" y="75565"/>
                    <a:pt x="4899656" y="78105"/>
                  </a:cubicBezTo>
                  <a:cubicBezTo>
                    <a:pt x="4900926" y="80645"/>
                    <a:pt x="4901561" y="83820"/>
                    <a:pt x="4901561" y="87630"/>
                  </a:cubicBezTo>
                  <a:cubicBezTo>
                    <a:pt x="4901561" y="92075"/>
                    <a:pt x="4900926" y="95250"/>
                    <a:pt x="4899021" y="98425"/>
                  </a:cubicBezTo>
                  <a:cubicBezTo>
                    <a:pt x="4897116" y="101600"/>
                    <a:pt x="4895211" y="103505"/>
                    <a:pt x="4892671" y="105410"/>
                  </a:cubicBezTo>
                  <a:cubicBezTo>
                    <a:pt x="4890131" y="107315"/>
                    <a:pt x="4886956" y="108585"/>
                    <a:pt x="4883146" y="109220"/>
                  </a:cubicBezTo>
                  <a:cubicBezTo>
                    <a:pt x="4879336" y="109855"/>
                    <a:pt x="4876161" y="110490"/>
                    <a:pt x="4872351" y="110490"/>
                  </a:cubicBezTo>
                  <a:cubicBezTo>
                    <a:pt x="4867271" y="110490"/>
                    <a:pt x="4862191" y="109855"/>
                    <a:pt x="4857111" y="107950"/>
                  </a:cubicBezTo>
                  <a:cubicBezTo>
                    <a:pt x="4851396" y="106045"/>
                    <a:pt x="4846951" y="103505"/>
                    <a:pt x="4842506" y="100965"/>
                  </a:cubicBezTo>
                  <a:lnTo>
                    <a:pt x="4849491" y="89535"/>
                  </a:lnTo>
                  <a:cubicBezTo>
                    <a:pt x="4853301" y="92075"/>
                    <a:pt x="4857111" y="93980"/>
                    <a:pt x="4860921" y="95250"/>
                  </a:cubicBezTo>
                  <a:cubicBezTo>
                    <a:pt x="4864731" y="96520"/>
                    <a:pt x="4868541" y="97155"/>
                    <a:pt x="4872351" y="97155"/>
                  </a:cubicBezTo>
                  <a:cubicBezTo>
                    <a:pt x="4877431" y="97155"/>
                    <a:pt x="4880606" y="96520"/>
                    <a:pt x="4883146" y="94615"/>
                  </a:cubicBezTo>
                  <a:cubicBezTo>
                    <a:pt x="4885686" y="93345"/>
                    <a:pt x="4886321" y="90805"/>
                    <a:pt x="4886321" y="88265"/>
                  </a:cubicBezTo>
                  <a:cubicBezTo>
                    <a:pt x="4886321" y="86995"/>
                    <a:pt x="4886321" y="85725"/>
                    <a:pt x="4885051" y="84455"/>
                  </a:cubicBezTo>
                  <a:cubicBezTo>
                    <a:pt x="4884416" y="83185"/>
                    <a:pt x="4883146" y="82550"/>
                    <a:pt x="4881241" y="81280"/>
                  </a:cubicBezTo>
                  <a:cubicBezTo>
                    <a:pt x="4879971" y="80010"/>
                    <a:pt x="4878066" y="79375"/>
                    <a:pt x="4875526" y="78105"/>
                  </a:cubicBezTo>
                  <a:cubicBezTo>
                    <a:pt x="4872986" y="77470"/>
                    <a:pt x="4871081" y="76200"/>
                    <a:pt x="4867906" y="74930"/>
                  </a:cubicBezTo>
                  <a:cubicBezTo>
                    <a:pt x="4863461" y="73025"/>
                    <a:pt x="4860286" y="71755"/>
                    <a:pt x="4857111" y="69850"/>
                  </a:cubicBezTo>
                  <a:cubicBezTo>
                    <a:pt x="4853936" y="67945"/>
                    <a:pt x="4852031" y="66675"/>
                    <a:pt x="4850126" y="64770"/>
                  </a:cubicBezTo>
                  <a:cubicBezTo>
                    <a:pt x="4848221" y="62865"/>
                    <a:pt x="4846951" y="60960"/>
                    <a:pt x="4846316" y="58420"/>
                  </a:cubicBezTo>
                  <a:cubicBezTo>
                    <a:pt x="4845681" y="55880"/>
                    <a:pt x="4845046" y="53340"/>
                    <a:pt x="4845046" y="50165"/>
                  </a:cubicBezTo>
                  <a:cubicBezTo>
                    <a:pt x="4845046" y="46990"/>
                    <a:pt x="4845681" y="43815"/>
                    <a:pt x="4846951" y="40640"/>
                  </a:cubicBezTo>
                  <a:cubicBezTo>
                    <a:pt x="4848221" y="38100"/>
                    <a:pt x="4850126" y="35560"/>
                    <a:pt x="4852666" y="34290"/>
                  </a:cubicBezTo>
                  <a:cubicBezTo>
                    <a:pt x="4855206" y="32385"/>
                    <a:pt x="4857746" y="31115"/>
                    <a:pt x="4860921" y="30480"/>
                  </a:cubicBezTo>
                  <a:cubicBezTo>
                    <a:pt x="4864096" y="29845"/>
                    <a:pt x="4867906" y="29210"/>
                    <a:pt x="4871716" y="29210"/>
                  </a:cubicBezTo>
                  <a:close/>
                  <a:moveTo>
                    <a:pt x="4749796" y="29210"/>
                  </a:moveTo>
                  <a:cubicBezTo>
                    <a:pt x="4752971" y="29210"/>
                    <a:pt x="4755511" y="29210"/>
                    <a:pt x="4757416" y="29845"/>
                  </a:cubicBezTo>
                  <a:cubicBezTo>
                    <a:pt x="4759321" y="30480"/>
                    <a:pt x="4761226" y="31115"/>
                    <a:pt x="4763131" y="32385"/>
                  </a:cubicBezTo>
                  <a:lnTo>
                    <a:pt x="4759321" y="46990"/>
                  </a:lnTo>
                  <a:lnTo>
                    <a:pt x="4758051" y="46990"/>
                  </a:lnTo>
                  <a:cubicBezTo>
                    <a:pt x="4758051" y="46990"/>
                    <a:pt x="4754876" y="45085"/>
                    <a:pt x="4752971" y="45085"/>
                  </a:cubicBezTo>
                  <a:cubicBezTo>
                    <a:pt x="4751066" y="45085"/>
                    <a:pt x="4749161" y="44450"/>
                    <a:pt x="4746621" y="44450"/>
                  </a:cubicBezTo>
                  <a:cubicBezTo>
                    <a:pt x="4741541" y="44450"/>
                    <a:pt x="4737731" y="46355"/>
                    <a:pt x="4735191" y="49530"/>
                  </a:cubicBezTo>
                  <a:cubicBezTo>
                    <a:pt x="4732651" y="52705"/>
                    <a:pt x="4731381" y="57785"/>
                    <a:pt x="4731381" y="64770"/>
                  </a:cubicBezTo>
                  <a:lnTo>
                    <a:pt x="4731381" y="109220"/>
                  </a:lnTo>
                  <a:lnTo>
                    <a:pt x="4716141" y="109220"/>
                  </a:lnTo>
                  <a:lnTo>
                    <a:pt x="4716141" y="31115"/>
                  </a:lnTo>
                  <a:lnTo>
                    <a:pt x="4731381" y="31115"/>
                  </a:lnTo>
                  <a:lnTo>
                    <a:pt x="4731381" y="38735"/>
                  </a:lnTo>
                  <a:cubicBezTo>
                    <a:pt x="4731381" y="38735"/>
                    <a:pt x="4733286" y="36195"/>
                    <a:pt x="4734556" y="34925"/>
                  </a:cubicBezTo>
                  <a:cubicBezTo>
                    <a:pt x="4735826" y="33655"/>
                    <a:pt x="4737096" y="33020"/>
                    <a:pt x="4739001" y="31750"/>
                  </a:cubicBezTo>
                  <a:cubicBezTo>
                    <a:pt x="4740271" y="31115"/>
                    <a:pt x="4742176" y="30480"/>
                    <a:pt x="4744081" y="29845"/>
                  </a:cubicBezTo>
                  <a:cubicBezTo>
                    <a:pt x="4745986" y="29845"/>
                    <a:pt x="4747891" y="29210"/>
                    <a:pt x="4749796" y="29210"/>
                  </a:cubicBezTo>
                  <a:close/>
                  <a:moveTo>
                    <a:pt x="4349110" y="29210"/>
                  </a:moveTo>
                  <a:cubicBezTo>
                    <a:pt x="4352285" y="29210"/>
                    <a:pt x="4354825" y="29210"/>
                    <a:pt x="4356730" y="29845"/>
                  </a:cubicBezTo>
                  <a:cubicBezTo>
                    <a:pt x="4358635" y="29845"/>
                    <a:pt x="4360540" y="31115"/>
                    <a:pt x="4362445" y="32385"/>
                  </a:cubicBezTo>
                  <a:lnTo>
                    <a:pt x="4358635" y="46990"/>
                  </a:lnTo>
                  <a:lnTo>
                    <a:pt x="4357365" y="46990"/>
                  </a:lnTo>
                  <a:cubicBezTo>
                    <a:pt x="4357365" y="46990"/>
                    <a:pt x="4354190" y="45085"/>
                    <a:pt x="4352285" y="45085"/>
                  </a:cubicBezTo>
                  <a:cubicBezTo>
                    <a:pt x="4350380" y="45085"/>
                    <a:pt x="4348475" y="44450"/>
                    <a:pt x="4345935" y="44450"/>
                  </a:cubicBezTo>
                  <a:cubicBezTo>
                    <a:pt x="4340855" y="44450"/>
                    <a:pt x="4337045" y="46355"/>
                    <a:pt x="4334505" y="49530"/>
                  </a:cubicBezTo>
                  <a:cubicBezTo>
                    <a:pt x="4331965" y="52705"/>
                    <a:pt x="4330695" y="57785"/>
                    <a:pt x="4330695" y="64770"/>
                  </a:cubicBezTo>
                  <a:lnTo>
                    <a:pt x="4330695" y="109220"/>
                  </a:lnTo>
                  <a:lnTo>
                    <a:pt x="4315455" y="109220"/>
                  </a:lnTo>
                  <a:lnTo>
                    <a:pt x="4315455" y="31115"/>
                  </a:lnTo>
                  <a:lnTo>
                    <a:pt x="4330695" y="31115"/>
                  </a:lnTo>
                  <a:lnTo>
                    <a:pt x="4330695" y="38735"/>
                  </a:lnTo>
                  <a:cubicBezTo>
                    <a:pt x="4330695" y="38735"/>
                    <a:pt x="4332600" y="36195"/>
                    <a:pt x="4333870" y="34925"/>
                  </a:cubicBezTo>
                  <a:cubicBezTo>
                    <a:pt x="4335140" y="33655"/>
                    <a:pt x="4336410" y="33020"/>
                    <a:pt x="4338315" y="31750"/>
                  </a:cubicBezTo>
                  <a:cubicBezTo>
                    <a:pt x="4339585" y="31115"/>
                    <a:pt x="4341490" y="30480"/>
                    <a:pt x="4343395" y="29845"/>
                  </a:cubicBezTo>
                  <a:cubicBezTo>
                    <a:pt x="4345300" y="29845"/>
                    <a:pt x="4347205" y="29210"/>
                    <a:pt x="4349110" y="29210"/>
                  </a:cubicBezTo>
                  <a:close/>
                  <a:moveTo>
                    <a:pt x="4044310" y="29210"/>
                  </a:moveTo>
                  <a:cubicBezTo>
                    <a:pt x="4050025" y="29210"/>
                    <a:pt x="4054470" y="30480"/>
                    <a:pt x="4058915" y="32385"/>
                  </a:cubicBezTo>
                  <a:cubicBezTo>
                    <a:pt x="4062725" y="34290"/>
                    <a:pt x="4066535" y="37465"/>
                    <a:pt x="4069075" y="40640"/>
                  </a:cubicBezTo>
                  <a:cubicBezTo>
                    <a:pt x="4071615" y="44450"/>
                    <a:pt x="4073520" y="48260"/>
                    <a:pt x="4075425" y="53340"/>
                  </a:cubicBezTo>
                  <a:cubicBezTo>
                    <a:pt x="4076695" y="57785"/>
                    <a:pt x="4077330" y="62865"/>
                    <a:pt x="4077330" y="68580"/>
                  </a:cubicBezTo>
                  <a:lnTo>
                    <a:pt x="4076060" y="68580"/>
                  </a:lnTo>
                  <a:cubicBezTo>
                    <a:pt x="4076060" y="68580"/>
                    <a:pt x="4076060" y="71120"/>
                    <a:pt x="4076060" y="72390"/>
                  </a:cubicBezTo>
                  <a:cubicBezTo>
                    <a:pt x="4076060" y="73660"/>
                    <a:pt x="4076060" y="74295"/>
                    <a:pt x="4076060" y="75565"/>
                  </a:cubicBezTo>
                  <a:lnTo>
                    <a:pt x="4024625" y="75565"/>
                  </a:lnTo>
                  <a:cubicBezTo>
                    <a:pt x="4024625" y="79375"/>
                    <a:pt x="4025895" y="82550"/>
                    <a:pt x="4027165" y="85090"/>
                  </a:cubicBezTo>
                  <a:cubicBezTo>
                    <a:pt x="4028435" y="87630"/>
                    <a:pt x="4029705" y="90170"/>
                    <a:pt x="4031610" y="91440"/>
                  </a:cubicBezTo>
                  <a:cubicBezTo>
                    <a:pt x="4033515" y="93345"/>
                    <a:pt x="4035420" y="94615"/>
                    <a:pt x="4037325" y="95250"/>
                  </a:cubicBezTo>
                  <a:cubicBezTo>
                    <a:pt x="4039230" y="95885"/>
                    <a:pt x="4041770" y="96520"/>
                    <a:pt x="4044310" y="96520"/>
                  </a:cubicBezTo>
                  <a:cubicBezTo>
                    <a:pt x="4046215" y="96520"/>
                    <a:pt x="4047485" y="96520"/>
                    <a:pt x="4049390" y="96520"/>
                  </a:cubicBezTo>
                  <a:cubicBezTo>
                    <a:pt x="4050660" y="96520"/>
                    <a:pt x="4052565" y="95885"/>
                    <a:pt x="4053835" y="95250"/>
                  </a:cubicBezTo>
                  <a:cubicBezTo>
                    <a:pt x="4055105" y="95250"/>
                    <a:pt x="4056375" y="93980"/>
                    <a:pt x="4057645" y="93345"/>
                  </a:cubicBezTo>
                  <a:cubicBezTo>
                    <a:pt x="4058915" y="93345"/>
                    <a:pt x="4060185" y="92075"/>
                    <a:pt x="4062090" y="90805"/>
                  </a:cubicBezTo>
                  <a:lnTo>
                    <a:pt x="4070980" y="100330"/>
                  </a:lnTo>
                  <a:cubicBezTo>
                    <a:pt x="4070980" y="100330"/>
                    <a:pt x="4067170" y="103505"/>
                    <a:pt x="4065265" y="104775"/>
                  </a:cubicBezTo>
                  <a:cubicBezTo>
                    <a:pt x="4063360" y="106045"/>
                    <a:pt x="4061455" y="106680"/>
                    <a:pt x="4059550" y="107950"/>
                  </a:cubicBezTo>
                  <a:cubicBezTo>
                    <a:pt x="4057645" y="108585"/>
                    <a:pt x="4055105" y="109855"/>
                    <a:pt x="4052565" y="109855"/>
                  </a:cubicBezTo>
                  <a:cubicBezTo>
                    <a:pt x="4050025" y="109855"/>
                    <a:pt x="4046850" y="110490"/>
                    <a:pt x="4043675" y="110490"/>
                  </a:cubicBezTo>
                  <a:cubicBezTo>
                    <a:pt x="4040500" y="110490"/>
                    <a:pt x="4037325" y="110490"/>
                    <a:pt x="4034150" y="109220"/>
                  </a:cubicBezTo>
                  <a:cubicBezTo>
                    <a:pt x="4030975" y="108585"/>
                    <a:pt x="4028435" y="107315"/>
                    <a:pt x="4026530" y="105410"/>
                  </a:cubicBezTo>
                  <a:cubicBezTo>
                    <a:pt x="4023990" y="104140"/>
                    <a:pt x="4022085" y="102235"/>
                    <a:pt x="4020180" y="100330"/>
                  </a:cubicBezTo>
                  <a:cubicBezTo>
                    <a:pt x="4018275" y="98425"/>
                    <a:pt x="4016370" y="95885"/>
                    <a:pt x="4015100" y="92710"/>
                  </a:cubicBezTo>
                  <a:cubicBezTo>
                    <a:pt x="4013195" y="89535"/>
                    <a:pt x="4011925" y="86360"/>
                    <a:pt x="4011290" y="82550"/>
                  </a:cubicBezTo>
                  <a:cubicBezTo>
                    <a:pt x="4010655" y="78740"/>
                    <a:pt x="4010020" y="74295"/>
                    <a:pt x="4010020" y="69850"/>
                  </a:cubicBezTo>
                  <a:cubicBezTo>
                    <a:pt x="4010020" y="63500"/>
                    <a:pt x="4010655" y="57150"/>
                    <a:pt x="4012560" y="52070"/>
                  </a:cubicBezTo>
                  <a:cubicBezTo>
                    <a:pt x="4014465" y="46990"/>
                    <a:pt x="4016370" y="42545"/>
                    <a:pt x="4019545" y="39370"/>
                  </a:cubicBezTo>
                  <a:cubicBezTo>
                    <a:pt x="4022720" y="36195"/>
                    <a:pt x="4025895" y="33020"/>
                    <a:pt x="4030340" y="31750"/>
                  </a:cubicBezTo>
                  <a:cubicBezTo>
                    <a:pt x="4034785" y="29845"/>
                    <a:pt x="4039230" y="29210"/>
                    <a:pt x="4044310" y="29210"/>
                  </a:cubicBezTo>
                  <a:close/>
                  <a:moveTo>
                    <a:pt x="3811900" y="29210"/>
                  </a:moveTo>
                  <a:cubicBezTo>
                    <a:pt x="3815075" y="29210"/>
                    <a:pt x="3817615" y="29210"/>
                    <a:pt x="3819520" y="29845"/>
                  </a:cubicBezTo>
                  <a:cubicBezTo>
                    <a:pt x="3821425" y="29845"/>
                    <a:pt x="3823330" y="31115"/>
                    <a:pt x="3825235" y="32385"/>
                  </a:cubicBezTo>
                  <a:lnTo>
                    <a:pt x="3821425" y="46990"/>
                  </a:lnTo>
                  <a:lnTo>
                    <a:pt x="3820155" y="46990"/>
                  </a:lnTo>
                  <a:cubicBezTo>
                    <a:pt x="3820155" y="46990"/>
                    <a:pt x="3816980" y="45085"/>
                    <a:pt x="3815075" y="45085"/>
                  </a:cubicBezTo>
                  <a:cubicBezTo>
                    <a:pt x="3813170" y="45085"/>
                    <a:pt x="3811265" y="44450"/>
                    <a:pt x="3808725" y="44450"/>
                  </a:cubicBezTo>
                  <a:cubicBezTo>
                    <a:pt x="3803645" y="44450"/>
                    <a:pt x="3799835" y="46355"/>
                    <a:pt x="3797295" y="49530"/>
                  </a:cubicBezTo>
                  <a:cubicBezTo>
                    <a:pt x="3794755" y="52705"/>
                    <a:pt x="3793485" y="57785"/>
                    <a:pt x="3793485" y="64770"/>
                  </a:cubicBezTo>
                  <a:lnTo>
                    <a:pt x="3793485" y="109220"/>
                  </a:lnTo>
                  <a:lnTo>
                    <a:pt x="3778245" y="109220"/>
                  </a:lnTo>
                  <a:lnTo>
                    <a:pt x="3778245" y="31115"/>
                  </a:lnTo>
                  <a:lnTo>
                    <a:pt x="3793485" y="31115"/>
                  </a:lnTo>
                  <a:lnTo>
                    <a:pt x="3793485" y="38735"/>
                  </a:lnTo>
                  <a:cubicBezTo>
                    <a:pt x="3793485" y="38735"/>
                    <a:pt x="3795390" y="36195"/>
                    <a:pt x="3796660" y="34925"/>
                  </a:cubicBezTo>
                  <a:cubicBezTo>
                    <a:pt x="3797930" y="33655"/>
                    <a:pt x="3799200" y="33020"/>
                    <a:pt x="3801105" y="31750"/>
                  </a:cubicBezTo>
                  <a:cubicBezTo>
                    <a:pt x="3802375" y="31115"/>
                    <a:pt x="3804280" y="30480"/>
                    <a:pt x="3806185" y="29845"/>
                  </a:cubicBezTo>
                  <a:cubicBezTo>
                    <a:pt x="3808090" y="29845"/>
                    <a:pt x="3809995" y="29210"/>
                    <a:pt x="3811900" y="29210"/>
                  </a:cubicBezTo>
                  <a:close/>
                  <a:moveTo>
                    <a:pt x="3729986" y="29210"/>
                  </a:moveTo>
                  <a:cubicBezTo>
                    <a:pt x="3735701" y="29210"/>
                    <a:pt x="3740146" y="30480"/>
                    <a:pt x="3744591" y="32385"/>
                  </a:cubicBezTo>
                  <a:cubicBezTo>
                    <a:pt x="3748401" y="34290"/>
                    <a:pt x="3752211" y="37465"/>
                    <a:pt x="3754751" y="40640"/>
                  </a:cubicBezTo>
                  <a:cubicBezTo>
                    <a:pt x="3757291" y="44450"/>
                    <a:pt x="3759196" y="48260"/>
                    <a:pt x="3761101" y="53340"/>
                  </a:cubicBezTo>
                  <a:cubicBezTo>
                    <a:pt x="3762371" y="57785"/>
                    <a:pt x="3763006" y="62865"/>
                    <a:pt x="3763006" y="68580"/>
                  </a:cubicBezTo>
                  <a:lnTo>
                    <a:pt x="3761736" y="68580"/>
                  </a:lnTo>
                  <a:cubicBezTo>
                    <a:pt x="3761736" y="68580"/>
                    <a:pt x="3761736" y="71120"/>
                    <a:pt x="3761736" y="72390"/>
                  </a:cubicBezTo>
                  <a:cubicBezTo>
                    <a:pt x="3761736" y="73660"/>
                    <a:pt x="3761736" y="74295"/>
                    <a:pt x="3761736" y="75565"/>
                  </a:cubicBezTo>
                  <a:lnTo>
                    <a:pt x="3710301" y="75565"/>
                  </a:lnTo>
                  <a:cubicBezTo>
                    <a:pt x="3710301" y="79375"/>
                    <a:pt x="3711571" y="82550"/>
                    <a:pt x="3712841" y="85090"/>
                  </a:cubicBezTo>
                  <a:cubicBezTo>
                    <a:pt x="3714111" y="87630"/>
                    <a:pt x="3715381" y="90170"/>
                    <a:pt x="3717286" y="91440"/>
                  </a:cubicBezTo>
                  <a:cubicBezTo>
                    <a:pt x="3719191" y="93345"/>
                    <a:pt x="3721096" y="94615"/>
                    <a:pt x="3723001" y="95250"/>
                  </a:cubicBezTo>
                  <a:cubicBezTo>
                    <a:pt x="3724906" y="95885"/>
                    <a:pt x="3727446" y="96520"/>
                    <a:pt x="3729986" y="96520"/>
                  </a:cubicBezTo>
                  <a:cubicBezTo>
                    <a:pt x="3731891" y="96520"/>
                    <a:pt x="3733161" y="96520"/>
                    <a:pt x="3735066" y="96520"/>
                  </a:cubicBezTo>
                  <a:cubicBezTo>
                    <a:pt x="3736336" y="96520"/>
                    <a:pt x="3738241" y="95885"/>
                    <a:pt x="3739511" y="95250"/>
                  </a:cubicBezTo>
                  <a:cubicBezTo>
                    <a:pt x="3740781" y="95250"/>
                    <a:pt x="3742051" y="93980"/>
                    <a:pt x="3743321" y="93345"/>
                  </a:cubicBezTo>
                  <a:cubicBezTo>
                    <a:pt x="3744591" y="93345"/>
                    <a:pt x="3745861" y="92075"/>
                    <a:pt x="3747766" y="90805"/>
                  </a:cubicBezTo>
                  <a:lnTo>
                    <a:pt x="3756656" y="100330"/>
                  </a:lnTo>
                  <a:cubicBezTo>
                    <a:pt x="3756656" y="100330"/>
                    <a:pt x="3752846" y="103505"/>
                    <a:pt x="3750941" y="104775"/>
                  </a:cubicBezTo>
                  <a:cubicBezTo>
                    <a:pt x="3749036" y="106045"/>
                    <a:pt x="3747131" y="106680"/>
                    <a:pt x="3745226" y="107950"/>
                  </a:cubicBezTo>
                  <a:cubicBezTo>
                    <a:pt x="3743321" y="108585"/>
                    <a:pt x="3740781" y="109855"/>
                    <a:pt x="3738241" y="109855"/>
                  </a:cubicBezTo>
                  <a:cubicBezTo>
                    <a:pt x="3735701" y="109855"/>
                    <a:pt x="3732526" y="110490"/>
                    <a:pt x="3729351" y="110490"/>
                  </a:cubicBezTo>
                  <a:cubicBezTo>
                    <a:pt x="3726176" y="110490"/>
                    <a:pt x="3723001" y="110490"/>
                    <a:pt x="3719826" y="109220"/>
                  </a:cubicBezTo>
                  <a:cubicBezTo>
                    <a:pt x="3716651" y="108585"/>
                    <a:pt x="3714111" y="107315"/>
                    <a:pt x="3712206" y="105410"/>
                  </a:cubicBezTo>
                  <a:cubicBezTo>
                    <a:pt x="3709666" y="104140"/>
                    <a:pt x="3707761" y="102235"/>
                    <a:pt x="3705856" y="100330"/>
                  </a:cubicBezTo>
                  <a:cubicBezTo>
                    <a:pt x="3703951" y="98425"/>
                    <a:pt x="3702046" y="95885"/>
                    <a:pt x="3700776" y="92710"/>
                  </a:cubicBezTo>
                  <a:cubicBezTo>
                    <a:pt x="3698871" y="89535"/>
                    <a:pt x="3697601" y="86360"/>
                    <a:pt x="3696966" y="82550"/>
                  </a:cubicBezTo>
                  <a:cubicBezTo>
                    <a:pt x="3696331" y="78740"/>
                    <a:pt x="3695696" y="74295"/>
                    <a:pt x="3695696" y="69850"/>
                  </a:cubicBezTo>
                  <a:cubicBezTo>
                    <a:pt x="3695696" y="63500"/>
                    <a:pt x="3696331" y="57150"/>
                    <a:pt x="3698236" y="52070"/>
                  </a:cubicBezTo>
                  <a:cubicBezTo>
                    <a:pt x="3700141" y="46990"/>
                    <a:pt x="3702046" y="42545"/>
                    <a:pt x="3705221" y="39370"/>
                  </a:cubicBezTo>
                  <a:cubicBezTo>
                    <a:pt x="3708396" y="36195"/>
                    <a:pt x="3711571" y="33020"/>
                    <a:pt x="3716016" y="31750"/>
                  </a:cubicBezTo>
                  <a:cubicBezTo>
                    <a:pt x="3720461" y="29845"/>
                    <a:pt x="3724906" y="29210"/>
                    <a:pt x="3729986" y="29210"/>
                  </a:cubicBezTo>
                  <a:close/>
                  <a:moveTo>
                    <a:pt x="3543296" y="29210"/>
                  </a:moveTo>
                  <a:cubicBezTo>
                    <a:pt x="3549011" y="29210"/>
                    <a:pt x="3553456" y="30480"/>
                    <a:pt x="3557901" y="32385"/>
                  </a:cubicBezTo>
                  <a:cubicBezTo>
                    <a:pt x="3561711" y="34290"/>
                    <a:pt x="3565521" y="37465"/>
                    <a:pt x="3568061" y="40640"/>
                  </a:cubicBezTo>
                  <a:cubicBezTo>
                    <a:pt x="3570601" y="44450"/>
                    <a:pt x="3572506" y="48260"/>
                    <a:pt x="3574411" y="53340"/>
                  </a:cubicBezTo>
                  <a:cubicBezTo>
                    <a:pt x="3575681" y="57785"/>
                    <a:pt x="3576316" y="62865"/>
                    <a:pt x="3576316" y="68580"/>
                  </a:cubicBezTo>
                  <a:lnTo>
                    <a:pt x="3575046" y="68580"/>
                  </a:lnTo>
                  <a:cubicBezTo>
                    <a:pt x="3575046" y="68580"/>
                    <a:pt x="3575046" y="71120"/>
                    <a:pt x="3575046" y="72390"/>
                  </a:cubicBezTo>
                  <a:cubicBezTo>
                    <a:pt x="3575046" y="73660"/>
                    <a:pt x="3575046" y="74295"/>
                    <a:pt x="3575046" y="75565"/>
                  </a:cubicBezTo>
                  <a:lnTo>
                    <a:pt x="3523611" y="75565"/>
                  </a:lnTo>
                  <a:cubicBezTo>
                    <a:pt x="3523611" y="79375"/>
                    <a:pt x="3524881" y="82550"/>
                    <a:pt x="3526151" y="85090"/>
                  </a:cubicBezTo>
                  <a:cubicBezTo>
                    <a:pt x="3527421" y="87630"/>
                    <a:pt x="3528691" y="90170"/>
                    <a:pt x="3530596" y="91440"/>
                  </a:cubicBezTo>
                  <a:cubicBezTo>
                    <a:pt x="3532501" y="93345"/>
                    <a:pt x="3534406" y="94615"/>
                    <a:pt x="3536311" y="95250"/>
                  </a:cubicBezTo>
                  <a:cubicBezTo>
                    <a:pt x="3538216" y="95885"/>
                    <a:pt x="3540756" y="96520"/>
                    <a:pt x="3543296" y="96520"/>
                  </a:cubicBezTo>
                  <a:cubicBezTo>
                    <a:pt x="3545201" y="96520"/>
                    <a:pt x="3546471" y="96520"/>
                    <a:pt x="3548376" y="96520"/>
                  </a:cubicBezTo>
                  <a:cubicBezTo>
                    <a:pt x="3549646" y="96520"/>
                    <a:pt x="3551551" y="95885"/>
                    <a:pt x="3552821" y="95250"/>
                  </a:cubicBezTo>
                  <a:cubicBezTo>
                    <a:pt x="3554091" y="95250"/>
                    <a:pt x="3555361" y="93980"/>
                    <a:pt x="3556631" y="93345"/>
                  </a:cubicBezTo>
                  <a:cubicBezTo>
                    <a:pt x="3557901" y="93345"/>
                    <a:pt x="3559171" y="92075"/>
                    <a:pt x="3561076" y="90805"/>
                  </a:cubicBezTo>
                  <a:lnTo>
                    <a:pt x="3569966" y="100330"/>
                  </a:lnTo>
                  <a:cubicBezTo>
                    <a:pt x="3569966" y="100330"/>
                    <a:pt x="3566156" y="103505"/>
                    <a:pt x="3564251" y="104775"/>
                  </a:cubicBezTo>
                  <a:cubicBezTo>
                    <a:pt x="3562346" y="106045"/>
                    <a:pt x="3560441" y="106680"/>
                    <a:pt x="3558536" y="107950"/>
                  </a:cubicBezTo>
                  <a:cubicBezTo>
                    <a:pt x="3556631" y="108585"/>
                    <a:pt x="3554091" y="109855"/>
                    <a:pt x="3551551" y="109855"/>
                  </a:cubicBezTo>
                  <a:cubicBezTo>
                    <a:pt x="3549011" y="109855"/>
                    <a:pt x="3545836" y="110490"/>
                    <a:pt x="3542661" y="110490"/>
                  </a:cubicBezTo>
                  <a:cubicBezTo>
                    <a:pt x="3539486" y="110490"/>
                    <a:pt x="3536311" y="110490"/>
                    <a:pt x="3533136" y="109220"/>
                  </a:cubicBezTo>
                  <a:cubicBezTo>
                    <a:pt x="3529961" y="108585"/>
                    <a:pt x="3527421" y="107315"/>
                    <a:pt x="3525516" y="105410"/>
                  </a:cubicBezTo>
                  <a:cubicBezTo>
                    <a:pt x="3522976" y="104140"/>
                    <a:pt x="3521071" y="102235"/>
                    <a:pt x="3519166" y="100330"/>
                  </a:cubicBezTo>
                  <a:cubicBezTo>
                    <a:pt x="3517261" y="98425"/>
                    <a:pt x="3515356" y="95885"/>
                    <a:pt x="3514086" y="92710"/>
                  </a:cubicBezTo>
                  <a:cubicBezTo>
                    <a:pt x="3512181" y="89535"/>
                    <a:pt x="3510911" y="86360"/>
                    <a:pt x="3510276" y="82550"/>
                  </a:cubicBezTo>
                  <a:cubicBezTo>
                    <a:pt x="3509641" y="78740"/>
                    <a:pt x="3509006" y="74295"/>
                    <a:pt x="3509006" y="69850"/>
                  </a:cubicBezTo>
                  <a:cubicBezTo>
                    <a:pt x="3509006" y="63500"/>
                    <a:pt x="3509641" y="57150"/>
                    <a:pt x="3511546" y="52070"/>
                  </a:cubicBezTo>
                  <a:cubicBezTo>
                    <a:pt x="3513451" y="46990"/>
                    <a:pt x="3515356" y="42545"/>
                    <a:pt x="3518531" y="39370"/>
                  </a:cubicBezTo>
                  <a:cubicBezTo>
                    <a:pt x="3521706" y="36195"/>
                    <a:pt x="3524881" y="33020"/>
                    <a:pt x="3529326" y="31750"/>
                  </a:cubicBezTo>
                  <a:cubicBezTo>
                    <a:pt x="3533771" y="29845"/>
                    <a:pt x="3538216" y="29210"/>
                    <a:pt x="3543296" y="29210"/>
                  </a:cubicBezTo>
                  <a:close/>
                  <a:moveTo>
                    <a:pt x="3345176" y="29210"/>
                  </a:moveTo>
                  <a:cubicBezTo>
                    <a:pt x="3350891" y="29210"/>
                    <a:pt x="3355336" y="30480"/>
                    <a:pt x="3359781" y="32385"/>
                  </a:cubicBezTo>
                  <a:cubicBezTo>
                    <a:pt x="3363591" y="34290"/>
                    <a:pt x="3367401" y="37465"/>
                    <a:pt x="3369941" y="40640"/>
                  </a:cubicBezTo>
                  <a:cubicBezTo>
                    <a:pt x="3372481" y="44450"/>
                    <a:pt x="3374386" y="48260"/>
                    <a:pt x="3376291" y="53340"/>
                  </a:cubicBezTo>
                  <a:cubicBezTo>
                    <a:pt x="3377561" y="57785"/>
                    <a:pt x="3378196" y="62865"/>
                    <a:pt x="3378196" y="68580"/>
                  </a:cubicBezTo>
                  <a:lnTo>
                    <a:pt x="3376926" y="68580"/>
                  </a:lnTo>
                  <a:cubicBezTo>
                    <a:pt x="3376926" y="68580"/>
                    <a:pt x="3376926" y="71120"/>
                    <a:pt x="3376926" y="72390"/>
                  </a:cubicBezTo>
                  <a:cubicBezTo>
                    <a:pt x="3376926" y="73660"/>
                    <a:pt x="3376926" y="74295"/>
                    <a:pt x="3376926" y="75565"/>
                  </a:cubicBezTo>
                  <a:lnTo>
                    <a:pt x="3325491" y="75565"/>
                  </a:lnTo>
                  <a:cubicBezTo>
                    <a:pt x="3325491" y="79375"/>
                    <a:pt x="3326761" y="82550"/>
                    <a:pt x="3328031" y="85090"/>
                  </a:cubicBezTo>
                  <a:cubicBezTo>
                    <a:pt x="3329301" y="87630"/>
                    <a:pt x="3330571" y="90170"/>
                    <a:pt x="3332476" y="91440"/>
                  </a:cubicBezTo>
                  <a:cubicBezTo>
                    <a:pt x="3334381" y="93345"/>
                    <a:pt x="3336286" y="94615"/>
                    <a:pt x="3338191" y="95250"/>
                  </a:cubicBezTo>
                  <a:cubicBezTo>
                    <a:pt x="3340096" y="95885"/>
                    <a:pt x="3342636" y="96520"/>
                    <a:pt x="3345176" y="96520"/>
                  </a:cubicBezTo>
                  <a:cubicBezTo>
                    <a:pt x="3347081" y="96520"/>
                    <a:pt x="3348351" y="96520"/>
                    <a:pt x="3350256" y="96520"/>
                  </a:cubicBezTo>
                  <a:cubicBezTo>
                    <a:pt x="3351526" y="96520"/>
                    <a:pt x="3353431" y="95885"/>
                    <a:pt x="3354701" y="95250"/>
                  </a:cubicBezTo>
                  <a:cubicBezTo>
                    <a:pt x="3355971" y="95250"/>
                    <a:pt x="3357241" y="93980"/>
                    <a:pt x="3358511" y="93345"/>
                  </a:cubicBezTo>
                  <a:cubicBezTo>
                    <a:pt x="3359781" y="93345"/>
                    <a:pt x="3361051" y="92075"/>
                    <a:pt x="3362956" y="90805"/>
                  </a:cubicBezTo>
                  <a:lnTo>
                    <a:pt x="3371846" y="100330"/>
                  </a:lnTo>
                  <a:cubicBezTo>
                    <a:pt x="3371846" y="100330"/>
                    <a:pt x="3368036" y="103505"/>
                    <a:pt x="3366131" y="104775"/>
                  </a:cubicBezTo>
                  <a:cubicBezTo>
                    <a:pt x="3364226" y="106045"/>
                    <a:pt x="3362321" y="106680"/>
                    <a:pt x="3360416" y="107950"/>
                  </a:cubicBezTo>
                  <a:cubicBezTo>
                    <a:pt x="3358511" y="108585"/>
                    <a:pt x="3355971" y="109855"/>
                    <a:pt x="3353431" y="109855"/>
                  </a:cubicBezTo>
                  <a:cubicBezTo>
                    <a:pt x="3350891" y="109855"/>
                    <a:pt x="3347716" y="110490"/>
                    <a:pt x="3344541" y="110490"/>
                  </a:cubicBezTo>
                  <a:cubicBezTo>
                    <a:pt x="3341366" y="110490"/>
                    <a:pt x="3338191" y="110490"/>
                    <a:pt x="3335016" y="109220"/>
                  </a:cubicBezTo>
                  <a:cubicBezTo>
                    <a:pt x="3331841" y="108585"/>
                    <a:pt x="3329301" y="107315"/>
                    <a:pt x="3327396" y="105410"/>
                  </a:cubicBezTo>
                  <a:cubicBezTo>
                    <a:pt x="3324856" y="104140"/>
                    <a:pt x="3322951" y="102235"/>
                    <a:pt x="3321046" y="100330"/>
                  </a:cubicBezTo>
                  <a:cubicBezTo>
                    <a:pt x="3319141" y="98425"/>
                    <a:pt x="3317236" y="95885"/>
                    <a:pt x="3315966" y="92710"/>
                  </a:cubicBezTo>
                  <a:cubicBezTo>
                    <a:pt x="3314061" y="89535"/>
                    <a:pt x="3312791" y="86360"/>
                    <a:pt x="3312156" y="82550"/>
                  </a:cubicBezTo>
                  <a:cubicBezTo>
                    <a:pt x="3311521" y="78740"/>
                    <a:pt x="3310886" y="74295"/>
                    <a:pt x="3310886" y="69850"/>
                  </a:cubicBezTo>
                  <a:cubicBezTo>
                    <a:pt x="3310886" y="63500"/>
                    <a:pt x="3311521" y="57150"/>
                    <a:pt x="3313426" y="52070"/>
                  </a:cubicBezTo>
                  <a:cubicBezTo>
                    <a:pt x="3315331" y="46990"/>
                    <a:pt x="3317236" y="42545"/>
                    <a:pt x="3320411" y="39370"/>
                  </a:cubicBezTo>
                  <a:cubicBezTo>
                    <a:pt x="3323586" y="36195"/>
                    <a:pt x="3326761" y="33020"/>
                    <a:pt x="3331206" y="31750"/>
                  </a:cubicBezTo>
                  <a:cubicBezTo>
                    <a:pt x="3335651" y="29845"/>
                    <a:pt x="3340096" y="29210"/>
                    <a:pt x="3345176" y="29210"/>
                  </a:cubicBezTo>
                  <a:close/>
                  <a:moveTo>
                    <a:pt x="3060696" y="29210"/>
                  </a:moveTo>
                  <a:cubicBezTo>
                    <a:pt x="3063871" y="29210"/>
                    <a:pt x="3066411" y="29210"/>
                    <a:pt x="3068316" y="29845"/>
                  </a:cubicBezTo>
                  <a:cubicBezTo>
                    <a:pt x="3070221" y="29845"/>
                    <a:pt x="3072126" y="31115"/>
                    <a:pt x="3074031" y="32385"/>
                  </a:cubicBezTo>
                  <a:lnTo>
                    <a:pt x="3070221" y="46990"/>
                  </a:lnTo>
                  <a:lnTo>
                    <a:pt x="3068951" y="46990"/>
                  </a:lnTo>
                  <a:cubicBezTo>
                    <a:pt x="3068951" y="46990"/>
                    <a:pt x="3065776" y="45085"/>
                    <a:pt x="3063871" y="45085"/>
                  </a:cubicBezTo>
                  <a:cubicBezTo>
                    <a:pt x="3061966" y="45085"/>
                    <a:pt x="3060061" y="44450"/>
                    <a:pt x="3057521" y="44450"/>
                  </a:cubicBezTo>
                  <a:cubicBezTo>
                    <a:pt x="3052441" y="44450"/>
                    <a:pt x="3048631" y="46355"/>
                    <a:pt x="3046091" y="49530"/>
                  </a:cubicBezTo>
                  <a:cubicBezTo>
                    <a:pt x="3043551" y="52705"/>
                    <a:pt x="3042281" y="57785"/>
                    <a:pt x="3042281" y="64770"/>
                  </a:cubicBezTo>
                  <a:lnTo>
                    <a:pt x="3042281" y="109220"/>
                  </a:lnTo>
                  <a:lnTo>
                    <a:pt x="3027041" y="109220"/>
                  </a:lnTo>
                  <a:lnTo>
                    <a:pt x="3027041" y="31115"/>
                  </a:lnTo>
                  <a:lnTo>
                    <a:pt x="3042281" y="31115"/>
                  </a:lnTo>
                  <a:lnTo>
                    <a:pt x="3042281" y="38735"/>
                  </a:lnTo>
                  <a:cubicBezTo>
                    <a:pt x="3042281" y="38735"/>
                    <a:pt x="3044186" y="36195"/>
                    <a:pt x="3045456" y="34925"/>
                  </a:cubicBezTo>
                  <a:cubicBezTo>
                    <a:pt x="3046726" y="33655"/>
                    <a:pt x="3047996" y="33020"/>
                    <a:pt x="3049901" y="31750"/>
                  </a:cubicBezTo>
                  <a:cubicBezTo>
                    <a:pt x="3051171" y="31115"/>
                    <a:pt x="3053076" y="30480"/>
                    <a:pt x="3054981" y="29845"/>
                  </a:cubicBezTo>
                  <a:cubicBezTo>
                    <a:pt x="3056886" y="29845"/>
                    <a:pt x="3058791" y="29210"/>
                    <a:pt x="3060696" y="29210"/>
                  </a:cubicBezTo>
                  <a:close/>
                  <a:moveTo>
                    <a:pt x="2978781" y="29210"/>
                  </a:moveTo>
                  <a:cubicBezTo>
                    <a:pt x="2984496" y="29210"/>
                    <a:pt x="2988941" y="30480"/>
                    <a:pt x="2993386" y="32385"/>
                  </a:cubicBezTo>
                  <a:cubicBezTo>
                    <a:pt x="2997196" y="34290"/>
                    <a:pt x="3001006" y="37465"/>
                    <a:pt x="3003546" y="40640"/>
                  </a:cubicBezTo>
                  <a:cubicBezTo>
                    <a:pt x="3006086" y="44450"/>
                    <a:pt x="3007991" y="48260"/>
                    <a:pt x="3009896" y="53340"/>
                  </a:cubicBezTo>
                  <a:cubicBezTo>
                    <a:pt x="3011166" y="57785"/>
                    <a:pt x="3011801" y="62865"/>
                    <a:pt x="3011801" y="68580"/>
                  </a:cubicBezTo>
                  <a:lnTo>
                    <a:pt x="3010531" y="68580"/>
                  </a:lnTo>
                  <a:cubicBezTo>
                    <a:pt x="3010531" y="68580"/>
                    <a:pt x="3010531" y="71120"/>
                    <a:pt x="3010531" y="72390"/>
                  </a:cubicBezTo>
                  <a:cubicBezTo>
                    <a:pt x="3010531" y="73660"/>
                    <a:pt x="3010531" y="74295"/>
                    <a:pt x="3010531" y="75565"/>
                  </a:cubicBezTo>
                  <a:lnTo>
                    <a:pt x="2959096" y="75565"/>
                  </a:lnTo>
                  <a:cubicBezTo>
                    <a:pt x="2959096" y="79375"/>
                    <a:pt x="2960366" y="82550"/>
                    <a:pt x="2961636" y="85090"/>
                  </a:cubicBezTo>
                  <a:cubicBezTo>
                    <a:pt x="2962906" y="87630"/>
                    <a:pt x="2964176" y="90170"/>
                    <a:pt x="2966081" y="91440"/>
                  </a:cubicBezTo>
                  <a:cubicBezTo>
                    <a:pt x="2967986" y="93345"/>
                    <a:pt x="2969891" y="94615"/>
                    <a:pt x="2971796" y="95250"/>
                  </a:cubicBezTo>
                  <a:cubicBezTo>
                    <a:pt x="2974336" y="95885"/>
                    <a:pt x="2976241" y="96520"/>
                    <a:pt x="2978781" y="96520"/>
                  </a:cubicBezTo>
                  <a:cubicBezTo>
                    <a:pt x="2980686" y="96520"/>
                    <a:pt x="2981956" y="96520"/>
                    <a:pt x="2983861" y="96520"/>
                  </a:cubicBezTo>
                  <a:cubicBezTo>
                    <a:pt x="2985131" y="96520"/>
                    <a:pt x="2987036" y="95885"/>
                    <a:pt x="2988306" y="95250"/>
                  </a:cubicBezTo>
                  <a:cubicBezTo>
                    <a:pt x="2989576" y="95250"/>
                    <a:pt x="2990846" y="93980"/>
                    <a:pt x="2992116" y="93345"/>
                  </a:cubicBezTo>
                  <a:cubicBezTo>
                    <a:pt x="2993386" y="93345"/>
                    <a:pt x="2994656" y="92075"/>
                    <a:pt x="2996561" y="90805"/>
                  </a:cubicBezTo>
                  <a:lnTo>
                    <a:pt x="3005451" y="100330"/>
                  </a:lnTo>
                  <a:cubicBezTo>
                    <a:pt x="3005451" y="100330"/>
                    <a:pt x="3001641" y="103505"/>
                    <a:pt x="2999736" y="104775"/>
                  </a:cubicBezTo>
                  <a:cubicBezTo>
                    <a:pt x="2997831" y="106045"/>
                    <a:pt x="2995926" y="106680"/>
                    <a:pt x="2994021" y="107950"/>
                  </a:cubicBezTo>
                  <a:cubicBezTo>
                    <a:pt x="2992116" y="108585"/>
                    <a:pt x="2989576" y="109855"/>
                    <a:pt x="2987036" y="109855"/>
                  </a:cubicBezTo>
                  <a:cubicBezTo>
                    <a:pt x="2984496" y="109855"/>
                    <a:pt x="2981321" y="110490"/>
                    <a:pt x="2978146" y="110490"/>
                  </a:cubicBezTo>
                  <a:cubicBezTo>
                    <a:pt x="2974971" y="110490"/>
                    <a:pt x="2971796" y="110490"/>
                    <a:pt x="2968621" y="109220"/>
                  </a:cubicBezTo>
                  <a:cubicBezTo>
                    <a:pt x="2965446" y="108585"/>
                    <a:pt x="2962906" y="107315"/>
                    <a:pt x="2961001" y="105410"/>
                  </a:cubicBezTo>
                  <a:cubicBezTo>
                    <a:pt x="2958461" y="104140"/>
                    <a:pt x="2956556" y="102235"/>
                    <a:pt x="2954651" y="100330"/>
                  </a:cubicBezTo>
                  <a:cubicBezTo>
                    <a:pt x="2952746" y="98425"/>
                    <a:pt x="2950841" y="95885"/>
                    <a:pt x="2949571" y="92710"/>
                  </a:cubicBezTo>
                  <a:cubicBezTo>
                    <a:pt x="2947666" y="89535"/>
                    <a:pt x="2946396" y="86360"/>
                    <a:pt x="2945761" y="82550"/>
                  </a:cubicBezTo>
                  <a:cubicBezTo>
                    <a:pt x="2945126" y="78740"/>
                    <a:pt x="2944491" y="74295"/>
                    <a:pt x="2944491" y="69850"/>
                  </a:cubicBezTo>
                  <a:cubicBezTo>
                    <a:pt x="2944491" y="63500"/>
                    <a:pt x="2945126" y="57150"/>
                    <a:pt x="2947031" y="52070"/>
                  </a:cubicBezTo>
                  <a:cubicBezTo>
                    <a:pt x="2948936" y="46990"/>
                    <a:pt x="2950841" y="42545"/>
                    <a:pt x="2954016" y="39370"/>
                  </a:cubicBezTo>
                  <a:cubicBezTo>
                    <a:pt x="2957191" y="36195"/>
                    <a:pt x="2960366" y="33020"/>
                    <a:pt x="2964811" y="31750"/>
                  </a:cubicBezTo>
                  <a:cubicBezTo>
                    <a:pt x="2969256" y="29845"/>
                    <a:pt x="2973701" y="29210"/>
                    <a:pt x="2978781" y="29210"/>
                  </a:cubicBezTo>
                  <a:close/>
                  <a:moveTo>
                    <a:pt x="2798440" y="29210"/>
                  </a:moveTo>
                  <a:cubicBezTo>
                    <a:pt x="2803520" y="29210"/>
                    <a:pt x="2807965" y="29845"/>
                    <a:pt x="2813045" y="31750"/>
                  </a:cubicBezTo>
                  <a:cubicBezTo>
                    <a:pt x="2817490" y="33655"/>
                    <a:pt x="2821935" y="35560"/>
                    <a:pt x="2825110" y="38100"/>
                  </a:cubicBezTo>
                  <a:lnTo>
                    <a:pt x="2827015" y="38100"/>
                  </a:lnTo>
                  <a:lnTo>
                    <a:pt x="2820030" y="50165"/>
                  </a:lnTo>
                  <a:cubicBezTo>
                    <a:pt x="2816855" y="47625"/>
                    <a:pt x="2813680" y="46355"/>
                    <a:pt x="2810505" y="45085"/>
                  </a:cubicBezTo>
                  <a:cubicBezTo>
                    <a:pt x="2807330" y="43815"/>
                    <a:pt x="2803520" y="43180"/>
                    <a:pt x="2799710" y="43180"/>
                  </a:cubicBezTo>
                  <a:cubicBezTo>
                    <a:pt x="2795900" y="43180"/>
                    <a:pt x="2793360" y="43815"/>
                    <a:pt x="2791455" y="45085"/>
                  </a:cubicBezTo>
                  <a:cubicBezTo>
                    <a:pt x="2789550" y="46355"/>
                    <a:pt x="2788915" y="48260"/>
                    <a:pt x="2788915" y="50165"/>
                  </a:cubicBezTo>
                  <a:cubicBezTo>
                    <a:pt x="2788915" y="51435"/>
                    <a:pt x="2788915" y="52070"/>
                    <a:pt x="2788915" y="52705"/>
                  </a:cubicBezTo>
                  <a:cubicBezTo>
                    <a:pt x="2788915" y="53340"/>
                    <a:pt x="2790185" y="54610"/>
                    <a:pt x="2790820" y="55245"/>
                  </a:cubicBezTo>
                  <a:cubicBezTo>
                    <a:pt x="2792090" y="55880"/>
                    <a:pt x="2793360" y="57150"/>
                    <a:pt x="2795265" y="57785"/>
                  </a:cubicBezTo>
                  <a:cubicBezTo>
                    <a:pt x="2797170" y="59055"/>
                    <a:pt x="2799710" y="59690"/>
                    <a:pt x="2802250" y="60960"/>
                  </a:cubicBezTo>
                  <a:cubicBezTo>
                    <a:pt x="2806695" y="62865"/>
                    <a:pt x="2810505" y="64135"/>
                    <a:pt x="2813680" y="66040"/>
                  </a:cubicBezTo>
                  <a:cubicBezTo>
                    <a:pt x="2816855" y="67310"/>
                    <a:pt x="2819395" y="69215"/>
                    <a:pt x="2821935" y="71120"/>
                  </a:cubicBezTo>
                  <a:cubicBezTo>
                    <a:pt x="2823840" y="73025"/>
                    <a:pt x="2825745" y="75565"/>
                    <a:pt x="2827015" y="78105"/>
                  </a:cubicBezTo>
                  <a:cubicBezTo>
                    <a:pt x="2828285" y="80645"/>
                    <a:pt x="2828920" y="83820"/>
                    <a:pt x="2828920" y="87630"/>
                  </a:cubicBezTo>
                  <a:cubicBezTo>
                    <a:pt x="2828920" y="92075"/>
                    <a:pt x="2828285" y="95250"/>
                    <a:pt x="2826380" y="98425"/>
                  </a:cubicBezTo>
                  <a:cubicBezTo>
                    <a:pt x="2824475" y="101600"/>
                    <a:pt x="2822570" y="103505"/>
                    <a:pt x="2820030" y="105410"/>
                  </a:cubicBezTo>
                  <a:cubicBezTo>
                    <a:pt x="2817490" y="107315"/>
                    <a:pt x="2814315" y="108585"/>
                    <a:pt x="2810505" y="109220"/>
                  </a:cubicBezTo>
                  <a:cubicBezTo>
                    <a:pt x="2806695" y="109855"/>
                    <a:pt x="2803520" y="110490"/>
                    <a:pt x="2799710" y="110490"/>
                  </a:cubicBezTo>
                  <a:cubicBezTo>
                    <a:pt x="2794630" y="110490"/>
                    <a:pt x="2789550" y="109855"/>
                    <a:pt x="2783835" y="107950"/>
                  </a:cubicBezTo>
                  <a:cubicBezTo>
                    <a:pt x="2778120" y="106045"/>
                    <a:pt x="2773675" y="103505"/>
                    <a:pt x="2769230" y="100965"/>
                  </a:cubicBezTo>
                  <a:lnTo>
                    <a:pt x="2776215" y="89535"/>
                  </a:lnTo>
                  <a:cubicBezTo>
                    <a:pt x="2780025" y="92075"/>
                    <a:pt x="2783835" y="93980"/>
                    <a:pt x="2787645" y="95250"/>
                  </a:cubicBezTo>
                  <a:cubicBezTo>
                    <a:pt x="2791455" y="96520"/>
                    <a:pt x="2795265" y="97155"/>
                    <a:pt x="2799075" y="97155"/>
                  </a:cubicBezTo>
                  <a:cubicBezTo>
                    <a:pt x="2804155" y="97155"/>
                    <a:pt x="2807330" y="96520"/>
                    <a:pt x="2809870" y="94615"/>
                  </a:cubicBezTo>
                  <a:cubicBezTo>
                    <a:pt x="2812410" y="93345"/>
                    <a:pt x="2813045" y="90805"/>
                    <a:pt x="2813045" y="88265"/>
                  </a:cubicBezTo>
                  <a:cubicBezTo>
                    <a:pt x="2813045" y="86995"/>
                    <a:pt x="2813045" y="85725"/>
                    <a:pt x="2811775" y="84455"/>
                  </a:cubicBezTo>
                  <a:cubicBezTo>
                    <a:pt x="2811140" y="83185"/>
                    <a:pt x="2809870" y="82550"/>
                    <a:pt x="2807965" y="81280"/>
                  </a:cubicBezTo>
                  <a:cubicBezTo>
                    <a:pt x="2806695" y="80010"/>
                    <a:pt x="2804790" y="79375"/>
                    <a:pt x="2802250" y="78105"/>
                  </a:cubicBezTo>
                  <a:cubicBezTo>
                    <a:pt x="2800345" y="77470"/>
                    <a:pt x="2797805" y="76200"/>
                    <a:pt x="2794630" y="74930"/>
                  </a:cubicBezTo>
                  <a:cubicBezTo>
                    <a:pt x="2790185" y="73025"/>
                    <a:pt x="2787010" y="71755"/>
                    <a:pt x="2783835" y="69850"/>
                  </a:cubicBezTo>
                  <a:cubicBezTo>
                    <a:pt x="2780660" y="67945"/>
                    <a:pt x="2778755" y="66675"/>
                    <a:pt x="2776850" y="64770"/>
                  </a:cubicBezTo>
                  <a:cubicBezTo>
                    <a:pt x="2774945" y="62865"/>
                    <a:pt x="2773675" y="60960"/>
                    <a:pt x="2773040" y="58420"/>
                  </a:cubicBezTo>
                  <a:cubicBezTo>
                    <a:pt x="2772405" y="55880"/>
                    <a:pt x="2771770" y="53340"/>
                    <a:pt x="2771770" y="50165"/>
                  </a:cubicBezTo>
                  <a:cubicBezTo>
                    <a:pt x="2771770" y="46990"/>
                    <a:pt x="2772405" y="43815"/>
                    <a:pt x="2773675" y="40640"/>
                  </a:cubicBezTo>
                  <a:cubicBezTo>
                    <a:pt x="2774945" y="38100"/>
                    <a:pt x="2776850" y="35560"/>
                    <a:pt x="2779390" y="34290"/>
                  </a:cubicBezTo>
                  <a:cubicBezTo>
                    <a:pt x="2781930" y="32385"/>
                    <a:pt x="2784470" y="31115"/>
                    <a:pt x="2787645" y="30480"/>
                  </a:cubicBezTo>
                  <a:cubicBezTo>
                    <a:pt x="2790820" y="29845"/>
                    <a:pt x="2794630" y="29210"/>
                    <a:pt x="2798440" y="29210"/>
                  </a:cubicBezTo>
                  <a:close/>
                  <a:moveTo>
                    <a:pt x="2723510" y="29210"/>
                  </a:moveTo>
                  <a:cubicBezTo>
                    <a:pt x="2725415" y="29210"/>
                    <a:pt x="2727320" y="29210"/>
                    <a:pt x="2729225" y="29210"/>
                  </a:cubicBezTo>
                  <a:cubicBezTo>
                    <a:pt x="2733670" y="29210"/>
                    <a:pt x="2738115" y="29845"/>
                    <a:pt x="2741290" y="31750"/>
                  </a:cubicBezTo>
                  <a:cubicBezTo>
                    <a:pt x="2744465" y="33020"/>
                    <a:pt x="2747640" y="35560"/>
                    <a:pt x="2750180" y="38100"/>
                  </a:cubicBezTo>
                  <a:cubicBezTo>
                    <a:pt x="2752720" y="41275"/>
                    <a:pt x="2753990" y="44450"/>
                    <a:pt x="2755260" y="48895"/>
                  </a:cubicBezTo>
                  <a:cubicBezTo>
                    <a:pt x="2756530" y="53340"/>
                    <a:pt x="2757165" y="58420"/>
                    <a:pt x="2757165" y="64135"/>
                  </a:cubicBezTo>
                  <a:lnTo>
                    <a:pt x="2757165" y="108585"/>
                  </a:lnTo>
                  <a:lnTo>
                    <a:pt x="2741925" y="108585"/>
                  </a:lnTo>
                  <a:lnTo>
                    <a:pt x="2741290" y="108585"/>
                  </a:lnTo>
                  <a:lnTo>
                    <a:pt x="2741290" y="64770"/>
                  </a:lnTo>
                  <a:cubicBezTo>
                    <a:pt x="2741290" y="57785"/>
                    <a:pt x="2740020" y="52070"/>
                    <a:pt x="2737480" y="48895"/>
                  </a:cubicBezTo>
                  <a:cubicBezTo>
                    <a:pt x="2734940" y="45085"/>
                    <a:pt x="2731130" y="43180"/>
                    <a:pt x="2725415" y="43180"/>
                  </a:cubicBezTo>
                  <a:cubicBezTo>
                    <a:pt x="2722875" y="43180"/>
                    <a:pt x="2720970" y="43180"/>
                    <a:pt x="2718430" y="44450"/>
                  </a:cubicBezTo>
                  <a:cubicBezTo>
                    <a:pt x="2716525" y="45085"/>
                    <a:pt x="2714620" y="46990"/>
                    <a:pt x="2713350" y="48260"/>
                  </a:cubicBezTo>
                  <a:cubicBezTo>
                    <a:pt x="2712080" y="50165"/>
                    <a:pt x="2710810" y="52070"/>
                    <a:pt x="2710175" y="54610"/>
                  </a:cubicBezTo>
                  <a:cubicBezTo>
                    <a:pt x="2710175" y="57150"/>
                    <a:pt x="2709540" y="59690"/>
                    <a:pt x="2709540" y="62865"/>
                  </a:cubicBezTo>
                  <a:lnTo>
                    <a:pt x="2709540" y="108585"/>
                  </a:lnTo>
                  <a:lnTo>
                    <a:pt x="2694300" y="108585"/>
                  </a:lnTo>
                  <a:lnTo>
                    <a:pt x="2694300" y="30480"/>
                  </a:lnTo>
                  <a:lnTo>
                    <a:pt x="2709540" y="30480"/>
                  </a:lnTo>
                  <a:lnTo>
                    <a:pt x="2709540" y="38100"/>
                  </a:lnTo>
                  <a:cubicBezTo>
                    <a:pt x="2709540" y="38100"/>
                    <a:pt x="2711445" y="35560"/>
                    <a:pt x="2713350" y="34290"/>
                  </a:cubicBezTo>
                  <a:cubicBezTo>
                    <a:pt x="2714620" y="33020"/>
                    <a:pt x="2716525" y="32385"/>
                    <a:pt x="2717795" y="31115"/>
                  </a:cubicBezTo>
                  <a:cubicBezTo>
                    <a:pt x="2719700" y="30480"/>
                    <a:pt x="2721605" y="29845"/>
                    <a:pt x="2723510" y="29210"/>
                  </a:cubicBezTo>
                  <a:close/>
                  <a:moveTo>
                    <a:pt x="2530470" y="29210"/>
                  </a:moveTo>
                  <a:cubicBezTo>
                    <a:pt x="2536185" y="29210"/>
                    <a:pt x="2540630" y="30480"/>
                    <a:pt x="2545075" y="32385"/>
                  </a:cubicBezTo>
                  <a:cubicBezTo>
                    <a:pt x="2548885" y="34290"/>
                    <a:pt x="2552695" y="37465"/>
                    <a:pt x="2555235" y="40640"/>
                  </a:cubicBezTo>
                  <a:cubicBezTo>
                    <a:pt x="2557775" y="44450"/>
                    <a:pt x="2559680" y="48260"/>
                    <a:pt x="2561585" y="53340"/>
                  </a:cubicBezTo>
                  <a:cubicBezTo>
                    <a:pt x="2562855" y="57785"/>
                    <a:pt x="2563490" y="62865"/>
                    <a:pt x="2563490" y="68580"/>
                  </a:cubicBezTo>
                  <a:lnTo>
                    <a:pt x="2562220" y="68580"/>
                  </a:lnTo>
                  <a:cubicBezTo>
                    <a:pt x="2562220" y="68580"/>
                    <a:pt x="2562220" y="71120"/>
                    <a:pt x="2562220" y="72390"/>
                  </a:cubicBezTo>
                  <a:cubicBezTo>
                    <a:pt x="2562220" y="73660"/>
                    <a:pt x="2562220" y="74295"/>
                    <a:pt x="2562220" y="75565"/>
                  </a:cubicBezTo>
                  <a:lnTo>
                    <a:pt x="2510785" y="75565"/>
                  </a:lnTo>
                  <a:cubicBezTo>
                    <a:pt x="2510785" y="79375"/>
                    <a:pt x="2512055" y="82550"/>
                    <a:pt x="2513325" y="85090"/>
                  </a:cubicBezTo>
                  <a:cubicBezTo>
                    <a:pt x="2514595" y="87630"/>
                    <a:pt x="2515865" y="90170"/>
                    <a:pt x="2517770" y="91440"/>
                  </a:cubicBezTo>
                  <a:cubicBezTo>
                    <a:pt x="2519675" y="93345"/>
                    <a:pt x="2521580" y="94615"/>
                    <a:pt x="2523485" y="95250"/>
                  </a:cubicBezTo>
                  <a:cubicBezTo>
                    <a:pt x="2525390" y="95885"/>
                    <a:pt x="2527930" y="96520"/>
                    <a:pt x="2530470" y="96520"/>
                  </a:cubicBezTo>
                  <a:cubicBezTo>
                    <a:pt x="2532375" y="96520"/>
                    <a:pt x="2533645" y="96520"/>
                    <a:pt x="2535550" y="96520"/>
                  </a:cubicBezTo>
                  <a:cubicBezTo>
                    <a:pt x="2536820" y="96520"/>
                    <a:pt x="2538725" y="95885"/>
                    <a:pt x="2539995" y="95250"/>
                  </a:cubicBezTo>
                  <a:cubicBezTo>
                    <a:pt x="2541265" y="95250"/>
                    <a:pt x="2542535" y="93980"/>
                    <a:pt x="2543805" y="93345"/>
                  </a:cubicBezTo>
                  <a:cubicBezTo>
                    <a:pt x="2545075" y="93345"/>
                    <a:pt x="2546345" y="92075"/>
                    <a:pt x="2548250" y="90805"/>
                  </a:cubicBezTo>
                  <a:lnTo>
                    <a:pt x="2557140" y="100330"/>
                  </a:lnTo>
                  <a:cubicBezTo>
                    <a:pt x="2557140" y="100330"/>
                    <a:pt x="2553330" y="103505"/>
                    <a:pt x="2551425" y="104775"/>
                  </a:cubicBezTo>
                  <a:cubicBezTo>
                    <a:pt x="2549520" y="106045"/>
                    <a:pt x="2547615" y="106680"/>
                    <a:pt x="2545710" y="107950"/>
                  </a:cubicBezTo>
                  <a:cubicBezTo>
                    <a:pt x="2543805" y="108585"/>
                    <a:pt x="2541265" y="109855"/>
                    <a:pt x="2538725" y="109855"/>
                  </a:cubicBezTo>
                  <a:cubicBezTo>
                    <a:pt x="2536185" y="109855"/>
                    <a:pt x="2533010" y="110490"/>
                    <a:pt x="2529835" y="110490"/>
                  </a:cubicBezTo>
                  <a:cubicBezTo>
                    <a:pt x="2526660" y="110490"/>
                    <a:pt x="2523485" y="110490"/>
                    <a:pt x="2520310" y="109220"/>
                  </a:cubicBezTo>
                  <a:cubicBezTo>
                    <a:pt x="2517135" y="108585"/>
                    <a:pt x="2514595" y="107315"/>
                    <a:pt x="2512690" y="105410"/>
                  </a:cubicBezTo>
                  <a:cubicBezTo>
                    <a:pt x="2510785" y="103505"/>
                    <a:pt x="2508245" y="102235"/>
                    <a:pt x="2506340" y="100330"/>
                  </a:cubicBezTo>
                  <a:cubicBezTo>
                    <a:pt x="2504435" y="98425"/>
                    <a:pt x="2502530" y="95885"/>
                    <a:pt x="2501260" y="92710"/>
                  </a:cubicBezTo>
                  <a:cubicBezTo>
                    <a:pt x="2499355" y="89535"/>
                    <a:pt x="2498085" y="86360"/>
                    <a:pt x="2497450" y="82550"/>
                  </a:cubicBezTo>
                  <a:cubicBezTo>
                    <a:pt x="2496815" y="78740"/>
                    <a:pt x="2496180" y="74295"/>
                    <a:pt x="2496180" y="69850"/>
                  </a:cubicBezTo>
                  <a:cubicBezTo>
                    <a:pt x="2496180" y="63500"/>
                    <a:pt x="2496815" y="57150"/>
                    <a:pt x="2498720" y="52070"/>
                  </a:cubicBezTo>
                  <a:cubicBezTo>
                    <a:pt x="2500625" y="46990"/>
                    <a:pt x="2502530" y="42545"/>
                    <a:pt x="2505705" y="39370"/>
                  </a:cubicBezTo>
                  <a:cubicBezTo>
                    <a:pt x="2508880" y="36195"/>
                    <a:pt x="2512055" y="33020"/>
                    <a:pt x="2516500" y="31750"/>
                  </a:cubicBezTo>
                  <a:cubicBezTo>
                    <a:pt x="2520945" y="29845"/>
                    <a:pt x="2525390" y="29210"/>
                    <a:pt x="2530470" y="29210"/>
                  </a:cubicBezTo>
                  <a:close/>
                  <a:moveTo>
                    <a:pt x="2298061" y="29210"/>
                  </a:moveTo>
                  <a:cubicBezTo>
                    <a:pt x="2301236" y="29210"/>
                    <a:pt x="2303776" y="29210"/>
                    <a:pt x="2305681" y="29845"/>
                  </a:cubicBezTo>
                  <a:cubicBezTo>
                    <a:pt x="2307586" y="29845"/>
                    <a:pt x="2309491" y="31115"/>
                    <a:pt x="2311396" y="32385"/>
                  </a:cubicBezTo>
                  <a:lnTo>
                    <a:pt x="2307586" y="46990"/>
                  </a:lnTo>
                  <a:lnTo>
                    <a:pt x="2306316" y="46990"/>
                  </a:lnTo>
                  <a:cubicBezTo>
                    <a:pt x="2306316" y="46990"/>
                    <a:pt x="2303141" y="45085"/>
                    <a:pt x="2301236" y="45085"/>
                  </a:cubicBezTo>
                  <a:cubicBezTo>
                    <a:pt x="2299331" y="45085"/>
                    <a:pt x="2297426" y="44450"/>
                    <a:pt x="2294886" y="44450"/>
                  </a:cubicBezTo>
                  <a:cubicBezTo>
                    <a:pt x="2289806" y="44450"/>
                    <a:pt x="2285996" y="46355"/>
                    <a:pt x="2283456" y="49530"/>
                  </a:cubicBezTo>
                  <a:cubicBezTo>
                    <a:pt x="2280916" y="52705"/>
                    <a:pt x="2279646" y="57785"/>
                    <a:pt x="2279646" y="64770"/>
                  </a:cubicBezTo>
                  <a:lnTo>
                    <a:pt x="2279646" y="109220"/>
                  </a:lnTo>
                  <a:lnTo>
                    <a:pt x="2264406" y="109220"/>
                  </a:lnTo>
                  <a:lnTo>
                    <a:pt x="2264406" y="31115"/>
                  </a:lnTo>
                  <a:lnTo>
                    <a:pt x="2279646" y="31115"/>
                  </a:lnTo>
                  <a:lnTo>
                    <a:pt x="2279646" y="38735"/>
                  </a:lnTo>
                  <a:cubicBezTo>
                    <a:pt x="2279646" y="38735"/>
                    <a:pt x="2281551" y="36195"/>
                    <a:pt x="2282821" y="34925"/>
                  </a:cubicBezTo>
                  <a:cubicBezTo>
                    <a:pt x="2284091" y="33655"/>
                    <a:pt x="2285361" y="33020"/>
                    <a:pt x="2287266" y="31750"/>
                  </a:cubicBezTo>
                  <a:cubicBezTo>
                    <a:pt x="2288536" y="31115"/>
                    <a:pt x="2290441" y="30480"/>
                    <a:pt x="2292346" y="29845"/>
                  </a:cubicBezTo>
                  <a:cubicBezTo>
                    <a:pt x="2294251" y="29845"/>
                    <a:pt x="2296156" y="29210"/>
                    <a:pt x="2298061" y="29210"/>
                  </a:cubicBezTo>
                  <a:close/>
                  <a:moveTo>
                    <a:pt x="2216145" y="29210"/>
                  </a:moveTo>
                  <a:cubicBezTo>
                    <a:pt x="2221860" y="29210"/>
                    <a:pt x="2226305" y="30480"/>
                    <a:pt x="2230750" y="32385"/>
                  </a:cubicBezTo>
                  <a:cubicBezTo>
                    <a:pt x="2234560" y="34290"/>
                    <a:pt x="2238370" y="37465"/>
                    <a:pt x="2240910" y="40640"/>
                  </a:cubicBezTo>
                  <a:cubicBezTo>
                    <a:pt x="2243450" y="44450"/>
                    <a:pt x="2245355" y="48260"/>
                    <a:pt x="2247260" y="53340"/>
                  </a:cubicBezTo>
                  <a:cubicBezTo>
                    <a:pt x="2248530" y="57785"/>
                    <a:pt x="2249165" y="62865"/>
                    <a:pt x="2249165" y="68580"/>
                  </a:cubicBezTo>
                  <a:lnTo>
                    <a:pt x="2247895" y="68580"/>
                  </a:lnTo>
                  <a:cubicBezTo>
                    <a:pt x="2247895" y="68580"/>
                    <a:pt x="2247895" y="71120"/>
                    <a:pt x="2247895" y="72390"/>
                  </a:cubicBezTo>
                  <a:cubicBezTo>
                    <a:pt x="2247895" y="73660"/>
                    <a:pt x="2247895" y="74295"/>
                    <a:pt x="2247895" y="75565"/>
                  </a:cubicBezTo>
                  <a:lnTo>
                    <a:pt x="2196460" y="75565"/>
                  </a:lnTo>
                  <a:cubicBezTo>
                    <a:pt x="2196460" y="79375"/>
                    <a:pt x="2197730" y="82550"/>
                    <a:pt x="2199000" y="85090"/>
                  </a:cubicBezTo>
                  <a:cubicBezTo>
                    <a:pt x="2200270" y="87630"/>
                    <a:pt x="2201540" y="90170"/>
                    <a:pt x="2203445" y="91440"/>
                  </a:cubicBezTo>
                  <a:cubicBezTo>
                    <a:pt x="2205350" y="93345"/>
                    <a:pt x="2207255" y="94615"/>
                    <a:pt x="2209160" y="95250"/>
                  </a:cubicBezTo>
                  <a:cubicBezTo>
                    <a:pt x="2211065" y="95885"/>
                    <a:pt x="2213605" y="96520"/>
                    <a:pt x="2216145" y="96520"/>
                  </a:cubicBezTo>
                  <a:cubicBezTo>
                    <a:pt x="2218050" y="96520"/>
                    <a:pt x="2219320" y="96520"/>
                    <a:pt x="2221225" y="96520"/>
                  </a:cubicBezTo>
                  <a:cubicBezTo>
                    <a:pt x="2222495" y="96520"/>
                    <a:pt x="2224400" y="95885"/>
                    <a:pt x="2225670" y="95250"/>
                  </a:cubicBezTo>
                  <a:cubicBezTo>
                    <a:pt x="2226940" y="95250"/>
                    <a:pt x="2228210" y="93980"/>
                    <a:pt x="2229480" y="93345"/>
                  </a:cubicBezTo>
                  <a:cubicBezTo>
                    <a:pt x="2230750" y="93345"/>
                    <a:pt x="2232020" y="92075"/>
                    <a:pt x="2233925" y="90805"/>
                  </a:cubicBezTo>
                  <a:lnTo>
                    <a:pt x="2242815" y="100330"/>
                  </a:lnTo>
                  <a:cubicBezTo>
                    <a:pt x="2242815" y="100330"/>
                    <a:pt x="2239005" y="103505"/>
                    <a:pt x="2237100" y="104775"/>
                  </a:cubicBezTo>
                  <a:cubicBezTo>
                    <a:pt x="2235195" y="106045"/>
                    <a:pt x="2233290" y="106680"/>
                    <a:pt x="2231385" y="107950"/>
                  </a:cubicBezTo>
                  <a:cubicBezTo>
                    <a:pt x="2229480" y="108585"/>
                    <a:pt x="2226940" y="109855"/>
                    <a:pt x="2224400" y="109855"/>
                  </a:cubicBezTo>
                  <a:cubicBezTo>
                    <a:pt x="2221860" y="109855"/>
                    <a:pt x="2218685" y="110490"/>
                    <a:pt x="2215510" y="110490"/>
                  </a:cubicBezTo>
                  <a:cubicBezTo>
                    <a:pt x="2212335" y="110490"/>
                    <a:pt x="2209160" y="110490"/>
                    <a:pt x="2205985" y="109220"/>
                  </a:cubicBezTo>
                  <a:cubicBezTo>
                    <a:pt x="2202810" y="108585"/>
                    <a:pt x="2200270" y="107315"/>
                    <a:pt x="2198365" y="105410"/>
                  </a:cubicBezTo>
                  <a:cubicBezTo>
                    <a:pt x="2195825" y="104140"/>
                    <a:pt x="2193920" y="102235"/>
                    <a:pt x="2192015" y="100330"/>
                  </a:cubicBezTo>
                  <a:cubicBezTo>
                    <a:pt x="2190110" y="98425"/>
                    <a:pt x="2188205" y="95885"/>
                    <a:pt x="2186935" y="92710"/>
                  </a:cubicBezTo>
                  <a:cubicBezTo>
                    <a:pt x="2185030" y="89535"/>
                    <a:pt x="2183760" y="86360"/>
                    <a:pt x="2183125" y="82550"/>
                  </a:cubicBezTo>
                  <a:cubicBezTo>
                    <a:pt x="2182490" y="78740"/>
                    <a:pt x="2181855" y="74295"/>
                    <a:pt x="2181855" y="69850"/>
                  </a:cubicBezTo>
                  <a:cubicBezTo>
                    <a:pt x="2181855" y="63500"/>
                    <a:pt x="2182490" y="57150"/>
                    <a:pt x="2184395" y="52070"/>
                  </a:cubicBezTo>
                  <a:cubicBezTo>
                    <a:pt x="2186300" y="46990"/>
                    <a:pt x="2188205" y="42545"/>
                    <a:pt x="2191380" y="39370"/>
                  </a:cubicBezTo>
                  <a:cubicBezTo>
                    <a:pt x="2194555" y="36195"/>
                    <a:pt x="2197730" y="33020"/>
                    <a:pt x="2202175" y="31750"/>
                  </a:cubicBezTo>
                  <a:cubicBezTo>
                    <a:pt x="2206620" y="29845"/>
                    <a:pt x="2211065" y="29210"/>
                    <a:pt x="2216145" y="29210"/>
                  </a:cubicBezTo>
                  <a:close/>
                  <a:moveTo>
                    <a:pt x="2029456" y="29210"/>
                  </a:moveTo>
                  <a:cubicBezTo>
                    <a:pt x="2035171" y="29210"/>
                    <a:pt x="2039616" y="30480"/>
                    <a:pt x="2044061" y="32385"/>
                  </a:cubicBezTo>
                  <a:cubicBezTo>
                    <a:pt x="2047871" y="34290"/>
                    <a:pt x="2051681" y="37465"/>
                    <a:pt x="2054221" y="40640"/>
                  </a:cubicBezTo>
                  <a:cubicBezTo>
                    <a:pt x="2056761" y="44450"/>
                    <a:pt x="2058666" y="48260"/>
                    <a:pt x="2060571" y="53340"/>
                  </a:cubicBezTo>
                  <a:cubicBezTo>
                    <a:pt x="2061841" y="57785"/>
                    <a:pt x="2062476" y="62865"/>
                    <a:pt x="2062476" y="68580"/>
                  </a:cubicBezTo>
                  <a:lnTo>
                    <a:pt x="2061206" y="68580"/>
                  </a:lnTo>
                  <a:cubicBezTo>
                    <a:pt x="2061206" y="68580"/>
                    <a:pt x="2061206" y="71120"/>
                    <a:pt x="2061206" y="72390"/>
                  </a:cubicBezTo>
                  <a:cubicBezTo>
                    <a:pt x="2061206" y="73660"/>
                    <a:pt x="2061206" y="74295"/>
                    <a:pt x="2061206" y="75565"/>
                  </a:cubicBezTo>
                  <a:lnTo>
                    <a:pt x="2009771" y="75565"/>
                  </a:lnTo>
                  <a:cubicBezTo>
                    <a:pt x="2009771" y="79375"/>
                    <a:pt x="2011041" y="82550"/>
                    <a:pt x="2012311" y="85090"/>
                  </a:cubicBezTo>
                  <a:cubicBezTo>
                    <a:pt x="2013581" y="87630"/>
                    <a:pt x="2014851" y="90170"/>
                    <a:pt x="2016756" y="91440"/>
                  </a:cubicBezTo>
                  <a:cubicBezTo>
                    <a:pt x="2018661" y="93345"/>
                    <a:pt x="2020566" y="94615"/>
                    <a:pt x="2022471" y="95250"/>
                  </a:cubicBezTo>
                  <a:cubicBezTo>
                    <a:pt x="2024376" y="95885"/>
                    <a:pt x="2026916" y="96520"/>
                    <a:pt x="2029456" y="96520"/>
                  </a:cubicBezTo>
                  <a:cubicBezTo>
                    <a:pt x="2031361" y="96520"/>
                    <a:pt x="2032631" y="96520"/>
                    <a:pt x="2034536" y="96520"/>
                  </a:cubicBezTo>
                  <a:cubicBezTo>
                    <a:pt x="2035806" y="96520"/>
                    <a:pt x="2037711" y="95885"/>
                    <a:pt x="2038981" y="95250"/>
                  </a:cubicBezTo>
                  <a:cubicBezTo>
                    <a:pt x="2040251" y="95250"/>
                    <a:pt x="2041521" y="93980"/>
                    <a:pt x="2042791" y="93345"/>
                  </a:cubicBezTo>
                  <a:cubicBezTo>
                    <a:pt x="2044061" y="93345"/>
                    <a:pt x="2045331" y="92075"/>
                    <a:pt x="2047236" y="90805"/>
                  </a:cubicBezTo>
                  <a:lnTo>
                    <a:pt x="2056126" y="100330"/>
                  </a:lnTo>
                  <a:cubicBezTo>
                    <a:pt x="2056126" y="100330"/>
                    <a:pt x="2052316" y="103505"/>
                    <a:pt x="2050411" y="104775"/>
                  </a:cubicBezTo>
                  <a:cubicBezTo>
                    <a:pt x="2048506" y="106045"/>
                    <a:pt x="2046601" y="106680"/>
                    <a:pt x="2044696" y="107950"/>
                  </a:cubicBezTo>
                  <a:cubicBezTo>
                    <a:pt x="2042791" y="108585"/>
                    <a:pt x="2040251" y="109855"/>
                    <a:pt x="2037711" y="109855"/>
                  </a:cubicBezTo>
                  <a:cubicBezTo>
                    <a:pt x="2035171" y="109855"/>
                    <a:pt x="2031996" y="110490"/>
                    <a:pt x="2028821" y="110490"/>
                  </a:cubicBezTo>
                  <a:cubicBezTo>
                    <a:pt x="2025646" y="110490"/>
                    <a:pt x="2022471" y="110490"/>
                    <a:pt x="2019296" y="109220"/>
                  </a:cubicBezTo>
                  <a:cubicBezTo>
                    <a:pt x="2016121" y="108585"/>
                    <a:pt x="2013581" y="107315"/>
                    <a:pt x="2011676" y="105410"/>
                  </a:cubicBezTo>
                  <a:cubicBezTo>
                    <a:pt x="2009136" y="104140"/>
                    <a:pt x="2007231" y="102235"/>
                    <a:pt x="2005326" y="100330"/>
                  </a:cubicBezTo>
                  <a:cubicBezTo>
                    <a:pt x="2003421" y="98425"/>
                    <a:pt x="2001516" y="95885"/>
                    <a:pt x="2000246" y="92710"/>
                  </a:cubicBezTo>
                  <a:cubicBezTo>
                    <a:pt x="1998341" y="89535"/>
                    <a:pt x="1997071" y="86360"/>
                    <a:pt x="1996436" y="82550"/>
                  </a:cubicBezTo>
                  <a:cubicBezTo>
                    <a:pt x="1995801" y="78740"/>
                    <a:pt x="1995166" y="74295"/>
                    <a:pt x="1995166" y="69850"/>
                  </a:cubicBezTo>
                  <a:cubicBezTo>
                    <a:pt x="1995166" y="63500"/>
                    <a:pt x="1995801" y="57150"/>
                    <a:pt x="1997706" y="52070"/>
                  </a:cubicBezTo>
                  <a:cubicBezTo>
                    <a:pt x="1999611" y="46990"/>
                    <a:pt x="2001516" y="42545"/>
                    <a:pt x="2004691" y="39370"/>
                  </a:cubicBezTo>
                  <a:cubicBezTo>
                    <a:pt x="2007866" y="36195"/>
                    <a:pt x="2011041" y="33020"/>
                    <a:pt x="2015486" y="31750"/>
                  </a:cubicBezTo>
                  <a:cubicBezTo>
                    <a:pt x="2019931" y="29845"/>
                    <a:pt x="2024376" y="29210"/>
                    <a:pt x="2029456" y="29210"/>
                  </a:cubicBezTo>
                  <a:close/>
                  <a:moveTo>
                    <a:pt x="1831336" y="29210"/>
                  </a:moveTo>
                  <a:cubicBezTo>
                    <a:pt x="1837051" y="29210"/>
                    <a:pt x="1841496" y="30480"/>
                    <a:pt x="1845941" y="32385"/>
                  </a:cubicBezTo>
                  <a:cubicBezTo>
                    <a:pt x="1849751" y="34290"/>
                    <a:pt x="1853561" y="37465"/>
                    <a:pt x="1856101" y="40640"/>
                  </a:cubicBezTo>
                  <a:cubicBezTo>
                    <a:pt x="1858641" y="44450"/>
                    <a:pt x="1860546" y="48260"/>
                    <a:pt x="1862451" y="53340"/>
                  </a:cubicBezTo>
                  <a:cubicBezTo>
                    <a:pt x="1863721" y="57785"/>
                    <a:pt x="1864356" y="62865"/>
                    <a:pt x="1864356" y="68580"/>
                  </a:cubicBezTo>
                  <a:lnTo>
                    <a:pt x="1863086" y="68580"/>
                  </a:lnTo>
                  <a:cubicBezTo>
                    <a:pt x="1863086" y="68580"/>
                    <a:pt x="1863086" y="71120"/>
                    <a:pt x="1863086" y="72390"/>
                  </a:cubicBezTo>
                  <a:cubicBezTo>
                    <a:pt x="1863086" y="73660"/>
                    <a:pt x="1863086" y="74295"/>
                    <a:pt x="1863086" y="75565"/>
                  </a:cubicBezTo>
                  <a:lnTo>
                    <a:pt x="1811651" y="75565"/>
                  </a:lnTo>
                  <a:cubicBezTo>
                    <a:pt x="1811651" y="79375"/>
                    <a:pt x="1812921" y="82550"/>
                    <a:pt x="1814191" y="85090"/>
                  </a:cubicBezTo>
                  <a:cubicBezTo>
                    <a:pt x="1815461" y="87630"/>
                    <a:pt x="1816731" y="90170"/>
                    <a:pt x="1818636" y="91440"/>
                  </a:cubicBezTo>
                  <a:cubicBezTo>
                    <a:pt x="1820541" y="93345"/>
                    <a:pt x="1822446" y="94615"/>
                    <a:pt x="1824351" y="95250"/>
                  </a:cubicBezTo>
                  <a:cubicBezTo>
                    <a:pt x="1826256" y="95885"/>
                    <a:pt x="1828796" y="96520"/>
                    <a:pt x="1831336" y="96520"/>
                  </a:cubicBezTo>
                  <a:cubicBezTo>
                    <a:pt x="1833241" y="96520"/>
                    <a:pt x="1834511" y="96520"/>
                    <a:pt x="1836416" y="96520"/>
                  </a:cubicBezTo>
                  <a:cubicBezTo>
                    <a:pt x="1837686" y="96520"/>
                    <a:pt x="1839591" y="95885"/>
                    <a:pt x="1840861" y="95250"/>
                  </a:cubicBezTo>
                  <a:cubicBezTo>
                    <a:pt x="1842131" y="95250"/>
                    <a:pt x="1843401" y="93980"/>
                    <a:pt x="1844671" y="93345"/>
                  </a:cubicBezTo>
                  <a:cubicBezTo>
                    <a:pt x="1845941" y="93345"/>
                    <a:pt x="1847211" y="92075"/>
                    <a:pt x="1849116" y="90805"/>
                  </a:cubicBezTo>
                  <a:lnTo>
                    <a:pt x="1858006" y="100330"/>
                  </a:lnTo>
                  <a:cubicBezTo>
                    <a:pt x="1858006" y="100330"/>
                    <a:pt x="1854196" y="103505"/>
                    <a:pt x="1852291" y="104775"/>
                  </a:cubicBezTo>
                  <a:cubicBezTo>
                    <a:pt x="1850386" y="106045"/>
                    <a:pt x="1848481" y="106680"/>
                    <a:pt x="1846576" y="107950"/>
                  </a:cubicBezTo>
                  <a:cubicBezTo>
                    <a:pt x="1844671" y="108585"/>
                    <a:pt x="1842131" y="109855"/>
                    <a:pt x="1839591" y="109855"/>
                  </a:cubicBezTo>
                  <a:cubicBezTo>
                    <a:pt x="1837051" y="109855"/>
                    <a:pt x="1833876" y="110490"/>
                    <a:pt x="1830701" y="110490"/>
                  </a:cubicBezTo>
                  <a:cubicBezTo>
                    <a:pt x="1827526" y="110490"/>
                    <a:pt x="1824351" y="110490"/>
                    <a:pt x="1821176" y="109220"/>
                  </a:cubicBezTo>
                  <a:cubicBezTo>
                    <a:pt x="1818001" y="108585"/>
                    <a:pt x="1815461" y="107315"/>
                    <a:pt x="1813556" y="105410"/>
                  </a:cubicBezTo>
                  <a:cubicBezTo>
                    <a:pt x="1811016" y="104140"/>
                    <a:pt x="1809111" y="102235"/>
                    <a:pt x="1807206" y="100330"/>
                  </a:cubicBezTo>
                  <a:cubicBezTo>
                    <a:pt x="1805301" y="98425"/>
                    <a:pt x="1803396" y="95885"/>
                    <a:pt x="1802126" y="92710"/>
                  </a:cubicBezTo>
                  <a:cubicBezTo>
                    <a:pt x="1800221" y="89535"/>
                    <a:pt x="1798951" y="86360"/>
                    <a:pt x="1798316" y="82550"/>
                  </a:cubicBezTo>
                  <a:cubicBezTo>
                    <a:pt x="1797681" y="78740"/>
                    <a:pt x="1797046" y="74295"/>
                    <a:pt x="1797046" y="69850"/>
                  </a:cubicBezTo>
                  <a:cubicBezTo>
                    <a:pt x="1797046" y="63500"/>
                    <a:pt x="1797681" y="57150"/>
                    <a:pt x="1799586" y="52070"/>
                  </a:cubicBezTo>
                  <a:cubicBezTo>
                    <a:pt x="1801491" y="46990"/>
                    <a:pt x="1803396" y="42545"/>
                    <a:pt x="1806571" y="39370"/>
                  </a:cubicBezTo>
                  <a:cubicBezTo>
                    <a:pt x="1809746" y="36195"/>
                    <a:pt x="1812921" y="33020"/>
                    <a:pt x="1817366" y="31750"/>
                  </a:cubicBezTo>
                  <a:cubicBezTo>
                    <a:pt x="1821811" y="29845"/>
                    <a:pt x="1826256" y="29210"/>
                    <a:pt x="1831336" y="29210"/>
                  </a:cubicBezTo>
                  <a:close/>
                  <a:moveTo>
                    <a:pt x="1501140" y="29210"/>
                  </a:moveTo>
                  <a:cubicBezTo>
                    <a:pt x="1503046" y="29210"/>
                    <a:pt x="1504951" y="29210"/>
                    <a:pt x="1506856" y="29210"/>
                  </a:cubicBezTo>
                  <a:cubicBezTo>
                    <a:pt x="1511301" y="29210"/>
                    <a:pt x="1515746" y="29845"/>
                    <a:pt x="1518920" y="31750"/>
                  </a:cubicBezTo>
                  <a:cubicBezTo>
                    <a:pt x="1522096" y="33020"/>
                    <a:pt x="1525271" y="35560"/>
                    <a:pt x="1527811" y="38100"/>
                  </a:cubicBezTo>
                  <a:cubicBezTo>
                    <a:pt x="1530351" y="41275"/>
                    <a:pt x="1531621" y="44450"/>
                    <a:pt x="1532891" y="48895"/>
                  </a:cubicBezTo>
                  <a:cubicBezTo>
                    <a:pt x="1534161" y="53340"/>
                    <a:pt x="1534796" y="58420"/>
                    <a:pt x="1534796" y="64135"/>
                  </a:cubicBezTo>
                  <a:lnTo>
                    <a:pt x="1534796" y="108585"/>
                  </a:lnTo>
                  <a:lnTo>
                    <a:pt x="1519556" y="108585"/>
                  </a:lnTo>
                  <a:lnTo>
                    <a:pt x="1518920" y="108585"/>
                  </a:lnTo>
                  <a:lnTo>
                    <a:pt x="1518920" y="64770"/>
                  </a:lnTo>
                  <a:cubicBezTo>
                    <a:pt x="1518920" y="57785"/>
                    <a:pt x="1517651" y="52070"/>
                    <a:pt x="1515111" y="48895"/>
                  </a:cubicBezTo>
                  <a:cubicBezTo>
                    <a:pt x="1512571" y="45085"/>
                    <a:pt x="1508761" y="43180"/>
                    <a:pt x="1503046" y="43180"/>
                  </a:cubicBezTo>
                  <a:cubicBezTo>
                    <a:pt x="1500506" y="43180"/>
                    <a:pt x="1498601" y="43180"/>
                    <a:pt x="1496061" y="44450"/>
                  </a:cubicBezTo>
                  <a:cubicBezTo>
                    <a:pt x="1494156" y="45085"/>
                    <a:pt x="1492250" y="46990"/>
                    <a:pt x="1490981" y="48260"/>
                  </a:cubicBezTo>
                  <a:cubicBezTo>
                    <a:pt x="1489711" y="50165"/>
                    <a:pt x="1488441" y="52070"/>
                    <a:pt x="1487806" y="54610"/>
                  </a:cubicBezTo>
                  <a:cubicBezTo>
                    <a:pt x="1487806" y="57150"/>
                    <a:pt x="1487170" y="59690"/>
                    <a:pt x="1487170" y="62865"/>
                  </a:cubicBezTo>
                  <a:lnTo>
                    <a:pt x="1487170" y="108585"/>
                  </a:lnTo>
                  <a:lnTo>
                    <a:pt x="1471931" y="108585"/>
                  </a:lnTo>
                  <a:lnTo>
                    <a:pt x="1471931" y="30480"/>
                  </a:lnTo>
                  <a:lnTo>
                    <a:pt x="1487170" y="30480"/>
                  </a:lnTo>
                  <a:lnTo>
                    <a:pt x="1487170" y="38100"/>
                  </a:lnTo>
                  <a:cubicBezTo>
                    <a:pt x="1487170" y="38100"/>
                    <a:pt x="1489076" y="35560"/>
                    <a:pt x="1490981" y="34290"/>
                  </a:cubicBezTo>
                  <a:cubicBezTo>
                    <a:pt x="1492250" y="33020"/>
                    <a:pt x="1494156" y="32385"/>
                    <a:pt x="1495426" y="31115"/>
                  </a:cubicBezTo>
                  <a:cubicBezTo>
                    <a:pt x="1497331" y="30480"/>
                    <a:pt x="1499236" y="29845"/>
                    <a:pt x="1501140" y="29210"/>
                  </a:cubicBezTo>
                  <a:close/>
                  <a:moveTo>
                    <a:pt x="1250316" y="29210"/>
                  </a:moveTo>
                  <a:cubicBezTo>
                    <a:pt x="1255396" y="29210"/>
                    <a:pt x="1259841" y="29845"/>
                    <a:pt x="1264286" y="31750"/>
                  </a:cubicBezTo>
                  <a:cubicBezTo>
                    <a:pt x="1268731" y="33655"/>
                    <a:pt x="1273176" y="35560"/>
                    <a:pt x="1276350" y="38100"/>
                  </a:cubicBezTo>
                  <a:lnTo>
                    <a:pt x="1278256" y="38100"/>
                  </a:lnTo>
                  <a:lnTo>
                    <a:pt x="1271271" y="50165"/>
                  </a:lnTo>
                  <a:cubicBezTo>
                    <a:pt x="1268095" y="47625"/>
                    <a:pt x="1264921" y="46355"/>
                    <a:pt x="1261746" y="45085"/>
                  </a:cubicBezTo>
                  <a:cubicBezTo>
                    <a:pt x="1258570" y="43815"/>
                    <a:pt x="1254761" y="43180"/>
                    <a:pt x="1250951" y="43180"/>
                  </a:cubicBezTo>
                  <a:cubicBezTo>
                    <a:pt x="1247141" y="43180"/>
                    <a:pt x="1244601" y="43815"/>
                    <a:pt x="1242696" y="45085"/>
                  </a:cubicBezTo>
                  <a:cubicBezTo>
                    <a:pt x="1240791" y="46355"/>
                    <a:pt x="1240156" y="48260"/>
                    <a:pt x="1240156" y="50165"/>
                  </a:cubicBezTo>
                  <a:cubicBezTo>
                    <a:pt x="1240156" y="51435"/>
                    <a:pt x="1240156" y="52070"/>
                    <a:pt x="1240156" y="52705"/>
                  </a:cubicBezTo>
                  <a:cubicBezTo>
                    <a:pt x="1240156" y="53340"/>
                    <a:pt x="1241426" y="54610"/>
                    <a:pt x="1242061" y="55245"/>
                  </a:cubicBezTo>
                  <a:cubicBezTo>
                    <a:pt x="1243331" y="55880"/>
                    <a:pt x="1244601" y="57150"/>
                    <a:pt x="1246506" y="57785"/>
                  </a:cubicBezTo>
                  <a:cubicBezTo>
                    <a:pt x="1248411" y="59055"/>
                    <a:pt x="1250951" y="59690"/>
                    <a:pt x="1253491" y="60960"/>
                  </a:cubicBezTo>
                  <a:cubicBezTo>
                    <a:pt x="1257936" y="62865"/>
                    <a:pt x="1261746" y="64135"/>
                    <a:pt x="1264921" y="66040"/>
                  </a:cubicBezTo>
                  <a:cubicBezTo>
                    <a:pt x="1268095" y="67310"/>
                    <a:pt x="1270635" y="69215"/>
                    <a:pt x="1273176" y="71120"/>
                  </a:cubicBezTo>
                  <a:cubicBezTo>
                    <a:pt x="1275080" y="73025"/>
                    <a:pt x="1276985" y="75565"/>
                    <a:pt x="1278256" y="78105"/>
                  </a:cubicBezTo>
                  <a:cubicBezTo>
                    <a:pt x="1279525" y="80645"/>
                    <a:pt x="1280161" y="83820"/>
                    <a:pt x="1280161" y="87630"/>
                  </a:cubicBezTo>
                  <a:cubicBezTo>
                    <a:pt x="1280161" y="92075"/>
                    <a:pt x="1279525" y="95250"/>
                    <a:pt x="1277621" y="98425"/>
                  </a:cubicBezTo>
                  <a:cubicBezTo>
                    <a:pt x="1275716" y="101600"/>
                    <a:pt x="1273811" y="103505"/>
                    <a:pt x="1271271" y="105410"/>
                  </a:cubicBezTo>
                  <a:cubicBezTo>
                    <a:pt x="1268731" y="107315"/>
                    <a:pt x="1265556" y="108585"/>
                    <a:pt x="1261746" y="109220"/>
                  </a:cubicBezTo>
                  <a:cubicBezTo>
                    <a:pt x="1257936" y="109855"/>
                    <a:pt x="1254761" y="110490"/>
                    <a:pt x="1250951" y="110490"/>
                  </a:cubicBezTo>
                  <a:cubicBezTo>
                    <a:pt x="1245871" y="110490"/>
                    <a:pt x="1240791" y="109855"/>
                    <a:pt x="1235711" y="107950"/>
                  </a:cubicBezTo>
                  <a:cubicBezTo>
                    <a:pt x="1229996" y="106045"/>
                    <a:pt x="1225551" y="103505"/>
                    <a:pt x="1221106" y="100965"/>
                  </a:cubicBezTo>
                  <a:lnTo>
                    <a:pt x="1228091" y="89535"/>
                  </a:lnTo>
                  <a:cubicBezTo>
                    <a:pt x="1231901" y="92075"/>
                    <a:pt x="1235711" y="93980"/>
                    <a:pt x="1239521" y="95250"/>
                  </a:cubicBezTo>
                  <a:cubicBezTo>
                    <a:pt x="1243331" y="96520"/>
                    <a:pt x="1247141" y="97155"/>
                    <a:pt x="1250951" y="97155"/>
                  </a:cubicBezTo>
                  <a:cubicBezTo>
                    <a:pt x="1256031" y="97155"/>
                    <a:pt x="1259205" y="96520"/>
                    <a:pt x="1261746" y="94615"/>
                  </a:cubicBezTo>
                  <a:cubicBezTo>
                    <a:pt x="1264286" y="93345"/>
                    <a:pt x="1264921" y="90805"/>
                    <a:pt x="1264921" y="88265"/>
                  </a:cubicBezTo>
                  <a:cubicBezTo>
                    <a:pt x="1264921" y="86995"/>
                    <a:pt x="1264921" y="85725"/>
                    <a:pt x="1263650" y="84455"/>
                  </a:cubicBezTo>
                  <a:cubicBezTo>
                    <a:pt x="1263015" y="83185"/>
                    <a:pt x="1261746" y="82550"/>
                    <a:pt x="1259841" y="81280"/>
                  </a:cubicBezTo>
                  <a:cubicBezTo>
                    <a:pt x="1258570" y="80010"/>
                    <a:pt x="1256666" y="79375"/>
                    <a:pt x="1254125" y="78105"/>
                  </a:cubicBezTo>
                  <a:cubicBezTo>
                    <a:pt x="1252221" y="77470"/>
                    <a:pt x="1249681" y="76200"/>
                    <a:pt x="1246506" y="74930"/>
                  </a:cubicBezTo>
                  <a:cubicBezTo>
                    <a:pt x="1242061" y="73025"/>
                    <a:pt x="1238886" y="71755"/>
                    <a:pt x="1235711" y="69850"/>
                  </a:cubicBezTo>
                  <a:cubicBezTo>
                    <a:pt x="1232536" y="67945"/>
                    <a:pt x="1230631" y="66675"/>
                    <a:pt x="1228726" y="64770"/>
                  </a:cubicBezTo>
                  <a:cubicBezTo>
                    <a:pt x="1226821" y="62865"/>
                    <a:pt x="1225551" y="60960"/>
                    <a:pt x="1224916" y="58420"/>
                  </a:cubicBezTo>
                  <a:cubicBezTo>
                    <a:pt x="1224281" y="55880"/>
                    <a:pt x="1223646" y="53340"/>
                    <a:pt x="1223646" y="50165"/>
                  </a:cubicBezTo>
                  <a:cubicBezTo>
                    <a:pt x="1223646" y="46990"/>
                    <a:pt x="1224281" y="43815"/>
                    <a:pt x="1225551" y="40640"/>
                  </a:cubicBezTo>
                  <a:cubicBezTo>
                    <a:pt x="1226821" y="38100"/>
                    <a:pt x="1228726" y="35560"/>
                    <a:pt x="1231266" y="34290"/>
                  </a:cubicBezTo>
                  <a:cubicBezTo>
                    <a:pt x="1233806" y="32385"/>
                    <a:pt x="1236346" y="31115"/>
                    <a:pt x="1239521" y="30480"/>
                  </a:cubicBezTo>
                  <a:cubicBezTo>
                    <a:pt x="1242696" y="29845"/>
                    <a:pt x="1246506" y="29210"/>
                    <a:pt x="1250316" y="29210"/>
                  </a:cubicBezTo>
                  <a:close/>
                  <a:moveTo>
                    <a:pt x="1180466" y="29210"/>
                  </a:moveTo>
                  <a:cubicBezTo>
                    <a:pt x="1186181" y="29210"/>
                    <a:pt x="1190626" y="30480"/>
                    <a:pt x="1195071" y="32385"/>
                  </a:cubicBezTo>
                  <a:cubicBezTo>
                    <a:pt x="1198881" y="34290"/>
                    <a:pt x="1202691" y="37465"/>
                    <a:pt x="1205231" y="40640"/>
                  </a:cubicBezTo>
                  <a:cubicBezTo>
                    <a:pt x="1207771" y="44450"/>
                    <a:pt x="1209676" y="48260"/>
                    <a:pt x="1211581" y="53340"/>
                  </a:cubicBezTo>
                  <a:cubicBezTo>
                    <a:pt x="1212851" y="57785"/>
                    <a:pt x="1213486" y="62865"/>
                    <a:pt x="1213486" y="68580"/>
                  </a:cubicBezTo>
                  <a:lnTo>
                    <a:pt x="1212216" y="68580"/>
                  </a:lnTo>
                  <a:cubicBezTo>
                    <a:pt x="1212216" y="68580"/>
                    <a:pt x="1212216" y="71120"/>
                    <a:pt x="1212216" y="72390"/>
                  </a:cubicBezTo>
                  <a:cubicBezTo>
                    <a:pt x="1212216" y="73660"/>
                    <a:pt x="1212216" y="74295"/>
                    <a:pt x="1212216" y="75565"/>
                  </a:cubicBezTo>
                  <a:lnTo>
                    <a:pt x="1160781" y="75565"/>
                  </a:lnTo>
                  <a:cubicBezTo>
                    <a:pt x="1160781" y="79375"/>
                    <a:pt x="1162051" y="82550"/>
                    <a:pt x="1163321" y="85090"/>
                  </a:cubicBezTo>
                  <a:cubicBezTo>
                    <a:pt x="1164591" y="87630"/>
                    <a:pt x="1165861" y="90170"/>
                    <a:pt x="1167766" y="91440"/>
                  </a:cubicBezTo>
                  <a:cubicBezTo>
                    <a:pt x="1169671" y="93345"/>
                    <a:pt x="1171576" y="94615"/>
                    <a:pt x="1173481" y="95250"/>
                  </a:cubicBezTo>
                  <a:cubicBezTo>
                    <a:pt x="1175386" y="95885"/>
                    <a:pt x="1177926" y="96520"/>
                    <a:pt x="1180466" y="96520"/>
                  </a:cubicBezTo>
                  <a:cubicBezTo>
                    <a:pt x="1182371" y="96520"/>
                    <a:pt x="1183641" y="96520"/>
                    <a:pt x="1185546" y="96520"/>
                  </a:cubicBezTo>
                  <a:cubicBezTo>
                    <a:pt x="1186816" y="96520"/>
                    <a:pt x="1188721" y="95885"/>
                    <a:pt x="1189991" y="95250"/>
                  </a:cubicBezTo>
                  <a:cubicBezTo>
                    <a:pt x="1191261" y="95250"/>
                    <a:pt x="1192531" y="93980"/>
                    <a:pt x="1193801" y="93345"/>
                  </a:cubicBezTo>
                  <a:cubicBezTo>
                    <a:pt x="1195071" y="93345"/>
                    <a:pt x="1196341" y="92075"/>
                    <a:pt x="1198246" y="90805"/>
                  </a:cubicBezTo>
                  <a:lnTo>
                    <a:pt x="1207136" y="100330"/>
                  </a:lnTo>
                  <a:cubicBezTo>
                    <a:pt x="1207136" y="100330"/>
                    <a:pt x="1203326" y="103505"/>
                    <a:pt x="1201421" y="104775"/>
                  </a:cubicBezTo>
                  <a:cubicBezTo>
                    <a:pt x="1199516" y="106045"/>
                    <a:pt x="1197611" y="106680"/>
                    <a:pt x="1195706" y="107950"/>
                  </a:cubicBezTo>
                  <a:cubicBezTo>
                    <a:pt x="1193801" y="108585"/>
                    <a:pt x="1191261" y="109855"/>
                    <a:pt x="1188721" y="109855"/>
                  </a:cubicBezTo>
                  <a:cubicBezTo>
                    <a:pt x="1186181" y="109855"/>
                    <a:pt x="1183006" y="110490"/>
                    <a:pt x="1179831" y="110490"/>
                  </a:cubicBezTo>
                  <a:cubicBezTo>
                    <a:pt x="1176656" y="110490"/>
                    <a:pt x="1173481" y="110490"/>
                    <a:pt x="1170306" y="109220"/>
                  </a:cubicBezTo>
                  <a:cubicBezTo>
                    <a:pt x="1167131" y="108585"/>
                    <a:pt x="1164591" y="107315"/>
                    <a:pt x="1162686" y="105410"/>
                  </a:cubicBezTo>
                  <a:cubicBezTo>
                    <a:pt x="1160781" y="103505"/>
                    <a:pt x="1158241" y="102235"/>
                    <a:pt x="1156336" y="100330"/>
                  </a:cubicBezTo>
                  <a:cubicBezTo>
                    <a:pt x="1154431" y="98425"/>
                    <a:pt x="1152526" y="95885"/>
                    <a:pt x="1151256" y="92710"/>
                  </a:cubicBezTo>
                  <a:cubicBezTo>
                    <a:pt x="1149351" y="89535"/>
                    <a:pt x="1148081" y="86360"/>
                    <a:pt x="1147446" y="82550"/>
                  </a:cubicBezTo>
                  <a:cubicBezTo>
                    <a:pt x="1146811" y="78740"/>
                    <a:pt x="1146176" y="74295"/>
                    <a:pt x="1146176" y="69850"/>
                  </a:cubicBezTo>
                  <a:cubicBezTo>
                    <a:pt x="1146176" y="63500"/>
                    <a:pt x="1146811" y="57150"/>
                    <a:pt x="1148716" y="52070"/>
                  </a:cubicBezTo>
                  <a:cubicBezTo>
                    <a:pt x="1150621" y="46990"/>
                    <a:pt x="1152526" y="42545"/>
                    <a:pt x="1155701" y="39370"/>
                  </a:cubicBezTo>
                  <a:cubicBezTo>
                    <a:pt x="1158876" y="36195"/>
                    <a:pt x="1162051" y="33020"/>
                    <a:pt x="1166496" y="31750"/>
                  </a:cubicBezTo>
                  <a:cubicBezTo>
                    <a:pt x="1170941" y="29845"/>
                    <a:pt x="1175386" y="29210"/>
                    <a:pt x="1180466" y="29210"/>
                  </a:cubicBezTo>
                  <a:close/>
                  <a:moveTo>
                    <a:pt x="901065" y="29210"/>
                  </a:moveTo>
                  <a:cubicBezTo>
                    <a:pt x="906780" y="29210"/>
                    <a:pt x="911225" y="30480"/>
                    <a:pt x="915670" y="32385"/>
                  </a:cubicBezTo>
                  <a:cubicBezTo>
                    <a:pt x="919480" y="34290"/>
                    <a:pt x="923290" y="37465"/>
                    <a:pt x="925830" y="40640"/>
                  </a:cubicBezTo>
                  <a:cubicBezTo>
                    <a:pt x="928370" y="44450"/>
                    <a:pt x="930275" y="48260"/>
                    <a:pt x="932180" y="53340"/>
                  </a:cubicBezTo>
                  <a:cubicBezTo>
                    <a:pt x="933450" y="57785"/>
                    <a:pt x="934085" y="62865"/>
                    <a:pt x="934085" y="68580"/>
                  </a:cubicBezTo>
                  <a:lnTo>
                    <a:pt x="932815" y="68580"/>
                  </a:lnTo>
                  <a:cubicBezTo>
                    <a:pt x="932815" y="68580"/>
                    <a:pt x="932815" y="71120"/>
                    <a:pt x="932815" y="72390"/>
                  </a:cubicBezTo>
                  <a:cubicBezTo>
                    <a:pt x="932815" y="73660"/>
                    <a:pt x="932815" y="74295"/>
                    <a:pt x="932815" y="75565"/>
                  </a:cubicBezTo>
                  <a:lnTo>
                    <a:pt x="881380" y="75565"/>
                  </a:lnTo>
                  <a:cubicBezTo>
                    <a:pt x="881380" y="79375"/>
                    <a:pt x="882650" y="82550"/>
                    <a:pt x="883920" y="85090"/>
                  </a:cubicBezTo>
                  <a:cubicBezTo>
                    <a:pt x="885190" y="87630"/>
                    <a:pt x="886460" y="90170"/>
                    <a:pt x="888365" y="91440"/>
                  </a:cubicBezTo>
                  <a:cubicBezTo>
                    <a:pt x="890270" y="93345"/>
                    <a:pt x="892175" y="94615"/>
                    <a:pt x="894080" y="95250"/>
                  </a:cubicBezTo>
                  <a:cubicBezTo>
                    <a:pt x="895985" y="95885"/>
                    <a:pt x="898525" y="96520"/>
                    <a:pt x="901065" y="96520"/>
                  </a:cubicBezTo>
                  <a:cubicBezTo>
                    <a:pt x="902970" y="96520"/>
                    <a:pt x="904240" y="96520"/>
                    <a:pt x="906145" y="96520"/>
                  </a:cubicBezTo>
                  <a:cubicBezTo>
                    <a:pt x="907415" y="96520"/>
                    <a:pt x="909320" y="95885"/>
                    <a:pt x="910590" y="95250"/>
                  </a:cubicBezTo>
                  <a:cubicBezTo>
                    <a:pt x="911860" y="95250"/>
                    <a:pt x="913130" y="93980"/>
                    <a:pt x="914400" y="93345"/>
                  </a:cubicBezTo>
                  <a:cubicBezTo>
                    <a:pt x="915670" y="93345"/>
                    <a:pt x="916940" y="92075"/>
                    <a:pt x="918845" y="90805"/>
                  </a:cubicBezTo>
                  <a:lnTo>
                    <a:pt x="927735" y="100330"/>
                  </a:lnTo>
                  <a:cubicBezTo>
                    <a:pt x="927735" y="100330"/>
                    <a:pt x="923925" y="103505"/>
                    <a:pt x="922020" y="104775"/>
                  </a:cubicBezTo>
                  <a:cubicBezTo>
                    <a:pt x="920115" y="106045"/>
                    <a:pt x="918210" y="106680"/>
                    <a:pt x="916305" y="107950"/>
                  </a:cubicBezTo>
                  <a:cubicBezTo>
                    <a:pt x="914400" y="108585"/>
                    <a:pt x="911860" y="109855"/>
                    <a:pt x="909320" y="109855"/>
                  </a:cubicBezTo>
                  <a:cubicBezTo>
                    <a:pt x="906780" y="109855"/>
                    <a:pt x="903605" y="110490"/>
                    <a:pt x="900430" y="110490"/>
                  </a:cubicBezTo>
                  <a:cubicBezTo>
                    <a:pt x="897255" y="110490"/>
                    <a:pt x="894080" y="110490"/>
                    <a:pt x="890905" y="109220"/>
                  </a:cubicBezTo>
                  <a:cubicBezTo>
                    <a:pt x="887730" y="108585"/>
                    <a:pt x="885190" y="107315"/>
                    <a:pt x="883285" y="105410"/>
                  </a:cubicBezTo>
                  <a:cubicBezTo>
                    <a:pt x="881380" y="103505"/>
                    <a:pt x="878840" y="102235"/>
                    <a:pt x="876935" y="100330"/>
                  </a:cubicBezTo>
                  <a:cubicBezTo>
                    <a:pt x="875030" y="98425"/>
                    <a:pt x="873125" y="95885"/>
                    <a:pt x="871855" y="92710"/>
                  </a:cubicBezTo>
                  <a:cubicBezTo>
                    <a:pt x="869950" y="89535"/>
                    <a:pt x="868680" y="86360"/>
                    <a:pt x="868045" y="82550"/>
                  </a:cubicBezTo>
                  <a:cubicBezTo>
                    <a:pt x="867410" y="78740"/>
                    <a:pt x="866775" y="74295"/>
                    <a:pt x="866775" y="69850"/>
                  </a:cubicBezTo>
                  <a:cubicBezTo>
                    <a:pt x="866775" y="63500"/>
                    <a:pt x="867410" y="57150"/>
                    <a:pt x="869315" y="52070"/>
                  </a:cubicBezTo>
                  <a:cubicBezTo>
                    <a:pt x="871220" y="46990"/>
                    <a:pt x="873125" y="42545"/>
                    <a:pt x="876300" y="39370"/>
                  </a:cubicBezTo>
                  <a:cubicBezTo>
                    <a:pt x="879475" y="36195"/>
                    <a:pt x="882650" y="33020"/>
                    <a:pt x="887095" y="31750"/>
                  </a:cubicBezTo>
                  <a:cubicBezTo>
                    <a:pt x="891540" y="29845"/>
                    <a:pt x="895985" y="29210"/>
                    <a:pt x="901065" y="29210"/>
                  </a:cubicBezTo>
                  <a:close/>
                  <a:moveTo>
                    <a:pt x="668656" y="29210"/>
                  </a:moveTo>
                  <a:cubicBezTo>
                    <a:pt x="671830" y="29210"/>
                    <a:pt x="674370" y="29210"/>
                    <a:pt x="676275" y="29845"/>
                  </a:cubicBezTo>
                  <a:cubicBezTo>
                    <a:pt x="678181" y="29845"/>
                    <a:pt x="680086" y="31115"/>
                    <a:pt x="681991" y="32385"/>
                  </a:cubicBezTo>
                  <a:lnTo>
                    <a:pt x="678181" y="46990"/>
                  </a:lnTo>
                  <a:lnTo>
                    <a:pt x="676910" y="46990"/>
                  </a:lnTo>
                  <a:cubicBezTo>
                    <a:pt x="676910" y="46990"/>
                    <a:pt x="673736" y="45085"/>
                    <a:pt x="671830" y="45085"/>
                  </a:cubicBezTo>
                  <a:cubicBezTo>
                    <a:pt x="669925" y="45085"/>
                    <a:pt x="668020" y="44450"/>
                    <a:pt x="665480" y="44450"/>
                  </a:cubicBezTo>
                  <a:cubicBezTo>
                    <a:pt x="660400" y="44450"/>
                    <a:pt x="656590" y="46355"/>
                    <a:pt x="654050" y="49530"/>
                  </a:cubicBezTo>
                  <a:cubicBezTo>
                    <a:pt x="651510" y="52705"/>
                    <a:pt x="650240" y="57785"/>
                    <a:pt x="650240" y="64770"/>
                  </a:cubicBezTo>
                  <a:lnTo>
                    <a:pt x="650240" y="109220"/>
                  </a:lnTo>
                  <a:lnTo>
                    <a:pt x="635000" y="109220"/>
                  </a:lnTo>
                  <a:lnTo>
                    <a:pt x="635000" y="31115"/>
                  </a:lnTo>
                  <a:lnTo>
                    <a:pt x="650240" y="31115"/>
                  </a:lnTo>
                  <a:lnTo>
                    <a:pt x="650240" y="38735"/>
                  </a:lnTo>
                  <a:cubicBezTo>
                    <a:pt x="650240" y="38735"/>
                    <a:pt x="652145" y="36195"/>
                    <a:pt x="653416" y="34925"/>
                  </a:cubicBezTo>
                  <a:cubicBezTo>
                    <a:pt x="654685" y="33655"/>
                    <a:pt x="655955" y="33020"/>
                    <a:pt x="657861" y="31750"/>
                  </a:cubicBezTo>
                  <a:cubicBezTo>
                    <a:pt x="659130" y="31115"/>
                    <a:pt x="661035" y="30480"/>
                    <a:pt x="662940" y="29845"/>
                  </a:cubicBezTo>
                  <a:cubicBezTo>
                    <a:pt x="664845" y="29845"/>
                    <a:pt x="666751" y="29210"/>
                    <a:pt x="668656" y="29210"/>
                  </a:cubicBezTo>
                  <a:close/>
                  <a:moveTo>
                    <a:pt x="586739" y="29210"/>
                  </a:moveTo>
                  <a:cubicBezTo>
                    <a:pt x="592454" y="29210"/>
                    <a:pt x="596899" y="30480"/>
                    <a:pt x="601344" y="32385"/>
                  </a:cubicBezTo>
                  <a:cubicBezTo>
                    <a:pt x="605154" y="34290"/>
                    <a:pt x="608964" y="37465"/>
                    <a:pt x="611504" y="40640"/>
                  </a:cubicBezTo>
                  <a:cubicBezTo>
                    <a:pt x="614044" y="44450"/>
                    <a:pt x="615949" y="48260"/>
                    <a:pt x="617854" y="53340"/>
                  </a:cubicBezTo>
                  <a:cubicBezTo>
                    <a:pt x="619124" y="57785"/>
                    <a:pt x="619759" y="62865"/>
                    <a:pt x="619759" y="68580"/>
                  </a:cubicBezTo>
                  <a:lnTo>
                    <a:pt x="618489" y="68580"/>
                  </a:lnTo>
                  <a:cubicBezTo>
                    <a:pt x="618489" y="68580"/>
                    <a:pt x="618489" y="71120"/>
                    <a:pt x="618489" y="72390"/>
                  </a:cubicBezTo>
                  <a:cubicBezTo>
                    <a:pt x="618489" y="73660"/>
                    <a:pt x="618489" y="74295"/>
                    <a:pt x="618489" y="75565"/>
                  </a:cubicBezTo>
                  <a:lnTo>
                    <a:pt x="567054" y="75565"/>
                  </a:lnTo>
                  <a:cubicBezTo>
                    <a:pt x="567054" y="79375"/>
                    <a:pt x="568324" y="82550"/>
                    <a:pt x="569594" y="85090"/>
                  </a:cubicBezTo>
                  <a:cubicBezTo>
                    <a:pt x="570864" y="87630"/>
                    <a:pt x="572134" y="90170"/>
                    <a:pt x="574039" y="91440"/>
                  </a:cubicBezTo>
                  <a:cubicBezTo>
                    <a:pt x="575944" y="93345"/>
                    <a:pt x="577849" y="94615"/>
                    <a:pt x="579754" y="95250"/>
                  </a:cubicBezTo>
                  <a:cubicBezTo>
                    <a:pt x="581659" y="95885"/>
                    <a:pt x="584199" y="96520"/>
                    <a:pt x="586739" y="96520"/>
                  </a:cubicBezTo>
                  <a:cubicBezTo>
                    <a:pt x="588644" y="96520"/>
                    <a:pt x="589914" y="96520"/>
                    <a:pt x="591819" y="96520"/>
                  </a:cubicBezTo>
                  <a:cubicBezTo>
                    <a:pt x="593089" y="96520"/>
                    <a:pt x="594994" y="95885"/>
                    <a:pt x="596264" y="95250"/>
                  </a:cubicBezTo>
                  <a:cubicBezTo>
                    <a:pt x="597534" y="95250"/>
                    <a:pt x="598804" y="93980"/>
                    <a:pt x="600074" y="93345"/>
                  </a:cubicBezTo>
                  <a:cubicBezTo>
                    <a:pt x="601344" y="93345"/>
                    <a:pt x="602614" y="92075"/>
                    <a:pt x="604519" y="90805"/>
                  </a:cubicBezTo>
                  <a:lnTo>
                    <a:pt x="613409" y="100330"/>
                  </a:lnTo>
                  <a:cubicBezTo>
                    <a:pt x="613409" y="100330"/>
                    <a:pt x="609599" y="103505"/>
                    <a:pt x="607694" y="104775"/>
                  </a:cubicBezTo>
                  <a:cubicBezTo>
                    <a:pt x="605789" y="106045"/>
                    <a:pt x="603884" y="106680"/>
                    <a:pt x="601979" y="107950"/>
                  </a:cubicBezTo>
                  <a:cubicBezTo>
                    <a:pt x="600074" y="108585"/>
                    <a:pt x="597534" y="109855"/>
                    <a:pt x="594994" y="109855"/>
                  </a:cubicBezTo>
                  <a:cubicBezTo>
                    <a:pt x="592454" y="109855"/>
                    <a:pt x="589279" y="110490"/>
                    <a:pt x="586104" y="110490"/>
                  </a:cubicBezTo>
                  <a:cubicBezTo>
                    <a:pt x="582929" y="110490"/>
                    <a:pt x="579754" y="110490"/>
                    <a:pt x="576579" y="109220"/>
                  </a:cubicBezTo>
                  <a:cubicBezTo>
                    <a:pt x="573404" y="108585"/>
                    <a:pt x="570864" y="107315"/>
                    <a:pt x="568959" y="105410"/>
                  </a:cubicBezTo>
                  <a:cubicBezTo>
                    <a:pt x="566419" y="104140"/>
                    <a:pt x="564514" y="102235"/>
                    <a:pt x="562609" y="100330"/>
                  </a:cubicBezTo>
                  <a:cubicBezTo>
                    <a:pt x="560704" y="98425"/>
                    <a:pt x="558799" y="95885"/>
                    <a:pt x="557529" y="92710"/>
                  </a:cubicBezTo>
                  <a:cubicBezTo>
                    <a:pt x="555624" y="89535"/>
                    <a:pt x="554354" y="86360"/>
                    <a:pt x="553719" y="82550"/>
                  </a:cubicBezTo>
                  <a:cubicBezTo>
                    <a:pt x="553084" y="78740"/>
                    <a:pt x="552449" y="74295"/>
                    <a:pt x="552449" y="69850"/>
                  </a:cubicBezTo>
                  <a:cubicBezTo>
                    <a:pt x="552449" y="63500"/>
                    <a:pt x="553084" y="57150"/>
                    <a:pt x="554989" y="52070"/>
                  </a:cubicBezTo>
                  <a:cubicBezTo>
                    <a:pt x="556894" y="46990"/>
                    <a:pt x="558799" y="42545"/>
                    <a:pt x="561974" y="39370"/>
                  </a:cubicBezTo>
                  <a:cubicBezTo>
                    <a:pt x="565149" y="36195"/>
                    <a:pt x="568324" y="33020"/>
                    <a:pt x="572769" y="31750"/>
                  </a:cubicBezTo>
                  <a:cubicBezTo>
                    <a:pt x="577214" y="29845"/>
                    <a:pt x="581659" y="29210"/>
                    <a:pt x="586739" y="29210"/>
                  </a:cubicBezTo>
                  <a:close/>
                  <a:moveTo>
                    <a:pt x="400050" y="29210"/>
                  </a:moveTo>
                  <a:cubicBezTo>
                    <a:pt x="405765" y="29210"/>
                    <a:pt x="410210" y="30480"/>
                    <a:pt x="414655" y="32385"/>
                  </a:cubicBezTo>
                  <a:cubicBezTo>
                    <a:pt x="418465" y="34290"/>
                    <a:pt x="422275" y="37465"/>
                    <a:pt x="424815" y="40640"/>
                  </a:cubicBezTo>
                  <a:cubicBezTo>
                    <a:pt x="427355" y="44450"/>
                    <a:pt x="429260" y="48260"/>
                    <a:pt x="431165" y="53340"/>
                  </a:cubicBezTo>
                  <a:cubicBezTo>
                    <a:pt x="432435" y="57785"/>
                    <a:pt x="433070" y="62865"/>
                    <a:pt x="433070" y="68580"/>
                  </a:cubicBezTo>
                  <a:lnTo>
                    <a:pt x="431800" y="68580"/>
                  </a:lnTo>
                  <a:cubicBezTo>
                    <a:pt x="431800" y="68580"/>
                    <a:pt x="431800" y="71120"/>
                    <a:pt x="431800" y="72390"/>
                  </a:cubicBezTo>
                  <a:cubicBezTo>
                    <a:pt x="431800" y="73660"/>
                    <a:pt x="431800" y="74295"/>
                    <a:pt x="431800" y="75565"/>
                  </a:cubicBezTo>
                  <a:lnTo>
                    <a:pt x="380365" y="75565"/>
                  </a:lnTo>
                  <a:cubicBezTo>
                    <a:pt x="380365" y="79375"/>
                    <a:pt x="381635" y="82550"/>
                    <a:pt x="382905" y="85090"/>
                  </a:cubicBezTo>
                  <a:cubicBezTo>
                    <a:pt x="384175" y="87630"/>
                    <a:pt x="385445" y="90170"/>
                    <a:pt x="387350" y="91440"/>
                  </a:cubicBezTo>
                  <a:cubicBezTo>
                    <a:pt x="389255" y="93345"/>
                    <a:pt x="391160" y="94615"/>
                    <a:pt x="393065" y="95250"/>
                  </a:cubicBezTo>
                  <a:cubicBezTo>
                    <a:pt x="394970" y="95885"/>
                    <a:pt x="397510" y="96520"/>
                    <a:pt x="400050" y="96520"/>
                  </a:cubicBezTo>
                  <a:cubicBezTo>
                    <a:pt x="401955" y="96520"/>
                    <a:pt x="403225" y="96520"/>
                    <a:pt x="405130" y="96520"/>
                  </a:cubicBezTo>
                  <a:cubicBezTo>
                    <a:pt x="406400" y="96520"/>
                    <a:pt x="408305" y="95885"/>
                    <a:pt x="409575" y="95250"/>
                  </a:cubicBezTo>
                  <a:cubicBezTo>
                    <a:pt x="410845" y="95250"/>
                    <a:pt x="412115" y="93980"/>
                    <a:pt x="413385" y="93345"/>
                  </a:cubicBezTo>
                  <a:cubicBezTo>
                    <a:pt x="414655" y="93345"/>
                    <a:pt x="415925" y="92075"/>
                    <a:pt x="417830" y="90805"/>
                  </a:cubicBezTo>
                  <a:lnTo>
                    <a:pt x="426720" y="100330"/>
                  </a:lnTo>
                  <a:cubicBezTo>
                    <a:pt x="426720" y="100330"/>
                    <a:pt x="422910" y="103505"/>
                    <a:pt x="421005" y="104775"/>
                  </a:cubicBezTo>
                  <a:cubicBezTo>
                    <a:pt x="419100" y="106045"/>
                    <a:pt x="417195" y="106680"/>
                    <a:pt x="415290" y="107950"/>
                  </a:cubicBezTo>
                  <a:cubicBezTo>
                    <a:pt x="413385" y="108585"/>
                    <a:pt x="410845" y="109855"/>
                    <a:pt x="408305" y="109855"/>
                  </a:cubicBezTo>
                  <a:cubicBezTo>
                    <a:pt x="405765" y="109855"/>
                    <a:pt x="402590" y="110490"/>
                    <a:pt x="399415" y="110490"/>
                  </a:cubicBezTo>
                  <a:cubicBezTo>
                    <a:pt x="396240" y="110490"/>
                    <a:pt x="393065" y="110490"/>
                    <a:pt x="389890" y="109220"/>
                  </a:cubicBezTo>
                  <a:cubicBezTo>
                    <a:pt x="386715" y="108585"/>
                    <a:pt x="384175" y="107315"/>
                    <a:pt x="382270" y="105410"/>
                  </a:cubicBezTo>
                  <a:cubicBezTo>
                    <a:pt x="380365" y="103505"/>
                    <a:pt x="377825" y="102235"/>
                    <a:pt x="375920" y="100330"/>
                  </a:cubicBezTo>
                  <a:cubicBezTo>
                    <a:pt x="374015" y="98425"/>
                    <a:pt x="372110" y="95885"/>
                    <a:pt x="370840" y="92710"/>
                  </a:cubicBezTo>
                  <a:cubicBezTo>
                    <a:pt x="368935" y="89535"/>
                    <a:pt x="367665" y="86360"/>
                    <a:pt x="367030" y="82550"/>
                  </a:cubicBezTo>
                  <a:cubicBezTo>
                    <a:pt x="366395" y="78740"/>
                    <a:pt x="365760" y="74295"/>
                    <a:pt x="365760" y="69850"/>
                  </a:cubicBezTo>
                  <a:cubicBezTo>
                    <a:pt x="365760" y="63500"/>
                    <a:pt x="366395" y="57150"/>
                    <a:pt x="368300" y="52070"/>
                  </a:cubicBezTo>
                  <a:cubicBezTo>
                    <a:pt x="370205" y="46990"/>
                    <a:pt x="372110" y="42545"/>
                    <a:pt x="375285" y="39370"/>
                  </a:cubicBezTo>
                  <a:cubicBezTo>
                    <a:pt x="378460" y="36195"/>
                    <a:pt x="381635" y="33020"/>
                    <a:pt x="386080" y="31750"/>
                  </a:cubicBezTo>
                  <a:cubicBezTo>
                    <a:pt x="390525" y="29845"/>
                    <a:pt x="394970" y="29210"/>
                    <a:pt x="400050" y="29210"/>
                  </a:cubicBezTo>
                  <a:close/>
                  <a:moveTo>
                    <a:pt x="201930" y="29210"/>
                  </a:moveTo>
                  <a:cubicBezTo>
                    <a:pt x="207645" y="29210"/>
                    <a:pt x="212090" y="30480"/>
                    <a:pt x="216535" y="32385"/>
                  </a:cubicBezTo>
                  <a:cubicBezTo>
                    <a:pt x="220345" y="34290"/>
                    <a:pt x="224155" y="37465"/>
                    <a:pt x="226695" y="40640"/>
                  </a:cubicBezTo>
                  <a:cubicBezTo>
                    <a:pt x="229235" y="44450"/>
                    <a:pt x="231140" y="48260"/>
                    <a:pt x="233045" y="53340"/>
                  </a:cubicBezTo>
                  <a:cubicBezTo>
                    <a:pt x="234315" y="57785"/>
                    <a:pt x="234950" y="62865"/>
                    <a:pt x="234950" y="68580"/>
                  </a:cubicBezTo>
                  <a:lnTo>
                    <a:pt x="233680" y="68580"/>
                  </a:lnTo>
                  <a:cubicBezTo>
                    <a:pt x="233680" y="68580"/>
                    <a:pt x="233680" y="71120"/>
                    <a:pt x="233680" y="72390"/>
                  </a:cubicBezTo>
                  <a:cubicBezTo>
                    <a:pt x="233680" y="73660"/>
                    <a:pt x="233680" y="74295"/>
                    <a:pt x="233680" y="75565"/>
                  </a:cubicBezTo>
                  <a:lnTo>
                    <a:pt x="182245" y="75565"/>
                  </a:lnTo>
                  <a:cubicBezTo>
                    <a:pt x="182245" y="79375"/>
                    <a:pt x="183515" y="82550"/>
                    <a:pt x="184785" y="85090"/>
                  </a:cubicBezTo>
                  <a:cubicBezTo>
                    <a:pt x="186055" y="87630"/>
                    <a:pt x="187325" y="90170"/>
                    <a:pt x="189230" y="91440"/>
                  </a:cubicBezTo>
                  <a:cubicBezTo>
                    <a:pt x="191135" y="93345"/>
                    <a:pt x="193040" y="94615"/>
                    <a:pt x="194945" y="95250"/>
                  </a:cubicBezTo>
                  <a:cubicBezTo>
                    <a:pt x="196850" y="95885"/>
                    <a:pt x="199390" y="96520"/>
                    <a:pt x="201930" y="96520"/>
                  </a:cubicBezTo>
                  <a:cubicBezTo>
                    <a:pt x="203835" y="96520"/>
                    <a:pt x="205105" y="96520"/>
                    <a:pt x="207010" y="96520"/>
                  </a:cubicBezTo>
                  <a:cubicBezTo>
                    <a:pt x="208280" y="96520"/>
                    <a:pt x="210185" y="95885"/>
                    <a:pt x="211455" y="95250"/>
                  </a:cubicBezTo>
                  <a:cubicBezTo>
                    <a:pt x="212725" y="95250"/>
                    <a:pt x="213995" y="93980"/>
                    <a:pt x="215265" y="93345"/>
                  </a:cubicBezTo>
                  <a:cubicBezTo>
                    <a:pt x="216535" y="93345"/>
                    <a:pt x="217805" y="92075"/>
                    <a:pt x="219710" y="90805"/>
                  </a:cubicBezTo>
                  <a:lnTo>
                    <a:pt x="228600" y="100330"/>
                  </a:lnTo>
                  <a:cubicBezTo>
                    <a:pt x="228600" y="100330"/>
                    <a:pt x="224790" y="103505"/>
                    <a:pt x="222885" y="104775"/>
                  </a:cubicBezTo>
                  <a:cubicBezTo>
                    <a:pt x="220980" y="106045"/>
                    <a:pt x="219075" y="106680"/>
                    <a:pt x="217170" y="107950"/>
                  </a:cubicBezTo>
                  <a:cubicBezTo>
                    <a:pt x="215265" y="108585"/>
                    <a:pt x="212725" y="109855"/>
                    <a:pt x="210185" y="109855"/>
                  </a:cubicBezTo>
                  <a:cubicBezTo>
                    <a:pt x="207645" y="109855"/>
                    <a:pt x="204470" y="110490"/>
                    <a:pt x="201295" y="110490"/>
                  </a:cubicBezTo>
                  <a:cubicBezTo>
                    <a:pt x="198120" y="110490"/>
                    <a:pt x="194945" y="110490"/>
                    <a:pt x="191770" y="109220"/>
                  </a:cubicBezTo>
                  <a:cubicBezTo>
                    <a:pt x="188595" y="108585"/>
                    <a:pt x="186055" y="107315"/>
                    <a:pt x="184150" y="105410"/>
                  </a:cubicBezTo>
                  <a:cubicBezTo>
                    <a:pt x="181610" y="104140"/>
                    <a:pt x="179705" y="102235"/>
                    <a:pt x="177800" y="100330"/>
                  </a:cubicBezTo>
                  <a:cubicBezTo>
                    <a:pt x="175895" y="98425"/>
                    <a:pt x="173990" y="95885"/>
                    <a:pt x="172720" y="92710"/>
                  </a:cubicBezTo>
                  <a:cubicBezTo>
                    <a:pt x="170815" y="89535"/>
                    <a:pt x="169545" y="86360"/>
                    <a:pt x="168910" y="82550"/>
                  </a:cubicBezTo>
                  <a:cubicBezTo>
                    <a:pt x="168275" y="78740"/>
                    <a:pt x="167640" y="74295"/>
                    <a:pt x="167640" y="69850"/>
                  </a:cubicBezTo>
                  <a:cubicBezTo>
                    <a:pt x="167640" y="63500"/>
                    <a:pt x="168275" y="57150"/>
                    <a:pt x="170180" y="52070"/>
                  </a:cubicBezTo>
                  <a:cubicBezTo>
                    <a:pt x="172085" y="46990"/>
                    <a:pt x="173990" y="42545"/>
                    <a:pt x="177165" y="39370"/>
                  </a:cubicBezTo>
                  <a:cubicBezTo>
                    <a:pt x="180340" y="36195"/>
                    <a:pt x="183515" y="33020"/>
                    <a:pt x="187960" y="31750"/>
                  </a:cubicBezTo>
                  <a:cubicBezTo>
                    <a:pt x="192405" y="29845"/>
                    <a:pt x="196850" y="29210"/>
                    <a:pt x="201930" y="29210"/>
                  </a:cubicBezTo>
                  <a:close/>
                  <a:moveTo>
                    <a:pt x="4664706" y="28574"/>
                  </a:moveTo>
                  <a:cubicBezTo>
                    <a:pt x="4669786" y="28574"/>
                    <a:pt x="4674231" y="29209"/>
                    <a:pt x="4678676" y="31749"/>
                  </a:cubicBezTo>
                  <a:cubicBezTo>
                    <a:pt x="4683121" y="33654"/>
                    <a:pt x="4686296" y="36194"/>
                    <a:pt x="4689471" y="40004"/>
                  </a:cubicBezTo>
                  <a:cubicBezTo>
                    <a:pt x="4692646" y="43814"/>
                    <a:pt x="4695186" y="47624"/>
                    <a:pt x="4696456" y="52704"/>
                  </a:cubicBezTo>
                  <a:cubicBezTo>
                    <a:pt x="4698361" y="57784"/>
                    <a:pt x="4698996" y="63499"/>
                    <a:pt x="4698996" y="69214"/>
                  </a:cubicBezTo>
                  <a:lnTo>
                    <a:pt x="4699631" y="69214"/>
                  </a:lnTo>
                  <a:cubicBezTo>
                    <a:pt x="4699631" y="75564"/>
                    <a:pt x="4698996" y="81279"/>
                    <a:pt x="4697091" y="86359"/>
                  </a:cubicBezTo>
                  <a:cubicBezTo>
                    <a:pt x="4695186" y="91439"/>
                    <a:pt x="4692646" y="95884"/>
                    <a:pt x="4689471" y="99059"/>
                  </a:cubicBezTo>
                  <a:cubicBezTo>
                    <a:pt x="4686296" y="102869"/>
                    <a:pt x="4682486" y="105409"/>
                    <a:pt x="4678041" y="107314"/>
                  </a:cubicBezTo>
                  <a:cubicBezTo>
                    <a:pt x="4673596" y="109219"/>
                    <a:pt x="4669151" y="109854"/>
                    <a:pt x="4664071" y="109854"/>
                  </a:cubicBezTo>
                  <a:cubicBezTo>
                    <a:pt x="4658991" y="109854"/>
                    <a:pt x="4654546" y="108584"/>
                    <a:pt x="4650101" y="106679"/>
                  </a:cubicBezTo>
                  <a:cubicBezTo>
                    <a:pt x="4645656" y="104774"/>
                    <a:pt x="4642481" y="102234"/>
                    <a:pt x="4639306" y="98424"/>
                  </a:cubicBezTo>
                  <a:cubicBezTo>
                    <a:pt x="4636131" y="94614"/>
                    <a:pt x="4633591" y="90804"/>
                    <a:pt x="4632321" y="85724"/>
                  </a:cubicBezTo>
                  <a:cubicBezTo>
                    <a:pt x="4630416" y="80644"/>
                    <a:pt x="4629781" y="74929"/>
                    <a:pt x="4629781" y="69214"/>
                  </a:cubicBezTo>
                  <a:cubicBezTo>
                    <a:pt x="4629781" y="63499"/>
                    <a:pt x="4630416" y="57149"/>
                    <a:pt x="4632321" y="52069"/>
                  </a:cubicBezTo>
                  <a:cubicBezTo>
                    <a:pt x="4634226" y="46989"/>
                    <a:pt x="4636766" y="42544"/>
                    <a:pt x="4639941" y="39369"/>
                  </a:cubicBezTo>
                  <a:cubicBezTo>
                    <a:pt x="4643116" y="35559"/>
                    <a:pt x="4646926" y="33019"/>
                    <a:pt x="4650736" y="31114"/>
                  </a:cubicBezTo>
                  <a:cubicBezTo>
                    <a:pt x="4655181" y="29209"/>
                    <a:pt x="4659626" y="28574"/>
                    <a:pt x="4664706" y="28574"/>
                  </a:cubicBezTo>
                  <a:close/>
                  <a:moveTo>
                    <a:pt x="4264655" y="28574"/>
                  </a:moveTo>
                  <a:cubicBezTo>
                    <a:pt x="4269735" y="28574"/>
                    <a:pt x="4274180" y="29209"/>
                    <a:pt x="4278625" y="31749"/>
                  </a:cubicBezTo>
                  <a:cubicBezTo>
                    <a:pt x="4283070" y="33654"/>
                    <a:pt x="4286245" y="36194"/>
                    <a:pt x="4289420" y="40004"/>
                  </a:cubicBezTo>
                  <a:cubicBezTo>
                    <a:pt x="4292595" y="43814"/>
                    <a:pt x="4295135" y="47624"/>
                    <a:pt x="4296405" y="52704"/>
                  </a:cubicBezTo>
                  <a:cubicBezTo>
                    <a:pt x="4298310" y="57784"/>
                    <a:pt x="4298945" y="63499"/>
                    <a:pt x="4298945" y="69214"/>
                  </a:cubicBezTo>
                  <a:lnTo>
                    <a:pt x="4299580" y="69214"/>
                  </a:lnTo>
                  <a:cubicBezTo>
                    <a:pt x="4299580" y="75564"/>
                    <a:pt x="4298945" y="81279"/>
                    <a:pt x="4297040" y="86359"/>
                  </a:cubicBezTo>
                  <a:cubicBezTo>
                    <a:pt x="4295135" y="91439"/>
                    <a:pt x="4292595" y="95884"/>
                    <a:pt x="4289420" y="99059"/>
                  </a:cubicBezTo>
                  <a:cubicBezTo>
                    <a:pt x="4286245" y="102869"/>
                    <a:pt x="4282435" y="105409"/>
                    <a:pt x="4277990" y="107314"/>
                  </a:cubicBezTo>
                  <a:cubicBezTo>
                    <a:pt x="4273545" y="109219"/>
                    <a:pt x="4269100" y="109854"/>
                    <a:pt x="4264020" y="109854"/>
                  </a:cubicBezTo>
                  <a:cubicBezTo>
                    <a:pt x="4258940" y="109854"/>
                    <a:pt x="4254495" y="108584"/>
                    <a:pt x="4250050" y="106679"/>
                  </a:cubicBezTo>
                  <a:cubicBezTo>
                    <a:pt x="4245605" y="104774"/>
                    <a:pt x="4242430" y="102234"/>
                    <a:pt x="4239255" y="98424"/>
                  </a:cubicBezTo>
                  <a:cubicBezTo>
                    <a:pt x="4236080" y="94614"/>
                    <a:pt x="4233540" y="90804"/>
                    <a:pt x="4232270" y="85724"/>
                  </a:cubicBezTo>
                  <a:cubicBezTo>
                    <a:pt x="4230365" y="80644"/>
                    <a:pt x="4229730" y="74929"/>
                    <a:pt x="4229730" y="69214"/>
                  </a:cubicBezTo>
                  <a:cubicBezTo>
                    <a:pt x="4229730" y="63499"/>
                    <a:pt x="4230365" y="57149"/>
                    <a:pt x="4232270" y="52069"/>
                  </a:cubicBezTo>
                  <a:cubicBezTo>
                    <a:pt x="4234175" y="46989"/>
                    <a:pt x="4236715" y="42544"/>
                    <a:pt x="4239890" y="39369"/>
                  </a:cubicBezTo>
                  <a:cubicBezTo>
                    <a:pt x="4243065" y="35559"/>
                    <a:pt x="4246875" y="33019"/>
                    <a:pt x="4250685" y="31114"/>
                  </a:cubicBezTo>
                  <a:cubicBezTo>
                    <a:pt x="4255130" y="29209"/>
                    <a:pt x="4259575" y="28574"/>
                    <a:pt x="4264655" y="28574"/>
                  </a:cubicBezTo>
                  <a:close/>
                  <a:moveTo>
                    <a:pt x="1420495" y="28574"/>
                  </a:moveTo>
                  <a:cubicBezTo>
                    <a:pt x="1425575" y="28574"/>
                    <a:pt x="1430020" y="29209"/>
                    <a:pt x="1434465" y="31749"/>
                  </a:cubicBezTo>
                  <a:cubicBezTo>
                    <a:pt x="1438910" y="33654"/>
                    <a:pt x="1442085" y="36194"/>
                    <a:pt x="1445260" y="40004"/>
                  </a:cubicBezTo>
                  <a:cubicBezTo>
                    <a:pt x="1448435" y="43814"/>
                    <a:pt x="1450975" y="47624"/>
                    <a:pt x="1452245" y="52704"/>
                  </a:cubicBezTo>
                  <a:cubicBezTo>
                    <a:pt x="1454150" y="57784"/>
                    <a:pt x="1454785" y="63499"/>
                    <a:pt x="1454785" y="69214"/>
                  </a:cubicBezTo>
                  <a:lnTo>
                    <a:pt x="1455420" y="69214"/>
                  </a:lnTo>
                  <a:cubicBezTo>
                    <a:pt x="1455420" y="75564"/>
                    <a:pt x="1454785" y="81279"/>
                    <a:pt x="1452880" y="86359"/>
                  </a:cubicBezTo>
                  <a:cubicBezTo>
                    <a:pt x="1450975" y="91439"/>
                    <a:pt x="1448435" y="95884"/>
                    <a:pt x="1445260" y="99059"/>
                  </a:cubicBezTo>
                  <a:cubicBezTo>
                    <a:pt x="1442085" y="102869"/>
                    <a:pt x="1438275" y="105409"/>
                    <a:pt x="1433830" y="107314"/>
                  </a:cubicBezTo>
                  <a:cubicBezTo>
                    <a:pt x="1429385" y="109219"/>
                    <a:pt x="1424940" y="109854"/>
                    <a:pt x="1419860" y="109854"/>
                  </a:cubicBezTo>
                  <a:cubicBezTo>
                    <a:pt x="1414780" y="109854"/>
                    <a:pt x="1410335" y="108584"/>
                    <a:pt x="1405890" y="106679"/>
                  </a:cubicBezTo>
                  <a:cubicBezTo>
                    <a:pt x="1401444" y="104774"/>
                    <a:pt x="1398270" y="102234"/>
                    <a:pt x="1395095" y="98424"/>
                  </a:cubicBezTo>
                  <a:cubicBezTo>
                    <a:pt x="1391920" y="94614"/>
                    <a:pt x="1389380" y="90804"/>
                    <a:pt x="1388110" y="85724"/>
                  </a:cubicBezTo>
                  <a:cubicBezTo>
                    <a:pt x="1386205" y="80644"/>
                    <a:pt x="1385570" y="74929"/>
                    <a:pt x="1385570" y="69214"/>
                  </a:cubicBezTo>
                  <a:cubicBezTo>
                    <a:pt x="1385570" y="63499"/>
                    <a:pt x="1386205" y="57149"/>
                    <a:pt x="1388110" y="52069"/>
                  </a:cubicBezTo>
                  <a:cubicBezTo>
                    <a:pt x="1390015" y="46989"/>
                    <a:pt x="1392555" y="42544"/>
                    <a:pt x="1395730" y="39369"/>
                  </a:cubicBezTo>
                  <a:cubicBezTo>
                    <a:pt x="1398905" y="35559"/>
                    <a:pt x="1402715" y="33019"/>
                    <a:pt x="1406525" y="31114"/>
                  </a:cubicBezTo>
                  <a:cubicBezTo>
                    <a:pt x="1410970" y="29209"/>
                    <a:pt x="1415415" y="28574"/>
                    <a:pt x="1420495" y="28574"/>
                  </a:cubicBezTo>
                  <a:close/>
                  <a:moveTo>
                    <a:pt x="3143245" y="5079"/>
                  </a:moveTo>
                  <a:lnTo>
                    <a:pt x="3219445" y="5079"/>
                  </a:lnTo>
                  <a:lnTo>
                    <a:pt x="3219445" y="20319"/>
                  </a:lnTo>
                  <a:lnTo>
                    <a:pt x="3188965" y="20319"/>
                  </a:lnTo>
                  <a:lnTo>
                    <a:pt x="3188965" y="108584"/>
                  </a:lnTo>
                  <a:lnTo>
                    <a:pt x="3173090" y="108584"/>
                  </a:lnTo>
                  <a:lnTo>
                    <a:pt x="3173090" y="20319"/>
                  </a:lnTo>
                  <a:lnTo>
                    <a:pt x="3143245" y="20319"/>
                  </a:lnTo>
                  <a:close/>
                  <a:moveTo>
                    <a:pt x="1628774" y="5079"/>
                  </a:moveTo>
                  <a:lnTo>
                    <a:pt x="1704970" y="5079"/>
                  </a:lnTo>
                  <a:lnTo>
                    <a:pt x="1704970" y="20319"/>
                  </a:lnTo>
                  <a:lnTo>
                    <a:pt x="1675129" y="20319"/>
                  </a:lnTo>
                  <a:lnTo>
                    <a:pt x="1675129" y="108584"/>
                  </a:lnTo>
                  <a:lnTo>
                    <a:pt x="1659255" y="108584"/>
                  </a:lnTo>
                  <a:lnTo>
                    <a:pt x="1659255" y="20319"/>
                  </a:lnTo>
                  <a:lnTo>
                    <a:pt x="1628774" y="20319"/>
                  </a:lnTo>
                  <a:close/>
                  <a:moveTo>
                    <a:pt x="0" y="5079"/>
                  </a:moveTo>
                  <a:lnTo>
                    <a:pt x="76200" y="5079"/>
                  </a:lnTo>
                  <a:lnTo>
                    <a:pt x="76200" y="20319"/>
                  </a:lnTo>
                  <a:lnTo>
                    <a:pt x="45720" y="20319"/>
                  </a:lnTo>
                  <a:lnTo>
                    <a:pt x="45720" y="108584"/>
                  </a:lnTo>
                  <a:lnTo>
                    <a:pt x="29845" y="108584"/>
                  </a:lnTo>
                  <a:lnTo>
                    <a:pt x="29845" y="20319"/>
                  </a:lnTo>
                  <a:lnTo>
                    <a:pt x="0" y="20319"/>
                  </a:lnTo>
                  <a:close/>
                  <a:moveTo>
                    <a:pt x="1362075" y="1269"/>
                  </a:moveTo>
                  <a:cubicBezTo>
                    <a:pt x="1363345" y="1269"/>
                    <a:pt x="1364615" y="1269"/>
                    <a:pt x="1365885" y="1904"/>
                  </a:cubicBezTo>
                  <a:cubicBezTo>
                    <a:pt x="1367155" y="1904"/>
                    <a:pt x="1367790" y="3174"/>
                    <a:pt x="1369060" y="3809"/>
                  </a:cubicBezTo>
                  <a:cubicBezTo>
                    <a:pt x="1369695" y="4444"/>
                    <a:pt x="1370965" y="5714"/>
                    <a:pt x="1370965" y="6984"/>
                  </a:cubicBezTo>
                  <a:cubicBezTo>
                    <a:pt x="1370965" y="8254"/>
                    <a:pt x="1371600" y="9524"/>
                    <a:pt x="1371600" y="10794"/>
                  </a:cubicBezTo>
                  <a:cubicBezTo>
                    <a:pt x="1371600" y="10794"/>
                    <a:pt x="1371600" y="13334"/>
                    <a:pt x="1370965" y="14604"/>
                  </a:cubicBezTo>
                  <a:cubicBezTo>
                    <a:pt x="1370965" y="15874"/>
                    <a:pt x="1369695" y="17144"/>
                    <a:pt x="1369060" y="17779"/>
                  </a:cubicBezTo>
                  <a:cubicBezTo>
                    <a:pt x="1368425" y="18414"/>
                    <a:pt x="1367155" y="19684"/>
                    <a:pt x="1365885" y="19684"/>
                  </a:cubicBezTo>
                  <a:cubicBezTo>
                    <a:pt x="1364615" y="19684"/>
                    <a:pt x="1363345" y="20319"/>
                    <a:pt x="1362075" y="20319"/>
                  </a:cubicBezTo>
                  <a:cubicBezTo>
                    <a:pt x="1360805" y="20319"/>
                    <a:pt x="1359535" y="20319"/>
                    <a:pt x="1358265" y="19684"/>
                  </a:cubicBezTo>
                  <a:cubicBezTo>
                    <a:pt x="1356995" y="19684"/>
                    <a:pt x="1355725" y="18414"/>
                    <a:pt x="1355090" y="17779"/>
                  </a:cubicBezTo>
                  <a:cubicBezTo>
                    <a:pt x="1354455" y="17144"/>
                    <a:pt x="1353185" y="15874"/>
                    <a:pt x="1353185" y="14604"/>
                  </a:cubicBezTo>
                  <a:cubicBezTo>
                    <a:pt x="1353185" y="13334"/>
                    <a:pt x="1352550" y="12064"/>
                    <a:pt x="1352550" y="10794"/>
                  </a:cubicBezTo>
                  <a:cubicBezTo>
                    <a:pt x="1352550" y="9524"/>
                    <a:pt x="1352550" y="8254"/>
                    <a:pt x="1353185" y="6984"/>
                  </a:cubicBezTo>
                  <a:cubicBezTo>
                    <a:pt x="1353185" y="5714"/>
                    <a:pt x="1354455" y="4444"/>
                    <a:pt x="1355090" y="3809"/>
                  </a:cubicBezTo>
                  <a:cubicBezTo>
                    <a:pt x="1355725" y="3174"/>
                    <a:pt x="1356995" y="1904"/>
                    <a:pt x="1358265" y="1904"/>
                  </a:cubicBezTo>
                  <a:cubicBezTo>
                    <a:pt x="1359535" y="1904"/>
                    <a:pt x="1360805" y="1269"/>
                    <a:pt x="1362075" y="1269"/>
                  </a:cubicBezTo>
                  <a:close/>
                  <a:moveTo>
                    <a:pt x="4789801" y="634"/>
                  </a:moveTo>
                  <a:lnTo>
                    <a:pt x="4789801" y="65404"/>
                  </a:lnTo>
                  <a:lnTo>
                    <a:pt x="4814566" y="31114"/>
                  </a:lnTo>
                  <a:lnTo>
                    <a:pt x="4831711" y="31114"/>
                  </a:lnTo>
                  <a:lnTo>
                    <a:pt x="4812026" y="57149"/>
                  </a:lnTo>
                  <a:lnTo>
                    <a:pt x="4835521" y="108584"/>
                  </a:lnTo>
                  <a:lnTo>
                    <a:pt x="4819011" y="108584"/>
                  </a:lnTo>
                  <a:lnTo>
                    <a:pt x="4801866" y="69849"/>
                  </a:lnTo>
                  <a:lnTo>
                    <a:pt x="4789801" y="85724"/>
                  </a:lnTo>
                  <a:lnTo>
                    <a:pt x="4789801" y="108584"/>
                  </a:lnTo>
                  <a:lnTo>
                    <a:pt x="4774561" y="108584"/>
                  </a:lnTo>
                  <a:lnTo>
                    <a:pt x="4774561" y="8889"/>
                  </a:lnTo>
                  <a:close/>
                  <a:moveTo>
                    <a:pt x="4472301" y="634"/>
                  </a:moveTo>
                  <a:lnTo>
                    <a:pt x="4472301" y="109219"/>
                  </a:lnTo>
                  <a:lnTo>
                    <a:pt x="4457061" y="109219"/>
                  </a:lnTo>
                  <a:lnTo>
                    <a:pt x="4457696" y="108584"/>
                  </a:lnTo>
                  <a:lnTo>
                    <a:pt x="4457696" y="100964"/>
                  </a:lnTo>
                  <a:cubicBezTo>
                    <a:pt x="4457696" y="100964"/>
                    <a:pt x="4454521" y="103504"/>
                    <a:pt x="4453251" y="104774"/>
                  </a:cubicBezTo>
                  <a:cubicBezTo>
                    <a:pt x="4451981" y="106044"/>
                    <a:pt x="4450076" y="106679"/>
                    <a:pt x="4448171" y="107949"/>
                  </a:cubicBezTo>
                  <a:cubicBezTo>
                    <a:pt x="4446266" y="108584"/>
                    <a:pt x="4444361" y="109219"/>
                    <a:pt x="4443091" y="109854"/>
                  </a:cubicBezTo>
                  <a:cubicBezTo>
                    <a:pt x="4441186" y="109854"/>
                    <a:pt x="4439281" y="109854"/>
                    <a:pt x="4437376" y="109854"/>
                  </a:cubicBezTo>
                  <a:cubicBezTo>
                    <a:pt x="4432931" y="109854"/>
                    <a:pt x="4429121" y="109219"/>
                    <a:pt x="4425946" y="107314"/>
                  </a:cubicBezTo>
                  <a:cubicBezTo>
                    <a:pt x="4422136" y="106044"/>
                    <a:pt x="4418961" y="103504"/>
                    <a:pt x="4416421" y="99694"/>
                  </a:cubicBezTo>
                  <a:cubicBezTo>
                    <a:pt x="4413881" y="96519"/>
                    <a:pt x="4411341" y="92074"/>
                    <a:pt x="4410071" y="86994"/>
                  </a:cubicBezTo>
                  <a:cubicBezTo>
                    <a:pt x="4408801" y="81914"/>
                    <a:pt x="4407531" y="75564"/>
                    <a:pt x="4407531" y="67944"/>
                  </a:cubicBezTo>
                  <a:cubicBezTo>
                    <a:pt x="4407531" y="61594"/>
                    <a:pt x="4408166" y="55244"/>
                    <a:pt x="4410071" y="50799"/>
                  </a:cubicBezTo>
                  <a:cubicBezTo>
                    <a:pt x="4411976" y="45719"/>
                    <a:pt x="4413881" y="41909"/>
                    <a:pt x="4417056" y="38734"/>
                  </a:cubicBezTo>
                  <a:cubicBezTo>
                    <a:pt x="4419596" y="35559"/>
                    <a:pt x="4423406" y="33019"/>
                    <a:pt x="4426581" y="31749"/>
                  </a:cubicBezTo>
                  <a:cubicBezTo>
                    <a:pt x="4430391" y="29844"/>
                    <a:pt x="4434201" y="29209"/>
                    <a:pt x="4438011" y="29209"/>
                  </a:cubicBezTo>
                  <a:cubicBezTo>
                    <a:pt x="4439916" y="29209"/>
                    <a:pt x="4441821" y="29209"/>
                    <a:pt x="4443726" y="29844"/>
                  </a:cubicBezTo>
                  <a:cubicBezTo>
                    <a:pt x="4445631" y="29844"/>
                    <a:pt x="4447536" y="31114"/>
                    <a:pt x="4448806" y="31749"/>
                  </a:cubicBezTo>
                  <a:cubicBezTo>
                    <a:pt x="4450711" y="32384"/>
                    <a:pt x="4451981" y="33654"/>
                    <a:pt x="4453251" y="34924"/>
                  </a:cubicBezTo>
                  <a:cubicBezTo>
                    <a:pt x="4454521" y="36194"/>
                    <a:pt x="4455791" y="36829"/>
                    <a:pt x="4457061" y="38099"/>
                  </a:cubicBezTo>
                  <a:lnTo>
                    <a:pt x="4457061" y="8254"/>
                  </a:lnTo>
                  <a:close/>
                  <a:moveTo>
                    <a:pt x="4390385" y="634"/>
                  </a:moveTo>
                  <a:lnTo>
                    <a:pt x="4390385" y="108584"/>
                  </a:lnTo>
                  <a:lnTo>
                    <a:pt x="4375145" y="108584"/>
                  </a:lnTo>
                  <a:lnTo>
                    <a:pt x="4375145" y="8889"/>
                  </a:lnTo>
                  <a:close/>
                  <a:moveTo>
                    <a:pt x="3946521" y="634"/>
                  </a:moveTo>
                  <a:lnTo>
                    <a:pt x="3946521" y="38099"/>
                  </a:lnTo>
                  <a:cubicBezTo>
                    <a:pt x="3946521" y="38099"/>
                    <a:pt x="3948426" y="35559"/>
                    <a:pt x="3950331" y="34289"/>
                  </a:cubicBezTo>
                  <a:cubicBezTo>
                    <a:pt x="3951601" y="33019"/>
                    <a:pt x="3953506" y="32384"/>
                    <a:pt x="3954776" y="31114"/>
                  </a:cubicBezTo>
                  <a:cubicBezTo>
                    <a:pt x="3956681" y="30479"/>
                    <a:pt x="3958586" y="29844"/>
                    <a:pt x="3960491" y="29209"/>
                  </a:cubicBezTo>
                  <a:cubicBezTo>
                    <a:pt x="3962396" y="29209"/>
                    <a:pt x="3964301" y="29209"/>
                    <a:pt x="3966206" y="29209"/>
                  </a:cubicBezTo>
                  <a:cubicBezTo>
                    <a:pt x="3970651" y="29209"/>
                    <a:pt x="3975096" y="29844"/>
                    <a:pt x="3978271" y="31749"/>
                  </a:cubicBezTo>
                  <a:cubicBezTo>
                    <a:pt x="3981446" y="33019"/>
                    <a:pt x="3984621" y="35559"/>
                    <a:pt x="3987161" y="38099"/>
                  </a:cubicBezTo>
                  <a:cubicBezTo>
                    <a:pt x="3989701" y="41274"/>
                    <a:pt x="3990971" y="44449"/>
                    <a:pt x="3992241" y="49529"/>
                  </a:cubicBezTo>
                  <a:cubicBezTo>
                    <a:pt x="3993511" y="53974"/>
                    <a:pt x="3994146" y="59054"/>
                    <a:pt x="3994146" y="64134"/>
                  </a:cubicBezTo>
                  <a:lnTo>
                    <a:pt x="3994146" y="108584"/>
                  </a:lnTo>
                  <a:lnTo>
                    <a:pt x="3978906" y="108584"/>
                  </a:lnTo>
                  <a:lnTo>
                    <a:pt x="3978271" y="108584"/>
                  </a:lnTo>
                  <a:lnTo>
                    <a:pt x="3978271" y="64769"/>
                  </a:lnTo>
                  <a:cubicBezTo>
                    <a:pt x="3978271" y="57784"/>
                    <a:pt x="3977001" y="52069"/>
                    <a:pt x="3974461" y="48894"/>
                  </a:cubicBezTo>
                  <a:cubicBezTo>
                    <a:pt x="3971921" y="45084"/>
                    <a:pt x="3968111" y="43814"/>
                    <a:pt x="3962396" y="43814"/>
                  </a:cubicBezTo>
                  <a:cubicBezTo>
                    <a:pt x="3959856" y="43814"/>
                    <a:pt x="3957951" y="43814"/>
                    <a:pt x="3956046" y="45084"/>
                  </a:cubicBezTo>
                  <a:cubicBezTo>
                    <a:pt x="3954141" y="45719"/>
                    <a:pt x="3952236" y="46989"/>
                    <a:pt x="3950966" y="48894"/>
                  </a:cubicBezTo>
                  <a:cubicBezTo>
                    <a:pt x="3949696" y="50799"/>
                    <a:pt x="3948426" y="52704"/>
                    <a:pt x="3947791" y="55244"/>
                  </a:cubicBezTo>
                  <a:cubicBezTo>
                    <a:pt x="3947156" y="57784"/>
                    <a:pt x="3946521" y="60324"/>
                    <a:pt x="3946521" y="63499"/>
                  </a:cubicBezTo>
                  <a:lnTo>
                    <a:pt x="3946521" y="109219"/>
                  </a:lnTo>
                  <a:lnTo>
                    <a:pt x="3931281" y="109219"/>
                  </a:lnTo>
                  <a:lnTo>
                    <a:pt x="3931281" y="8889"/>
                  </a:lnTo>
                  <a:close/>
                  <a:moveTo>
                    <a:pt x="3248021" y="634"/>
                  </a:moveTo>
                  <a:lnTo>
                    <a:pt x="3248021" y="38099"/>
                  </a:lnTo>
                  <a:cubicBezTo>
                    <a:pt x="3248021" y="38099"/>
                    <a:pt x="3249926" y="35559"/>
                    <a:pt x="3251831" y="34289"/>
                  </a:cubicBezTo>
                  <a:cubicBezTo>
                    <a:pt x="3253101" y="33019"/>
                    <a:pt x="3255006" y="32384"/>
                    <a:pt x="3256276" y="31114"/>
                  </a:cubicBezTo>
                  <a:cubicBezTo>
                    <a:pt x="3258181" y="30479"/>
                    <a:pt x="3260086" y="29844"/>
                    <a:pt x="3261991" y="29209"/>
                  </a:cubicBezTo>
                  <a:cubicBezTo>
                    <a:pt x="3263896" y="29209"/>
                    <a:pt x="3265801" y="29209"/>
                    <a:pt x="3267706" y="29209"/>
                  </a:cubicBezTo>
                  <a:cubicBezTo>
                    <a:pt x="3272151" y="29209"/>
                    <a:pt x="3276596" y="29844"/>
                    <a:pt x="3279771" y="31749"/>
                  </a:cubicBezTo>
                  <a:cubicBezTo>
                    <a:pt x="3282946" y="33019"/>
                    <a:pt x="3286121" y="35559"/>
                    <a:pt x="3288661" y="38099"/>
                  </a:cubicBezTo>
                  <a:cubicBezTo>
                    <a:pt x="3291201" y="41274"/>
                    <a:pt x="3292471" y="44449"/>
                    <a:pt x="3293741" y="49529"/>
                  </a:cubicBezTo>
                  <a:cubicBezTo>
                    <a:pt x="3295011" y="53974"/>
                    <a:pt x="3295646" y="59054"/>
                    <a:pt x="3295646" y="64134"/>
                  </a:cubicBezTo>
                  <a:lnTo>
                    <a:pt x="3295646" y="108584"/>
                  </a:lnTo>
                  <a:lnTo>
                    <a:pt x="3280406" y="108584"/>
                  </a:lnTo>
                  <a:lnTo>
                    <a:pt x="3279771" y="108584"/>
                  </a:lnTo>
                  <a:lnTo>
                    <a:pt x="3279771" y="64769"/>
                  </a:lnTo>
                  <a:cubicBezTo>
                    <a:pt x="3279771" y="57784"/>
                    <a:pt x="3278501" y="52069"/>
                    <a:pt x="3275961" y="48894"/>
                  </a:cubicBezTo>
                  <a:cubicBezTo>
                    <a:pt x="3273421" y="45084"/>
                    <a:pt x="3269611" y="43814"/>
                    <a:pt x="3263896" y="43814"/>
                  </a:cubicBezTo>
                  <a:cubicBezTo>
                    <a:pt x="3261356" y="43814"/>
                    <a:pt x="3259451" y="43814"/>
                    <a:pt x="3257546" y="45084"/>
                  </a:cubicBezTo>
                  <a:cubicBezTo>
                    <a:pt x="3255641" y="45719"/>
                    <a:pt x="3253736" y="46989"/>
                    <a:pt x="3252466" y="48894"/>
                  </a:cubicBezTo>
                  <a:cubicBezTo>
                    <a:pt x="3251196" y="50799"/>
                    <a:pt x="3249926" y="52704"/>
                    <a:pt x="3249291" y="55244"/>
                  </a:cubicBezTo>
                  <a:cubicBezTo>
                    <a:pt x="3248656" y="57784"/>
                    <a:pt x="3248021" y="60324"/>
                    <a:pt x="3248021" y="63499"/>
                  </a:cubicBezTo>
                  <a:lnTo>
                    <a:pt x="3248021" y="109219"/>
                  </a:lnTo>
                  <a:lnTo>
                    <a:pt x="3232781" y="109219"/>
                  </a:lnTo>
                  <a:lnTo>
                    <a:pt x="3232781" y="8889"/>
                  </a:lnTo>
                  <a:close/>
                  <a:moveTo>
                    <a:pt x="2432681" y="634"/>
                  </a:moveTo>
                  <a:lnTo>
                    <a:pt x="2432681" y="38099"/>
                  </a:lnTo>
                  <a:cubicBezTo>
                    <a:pt x="2432681" y="38099"/>
                    <a:pt x="2434586" y="35559"/>
                    <a:pt x="2436491" y="34289"/>
                  </a:cubicBezTo>
                  <a:cubicBezTo>
                    <a:pt x="2437761" y="33019"/>
                    <a:pt x="2439666" y="32384"/>
                    <a:pt x="2440936" y="31114"/>
                  </a:cubicBezTo>
                  <a:cubicBezTo>
                    <a:pt x="2442841" y="30479"/>
                    <a:pt x="2444746" y="29844"/>
                    <a:pt x="2446651" y="29209"/>
                  </a:cubicBezTo>
                  <a:cubicBezTo>
                    <a:pt x="2448556" y="29209"/>
                    <a:pt x="2450461" y="29209"/>
                    <a:pt x="2452366" y="29209"/>
                  </a:cubicBezTo>
                  <a:cubicBezTo>
                    <a:pt x="2456811" y="29209"/>
                    <a:pt x="2461256" y="29844"/>
                    <a:pt x="2464431" y="31749"/>
                  </a:cubicBezTo>
                  <a:cubicBezTo>
                    <a:pt x="2467606" y="33019"/>
                    <a:pt x="2470781" y="35559"/>
                    <a:pt x="2473321" y="38099"/>
                  </a:cubicBezTo>
                  <a:cubicBezTo>
                    <a:pt x="2475861" y="41274"/>
                    <a:pt x="2477131" y="44449"/>
                    <a:pt x="2478401" y="49529"/>
                  </a:cubicBezTo>
                  <a:cubicBezTo>
                    <a:pt x="2479671" y="53974"/>
                    <a:pt x="2480306" y="59054"/>
                    <a:pt x="2480306" y="64134"/>
                  </a:cubicBezTo>
                  <a:lnTo>
                    <a:pt x="2480306" y="108584"/>
                  </a:lnTo>
                  <a:lnTo>
                    <a:pt x="2465066" y="108584"/>
                  </a:lnTo>
                  <a:lnTo>
                    <a:pt x="2464431" y="108584"/>
                  </a:lnTo>
                  <a:lnTo>
                    <a:pt x="2464431" y="64769"/>
                  </a:lnTo>
                  <a:cubicBezTo>
                    <a:pt x="2464431" y="57784"/>
                    <a:pt x="2463161" y="52069"/>
                    <a:pt x="2460621" y="48894"/>
                  </a:cubicBezTo>
                  <a:cubicBezTo>
                    <a:pt x="2458081" y="45084"/>
                    <a:pt x="2454271" y="43814"/>
                    <a:pt x="2448556" y="43814"/>
                  </a:cubicBezTo>
                  <a:cubicBezTo>
                    <a:pt x="2446016" y="43814"/>
                    <a:pt x="2444111" y="43814"/>
                    <a:pt x="2442206" y="45084"/>
                  </a:cubicBezTo>
                  <a:cubicBezTo>
                    <a:pt x="2440301" y="45719"/>
                    <a:pt x="2438396" y="46989"/>
                    <a:pt x="2437126" y="48894"/>
                  </a:cubicBezTo>
                  <a:cubicBezTo>
                    <a:pt x="2435856" y="50799"/>
                    <a:pt x="2434586" y="52704"/>
                    <a:pt x="2433951" y="55244"/>
                  </a:cubicBezTo>
                  <a:cubicBezTo>
                    <a:pt x="2433316" y="57784"/>
                    <a:pt x="2432681" y="60324"/>
                    <a:pt x="2432681" y="63499"/>
                  </a:cubicBezTo>
                  <a:lnTo>
                    <a:pt x="2432681" y="109219"/>
                  </a:lnTo>
                  <a:lnTo>
                    <a:pt x="2417441" y="109219"/>
                  </a:lnTo>
                  <a:lnTo>
                    <a:pt x="2417441" y="8889"/>
                  </a:lnTo>
                  <a:close/>
                  <a:moveTo>
                    <a:pt x="1734181" y="634"/>
                  </a:moveTo>
                  <a:lnTo>
                    <a:pt x="1734181" y="38099"/>
                  </a:lnTo>
                  <a:cubicBezTo>
                    <a:pt x="1734181" y="38099"/>
                    <a:pt x="1736086" y="35559"/>
                    <a:pt x="1737991" y="34289"/>
                  </a:cubicBezTo>
                  <a:cubicBezTo>
                    <a:pt x="1739261" y="33019"/>
                    <a:pt x="1741166" y="32384"/>
                    <a:pt x="1742436" y="31114"/>
                  </a:cubicBezTo>
                  <a:cubicBezTo>
                    <a:pt x="1744341" y="30479"/>
                    <a:pt x="1746246" y="29844"/>
                    <a:pt x="1748151" y="29209"/>
                  </a:cubicBezTo>
                  <a:cubicBezTo>
                    <a:pt x="1750056" y="29209"/>
                    <a:pt x="1751961" y="29209"/>
                    <a:pt x="1753866" y="29209"/>
                  </a:cubicBezTo>
                  <a:cubicBezTo>
                    <a:pt x="1758311" y="29209"/>
                    <a:pt x="1762756" y="29844"/>
                    <a:pt x="1765931" y="31749"/>
                  </a:cubicBezTo>
                  <a:cubicBezTo>
                    <a:pt x="1769106" y="33019"/>
                    <a:pt x="1772281" y="35559"/>
                    <a:pt x="1774821" y="38099"/>
                  </a:cubicBezTo>
                  <a:cubicBezTo>
                    <a:pt x="1777361" y="41274"/>
                    <a:pt x="1778631" y="44449"/>
                    <a:pt x="1779901" y="49529"/>
                  </a:cubicBezTo>
                  <a:cubicBezTo>
                    <a:pt x="1781171" y="53974"/>
                    <a:pt x="1781806" y="59054"/>
                    <a:pt x="1781806" y="64134"/>
                  </a:cubicBezTo>
                  <a:lnTo>
                    <a:pt x="1781806" y="108584"/>
                  </a:lnTo>
                  <a:lnTo>
                    <a:pt x="1766566" y="108584"/>
                  </a:lnTo>
                  <a:lnTo>
                    <a:pt x="1765931" y="108584"/>
                  </a:lnTo>
                  <a:lnTo>
                    <a:pt x="1765931" y="64769"/>
                  </a:lnTo>
                  <a:cubicBezTo>
                    <a:pt x="1765931" y="57784"/>
                    <a:pt x="1764661" y="52069"/>
                    <a:pt x="1762121" y="48894"/>
                  </a:cubicBezTo>
                  <a:cubicBezTo>
                    <a:pt x="1759581" y="45084"/>
                    <a:pt x="1755771" y="43814"/>
                    <a:pt x="1750056" y="43814"/>
                  </a:cubicBezTo>
                  <a:cubicBezTo>
                    <a:pt x="1747516" y="43814"/>
                    <a:pt x="1745611" y="43814"/>
                    <a:pt x="1743706" y="45084"/>
                  </a:cubicBezTo>
                  <a:cubicBezTo>
                    <a:pt x="1741801" y="45719"/>
                    <a:pt x="1739896" y="46989"/>
                    <a:pt x="1738626" y="48894"/>
                  </a:cubicBezTo>
                  <a:cubicBezTo>
                    <a:pt x="1737356" y="50799"/>
                    <a:pt x="1736086" y="52704"/>
                    <a:pt x="1735451" y="55244"/>
                  </a:cubicBezTo>
                  <a:cubicBezTo>
                    <a:pt x="1734816" y="57784"/>
                    <a:pt x="1734181" y="60324"/>
                    <a:pt x="1734181" y="63499"/>
                  </a:cubicBezTo>
                  <a:lnTo>
                    <a:pt x="1734181" y="109219"/>
                  </a:lnTo>
                  <a:lnTo>
                    <a:pt x="1718941" y="109219"/>
                  </a:lnTo>
                  <a:lnTo>
                    <a:pt x="1718941" y="8889"/>
                  </a:lnTo>
                  <a:close/>
                  <a:moveTo>
                    <a:pt x="803275" y="634"/>
                  </a:moveTo>
                  <a:lnTo>
                    <a:pt x="803275" y="38099"/>
                  </a:lnTo>
                  <a:cubicBezTo>
                    <a:pt x="803275" y="38099"/>
                    <a:pt x="805180" y="35559"/>
                    <a:pt x="807085" y="34289"/>
                  </a:cubicBezTo>
                  <a:cubicBezTo>
                    <a:pt x="808355" y="33019"/>
                    <a:pt x="810260" y="32384"/>
                    <a:pt x="811530" y="31114"/>
                  </a:cubicBezTo>
                  <a:cubicBezTo>
                    <a:pt x="813435" y="30479"/>
                    <a:pt x="815340" y="29844"/>
                    <a:pt x="817245" y="29209"/>
                  </a:cubicBezTo>
                  <a:cubicBezTo>
                    <a:pt x="819150" y="29209"/>
                    <a:pt x="821055" y="29209"/>
                    <a:pt x="822960" y="29209"/>
                  </a:cubicBezTo>
                  <a:cubicBezTo>
                    <a:pt x="827405" y="29209"/>
                    <a:pt x="831850" y="29844"/>
                    <a:pt x="835025" y="31749"/>
                  </a:cubicBezTo>
                  <a:cubicBezTo>
                    <a:pt x="838200" y="33019"/>
                    <a:pt x="841375" y="35559"/>
                    <a:pt x="843915" y="38099"/>
                  </a:cubicBezTo>
                  <a:cubicBezTo>
                    <a:pt x="846455" y="41274"/>
                    <a:pt x="847725" y="44449"/>
                    <a:pt x="848995" y="49529"/>
                  </a:cubicBezTo>
                  <a:cubicBezTo>
                    <a:pt x="850265" y="53974"/>
                    <a:pt x="850900" y="59054"/>
                    <a:pt x="850900" y="64134"/>
                  </a:cubicBezTo>
                  <a:lnTo>
                    <a:pt x="850900" y="108584"/>
                  </a:lnTo>
                  <a:lnTo>
                    <a:pt x="835660" y="108584"/>
                  </a:lnTo>
                  <a:lnTo>
                    <a:pt x="835025" y="108584"/>
                  </a:lnTo>
                  <a:lnTo>
                    <a:pt x="835025" y="64769"/>
                  </a:lnTo>
                  <a:cubicBezTo>
                    <a:pt x="835025" y="57784"/>
                    <a:pt x="833755" y="52069"/>
                    <a:pt x="831215" y="48894"/>
                  </a:cubicBezTo>
                  <a:cubicBezTo>
                    <a:pt x="828675" y="45084"/>
                    <a:pt x="824865" y="43814"/>
                    <a:pt x="819150" y="43814"/>
                  </a:cubicBezTo>
                  <a:cubicBezTo>
                    <a:pt x="816610" y="43814"/>
                    <a:pt x="814705" y="43814"/>
                    <a:pt x="812800" y="45084"/>
                  </a:cubicBezTo>
                  <a:cubicBezTo>
                    <a:pt x="810895" y="45719"/>
                    <a:pt x="808990" y="46989"/>
                    <a:pt x="807720" y="48894"/>
                  </a:cubicBezTo>
                  <a:cubicBezTo>
                    <a:pt x="806450" y="50799"/>
                    <a:pt x="805180" y="52704"/>
                    <a:pt x="804545" y="55244"/>
                  </a:cubicBezTo>
                  <a:cubicBezTo>
                    <a:pt x="803910" y="57784"/>
                    <a:pt x="803275" y="60324"/>
                    <a:pt x="803275" y="63499"/>
                  </a:cubicBezTo>
                  <a:lnTo>
                    <a:pt x="803275" y="109219"/>
                  </a:lnTo>
                  <a:lnTo>
                    <a:pt x="788035" y="109219"/>
                  </a:lnTo>
                  <a:lnTo>
                    <a:pt x="788035" y="8889"/>
                  </a:lnTo>
                  <a:close/>
                  <a:moveTo>
                    <a:pt x="104774" y="634"/>
                  </a:moveTo>
                  <a:lnTo>
                    <a:pt x="104774" y="38099"/>
                  </a:lnTo>
                  <a:cubicBezTo>
                    <a:pt x="104774" y="38099"/>
                    <a:pt x="106679" y="35559"/>
                    <a:pt x="108584" y="34289"/>
                  </a:cubicBezTo>
                  <a:cubicBezTo>
                    <a:pt x="109854" y="33019"/>
                    <a:pt x="111759" y="32384"/>
                    <a:pt x="113029" y="31114"/>
                  </a:cubicBezTo>
                  <a:cubicBezTo>
                    <a:pt x="114934" y="30479"/>
                    <a:pt x="116839" y="29844"/>
                    <a:pt x="118744" y="29209"/>
                  </a:cubicBezTo>
                  <a:cubicBezTo>
                    <a:pt x="120649" y="29209"/>
                    <a:pt x="122554" y="29209"/>
                    <a:pt x="124459" y="29209"/>
                  </a:cubicBezTo>
                  <a:cubicBezTo>
                    <a:pt x="128904" y="29209"/>
                    <a:pt x="133349" y="29844"/>
                    <a:pt x="136524" y="31749"/>
                  </a:cubicBezTo>
                  <a:cubicBezTo>
                    <a:pt x="139699" y="33019"/>
                    <a:pt x="142874" y="35559"/>
                    <a:pt x="145414" y="38099"/>
                  </a:cubicBezTo>
                  <a:cubicBezTo>
                    <a:pt x="147954" y="41274"/>
                    <a:pt x="149224" y="44449"/>
                    <a:pt x="150494" y="49529"/>
                  </a:cubicBezTo>
                  <a:cubicBezTo>
                    <a:pt x="151764" y="53974"/>
                    <a:pt x="152399" y="59054"/>
                    <a:pt x="152399" y="64134"/>
                  </a:cubicBezTo>
                  <a:lnTo>
                    <a:pt x="152399" y="108584"/>
                  </a:lnTo>
                  <a:lnTo>
                    <a:pt x="137159" y="108584"/>
                  </a:lnTo>
                  <a:lnTo>
                    <a:pt x="136524" y="108584"/>
                  </a:lnTo>
                  <a:lnTo>
                    <a:pt x="136524" y="64769"/>
                  </a:lnTo>
                  <a:cubicBezTo>
                    <a:pt x="136524" y="57784"/>
                    <a:pt x="135254" y="52069"/>
                    <a:pt x="132714" y="48894"/>
                  </a:cubicBezTo>
                  <a:cubicBezTo>
                    <a:pt x="130174" y="45084"/>
                    <a:pt x="126364" y="43814"/>
                    <a:pt x="120649" y="43814"/>
                  </a:cubicBezTo>
                  <a:cubicBezTo>
                    <a:pt x="118109" y="43814"/>
                    <a:pt x="116204" y="43814"/>
                    <a:pt x="114299" y="45084"/>
                  </a:cubicBezTo>
                  <a:cubicBezTo>
                    <a:pt x="112394" y="45719"/>
                    <a:pt x="110489" y="46989"/>
                    <a:pt x="109219" y="48894"/>
                  </a:cubicBezTo>
                  <a:cubicBezTo>
                    <a:pt x="107949" y="50799"/>
                    <a:pt x="106679" y="52704"/>
                    <a:pt x="106044" y="55244"/>
                  </a:cubicBezTo>
                  <a:cubicBezTo>
                    <a:pt x="105409" y="57784"/>
                    <a:pt x="104774" y="60324"/>
                    <a:pt x="104774" y="63499"/>
                  </a:cubicBezTo>
                  <a:lnTo>
                    <a:pt x="104774" y="109219"/>
                  </a:lnTo>
                  <a:lnTo>
                    <a:pt x="89534" y="109219"/>
                  </a:lnTo>
                  <a:lnTo>
                    <a:pt x="89534" y="8889"/>
                  </a:lnTo>
                  <a:close/>
                  <a:moveTo>
                    <a:pt x="3894450" y="0"/>
                  </a:moveTo>
                  <a:lnTo>
                    <a:pt x="3894450" y="30480"/>
                  </a:lnTo>
                  <a:lnTo>
                    <a:pt x="3913500" y="30480"/>
                  </a:lnTo>
                  <a:lnTo>
                    <a:pt x="3913500" y="44450"/>
                  </a:lnTo>
                  <a:lnTo>
                    <a:pt x="3894450" y="44450"/>
                  </a:lnTo>
                  <a:lnTo>
                    <a:pt x="3894450" y="86995"/>
                  </a:lnTo>
                  <a:cubicBezTo>
                    <a:pt x="3894450" y="86995"/>
                    <a:pt x="3894450" y="90170"/>
                    <a:pt x="3894450" y="91440"/>
                  </a:cubicBezTo>
                  <a:cubicBezTo>
                    <a:pt x="3894450" y="92710"/>
                    <a:pt x="3895085" y="93345"/>
                    <a:pt x="3895720" y="94615"/>
                  </a:cubicBezTo>
                  <a:cubicBezTo>
                    <a:pt x="3896355" y="95250"/>
                    <a:pt x="3896990" y="95885"/>
                    <a:pt x="3898260" y="95885"/>
                  </a:cubicBezTo>
                  <a:cubicBezTo>
                    <a:pt x="3899530" y="95885"/>
                    <a:pt x="3900800" y="95885"/>
                    <a:pt x="3902070" y="95885"/>
                  </a:cubicBezTo>
                  <a:cubicBezTo>
                    <a:pt x="3903975" y="95885"/>
                    <a:pt x="3905880" y="95885"/>
                    <a:pt x="3908420" y="95250"/>
                  </a:cubicBezTo>
                  <a:cubicBezTo>
                    <a:pt x="3910325" y="94615"/>
                    <a:pt x="3912230" y="93980"/>
                    <a:pt x="3913500" y="93345"/>
                  </a:cubicBezTo>
                  <a:lnTo>
                    <a:pt x="3911595" y="106680"/>
                  </a:lnTo>
                  <a:cubicBezTo>
                    <a:pt x="3911595" y="106680"/>
                    <a:pt x="3907785" y="108585"/>
                    <a:pt x="3905245" y="109220"/>
                  </a:cubicBezTo>
                  <a:cubicBezTo>
                    <a:pt x="3902705" y="109855"/>
                    <a:pt x="3900165" y="110490"/>
                    <a:pt x="3896990" y="110490"/>
                  </a:cubicBezTo>
                  <a:cubicBezTo>
                    <a:pt x="3894450" y="110490"/>
                    <a:pt x="3891910" y="110490"/>
                    <a:pt x="3890005" y="109220"/>
                  </a:cubicBezTo>
                  <a:cubicBezTo>
                    <a:pt x="3888100" y="108585"/>
                    <a:pt x="3886195" y="107315"/>
                    <a:pt x="3884290" y="105410"/>
                  </a:cubicBezTo>
                  <a:cubicBezTo>
                    <a:pt x="3882385" y="103505"/>
                    <a:pt x="3881115" y="101600"/>
                    <a:pt x="3880480" y="99060"/>
                  </a:cubicBezTo>
                  <a:cubicBezTo>
                    <a:pt x="3879845" y="96520"/>
                    <a:pt x="3879210" y="93345"/>
                    <a:pt x="3879210" y="89535"/>
                  </a:cubicBezTo>
                  <a:lnTo>
                    <a:pt x="3879210" y="44450"/>
                  </a:lnTo>
                  <a:lnTo>
                    <a:pt x="3868415" y="44450"/>
                  </a:lnTo>
                  <a:lnTo>
                    <a:pt x="3868415" y="30480"/>
                  </a:lnTo>
                  <a:lnTo>
                    <a:pt x="3879210" y="30480"/>
                  </a:lnTo>
                  <a:lnTo>
                    <a:pt x="3879210" y="8255"/>
                  </a:lnTo>
                  <a:close/>
                  <a:moveTo>
                    <a:pt x="3664581" y="0"/>
                  </a:moveTo>
                  <a:lnTo>
                    <a:pt x="3664581" y="30480"/>
                  </a:lnTo>
                  <a:lnTo>
                    <a:pt x="3683631" y="30480"/>
                  </a:lnTo>
                  <a:lnTo>
                    <a:pt x="3683631" y="44450"/>
                  </a:lnTo>
                  <a:lnTo>
                    <a:pt x="3664581" y="44450"/>
                  </a:lnTo>
                  <a:lnTo>
                    <a:pt x="3664581" y="86995"/>
                  </a:lnTo>
                  <a:cubicBezTo>
                    <a:pt x="3664581" y="86995"/>
                    <a:pt x="3664581" y="90170"/>
                    <a:pt x="3664581" y="91440"/>
                  </a:cubicBezTo>
                  <a:cubicBezTo>
                    <a:pt x="3664581" y="92710"/>
                    <a:pt x="3665216" y="93345"/>
                    <a:pt x="3665851" y="94615"/>
                  </a:cubicBezTo>
                  <a:cubicBezTo>
                    <a:pt x="3666486" y="95250"/>
                    <a:pt x="3667121" y="95885"/>
                    <a:pt x="3668391" y="95885"/>
                  </a:cubicBezTo>
                  <a:cubicBezTo>
                    <a:pt x="3669661" y="95885"/>
                    <a:pt x="3670931" y="95885"/>
                    <a:pt x="3672201" y="95885"/>
                  </a:cubicBezTo>
                  <a:cubicBezTo>
                    <a:pt x="3674106" y="95885"/>
                    <a:pt x="3676011" y="95885"/>
                    <a:pt x="3678551" y="95250"/>
                  </a:cubicBezTo>
                  <a:cubicBezTo>
                    <a:pt x="3680456" y="94615"/>
                    <a:pt x="3682361" y="93980"/>
                    <a:pt x="3683631" y="93345"/>
                  </a:cubicBezTo>
                  <a:lnTo>
                    <a:pt x="3681726" y="106680"/>
                  </a:lnTo>
                  <a:cubicBezTo>
                    <a:pt x="3681726" y="106680"/>
                    <a:pt x="3677916" y="108585"/>
                    <a:pt x="3675376" y="109220"/>
                  </a:cubicBezTo>
                  <a:cubicBezTo>
                    <a:pt x="3672836" y="109855"/>
                    <a:pt x="3670296" y="110490"/>
                    <a:pt x="3667121" y="110490"/>
                  </a:cubicBezTo>
                  <a:cubicBezTo>
                    <a:pt x="3664581" y="110490"/>
                    <a:pt x="3662041" y="110490"/>
                    <a:pt x="3660136" y="109220"/>
                  </a:cubicBezTo>
                  <a:cubicBezTo>
                    <a:pt x="3658231" y="108585"/>
                    <a:pt x="3656326" y="107315"/>
                    <a:pt x="3654421" y="105410"/>
                  </a:cubicBezTo>
                  <a:cubicBezTo>
                    <a:pt x="3652516" y="103505"/>
                    <a:pt x="3651246" y="101600"/>
                    <a:pt x="3650611" y="99060"/>
                  </a:cubicBezTo>
                  <a:cubicBezTo>
                    <a:pt x="3649976" y="96520"/>
                    <a:pt x="3649341" y="93345"/>
                    <a:pt x="3649341" y="89535"/>
                  </a:cubicBezTo>
                  <a:lnTo>
                    <a:pt x="3649341" y="44450"/>
                  </a:lnTo>
                  <a:lnTo>
                    <a:pt x="3638546" y="44450"/>
                  </a:lnTo>
                  <a:lnTo>
                    <a:pt x="3638546" y="30480"/>
                  </a:lnTo>
                  <a:lnTo>
                    <a:pt x="3649341" y="30480"/>
                  </a:lnTo>
                  <a:lnTo>
                    <a:pt x="3649341" y="8255"/>
                  </a:lnTo>
                  <a:close/>
                  <a:moveTo>
                    <a:pt x="3610605" y="0"/>
                  </a:moveTo>
                  <a:lnTo>
                    <a:pt x="3610605" y="30480"/>
                  </a:lnTo>
                  <a:lnTo>
                    <a:pt x="3629655" y="30480"/>
                  </a:lnTo>
                  <a:lnTo>
                    <a:pt x="3629655" y="44450"/>
                  </a:lnTo>
                  <a:lnTo>
                    <a:pt x="3610605" y="44450"/>
                  </a:lnTo>
                  <a:lnTo>
                    <a:pt x="3610605" y="86995"/>
                  </a:lnTo>
                  <a:cubicBezTo>
                    <a:pt x="3610605" y="86995"/>
                    <a:pt x="3610605" y="90170"/>
                    <a:pt x="3610605" y="91440"/>
                  </a:cubicBezTo>
                  <a:cubicBezTo>
                    <a:pt x="3610605" y="92710"/>
                    <a:pt x="3611240" y="93345"/>
                    <a:pt x="3611875" y="94615"/>
                  </a:cubicBezTo>
                  <a:cubicBezTo>
                    <a:pt x="3612510" y="95250"/>
                    <a:pt x="3613145" y="95885"/>
                    <a:pt x="3614415" y="95885"/>
                  </a:cubicBezTo>
                  <a:cubicBezTo>
                    <a:pt x="3615685" y="95885"/>
                    <a:pt x="3616955" y="95885"/>
                    <a:pt x="3618225" y="95885"/>
                  </a:cubicBezTo>
                  <a:cubicBezTo>
                    <a:pt x="3620130" y="95885"/>
                    <a:pt x="3622035" y="95885"/>
                    <a:pt x="3624575" y="95250"/>
                  </a:cubicBezTo>
                  <a:cubicBezTo>
                    <a:pt x="3626480" y="94615"/>
                    <a:pt x="3628385" y="93980"/>
                    <a:pt x="3629655" y="93345"/>
                  </a:cubicBezTo>
                  <a:lnTo>
                    <a:pt x="3627750" y="106680"/>
                  </a:lnTo>
                  <a:cubicBezTo>
                    <a:pt x="3627750" y="106680"/>
                    <a:pt x="3623940" y="108585"/>
                    <a:pt x="3621400" y="109220"/>
                  </a:cubicBezTo>
                  <a:cubicBezTo>
                    <a:pt x="3618860" y="109855"/>
                    <a:pt x="3616320" y="110490"/>
                    <a:pt x="3613145" y="110490"/>
                  </a:cubicBezTo>
                  <a:cubicBezTo>
                    <a:pt x="3610605" y="110490"/>
                    <a:pt x="3608065" y="110490"/>
                    <a:pt x="3606160" y="109220"/>
                  </a:cubicBezTo>
                  <a:cubicBezTo>
                    <a:pt x="3604255" y="108585"/>
                    <a:pt x="3602350" y="107315"/>
                    <a:pt x="3600445" y="105410"/>
                  </a:cubicBezTo>
                  <a:cubicBezTo>
                    <a:pt x="3598540" y="103505"/>
                    <a:pt x="3597270" y="101600"/>
                    <a:pt x="3596635" y="99060"/>
                  </a:cubicBezTo>
                  <a:cubicBezTo>
                    <a:pt x="3596000" y="96520"/>
                    <a:pt x="3595365" y="93345"/>
                    <a:pt x="3595365" y="89535"/>
                  </a:cubicBezTo>
                  <a:lnTo>
                    <a:pt x="3595365" y="44450"/>
                  </a:lnTo>
                  <a:lnTo>
                    <a:pt x="3584570" y="44450"/>
                  </a:lnTo>
                  <a:lnTo>
                    <a:pt x="3584570" y="30480"/>
                  </a:lnTo>
                  <a:lnTo>
                    <a:pt x="3595365" y="30480"/>
                  </a:lnTo>
                  <a:lnTo>
                    <a:pt x="3595365" y="8255"/>
                  </a:lnTo>
                  <a:close/>
                  <a:moveTo>
                    <a:pt x="3445505" y="0"/>
                  </a:moveTo>
                  <a:lnTo>
                    <a:pt x="3445505" y="37465"/>
                  </a:lnTo>
                  <a:cubicBezTo>
                    <a:pt x="3445505" y="37465"/>
                    <a:pt x="3448680" y="34925"/>
                    <a:pt x="3449950" y="33655"/>
                  </a:cubicBezTo>
                  <a:cubicBezTo>
                    <a:pt x="3451220" y="33020"/>
                    <a:pt x="3452490" y="31750"/>
                    <a:pt x="3453760" y="31115"/>
                  </a:cubicBezTo>
                  <a:cubicBezTo>
                    <a:pt x="3455030" y="30480"/>
                    <a:pt x="3456935" y="29845"/>
                    <a:pt x="3458840" y="29210"/>
                  </a:cubicBezTo>
                  <a:cubicBezTo>
                    <a:pt x="3460745" y="29210"/>
                    <a:pt x="3463285" y="28575"/>
                    <a:pt x="3465825" y="28575"/>
                  </a:cubicBezTo>
                  <a:cubicBezTo>
                    <a:pt x="3470270" y="28575"/>
                    <a:pt x="3474080" y="29210"/>
                    <a:pt x="3477890" y="31115"/>
                  </a:cubicBezTo>
                  <a:cubicBezTo>
                    <a:pt x="3481700" y="32385"/>
                    <a:pt x="3484875" y="34925"/>
                    <a:pt x="3487415" y="38735"/>
                  </a:cubicBezTo>
                  <a:cubicBezTo>
                    <a:pt x="3489955" y="41910"/>
                    <a:pt x="3492495" y="46355"/>
                    <a:pt x="3493765" y="51435"/>
                  </a:cubicBezTo>
                  <a:cubicBezTo>
                    <a:pt x="3495035" y="56515"/>
                    <a:pt x="3496305" y="62865"/>
                    <a:pt x="3496305" y="70485"/>
                  </a:cubicBezTo>
                  <a:lnTo>
                    <a:pt x="3495670" y="71120"/>
                  </a:lnTo>
                  <a:cubicBezTo>
                    <a:pt x="3495670" y="77470"/>
                    <a:pt x="3495035" y="83820"/>
                    <a:pt x="3493130" y="88265"/>
                  </a:cubicBezTo>
                  <a:cubicBezTo>
                    <a:pt x="3491225" y="93345"/>
                    <a:pt x="3489320" y="97155"/>
                    <a:pt x="3486145" y="100330"/>
                  </a:cubicBezTo>
                  <a:cubicBezTo>
                    <a:pt x="3483605" y="103505"/>
                    <a:pt x="3479795" y="106045"/>
                    <a:pt x="3476620" y="107315"/>
                  </a:cubicBezTo>
                  <a:cubicBezTo>
                    <a:pt x="3472810" y="109220"/>
                    <a:pt x="3469000" y="109855"/>
                    <a:pt x="3465190" y="109855"/>
                  </a:cubicBezTo>
                  <a:cubicBezTo>
                    <a:pt x="3461380" y="109855"/>
                    <a:pt x="3457570" y="109220"/>
                    <a:pt x="3454395" y="107315"/>
                  </a:cubicBezTo>
                  <a:cubicBezTo>
                    <a:pt x="3450585" y="105410"/>
                    <a:pt x="3448045" y="103505"/>
                    <a:pt x="3445505" y="100965"/>
                  </a:cubicBezTo>
                  <a:lnTo>
                    <a:pt x="3445505" y="107950"/>
                  </a:lnTo>
                  <a:lnTo>
                    <a:pt x="3430265" y="107950"/>
                  </a:lnTo>
                  <a:lnTo>
                    <a:pt x="3430265" y="7620"/>
                  </a:lnTo>
                  <a:close/>
                  <a:moveTo>
                    <a:pt x="2380611" y="0"/>
                  </a:moveTo>
                  <a:lnTo>
                    <a:pt x="2380611" y="30480"/>
                  </a:lnTo>
                  <a:lnTo>
                    <a:pt x="2399661" y="30480"/>
                  </a:lnTo>
                  <a:lnTo>
                    <a:pt x="2399661" y="44450"/>
                  </a:lnTo>
                  <a:lnTo>
                    <a:pt x="2380611" y="44450"/>
                  </a:lnTo>
                  <a:lnTo>
                    <a:pt x="2380611" y="86995"/>
                  </a:lnTo>
                  <a:cubicBezTo>
                    <a:pt x="2380611" y="86995"/>
                    <a:pt x="2380611" y="90170"/>
                    <a:pt x="2380611" y="91440"/>
                  </a:cubicBezTo>
                  <a:cubicBezTo>
                    <a:pt x="2380611" y="92710"/>
                    <a:pt x="2381246" y="93345"/>
                    <a:pt x="2381881" y="94615"/>
                  </a:cubicBezTo>
                  <a:cubicBezTo>
                    <a:pt x="2382516" y="95250"/>
                    <a:pt x="2383151" y="95885"/>
                    <a:pt x="2384421" y="95885"/>
                  </a:cubicBezTo>
                  <a:cubicBezTo>
                    <a:pt x="2385691" y="95885"/>
                    <a:pt x="2386961" y="95885"/>
                    <a:pt x="2388231" y="95885"/>
                  </a:cubicBezTo>
                  <a:cubicBezTo>
                    <a:pt x="2390136" y="95885"/>
                    <a:pt x="2392041" y="95885"/>
                    <a:pt x="2394581" y="95250"/>
                  </a:cubicBezTo>
                  <a:cubicBezTo>
                    <a:pt x="2396486" y="94615"/>
                    <a:pt x="2398391" y="93980"/>
                    <a:pt x="2399661" y="93345"/>
                  </a:cubicBezTo>
                  <a:lnTo>
                    <a:pt x="2397756" y="106680"/>
                  </a:lnTo>
                  <a:cubicBezTo>
                    <a:pt x="2397756" y="106680"/>
                    <a:pt x="2393946" y="108585"/>
                    <a:pt x="2391406" y="109220"/>
                  </a:cubicBezTo>
                  <a:cubicBezTo>
                    <a:pt x="2388866" y="109855"/>
                    <a:pt x="2386326" y="110490"/>
                    <a:pt x="2383151" y="110490"/>
                  </a:cubicBezTo>
                  <a:cubicBezTo>
                    <a:pt x="2380611" y="110490"/>
                    <a:pt x="2378071" y="110490"/>
                    <a:pt x="2376166" y="109220"/>
                  </a:cubicBezTo>
                  <a:cubicBezTo>
                    <a:pt x="2374261" y="108585"/>
                    <a:pt x="2372356" y="107315"/>
                    <a:pt x="2370451" y="105410"/>
                  </a:cubicBezTo>
                  <a:cubicBezTo>
                    <a:pt x="2368546" y="103505"/>
                    <a:pt x="2367276" y="101600"/>
                    <a:pt x="2366641" y="99060"/>
                  </a:cubicBezTo>
                  <a:cubicBezTo>
                    <a:pt x="2366006" y="96520"/>
                    <a:pt x="2365371" y="93345"/>
                    <a:pt x="2365371" y="89535"/>
                  </a:cubicBezTo>
                  <a:lnTo>
                    <a:pt x="2365371" y="44450"/>
                  </a:lnTo>
                  <a:lnTo>
                    <a:pt x="2354576" y="44450"/>
                  </a:lnTo>
                  <a:lnTo>
                    <a:pt x="2354576" y="30480"/>
                  </a:lnTo>
                  <a:lnTo>
                    <a:pt x="2365371" y="30480"/>
                  </a:lnTo>
                  <a:lnTo>
                    <a:pt x="2365371" y="8255"/>
                  </a:lnTo>
                  <a:close/>
                  <a:moveTo>
                    <a:pt x="2150741" y="0"/>
                  </a:moveTo>
                  <a:lnTo>
                    <a:pt x="2150741" y="30480"/>
                  </a:lnTo>
                  <a:lnTo>
                    <a:pt x="2169791" y="30480"/>
                  </a:lnTo>
                  <a:lnTo>
                    <a:pt x="2169791" y="44450"/>
                  </a:lnTo>
                  <a:lnTo>
                    <a:pt x="2150741" y="44450"/>
                  </a:lnTo>
                  <a:lnTo>
                    <a:pt x="2150741" y="86995"/>
                  </a:lnTo>
                  <a:cubicBezTo>
                    <a:pt x="2150741" y="86995"/>
                    <a:pt x="2150741" y="90170"/>
                    <a:pt x="2150741" y="91440"/>
                  </a:cubicBezTo>
                  <a:cubicBezTo>
                    <a:pt x="2150741" y="92710"/>
                    <a:pt x="2151376" y="93345"/>
                    <a:pt x="2152011" y="94615"/>
                  </a:cubicBezTo>
                  <a:cubicBezTo>
                    <a:pt x="2152646" y="95250"/>
                    <a:pt x="2153281" y="95885"/>
                    <a:pt x="2154551" y="95885"/>
                  </a:cubicBezTo>
                  <a:cubicBezTo>
                    <a:pt x="2155821" y="95885"/>
                    <a:pt x="2157091" y="95885"/>
                    <a:pt x="2158361" y="95885"/>
                  </a:cubicBezTo>
                  <a:cubicBezTo>
                    <a:pt x="2160266" y="95885"/>
                    <a:pt x="2162171" y="95885"/>
                    <a:pt x="2164711" y="95250"/>
                  </a:cubicBezTo>
                  <a:cubicBezTo>
                    <a:pt x="2166616" y="94615"/>
                    <a:pt x="2168521" y="93980"/>
                    <a:pt x="2169791" y="93345"/>
                  </a:cubicBezTo>
                  <a:lnTo>
                    <a:pt x="2167886" y="106680"/>
                  </a:lnTo>
                  <a:cubicBezTo>
                    <a:pt x="2167886" y="106680"/>
                    <a:pt x="2164076" y="108585"/>
                    <a:pt x="2161536" y="109220"/>
                  </a:cubicBezTo>
                  <a:cubicBezTo>
                    <a:pt x="2158996" y="109855"/>
                    <a:pt x="2156456" y="110490"/>
                    <a:pt x="2153281" y="110490"/>
                  </a:cubicBezTo>
                  <a:cubicBezTo>
                    <a:pt x="2150741" y="110490"/>
                    <a:pt x="2148201" y="110490"/>
                    <a:pt x="2146296" y="109220"/>
                  </a:cubicBezTo>
                  <a:cubicBezTo>
                    <a:pt x="2144391" y="108585"/>
                    <a:pt x="2142486" y="107315"/>
                    <a:pt x="2140581" y="105410"/>
                  </a:cubicBezTo>
                  <a:cubicBezTo>
                    <a:pt x="2138676" y="103505"/>
                    <a:pt x="2137406" y="101600"/>
                    <a:pt x="2136771" y="99060"/>
                  </a:cubicBezTo>
                  <a:cubicBezTo>
                    <a:pt x="2136136" y="96520"/>
                    <a:pt x="2135501" y="93345"/>
                    <a:pt x="2135501" y="89535"/>
                  </a:cubicBezTo>
                  <a:lnTo>
                    <a:pt x="2135501" y="44450"/>
                  </a:lnTo>
                  <a:lnTo>
                    <a:pt x="2124706" y="44450"/>
                  </a:lnTo>
                  <a:lnTo>
                    <a:pt x="2124706" y="30480"/>
                  </a:lnTo>
                  <a:lnTo>
                    <a:pt x="2135501" y="30480"/>
                  </a:lnTo>
                  <a:lnTo>
                    <a:pt x="2135501" y="8255"/>
                  </a:lnTo>
                  <a:close/>
                  <a:moveTo>
                    <a:pt x="2096131" y="0"/>
                  </a:moveTo>
                  <a:lnTo>
                    <a:pt x="2096131" y="30480"/>
                  </a:lnTo>
                  <a:lnTo>
                    <a:pt x="2115181" y="30480"/>
                  </a:lnTo>
                  <a:lnTo>
                    <a:pt x="2115181" y="44450"/>
                  </a:lnTo>
                  <a:lnTo>
                    <a:pt x="2096131" y="44450"/>
                  </a:lnTo>
                  <a:lnTo>
                    <a:pt x="2096131" y="86995"/>
                  </a:lnTo>
                  <a:cubicBezTo>
                    <a:pt x="2096131" y="86995"/>
                    <a:pt x="2096131" y="90170"/>
                    <a:pt x="2096131" y="91440"/>
                  </a:cubicBezTo>
                  <a:cubicBezTo>
                    <a:pt x="2096131" y="92710"/>
                    <a:pt x="2096766" y="93345"/>
                    <a:pt x="2097401" y="94615"/>
                  </a:cubicBezTo>
                  <a:cubicBezTo>
                    <a:pt x="2098036" y="95250"/>
                    <a:pt x="2098671" y="95885"/>
                    <a:pt x="2099941" y="95885"/>
                  </a:cubicBezTo>
                  <a:cubicBezTo>
                    <a:pt x="2101211" y="95885"/>
                    <a:pt x="2102481" y="95885"/>
                    <a:pt x="2103751" y="95885"/>
                  </a:cubicBezTo>
                  <a:cubicBezTo>
                    <a:pt x="2105656" y="95885"/>
                    <a:pt x="2107561" y="95885"/>
                    <a:pt x="2110101" y="95250"/>
                  </a:cubicBezTo>
                  <a:cubicBezTo>
                    <a:pt x="2112006" y="94615"/>
                    <a:pt x="2113911" y="93980"/>
                    <a:pt x="2115181" y="93345"/>
                  </a:cubicBezTo>
                  <a:lnTo>
                    <a:pt x="2113276" y="106680"/>
                  </a:lnTo>
                  <a:cubicBezTo>
                    <a:pt x="2113276" y="106680"/>
                    <a:pt x="2109466" y="108585"/>
                    <a:pt x="2106926" y="109220"/>
                  </a:cubicBezTo>
                  <a:cubicBezTo>
                    <a:pt x="2104386" y="109855"/>
                    <a:pt x="2101846" y="110490"/>
                    <a:pt x="2098671" y="110490"/>
                  </a:cubicBezTo>
                  <a:cubicBezTo>
                    <a:pt x="2096131" y="110490"/>
                    <a:pt x="2093591" y="110490"/>
                    <a:pt x="2091686" y="109220"/>
                  </a:cubicBezTo>
                  <a:cubicBezTo>
                    <a:pt x="2089781" y="108585"/>
                    <a:pt x="2087876" y="107315"/>
                    <a:pt x="2085971" y="105410"/>
                  </a:cubicBezTo>
                  <a:cubicBezTo>
                    <a:pt x="2084066" y="103505"/>
                    <a:pt x="2082796" y="101600"/>
                    <a:pt x="2082161" y="99060"/>
                  </a:cubicBezTo>
                  <a:cubicBezTo>
                    <a:pt x="2081526" y="96520"/>
                    <a:pt x="2080891" y="93345"/>
                    <a:pt x="2080891" y="89535"/>
                  </a:cubicBezTo>
                  <a:lnTo>
                    <a:pt x="2080891" y="44450"/>
                  </a:lnTo>
                  <a:lnTo>
                    <a:pt x="2070096" y="44450"/>
                  </a:lnTo>
                  <a:lnTo>
                    <a:pt x="2070096" y="30480"/>
                  </a:lnTo>
                  <a:lnTo>
                    <a:pt x="2080891" y="30480"/>
                  </a:lnTo>
                  <a:lnTo>
                    <a:pt x="2080891" y="8255"/>
                  </a:lnTo>
                  <a:close/>
                  <a:moveTo>
                    <a:pt x="1931665" y="0"/>
                  </a:moveTo>
                  <a:lnTo>
                    <a:pt x="1931665" y="37465"/>
                  </a:lnTo>
                  <a:cubicBezTo>
                    <a:pt x="1931665" y="37465"/>
                    <a:pt x="1934840" y="34925"/>
                    <a:pt x="1936110" y="33655"/>
                  </a:cubicBezTo>
                  <a:cubicBezTo>
                    <a:pt x="1937380" y="33020"/>
                    <a:pt x="1938650" y="31750"/>
                    <a:pt x="1939920" y="31115"/>
                  </a:cubicBezTo>
                  <a:cubicBezTo>
                    <a:pt x="1941190" y="30480"/>
                    <a:pt x="1943095" y="29845"/>
                    <a:pt x="1945000" y="29210"/>
                  </a:cubicBezTo>
                  <a:cubicBezTo>
                    <a:pt x="1946905" y="29210"/>
                    <a:pt x="1949445" y="28575"/>
                    <a:pt x="1951985" y="28575"/>
                  </a:cubicBezTo>
                  <a:cubicBezTo>
                    <a:pt x="1956430" y="28575"/>
                    <a:pt x="1960240" y="29210"/>
                    <a:pt x="1964050" y="31115"/>
                  </a:cubicBezTo>
                  <a:cubicBezTo>
                    <a:pt x="1967860" y="32385"/>
                    <a:pt x="1971035" y="34925"/>
                    <a:pt x="1973575" y="38735"/>
                  </a:cubicBezTo>
                  <a:cubicBezTo>
                    <a:pt x="1976115" y="41910"/>
                    <a:pt x="1978655" y="46355"/>
                    <a:pt x="1979925" y="51435"/>
                  </a:cubicBezTo>
                  <a:cubicBezTo>
                    <a:pt x="1981195" y="56515"/>
                    <a:pt x="1982465" y="62865"/>
                    <a:pt x="1982465" y="70485"/>
                  </a:cubicBezTo>
                  <a:lnTo>
                    <a:pt x="1981830" y="71120"/>
                  </a:lnTo>
                  <a:cubicBezTo>
                    <a:pt x="1981830" y="77470"/>
                    <a:pt x="1981195" y="83820"/>
                    <a:pt x="1979290" y="88265"/>
                  </a:cubicBezTo>
                  <a:cubicBezTo>
                    <a:pt x="1977385" y="93345"/>
                    <a:pt x="1975480" y="97155"/>
                    <a:pt x="1972305" y="100330"/>
                  </a:cubicBezTo>
                  <a:cubicBezTo>
                    <a:pt x="1969765" y="103505"/>
                    <a:pt x="1965955" y="106045"/>
                    <a:pt x="1962780" y="107315"/>
                  </a:cubicBezTo>
                  <a:cubicBezTo>
                    <a:pt x="1958970" y="109220"/>
                    <a:pt x="1955160" y="109855"/>
                    <a:pt x="1951350" y="109855"/>
                  </a:cubicBezTo>
                  <a:cubicBezTo>
                    <a:pt x="1947540" y="109855"/>
                    <a:pt x="1943730" y="109220"/>
                    <a:pt x="1940555" y="107315"/>
                  </a:cubicBezTo>
                  <a:cubicBezTo>
                    <a:pt x="1936745" y="105410"/>
                    <a:pt x="1934205" y="103505"/>
                    <a:pt x="1931665" y="100965"/>
                  </a:cubicBezTo>
                  <a:lnTo>
                    <a:pt x="1931665" y="107950"/>
                  </a:lnTo>
                  <a:lnTo>
                    <a:pt x="1916425" y="107950"/>
                  </a:lnTo>
                  <a:lnTo>
                    <a:pt x="1916425" y="7620"/>
                  </a:lnTo>
                  <a:close/>
                  <a:moveTo>
                    <a:pt x="1316991" y="0"/>
                  </a:moveTo>
                  <a:lnTo>
                    <a:pt x="1316991" y="30480"/>
                  </a:lnTo>
                  <a:lnTo>
                    <a:pt x="1336041" y="30480"/>
                  </a:lnTo>
                  <a:lnTo>
                    <a:pt x="1336041" y="44450"/>
                  </a:lnTo>
                  <a:lnTo>
                    <a:pt x="1316991" y="44450"/>
                  </a:lnTo>
                  <a:lnTo>
                    <a:pt x="1316991" y="86995"/>
                  </a:lnTo>
                  <a:cubicBezTo>
                    <a:pt x="1316991" y="86995"/>
                    <a:pt x="1316991" y="90170"/>
                    <a:pt x="1316991" y="91440"/>
                  </a:cubicBezTo>
                  <a:cubicBezTo>
                    <a:pt x="1316991" y="92710"/>
                    <a:pt x="1317627" y="93345"/>
                    <a:pt x="1318261" y="94615"/>
                  </a:cubicBezTo>
                  <a:cubicBezTo>
                    <a:pt x="1318896" y="95250"/>
                    <a:pt x="1319531" y="95885"/>
                    <a:pt x="1320801" y="95885"/>
                  </a:cubicBezTo>
                  <a:cubicBezTo>
                    <a:pt x="1322072" y="95885"/>
                    <a:pt x="1323341" y="95885"/>
                    <a:pt x="1324611" y="95885"/>
                  </a:cubicBezTo>
                  <a:cubicBezTo>
                    <a:pt x="1326516" y="95885"/>
                    <a:pt x="1328422" y="95885"/>
                    <a:pt x="1330961" y="95250"/>
                  </a:cubicBezTo>
                  <a:cubicBezTo>
                    <a:pt x="1332867" y="94615"/>
                    <a:pt x="1334772" y="93980"/>
                    <a:pt x="1336041" y="93345"/>
                  </a:cubicBezTo>
                  <a:lnTo>
                    <a:pt x="1334136" y="106680"/>
                  </a:lnTo>
                  <a:cubicBezTo>
                    <a:pt x="1334136" y="106680"/>
                    <a:pt x="1330326" y="108585"/>
                    <a:pt x="1327786" y="109220"/>
                  </a:cubicBezTo>
                  <a:cubicBezTo>
                    <a:pt x="1325246" y="109855"/>
                    <a:pt x="1322706" y="110490"/>
                    <a:pt x="1319531" y="110490"/>
                  </a:cubicBezTo>
                  <a:cubicBezTo>
                    <a:pt x="1316991" y="110490"/>
                    <a:pt x="1314451" y="110490"/>
                    <a:pt x="1312546" y="109220"/>
                  </a:cubicBezTo>
                  <a:cubicBezTo>
                    <a:pt x="1310641" y="108585"/>
                    <a:pt x="1308736" y="107315"/>
                    <a:pt x="1306831" y="105410"/>
                  </a:cubicBezTo>
                  <a:cubicBezTo>
                    <a:pt x="1304926" y="103505"/>
                    <a:pt x="1303656" y="101600"/>
                    <a:pt x="1303021" y="99060"/>
                  </a:cubicBezTo>
                  <a:cubicBezTo>
                    <a:pt x="1302386" y="96520"/>
                    <a:pt x="1301751" y="93345"/>
                    <a:pt x="1301751" y="89535"/>
                  </a:cubicBezTo>
                  <a:lnTo>
                    <a:pt x="1301751" y="44450"/>
                  </a:lnTo>
                  <a:lnTo>
                    <a:pt x="1290956" y="44450"/>
                  </a:lnTo>
                  <a:lnTo>
                    <a:pt x="1290956" y="30480"/>
                  </a:lnTo>
                  <a:lnTo>
                    <a:pt x="1301751" y="30480"/>
                  </a:lnTo>
                  <a:lnTo>
                    <a:pt x="1301751" y="8255"/>
                  </a:lnTo>
                  <a:close/>
                  <a:moveTo>
                    <a:pt x="751206" y="0"/>
                  </a:moveTo>
                  <a:lnTo>
                    <a:pt x="751206" y="30480"/>
                  </a:lnTo>
                  <a:lnTo>
                    <a:pt x="770256" y="30480"/>
                  </a:lnTo>
                  <a:lnTo>
                    <a:pt x="770256" y="44450"/>
                  </a:lnTo>
                  <a:lnTo>
                    <a:pt x="751206" y="44450"/>
                  </a:lnTo>
                  <a:lnTo>
                    <a:pt x="751206" y="86995"/>
                  </a:lnTo>
                  <a:cubicBezTo>
                    <a:pt x="751206" y="86995"/>
                    <a:pt x="751206" y="90170"/>
                    <a:pt x="751206" y="91440"/>
                  </a:cubicBezTo>
                  <a:cubicBezTo>
                    <a:pt x="751206" y="92710"/>
                    <a:pt x="751841" y="93345"/>
                    <a:pt x="752476" y="94615"/>
                  </a:cubicBezTo>
                  <a:cubicBezTo>
                    <a:pt x="753111" y="95250"/>
                    <a:pt x="753746" y="95885"/>
                    <a:pt x="755016" y="95885"/>
                  </a:cubicBezTo>
                  <a:cubicBezTo>
                    <a:pt x="756286" y="95885"/>
                    <a:pt x="757556" y="95885"/>
                    <a:pt x="758826" y="95885"/>
                  </a:cubicBezTo>
                  <a:cubicBezTo>
                    <a:pt x="760731" y="95885"/>
                    <a:pt x="762636" y="95885"/>
                    <a:pt x="765176" y="95250"/>
                  </a:cubicBezTo>
                  <a:cubicBezTo>
                    <a:pt x="767081" y="94615"/>
                    <a:pt x="768986" y="93980"/>
                    <a:pt x="770256" y="93345"/>
                  </a:cubicBezTo>
                  <a:lnTo>
                    <a:pt x="768351" y="106680"/>
                  </a:lnTo>
                  <a:cubicBezTo>
                    <a:pt x="768351" y="106680"/>
                    <a:pt x="764541" y="108585"/>
                    <a:pt x="762001" y="109220"/>
                  </a:cubicBezTo>
                  <a:cubicBezTo>
                    <a:pt x="759461" y="109855"/>
                    <a:pt x="756921" y="110490"/>
                    <a:pt x="753746" y="110490"/>
                  </a:cubicBezTo>
                  <a:cubicBezTo>
                    <a:pt x="751206" y="110490"/>
                    <a:pt x="748666" y="110490"/>
                    <a:pt x="746761" y="109220"/>
                  </a:cubicBezTo>
                  <a:cubicBezTo>
                    <a:pt x="744856" y="108585"/>
                    <a:pt x="742951" y="107315"/>
                    <a:pt x="741045" y="105410"/>
                  </a:cubicBezTo>
                  <a:cubicBezTo>
                    <a:pt x="739141" y="103505"/>
                    <a:pt x="737871" y="101600"/>
                    <a:pt x="737236" y="99060"/>
                  </a:cubicBezTo>
                  <a:cubicBezTo>
                    <a:pt x="736600" y="96520"/>
                    <a:pt x="735966" y="93345"/>
                    <a:pt x="735966" y="89535"/>
                  </a:cubicBezTo>
                  <a:lnTo>
                    <a:pt x="735966" y="44450"/>
                  </a:lnTo>
                  <a:lnTo>
                    <a:pt x="725171" y="44450"/>
                  </a:lnTo>
                  <a:lnTo>
                    <a:pt x="725171" y="30480"/>
                  </a:lnTo>
                  <a:lnTo>
                    <a:pt x="735966" y="30480"/>
                  </a:lnTo>
                  <a:lnTo>
                    <a:pt x="735966" y="8255"/>
                  </a:lnTo>
                  <a:close/>
                  <a:moveTo>
                    <a:pt x="521335" y="0"/>
                  </a:moveTo>
                  <a:lnTo>
                    <a:pt x="521335" y="30480"/>
                  </a:lnTo>
                  <a:lnTo>
                    <a:pt x="540385" y="30480"/>
                  </a:lnTo>
                  <a:lnTo>
                    <a:pt x="540385" y="44450"/>
                  </a:lnTo>
                  <a:lnTo>
                    <a:pt x="521335" y="44450"/>
                  </a:lnTo>
                  <a:lnTo>
                    <a:pt x="521335" y="86995"/>
                  </a:lnTo>
                  <a:cubicBezTo>
                    <a:pt x="521335" y="86995"/>
                    <a:pt x="521335" y="90170"/>
                    <a:pt x="521335" y="91440"/>
                  </a:cubicBezTo>
                  <a:cubicBezTo>
                    <a:pt x="521335" y="92710"/>
                    <a:pt x="521970" y="93345"/>
                    <a:pt x="522605" y="94615"/>
                  </a:cubicBezTo>
                  <a:cubicBezTo>
                    <a:pt x="523240" y="95250"/>
                    <a:pt x="523875" y="95885"/>
                    <a:pt x="525145" y="95885"/>
                  </a:cubicBezTo>
                  <a:cubicBezTo>
                    <a:pt x="526415" y="95885"/>
                    <a:pt x="527685" y="95885"/>
                    <a:pt x="528955" y="95885"/>
                  </a:cubicBezTo>
                  <a:cubicBezTo>
                    <a:pt x="530860" y="95885"/>
                    <a:pt x="532765" y="95885"/>
                    <a:pt x="535305" y="95250"/>
                  </a:cubicBezTo>
                  <a:cubicBezTo>
                    <a:pt x="537210" y="94615"/>
                    <a:pt x="539115" y="93980"/>
                    <a:pt x="540385" y="93345"/>
                  </a:cubicBezTo>
                  <a:lnTo>
                    <a:pt x="538480" y="106680"/>
                  </a:lnTo>
                  <a:cubicBezTo>
                    <a:pt x="538480" y="106680"/>
                    <a:pt x="534670" y="108585"/>
                    <a:pt x="532130" y="109220"/>
                  </a:cubicBezTo>
                  <a:cubicBezTo>
                    <a:pt x="529590" y="109855"/>
                    <a:pt x="527050" y="110490"/>
                    <a:pt x="523875" y="110490"/>
                  </a:cubicBezTo>
                  <a:cubicBezTo>
                    <a:pt x="521335" y="110490"/>
                    <a:pt x="518795" y="110490"/>
                    <a:pt x="516890" y="109220"/>
                  </a:cubicBezTo>
                  <a:cubicBezTo>
                    <a:pt x="514985" y="108585"/>
                    <a:pt x="513080" y="107315"/>
                    <a:pt x="511175" y="105410"/>
                  </a:cubicBezTo>
                  <a:cubicBezTo>
                    <a:pt x="509270" y="103505"/>
                    <a:pt x="508000" y="101600"/>
                    <a:pt x="507365" y="99060"/>
                  </a:cubicBezTo>
                  <a:cubicBezTo>
                    <a:pt x="506730" y="96520"/>
                    <a:pt x="506095" y="93345"/>
                    <a:pt x="506095" y="89535"/>
                  </a:cubicBezTo>
                  <a:lnTo>
                    <a:pt x="506095" y="44450"/>
                  </a:lnTo>
                  <a:lnTo>
                    <a:pt x="495300" y="44450"/>
                  </a:lnTo>
                  <a:lnTo>
                    <a:pt x="495300" y="30480"/>
                  </a:lnTo>
                  <a:lnTo>
                    <a:pt x="506095" y="30480"/>
                  </a:lnTo>
                  <a:lnTo>
                    <a:pt x="506095" y="8255"/>
                  </a:lnTo>
                  <a:close/>
                  <a:moveTo>
                    <a:pt x="466724" y="0"/>
                  </a:moveTo>
                  <a:lnTo>
                    <a:pt x="466724" y="30480"/>
                  </a:lnTo>
                  <a:lnTo>
                    <a:pt x="485774" y="30480"/>
                  </a:lnTo>
                  <a:lnTo>
                    <a:pt x="485774" y="44450"/>
                  </a:lnTo>
                  <a:lnTo>
                    <a:pt x="466724" y="44450"/>
                  </a:lnTo>
                  <a:lnTo>
                    <a:pt x="466724" y="86995"/>
                  </a:lnTo>
                  <a:cubicBezTo>
                    <a:pt x="466724" y="86995"/>
                    <a:pt x="466724" y="90170"/>
                    <a:pt x="466724" y="91440"/>
                  </a:cubicBezTo>
                  <a:cubicBezTo>
                    <a:pt x="466724" y="92710"/>
                    <a:pt x="467359" y="93345"/>
                    <a:pt x="467994" y="94615"/>
                  </a:cubicBezTo>
                  <a:cubicBezTo>
                    <a:pt x="468629" y="95250"/>
                    <a:pt x="469264" y="95885"/>
                    <a:pt x="470534" y="95885"/>
                  </a:cubicBezTo>
                  <a:cubicBezTo>
                    <a:pt x="471804" y="95885"/>
                    <a:pt x="473074" y="95885"/>
                    <a:pt x="474344" y="95885"/>
                  </a:cubicBezTo>
                  <a:cubicBezTo>
                    <a:pt x="476249" y="95885"/>
                    <a:pt x="478154" y="95885"/>
                    <a:pt x="480694" y="95250"/>
                  </a:cubicBezTo>
                  <a:cubicBezTo>
                    <a:pt x="482599" y="94615"/>
                    <a:pt x="484504" y="93980"/>
                    <a:pt x="485774" y="93345"/>
                  </a:cubicBezTo>
                  <a:lnTo>
                    <a:pt x="483869" y="106680"/>
                  </a:lnTo>
                  <a:cubicBezTo>
                    <a:pt x="483869" y="106680"/>
                    <a:pt x="480059" y="108585"/>
                    <a:pt x="477519" y="109220"/>
                  </a:cubicBezTo>
                  <a:cubicBezTo>
                    <a:pt x="474979" y="109855"/>
                    <a:pt x="472439" y="110490"/>
                    <a:pt x="469264" y="110490"/>
                  </a:cubicBezTo>
                  <a:cubicBezTo>
                    <a:pt x="466724" y="110490"/>
                    <a:pt x="464184" y="110490"/>
                    <a:pt x="462279" y="109220"/>
                  </a:cubicBezTo>
                  <a:cubicBezTo>
                    <a:pt x="460374" y="108585"/>
                    <a:pt x="458469" y="107315"/>
                    <a:pt x="456564" y="105410"/>
                  </a:cubicBezTo>
                  <a:cubicBezTo>
                    <a:pt x="454659" y="103505"/>
                    <a:pt x="453389" y="101600"/>
                    <a:pt x="452754" y="99060"/>
                  </a:cubicBezTo>
                  <a:cubicBezTo>
                    <a:pt x="452119" y="96520"/>
                    <a:pt x="451484" y="93345"/>
                    <a:pt x="451484" y="89535"/>
                  </a:cubicBezTo>
                  <a:lnTo>
                    <a:pt x="451484" y="44450"/>
                  </a:lnTo>
                  <a:lnTo>
                    <a:pt x="440689" y="44450"/>
                  </a:lnTo>
                  <a:lnTo>
                    <a:pt x="440689" y="30480"/>
                  </a:lnTo>
                  <a:lnTo>
                    <a:pt x="451484" y="30480"/>
                  </a:lnTo>
                  <a:lnTo>
                    <a:pt x="451484" y="8255"/>
                  </a:lnTo>
                  <a:close/>
                  <a:moveTo>
                    <a:pt x="302259" y="0"/>
                  </a:moveTo>
                  <a:lnTo>
                    <a:pt x="302259" y="37465"/>
                  </a:lnTo>
                  <a:cubicBezTo>
                    <a:pt x="302259" y="37465"/>
                    <a:pt x="305434" y="34925"/>
                    <a:pt x="306704" y="33655"/>
                  </a:cubicBezTo>
                  <a:cubicBezTo>
                    <a:pt x="307974" y="33020"/>
                    <a:pt x="309244" y="31750"/>
                    <a:pt x="310514" y="31115"/>
                  </a:cubicBezTo>
                  <a:cubicBezTo>
                    <a:pt x="311784" y="30480"/>
                    <a:pt x="313689" y="29845"/>
                    <a:pt x="315594" y="29210"/>
                  </a:cubicBezTo>
                  <a:cubicBezTo>
                    <a:pt x="317499" y="29210"/>
                    <a:pt x="320039" y="28575"/>
                    <a:pt x="322579" y="28575"/>
                  </a:cubicBezTo>
                  <a:cubicBezTo>
                    <a:pt x="327024" y="28575"/>
                    <a:pt x="330834" y="29210"/>
                    <a:pt x="334644" y="31115"/>
                  </a:cubicBezTo>
                  <a:cubicBezTo>
                    <a:pt x="338454" y="32385"/>
                    <a:pt x="341629" y="34925"/>
                    <a:pt x="344169" y="38735"/>
                  </a:cubicBezTo>
                  <a:cubicBezTo>
                    <a:pt x="346709" y="41910"/>
                    <a:pt x="349249" y="46355"/>
                    <a:pt x="350519" y="51435"/>
                  </a:cubicBezTo>
                  <a:cubicBezTo>
                    <a:pt x="351789" y="56515"/>
                    <a:pt x="353059" y="62865"/>
                    <a:pt x="353059" y="70485"/>
                  </a:cubicBezTo>
                  <a:lnTo>
                    <a:pt x="352424" y="71120"/>
                  </a:lnTo>
                  <a:cubicBezTo>
                    <a:pt x="352424" y="77470"/>
                    <a:pt x="351789" y="83820"/>
                    <a:pt x="349884" y="88265"/>
                  </a:cubicBezTo>
                  <a:cubicBezTo>
                    <a:pt x="347979" y="93345"/>
                    <a:pt x="346074" y="97155"/>
                    <a:pt x="342899" y="100330"/>
                  </a:cubicBezTo>
                  <a:cubicBezTo>
                    <a:pt x="340359" y="103505"/>
                    <a:pt x="336549" y="106045"/>
                    <a:pt x="333374" y="107315"/>
                  </a:cubicBezTo>
                  <a:cubicBezTo>
                    <a:pt x="329564" y="109220"/>
                    <a:pt x="325754" y="109855"/>
                    <a:pt x="321944" y="109855"/>
                  </a:cubicBezTo>
                  <a:cubicBezTo>
                    <a:pt x="318134" y="109855"/>
                    <a:pt x="314324" y="109220"/>
                    <a:pt x="311149" y="107315"/>
                  </a:cubicBezTo>
                  <a:cubicBezTo>
                    <a:pt x="307339" y="105410"/>
                    <a:pt x="304799" y="103505"/>
                    <a:pt x="302259" y="100965"/>
                  </a:cubicBezTo>
                  <a:lnTo>
                    <a:pt x="302259" y="107950"/>
                  </a:lnTo>
                  <a:lnTo>
                    <a:pt x="287019" y="107950"/>
                  </a:lnTo>
                  <a:lnTo>
                    <a:pt x="287019" y="7620"/>
                  </a:lnTo>
                  <a:close/>
                </a:path>
              </a:pathLst>
            </a:custGeom>
            <a:solidFill>
              <a:srgbClr val="FFFFFF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28" name="Subtitle 2">
            <a:extLst>
              <a:ext uri="{FF2B5EF4-FFF2-40B4-BE49-F238E27FC236}">
                <a16:creationId xmlns:a16="http://schemas.microsoft.com/office/drawing/2014/main" id="{632E76BF-46D5-8E94-88AA-4783DD302E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90225" y="4436486"/>
            <a:ext cx="4910184" cy="511939"/>
          </a:xfrm>
        </p:spPr>
        <p:txBody>
          <a:bodyPr wrap="square">
            <a:noAutofit/>
          </a:bodyPr>
          <a:lstStyle>
            <a:lvl1pPr marL="0" indent="0" algn="l">
              <a:buNone/>
              <a:defRPr lang="en-GB" sz="16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/>
          </a:p>
        </p:txBody>
      </p:sp>
      <p:sp>
        <p:nvSpPr>
          <p:cNvPr id="29" name="Title 4">
            <a:extLst>
              <a:ext uri="{FF2B5EF4-FFF2-40B4-BE49-F238E27FC236}">
                <a16:creationId xmlns:a16="http://schemas.microsoft.com/office/drawing/2014/main" id="{1F7B1FDC-B90E-6693-A750-B9BA4B535E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90226" y="2698752"/>
            <a:ext cx="4908564" cy="1654043"/>
          </a:xfrm>
        </p:spPr>
        <p:txBody>
          <a:bodyPr anchor="t">
            <a:noAutofit/>
          </a:bodyPr>
          <a:lstStyle>
            <a:lvl1pPr>
              <a:defRPr sz="4200" b="1" i="0">
                <a:solidFill>
                  <a:schemeClr val="bg1"/>
                </a:solidFill>
                <a:latin typeface="EYInterstate Regular" panose="02000503020000020004" pitchFamily="2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0" name="Text Placeholder 288">
            <a:extLst>
              <a:ext uri="{FF2B5EF4-FFF2-40B4-BE49-F238E27FC236}">
                <a16:creationId xmlns:a16="http://schemas.microsoft.com/office/drawing/2014/main" id="{1673B89D-F206-B9D2-CDB7-BDE045C7447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90226" y="5047486"/>
            <a:ext cx="4908565" cy="246221"/>
          </a:xfrm>
        </p:spPr>
        <p:txBody>
          <a:bodyPr wrap="square">
            <a:spAutoFit/>
          </a:bodyPr>
          <a:lstStyle>
            <a:lvl1pPr marL="0" indent="0">
              <a:buNone/>
              <a:defRPr sz="1600" b="1">
                <a:latin typeface="+mj-lt"/>
              </a:defRPr>
            </a:lvl1pPr>
            <a:lvl2pPr marL="252000" indent="0">
              <a:buNone/>
              <a:defRPr sz="1600" b="1">
                <a:latin typeface="+mj-lt"/>
              </a:defRPr>
            </a:lvl2pPr>
            <a:lvl3pPr marL="504000" indent="0">
              <a:buNone/>
              <a:defRPr sz="1600" b="1">
                <a:latin typeface="+mj-lt"/>
              </a:defRPr>
            </a:lvl3pPr>
            <a:lvl4pPr marL="756000" indent="0">
              <a:buNone/>
              <a:defRPr sz="1600" b="1">
                <a:latin typeface="+mj-lt"/>
              </a:defRPr>
            </a:lvl4pPr>
            <a:lvl5pPr marL="1008000" indent="0">
              <a:buNone/>
              <a:defRPr sz="1600" b="1">
                <a:latin typeface="+mj-lt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E76002E9-E0C8-43F6-867E-B59C9AE9217B}"/>
              </a:ext>
            </a:extLst>
          </p:cNvPr>
          <p:cNvGrpSpPr/>
          <p:nvPr userDrawn="1"/>
        </p:nvGrpSpPr>
        <p:grpSpPr>
          <a:xfrm>
            <a:off x="486027" y="1291009"/>
            <a:ext cx="5709082" cy="4360545"/>
            <a:chOff x="485774" y="1291008"/>
            <a:chExt cx="5706110" cy="4360545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F7E50E80-DFF0-E065-898F-1AFD970459B6}"/>
                </a:ext>
              </a:extLst>
            </p:cNvPr>
            <p:cNvSpPr/>
            <p:nvPr userDrawn="1"/>
          </p:nvSpPr>
          <p:spPr>
            <a:xfrm>
              <a:off x="485774" y="5549953"/>
              <a:ext cx="508000" cy="101600"/>
            </a:xfrm>
            <a:custGeom>
              <a:avLst/>
              <a:gdLst>
                <a:gd name="connsiteX0" fmla="*/ 406400 w 508000"/>
                <a:gd name="connsiteY0" fmla="*/ 0 h 101600"/>
                <a:gd name="connsiteX1" fmla="*/ 508000 w 508000"/>
                <a:gd name="connsiteY1" fmla="*/ 0 h 101600"/>
                <a:gd name="connsiteX2" fmla="*/ 508000 w 508000"/>
                <a:gd name="connsiteY2" fmla="*/ 101600 h 101600"/>
                <a:gd name="connsiteX3" fmla="*/ 406400 w 508000"/>
                <a:gd name="connsiteY3" fmla="*/ 101600 h 101600"/>
                <a:gd name="connsiteX4" fmla="*/ 203200 w 508000"/>
                <a:gd name="connsiteY4" fmla="*/ 0 h 101600"/>
                <a:gd name="connsiteX5" fmla="*/ 304800 w 508000"/>
                <a:gd name="connsiteY5" fmla="*/ 0 h 101600"/>
                <a:gd name="connsiteX6" fmla="*/ 304800 w 508000"/>
                <a:gd name="connsiteY6" fmla="*/ 101600 h 101600"/>
                <a:gd name="connsiteX7" fmla="*/ 203200 w 508000"/>
                <a:gd name="connsiteY7" fmla="*/ 101600 h 101600"/>
                <a:gd name="connsiteX8" fmla="*/ 0 w 508000"/>
                <a:gd name="connsiteY8" fmla="*/ 0 h 101600"/>
                <a:gd name="connsiteX9" fmla="*/ 101600 w 508000"/>
                <a:gd name="connsiteY9" fmla="*/ 0 h 101600"/>
                <a:gd name="connsiteX10" fmla="*/ 101600 w 508000"/>
                <a:gd name="connsiteY10" fmla="*/ 101600 h 101600"/>
                <a:gd name="connsiteX11" fmla="*/ 0 w 508000"/>
                <a:gd name="connsiteY11" fmla="*/ 101600 h 101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08000" h="101600">
                  <a:moveTo>
                    <a:pt x="406400" y="0"/>
                  </a:moveTo>
                  <a:lnTo>
                    <a:pt x="508000" y="0"/>
                  </a:lnTo>
                  <a:lnTo>
                    <a:pt x="508000" y="101600"/>
                  </a:lnTo>
                  <a:lnTo>
                    <a:pt x="406400" y="101600"/>
                  </a:lnTo>
                  <a:close/>
                  <a:moveTo>
                    <a:pt x="203200" y="0"/>
                  </a:moveTo>
                  <a:lnTo>
                    <a:pt x="304800" y="0"/>
                  </a:lnTo>
                  <a:lnTo>
                    <a:pt x="304800" y="101600"/>
                  </a:lnTo>
                  <a:lnTo>
                    <a:pt x="203200" y="101600"/>
                  </a:lnTo>
                  <a:close/>
                  <a:moveTo>
                    <a:pt x="0" y="0"/>
                  </a:moveTo>
                  <a:lnTo>
                    <a:pt x="101600" y="0"/>
                  </a:lnTo>
                  <a:lnTo>
                    <a:pt x="101600" y="101600"/>
                  </a:lnTo>
                  <a:lnTo>
                    <a:pt x="0" y="101600"/>
                  </a:lnTo>
                  <a:close/>
                </a:path>
              </a:pathLst>
            </a:custGeom>
            <a:solidFill>
              <a:schemeClr val="tx2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4" name="Freeform 3">
              <a:extLst>
                <a:ext uri="{FF2B5EF4-FFF2-40B4-BE49-F238E27FC236}">
                  <a16:creationId xmlns:a16="http://schemas.microsoft.com/office/drawing/2014/main" id="{7E9D0337-F340-664F-6A13-B03AA4BA4F82}"/>
                </a:ext>
              </a:extLst>
            </p:cNvPr>
            <p:cNvSpPr/>
            <p:nvPr userDrawn="1"/>
          </p:nvSpPr>
          <p:spPr>
            <a:xfrm>
              <a:off x="485775" y="1291008"/>
              <a:ext cx="5706109" cy="4359275"/>
            </a:xfrm>
            <a:custGeom>
              <a:avLst/>
              <a:gdLst>
                <a:gd name="connsiteX0" fmla="*/ 0 w 5706109"/>
                <a:gd name="connsiteY0" fmla="*/ 4157346 h 4359275"/>
                <a:gd name="connsiteX1" fmla="*/ 101600 w 5706109"/>
                <a:gd name="connsiteY1" fmla="*/ 4157346 h 4359275"/>
                <a:gd name="connsiteX2" fmla="*/ 101600 w 5706109"/>
                <a:gd name="connsiteY2" fmla="*/ 1075055 h 4359275"/>
                <a:gd name="connsiteX3" fmla="*/ 101600 w 5706109"/>
                <a:gd name="connsiteY3" fmla="*/ 1075055 h 4359275"/>
                <a:gd name="connsiteX4" fmla="*/ 191770 w 5706109"/>
                <a:gd name="connsiteY4" fmla="*/ 1059180 h 4359275"/>
                <a:gd name="connsiteX5" fmla="*/ 861060 w 5706109"/>
                <a:gd name="connsiteY5" fmla="*/ 942975 h 4359275"/>
                <a:gd name="connsiteX6" fmla="*/ 1195705 w 5706109"/>
                <a:gd name="connsiteY6" fmla="*/ 885190 h 4359275"/>
                <a:gd name="connsiteX7" fmla="*/ 1362710 w 5706109"/>
                <a:gd name="connsiteY7" fmla="*/ 855980 h 4359275"/>
                <a:gd name="connsiteX8" fmla="*/ 1529715 w 5706109"/>
                <a:gd name="connsiteY8" fmla="*/ 826770 h 4359275"/>
                <a:gd name="connsiteX9" fmla="*/ 1864360 w 5706109"/>
                <a:gd name="connsiteY9" fmla="*/ 768985 h 4359275"/>
                <a:gd name="connsiteX10" fmla="*/ 2031365 w 5706109"/>
                <a:gd name="connsiteY10" fmla="*/ 739775 h 4359275"/>
                <a:gd name="connsiteX11" fmla="*/ 2198370 w 5706109"/>
                <a:gd name="connsiteY11" fmla="*/ 710565 h 4359275"/>
                <a:gd name="connsiteX12" fmla="*/ 2365375 w 5706109"/>
                <a:gd name="connsiteY12" fmla="*/ 681355 h 4359275"/>
                <a:gd name="connsiteX13" fmla="*/ 2532380 w 5706109"/>
                <a:gd name="connsiteY13" fmla="*/ 652145 h 4359275"/>
                <a:gd name="connsiteX14" fmla="*/ 2699385 w 5706109"/>
                <a:gd name="connsiteY14" fmla="*/ 622935 h 4359275"/>
                <a:gd name="connsiteX15" fmla="*/ 2866390 w 5706109"/>
                <a:gd name="connsiteY15" fmla="*/ 593725 h 4359275"/>
                <a:gd name="connsiteX16" fmla="*/ 5461000 w 5706109"/>
                <a:gd name="connsiteY16" fmla="*/ 144145 h 4359275"/>
                <a:gd name="connsiteX17" fmla="*/ 5602605 w 5706109"/>
                <a:gd name="connsiteY17" fmla="*/ 119380 h 4359275"/>
                <a:gd name="connsiteX18" fmla="*/ 5602605 w 5706109"/>
                <a:gd name="connsiteY18" fmla="*/ 119380 h 4359275"/>
                <a:gd name="connsiteX19" fmla="*/ 5602605 w 5706109"/>
                <a:gd name="connsiteY19" fmla="*/ 4257676 h 4359275"/>
                <a:gd name="connsiteX20" fmla="*/ 609600 w 5706109"/>
                <a:gd name="connsiteY20" fmla="*/ 4257676 h 4359275"/>
                <a:gd name="connsiteX21" fmla="*/ 609600 w 5706109"/>
                <a:gd name="connsiteY21" fmla="*/ 4359276 h 4359275"/>
                <a:gd name="connsiteX22" fmla="*/ 5706110 w 5706109"/>
                <a:gd name="connsiteY22" fmla="*/ 4359276 h 4359275"/>
                <a:gd name="connsiteX23" fmla="*/ 5706110 w 5706109"/>
                <a:gd name="connsiteY23" fmla="*/ 0 h 4359275"/>
                <a:gd name="connsiteX24" fmla="*/ 5704840 w 5706109"/>
                <a:gd name="connsiteY24" fmla="*/ 0 h 4359275"/>
                <a:gd name="connsiteX25" fmla="*/ 5445760 w 5706109"/>
                <a:gd name="connsiteY25" fmla="*/ 45085 h 4359275"/>
                <a:gd name="connsiteX26" fmla="*/ 2851150 w 5706109"/>
                <a:gd name="connsiteY26" fmla="*/ 494665 h 4359275"/>
                <a:gd name="connsiteX27" fmla="*/ 2684145 w 5706109"/>
                <a:gd name="connsiteY27" fmla="*/ 523875 h 4359275"/>
                <a:gd name="connsiteX28" fmla="*/ 2517140 w 5706109"/>
                <a:gd name="connsiteY28" fmla="*/ 553085 h 4359275"/>
                <a:gd name="connsiteX29" fmla="*/ 2350135 w 5706109"/>
                <a:gd name="connsiteY29" fmla="*/ 582295 h 4359275"/>
                <a:gd name="connsiteX30" fmla="*/ 2183130 w 5706109"/>
                <a:gd name="connsiteY30" fmla="*/ 611505 h 4359275"/>
                <a:gd name="connsiteX31" fmla="*/ 2016125 w 5706109"/>
                <a:gd name="connsiteY31" fmla="*/ 640715 h 4359275"/>
                <a:gd name="connsiteX32" fmla="*/ 1849120 w 5706109"/>
                <a:gd name="connsiteY32" fmla="*/ 669925 h 4359275"/>
                <a:gd name="connsiteX33" fmla="*/ 1514475 w 5706109"/>
                <a:gd name="connsiteY33" fmla="*/ 727710 h 4359275"/>
                <a:gd name="connsiteX34" fmla="*/ 1347470 w 5706109"/>
                <a:gd name="connsiteY34" fmla="*/ 756920 h 4359275"/>
                <a:gd name="connsiteX35" fmla="*/ 1180465 w 5706109"/>
                <a:gd name="connsiteY35" fmla="*/ 786130 h 4359275"/>
                <a:gd name="connsiteX36" fmla="*/ 845820 w 5706109"/>
                <a:gd name="connsiteY36" fmla="*/ 843915 h 4359275"/>
                <a:gd name="connsiteX37" fmla="*/ 176530 w 5706109"/>
                <a:gd name="connsiteY37" fmla="*/ 960120 h 4359275"/>
                <a:gd name="connsiteX38" fmla="*/ 3175 w 5706109"/>
                <a:gd name="connsiteY38" fmla="*/ 989965 h 4359275"/>
                <a:gd name="connsiteX39" fmla="*/ 1905 w 5706109"/>
                <a:gd name="connsiteY39" fmla="*/ 989965 h 4359275"/>
                <a:gd name="connsiteX40" fmla="*/ 1905 w 5706109"/>
                <a:gd name="connsiteY40" fmla="*/ 4158616 h 4359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5706109" h="4359275">
                  <a:moveTo>
                    <a:pt x="0" y="4157346"/>
                  </a:moveTo>
                  <a:lnTo>
                    <a:pt x="101600" y="4157346"/>
                  </a:lnTo>
                  <a:lnTo>
                    <a:pt x="101600" y="1075055"/>
                  </a:lnTo>
                  <a:lnTo>
                    <a:pt x="101600" y="1075055"/>
                  </a:lnTo>
                  <a:lnTo>
                    <a:pt x="191770" y="1059180"/>
                  </a:lnTo>
                  <a:lnTo>
                    <a:pt x="861060" y="942975"/>
                  </a:lnTo>
                  <a:lnTo>
                    <a:pt x="1195705" y="885190"/>
                  </a:lnTo>
                  <a:lnTo>
                    <a:pt x="1362710" y="855980"/>
                  </a:lnTo>
                  <a:lnTo>
                    <a:pt x="1529715" y="826770"/>
                  </a:lnTo>
                  <a:lnTo>
                    <a:pt x="1864360" y="768985"/>
                  </a:lnTo>
                  <a:lnTo>
                    <a:pt x="2031365" y="739775"/>
                  </a:lnTo>
                  <a:lnTo>
                    <a:pt x="2198370" y="710565"/>
                  </a:lnTo>
                  <a:lnTo>
                    <a:pt x="2365375" y="681355"/>
                  </a:lnTo>
                  <a:lnTo>
                    <a:pt x="2532380" y="652145"/>
                  </a:lnTo>
                  <a:lnTo>
                    <a:pt x="2699385" y="622935"/>
                  </a:lnTo>
                  <a:lnTo>
                    <a:pt x="2866390" y="593725"/>
                  </a:lnTo>
                  <a:cubicBezTo>
                    <a:pt x="3731260" y="443865"/>
                    <a:pt x="4596130" y="294005"/>
                    <a:pt x="5461000" y="144145"/>
                  </a:cubicBezTo>
                  <a:lnTo>
                    <a:pt x="5602605" y="119380"/>
                  </a:lnTo>
                  <a:lnTo>
                    <a:pt x="5602605" y="119380"/>
                  </a:lnTo>
                  <a:lnTo>
                    <a:pt x="5602605" y="4257676"/>
                  </a:lnTo>
                  <a:lnTo>
                    <a:pt x="609600" y="4257676"/>
                  </a:lnTo>
                  <a:lnTo>
                    <a:pt x="609600" y="4359276"/>
                  </a:lnTo>
                  <a:lnTo>
                    <a:pt x="5706110" y="4359276"/>
                  </a:lnTo>
                  <a:lnTo>
                    <a:pt x="5706110" y="0"/>
                  </a:lnTo>
                  <a:lnTo>
                    <a:pt x="5704840" y="0"/>
                  </a:lnTo>
                  <a:cubicBezTo>
                    <a:pt x="5618480" y="15240"/>
                    <a:pt x="5532120" y="30480"/>
                    <a:pt x="5445760" y="45085"/>
                  </a:cubicBezTo>
                  <a:cubicBezTo>
                    <a:pt x="4580890" y="194945"/>
                    <a:pt x="3716020" y="344805"/>
                    <a:pt x="2851150" y="494665"/>
                  </a:cubicBezTo>
                  <a:lnTo>
                    <a:pt x="2684145" y="523875"/>
                  </a:lnTo>
                  <a:lnTo>
                    <a:pt x="2517140" y="553085"/>
                  </a:lnTo>
                  <a:lnTo>
                    <a:pt x="2350135" y="582295"/>
                  </a:lnTo>
                  <a:lnTo>
                    <a:pt x="2183130" y="611505"/>
                  </a:lnTo>
                  <a:lnTo>
                    <a:pt x="2016125" y="640715"/>
                  </a:lnTo>
                  <a:lnTo>
                    <a:pt x="1849120" y="669925"/>
                  </a:lnTo>
                  <a:lnTo>
                    <a:pt x="1514475" y="727710"/>
                  </a:lnTo>
                  <a:lnTo>
                    <a:pt x="1347470" y="756920"/>
                  </a:lnTo>
                  <a:lnTo>
                    <a:pt x="1180465" y="786130"/>
                  </a:lnTo>
                  <a:lnTo>
                    <a:pt x="845820" y="843915"/>
                  </a:lnTo>
                  <a:lnTo>
                    <a:pt x="176530" y="960120"/>
                  </a:lnTo>
                  <a:lnTo>
                    <a:pt x="3175" y="989965"/>
                  </a:lnTo>
                  <a:lnTo>
                    <a:pt x="1905" y="989965"/>
                  </a:lnTo>
                  <a:lnTo>
                    <a:pt x="1905" y="4158616"/>
                  </a:lnTo>
                  <a:close/>
                </a:path>
              </a:pathLst>
            </a:custGeom>
            <a:gradFill flip="none" rotWithShape="1">
              <a:gsLst>
                <a:gs pos="46000">
                  <a:srgbClr val="FFE600"/>
                </a:gs>
                <a:gs pos="66000">
                  <a:srgbClr val="00C864"/>
                </a:gs>
                <a:gs pos="100000">
                  <a:srgbClr val="4696FF"/>
                </a:gs>
              </a:gsLst>
              <a:lin ang="18600000" scaled="0"/>
              <a:tileRect/>
            </a:gradFill>
            <a:ln w="818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 sz="1800"/>
            </a:p>
          </p:txBody>
        </p:sp>
      </p:grpSp>
    </p:spTree>
    <p:extLst>
      <p:ext uri="{BB962C8B-B14F-4D97-AF65-F5344CB8AC3E}">
        <p14:creationId xmlns:p14="http://schemas.microsoft.com/office/powerpoint/2010/main" val="1773166140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Fram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9CF5E0C7-6CC4-C4E1-946D-4BAC78CCDAE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0"/>
            <a:ext cx="8390722" cy="6858000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0"/>
                  <a:alpha val="0"/>
                </a:schemeClr>
              </a:gs>
              <a:gs pos="95000">
                <a:srgbClr val="000000">
                  <a:alpha val="70000"/>
                </a:srgbClr>
              </a:gs>
            </a:gsLst>
            <a:lin ang="108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endParaRPr lang="en-US" sz="1200" b="1">
              <a:solidFill>
                <a:schemeClr val="tx1"/>
              </a:solidFill>
            </a:endParaRP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A8D6BAB6-A68E-C404-5D92-6E11D325CFFA}"/>
              </a:ext>
            </a:extLst>
          </p:cNvPr>
          <p:cNvGrpSpPr/>
          <p:nvPr userDrawn="1"/>
        </p:nvGrpSpPr>
        <p:grpSpPr bwMode="black">
          <a:xfrm>
            <a:off x="10568726" y="5167683"/>
            <a:ext cx="1219835" cy="1284606"/>
            <a:chOff x="10563224" y="5158158"/>
            <a:chExt cx="1219200" cy="1284606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BEE0067F-78DC-1ABA-D072-D13444B14ED9}"/>
                </a:ext>
              </a:extLst>
            </p:cNvPr>
            <p:cNvSpPr/>
            <p:nvPr/>
          </p:nvSpPr>
          <p:spPr bwMode="black">
            <a:xfrm>
              <a:off x="10826115" y="5158158"/>
              <a:ext cx="805814" cy="294004"/>
            </a:xfrm>
            <a:custGeom>
              <a:avLst/>
              <a:gdLst>
                <a:gd name="connsiteX0" fmla="*/ 805814 w 805814"/>
                <a:gd name="connsiteY0" fmla="*/ 0 h 294004"/>
                <a:gd name="connsiteX1" fmla="*/ 0 w 805814"/>
                <a:gd name="connsiteY1" fmla="*/ 294005 h 294004"/>
                <a:gd name="connsiteX2" fmla="*/ 805814 w 805814"/>
                <a:gd name="connsiteY2" fmla="*/ 151765 h 294004"/>
                <a:gd name="connsiteX3" fmla="*/ 805814 w 805814"/>
                <a:gd name="connsiteY3" fmla="*/ 0 h 2940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05814" h="294004">
                  <a:moveTo>
                    <a:pt x="805814" y="0"/>
                  </a:moveTo>
                  <a:lnTo>
                    <a:pt x="0" y="294005"/>
                  </a:lnTo>
                  <a:lnTo>
                    <a:pt x="805814" y="151765"/>
                  </a:lnTo>
                  <a:lnTo>
                    <a:pt x="805814" y="0"/>
                  </a:lnTo>
                  <a:close/>
                </a:path>
              </a:pathLst>
            </a:custGeom>
            <a:solidFill>
              <a:srgbClr val="FFE600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23" name="Freeform 22">
              <a:extLst>
                <a:ext uri="{FF2B5EF4-FFF2-40B4-BE49-F238E27FC236}">
                  <a16:creationId xmlns:a16="http://schemas.microsoft.com/office/drawing/2014/main" id="{51F51328-AAA1-9C6C-5EE4-05350DF6D22E}"/>
                </a:ext>
              </a:extLst>
            </p:cNvPr>
            <p:cNvSpPr/>
            <p:nvPr/>
          </p:nvSpPr>
          <p:spPr bwMode="black">
            <a:xfrm>
              <a:off x="10563224" y="5574083"/>
              <a:ext cx="1219200" cy="868681"/>
            </a:xfrm>
            <a:custGeom>
              <a:avLst/>
              <a:gdLst>
                <a:gd name="connsiteX0" fmla="*/ 245110 w 1219200"/>
                <a:gd name="connsiteY0" fmla="*/ 839471 h 868681"/>
                <a:gd name="connsiteX1" fmla="*/ 246379 w 1219200"/>
                <a:gd name="connsiteY1" fmla="*/ 839471 h 868681"/>
                <a:gd name="connsiteX2" fmla="*/ 245041 w 1219200"/>
                <a:gd name="connsiteY2" fmla="*/ 839979 h 868681"/>
                <a:gd name="connsiteX3" fmla="*/ 522605 w 1219200"/>
                <a:gd name="connsiteY3" fmla="*/ 796926 h 868681"/>
                <a:gd name="connsiteX4" fmla="*/ 504189 w 1219200"/>
                <a:gd name="connsiteY4" fmla="*/ 821691 h 868681"/>
                <a:gd name="connsiteX5" fmla="*/ 522605 w 1219200"/>
                <a:gd name="connsiteY5" fmla="*/ 845821 h 868681"/>
                <a:gd name="connsiteX6" fmla="*/ 541019 w 1219200"/>
                <a:gd name="connsiteY6" fmla="*/ 821691 h 868681"/>
                <a:gd name="connsiteX7" fmla="*/ 522605 w 1219200"/>
                <a:gd name="connsiteY7" fmla="*/ 796926 h 868681"/>
                <a:gd name="connsiteX8" fmla="*/ 817245 w 1219200"/>
                <a:gd name="connsiteY8" fmla="*/ 796291 h 868681"/>
                <a:gd name="connsiteX9" fmla="*/ 800735 w 1219200"/>
                <a:gd name="connsiteY9" fmla="*/ 819786 h 868681"/>
                <a:gd name="connsiteX10" fmla="*/ 817879 w 1219200"/>
                <a:gd name="connsiteY10" fmla="*/ 846456 h 868681"/>
                <a:gd name="connsiteX11" fmla="*/ 833754 w 1219200"/>
                <a:gd name="connsiteY11" fmla="*/ 838836 h 868681"/>
                <a:gd name="connsiteX12" fmla="*/ 833754 w 1219200"/>
                <a:gd name="connsiteY12" fmla="*/ 838201 h 868681"/>
                <a:gd name="connsiteX13" fmla="*/ 833754 w 1219200"/>
                <a:gd name="connsiteY13" fmla="*/ 803911 h 868681"/>
                <a:gd name="connsiteX14" fmla="*/ 817245 w 1219200"/>
                <a:gd name="connsiteY14" fmla="*/ 796291 h 868681"/>
                <a:gd name="connsiteX15" fmla="*/ 1179195 w 1219200"/>
                <a:gd name="connsiteY15" fmla="*/ 794386 h 868681"/>
                <a:gd name="connsiteX16" fmla="*/ 1163320 w 1219200"/>
                <a:gd name="connsiteY16" fmla="*/ 811531 h 868681"/>
                <a:gd name="connsiteX17" fmla="*/ 1163954 w 1219200"/>
                <a:gd name="connsiteY17" fmla="*/ 811531 h 868681"/>
                <a:gd name="connsiteX18" fmla="*/ 1195704 w 1219200"/>
                <a:gd name="connsiteY18" fmla="*/ 811531 h 868681"/>
                <a:gd name="connsiteX19" fmla="*/ 1179195 w 1219200"/>
                <a:gd name="connsiteY19" fmla="*/ 794386 h 868681"/>
                <a:gd name="connsiteX20" fmla="*/ 909320 w 1219200"/>
                <a:gd name="connsiteY20" fmla="*/ 794386 h 868681"/>
                <a:gd name="connsiteX21" fmla="*/ 893445 w 1219200"/>
                <a:gd name="connsiteY21" fmla="*/ 811531 h 868681"/>
                <a:gd name="connsiteX22" fmla="*/ 894079 w 1219200"/>
                <a:gd name="connsiteY22" fmla="*/ 811531 h 868681"/>
                <a:gd name="connsiteX23" fmla="*/ 925829 w 1219200"/>
                <a:gd name="connsiteY23" fmla="*/ 811531 h 868681"/>
                <a:gd name="connsiteX24" fmla="*/ 909320 w 1219200"/>
                <a:gd name="connsiteY24" fmla="*/ 794386 h 868681"/>
                <a:gd name="connsiteX25" fmla="*/ 737870 w 1219200"/>
                <a:gd name="connsiteY25" fmla="*/ 775971 h 868681"/>
                <a:gd name="connsiteX26" fmla="*/ 761364 w 1219200"/>
                <a:gd name="connsiteY26" fmla="*/ 775971 h 868681"/>
                <a:gd name="connsiteX27" fmla="*/ 761364 w 1219200"/>
                <a:gd name="connsiteY27" fmla="*/ 866141 h 868681"/>
                <a:gd name="connsiteX28" fmla="*/ 737870 w 1219200"/>
                <a:gd name="connsiteY28" fmla="*/ 866141 h 868681"/>
                <a:gd name="connsiteX29" fmla="*/ 143510 w 1219200"/>
                <a:gd name="connsiteY29" fmla="*/ 775971 h 868681"/>
                <a:gd name="connsiteX30" fmla="*/ 167004 w 1219200"/>
                <a:gd name="connsiteY30" fmla="*/ 775971 h 868681"/>
                <a:gd name="connsiteX31" fmla="*/ 167004 w 1219200"/>
                <a:gd name="connsiteY31" fmla="*/ 866141 h 868681"/>
                <a:gd name="connsiteX32" fmla="*/ 143510 w 1219200"/>
                <a:gd name="connsiteY32" fmla="*/ 866141 h 868681"/>
                <a:gd name="connsiteX33" fmla="*/ 635 w 1219200"/>
                <a:gd name="connsiteY33" fmla="*/ 775971 h 868681"/>
                <a:gd name="connsiteX34" fmla="*/ 26670 w 1219200"/>
                <a:gd name="connsiteY34" fmla="*/ 775971 h 868681"/>
                <a:gd name="connsiteX35" fmla="*/ 40004 w 1219200"/>
                <a:gd name="connsiteY35" fmla="*/ 828041 h 868681"/>
                <a:gd name="connsiteX36" fmla="*/ 55245 w 1219200"/>
                <a:gd name="connsiteY36" fmla="*/ 775971 h 868681"/>
                <a:gd name="connsiteX37" fmla="*/ 76200 w 1219200"/>
                <a:gd name="connsiteY37" fmla="*/ 775971 h 868681"/>
                <a:gd name="connsiteX38" fmla="*/ 91439 w 1219200"/>
                <a:gd name="connsiteY38" fmla="*/ 828041 h 868681"/>
                <a:gd name="connsiteX39" fmla="*/ 105409 w 1219200"/>
                <a:gd name="connsiteY39" fmla="*/ 775971 h 868681"/>
                <a:gd name="connsiteX40" fmla="*/ 130810 w 1219200"/>
                <a:gd name="connsiteY40" fmla="*/ 775971 h 868681"/>
                <a:gd name="connsiteX41" fmla="*/ 102235 w 1219200"/>
                <a:gd name="connsiteY41" fmla="*/ 866141 h 868681"/>
                <a:gd name="connsiteX42" fmla="*/ 80644 w 1219200"/>
                <a:gd name="connsiteY42" fmla="*/ 866141 h 868681"/>
                <a:gd name="connsiteX43" fmla="*/ 65405 w 1219200"/>
                <a:gd name="connsiteY43" fmla="*/ 811531 h 868681"/>
                <a:gd name="connsiteX44" fmla="*/ 50165 w 1219200"/>
                <a:gd name="connsiteY44" fmla="*/ 866141 h 868681"/>
                <a:gd name="connsiteX45" fmla="*/ 28575 w 1219200"/>
                <a:gd name="connsiteY45" fmla="*/ 866141 h 868681"/>
                <a:gd name="connsiteX46" fmla="*/ 1181099 w 1219200"/>
                <a:gd name="connsiteY46" fmla="*/ 774066 h 868681"/>
                <a:gd name="connsiteX47" fmla="*/ 1219200 w 1219200"/>
                <a:gd name="connsiteY47" fmla="*/ 821056 h 868681"/>
                <a:gd name="connsiteX48" fmla="*/ 1218564 w 1219200"/>
                <a:gd name="connsiteY48" fmla="*/ 821056 h 868681"/>
                <a:gd name="connsiteX49" fmla="*/ 1218564 w 1219200"/>
                <a:gd name="connsiteY49" fmla="*/ 828676 h 868681"/>
                <a:gd name="connsiteX50" fmla="*/ 1163954 w 1219200"/>
                <a:gd name="connsiteY50" fmla="*/ 828676 h 868681"/>
                <a:gd name="connsiteX51" fmla="*/ 1183004 w 1219200"/>
                <a:gd name="connsiteY51" fmla="*/ 846456 h 868681"/>
                <a:gd name="connsiteX52" fmla="*/ 1198879 w 1219200"/>
                <a:gd name="connsiteY52" fmla="*/ 840106 h 868681"/>
                <a:gd name="connsiteX53" fmla="*/ 1214754 w 1219200"/>
                <a:gd name="connsiteY53" fmla="*/ 853441 h 868681"/>
                <a:gd name="connsiteX54" fmla="*/ 1182370 w 1219200"/>
                <a:gd name="connsiteY54" fmla="*/ 868046 h 868681"/>
                <a:gd name="connsiteX55" fmla="*/ 1141095 w 1219200"/>
                <a:gd name="connsiteY55" fmla="*/ 821056 h 868681"/>
                <a:gd name="connsiteX56" fmla="*/ 1181099 w 1219200"/>
                <a:gd name="connsiteY56" fmla="*/ 774066 h 868681"/>
                <a:gd name="connsiteX57" fmla="*/ 1097915 w 1219200"/>
                <a:gd name="connsiteY57" fmla="*/ 774066 h 868681"/>
                <a:gd name="connsiteX58" fmla="*/ 1133474 w 1219200"/>
                <a:gd name="connsiteY58" fmla="*/ 793751 h 868681"/>
                <a:gd name="connsiteX59" fmla="*/ 1118235 w 1219200"/>
                <a:gd name="connsiteY59" fmla="*/ 808991 h 868681"/>
                <a:gd name="connsiteX60" fmla="*/ 1097915 w 1219200"/>
                <a:gd name="connsiteY60" fmla="*/ 796291 h 868681"/>
                <a:gd name="connsiteX61" fmla="*/ 1078864 w 1219200"/>
                <a:gd name="connsiteY61" fmla="*/ 820421 h 868681"/>
                <a:gd name="connsiteX62" fmla="*/ 1097915 w 1219200"/>
                <a:gd name="connsiteY62" fmla="*/ 845186 h 868681"/>
                <a:gd name="connsiteX63" fmla="*/ 1118235 w 1219200"/>
                <a:gd name="connsiteY63" fmla="*/ 833756 h 868681"/>
                <a:gd name="connsiteX64" fmla="*/ 1118870 w 1219200"/>
                <a:gd name="connsiteY64" fmla="*/ 834391 h 868681"/>
                <a:gd name="connsiteX65" fmla="*/ 1133474 w 1219200"/>
                <a:gd name="connsiteY65" fmla="*/ 848361 h 868681"/>
                <a:gd name="connsiteX66" fmla="*/ 1097280 w 1219200"/>
                <a:gd name="connsiteY66" fmla="*/ 868046 h 868681"/>
                <a:gd name="connsiteX67" fmla="*/ 1054735 w 1219200"/>
                <a:gd name="connsiteY67" fmla="*/ 821056 h 868681"/>
                <a:gd name="connsiteX68" fmla="*/ 1097915 w 1219200"/>
                <a:gd name="connsiteY68" fmla="*/ 774066 h 868681"/>
                <a:gd name="connsiteX69" fmla="*/ 1009015 w 1219200"/>
                <a:gd name="connsiteY69" fmla="*/ 774066 h 868681"/>
                <a:gd name="connsiteX70" fmla="*/ 1041400 w 1219200"/>
                <a:gd name="connsiteY70" fmla="*/ 815341 h 868681"/>
                <a:gd name="connsiteX71" fmla="*/ 1041400 w 1219200"/>
                <a:gd name="connsiteY71" fmla="*/ 866141 h 868681"/>
                <a:gd name="connsiteX72" fmla="*/ 1017905 w 1219200"/>
                <a:gd name="connsiteY72" fmla="*/ 866141 h 868681"/>
                <a:gd name="connsiteX73" fmla="*/ 1017905 w 1219200"/>
                <a:gd name="connsiteY73" fmla="*/ 817246 h 868681"/>
                <a:gd name="connsiteX74" fmla="*/ 1002665 w 1219200"/>
                <a:gd name="connsiteY74" fmla="*/ 796291 h 868681"/>
                <a:gd name="connsiteX75" fmla="*/ 986790 w 1219200"/>
                <a:gd name="connsiteY75" fmla="*/ 816611 h 868681"/>
                <a:gd name="connsiteX76" fmla="*/ 986790 w 1219200"/>
                <a:gd name="connsiteY76" fmla="*/ 866141 h 868681"/>
                <a:gd name="connsiteX77" fmla="*/ 963295 w 1219200"/>
                <a:gd name="connsiteY77" fmla="*/ 866141 h 868681"/>
                <a:gd name="connsiteX78" fmla="*/ 963295 w 1219200"/>
                <a:gd name="connsiteY78" fmla="*/ 775971 h 868681"/>
                <a:gd name="connsiteX79" fmla="*/ 986790 w 1219200"/>
                <a:gd name="connsiteY79" fmla="*/ 775971 h 868681"/>
                <a:gd name="connsiteX80" fmla="*/ 986790 w 1219200"/>
                <a:gd name="connsiteY80" fmla="*/ 782321 h 868681"/>
                <a:gd name="connsiteX81" fmla="*/ 1009015 w 1219200"/>
                <a:gd name="connsiteY81" fmla="*/ 774066 h 868681"/>
                <a:gd name="connsiteX82" fmla="*/ 911224 w 1219200"/>
                <a:gd name="connsiteY82" fmla="*/ 774066 h 868681"/>
                <a:gd name="connsiteX83" fmla="*/ 949325 w 1219200"/>
                <a:gd name="connsiteY83" fmla="*/ 821056 h 868681"/>
                <a:gd name="connsiteX84" fmla="*/ 948689 w 1219200"/>
                <a:gd name="connsiteY84" fmla="*/ 821056 h 868681"/>
                <a:gd name="connsiteX85" fmla="*/ 948689 w 1219200"/>
                <a:gd name="connsiteY85" fmla="*/ 828676 h 868681"/>
                <a:gd name="connsiteX86" fmla="*/ 894079 w 1219200"/>
                <a:gd name="connsiteY86" fmla="*/ 828676 h 868681"/>
                <a:gd name="connsiteX87" fmla="*/ 913129 w 1219200"/>
                <a:gd name="connsiteY87" fmla="*/ 846456 h 868681"/>
                <a:gd name="connsiteX88" fmla="*/ 929004 w 1219200"/>
                <a:gd name="connsiteY88" fmla="*/ 840106 h 868681"/>
                <a:gd name="connsiteX89" fmla="*/ 944879 w 1219200"/>
                <a:gd name="connsiteY89" fmla="*/ 853441 h 868681"/>
                <a:gd name="connsiteX90" fmla="*/ 912495 w 1219200"/>
                <a:gd name="connsiteY90" fmla="*/ 868046 h 868681"/>
                <a:gd name="connsiteX91" fmla="*/ 871220 w 1219200"/>
                <a:gd name="connsiteY91" fmla="*/ 821056 h 868681"/>
                <a:gd name="connsiteX92" fmla="*/ 911224 w 1219200"/>
                <a:gd name="connsiteY92" fmla="*/ 774066 h 868681"/>
                <a:gd name="connsiteX93" fmla="*/ 623570 w 1219200"/>
                <a:gd name="connsiteY93" fmla="*/ 774066 h 868681"/>
                <a:gd name="connsiteX94" fmla="*/ 655954 w 1219200"/>
                <a:gd name="connsiteY94" fmla="*/ 815341 h 868681"/>
                <a:gd name="connsiteX95" fmla="*/ 655954 w 1219200"/>
                <a:gd name="connsiteY95" fmla="*/ 866141 h 868681"/>
                <a:gd name="connsiteX96" fmla="*/ 632459 w 1219200"/>
                <a:gd name="connsiteY96" fmla="*/ 866141 h 868681"/>
                <a:gd name="connsiteX97" fmla="*/ 632459 w 1219200"/>
                <a:gd name="connsiteY97" fmla="*/ 817246 h 868681"/>
                <a:gd name="connsiteX98" fmla="*/ 617220 w 1219200"/>
                <a:gd name="connsiteY98" fmla="*/ 796291 h 868681"/>
                <a:gd name="connsiteX99" fmla="*/ 601345 w 1219200"/>
                <a:gd name="connsiteY99" fmla="*/ 816611 h 868681"/>
                <a:gd name="connsiteX100" fmla="*/ 601345 w 1219200"/>
                <a:gd name="connsiteY100" fmla="*/ 866141 h 868681"/>
                <a:gd name="connsiteX101" fmla="*/ 577849 w 1219200"/>
                <a:gd name="connsiteY101" fmla="*/ 866141 h 868681"/>
                <a:gd name="connsiteX102" fmla="*/ 577849 w 1219200"/>
                <a:gd name="connsiteY102" fmla="*/ 775971 h 868681"/>
                <a:gd name="connsiteX103" fmla="*/ 601345 w 1219200"/>
                <a:gd name="connsiteY103" fmla="*/ 775971 h 868681"/>
                <a:gd name="connsiteX104" fmla="*/ 601345 w 1219200"/>
                <a:gd name="connsiteY104" fmla="*/ 782321 h 868681"/>
                <a:gd name="connsiteX105" fmla="*/ 623570 w 1219200"/>
                <a:gd name="connsiteY105" fmla="*/ 774066 h 868681"/>
                <a:gd name="connsiteX106" fmla="*/ 522605 w 1219200"/>
                <a:gd name="connsiteY106" fmla="*/ 774066 h 868681"/>
                <a:gd name="connsiteX107" fmla="*/ 564515 w 1219200"/>
                <a:gd name="connsiteY107" fmla="*/ 821056 h 868681"/>
                <a:gd name="connsiteX108" fmla="*/ 522605 w 1219200"/>
                <a:gd name="connsiteY108" fmla="*/ 868046 h 868681"/>
                <a:gd name="connsiteX109" fmla="*/ 480695 w 1219200"/>
                <a:gd name="connsiteY109" fmla="*/ 821056 h 868681"/>
                <a:gd name="connsiteX110" fmla="*/ 522605 w 1219200"/>
                <a:gd name="connsiteY110" fmla="*/ 774066 h 868681"/>
                <a:gd name="connsiteX111" fmla="*/ 436879 w 1219200"/>
                <a:gd name="connsiteY111" fmla="*/ 774066 h 868681"/>
                <a:gd name="connsiteX112" fmla="*/ 472439 w 1219200"/>
                <a:gd name="connsiteY112" fmla="*/ 793751 h 868681"/>
                <a:gd name="connsiteX113" fmla="*/ 457200 w 1219200"/>
                <a:gd name="connsiteY113" fmla="*/ 808991 h 868681"/>
                <a:gd name="connsiteX114" fmla="*/ 436879 w 1219200"/>
                <a:gd name="connsiteY114" fmla="*/ 796291 h 868681"/>
                <a:gd name="connsiteX115" fmla="*/ 417829 w 1219200"/>
                <a:gd name="connsiteY115" fmla="*/ 820421 h 868681"/>
                <a:gd name="connsiteX116" fmla="*/ 436879 w 1219200"/>
                <a:gd name="connsiteY116" fmla="*/ 845186 h 868681"/>
                <a:gd name="connsiteX117" fmla="*/ 457200 w 1219200"/>
                <a:gd name="connsiteY117" fmla="*/ 833756 h 868681"/>
                <a:gd name="connsiteX118" fmla="*/ 457834 w 1219200"/>
                <a:gd name="connsiteY118" fmla="*/ 834391 h 868681"/>
                <a:gd name="connsiteX119" fmla="*/ 472439 w 1219200"/>
                <a:gd name="connsiteY119" fmla="*/ 848361 h 868681"/>
                <a:gd name="connsiteX120" fmla="*/ 436245 w 1219200"/>
                <a:gd name="connsiteY120" fmla="*/ 868046 h 868681"/>
                <a:gd name="connsiteX121" fmla="*/ 393700 w 1219200"/>
                <a:gd name="connsiteY121" fmla="*/ 821056 h 868681"/>
                <a:gd name="connsiteX122" fmla="*/ 436879 w 1219200"/>
                <a:gd name="connsiteY122" fmla="*/ 774066 h 868681"/>
                <a:gd name="connsiteX123" fmla="*/ 219075 w 1219200"/>
                <a:gd name="connsiteY123" fmla="*/ 742316 h 868681"/>
                <a:gd name="connsiteX124" fmla="*/ 219075 w 1219200"/>
                <a:gd name="connsiteY124" fmla="*/ 777241 h 868681"/>
                <a:gd name="connsiteX125" fmla="*/ 245110 w 1219200"/>
                <a:gd name="connsiteY125" fmla="*/ 777241 h 868681"/>
                <a:gd name="connsiteX126" fmla="*/ 245110 w 1219200"/>
                <a:gd name="connsiteY126" fmla="*/ 798831 h 868681"/>
                <a:gd name="connsiteX127" fmla="*/ 219075 w 1219200"/>
                <a:gd name="connsiteY127" fmla="*/ 798831 h 868681"/>
                <a:gd name="connsiteX128" fmla="*/ 219075 w 1219200"/>
                <a:gd name="connsiteY128" fmla="*/ 835661 h 868681"/>
                <a:gd name="connsiteX129" fmla="*/ 227965 w 1219200"/>
                <a:gd name="connsiteY129" fmla="*/ 846456 h 868681"/>
                <a:gd name="connsiteX130" fmla="*/ 245041 w 1219200"/>
                <a:gd name="connsiteY130" fmla="*/ 839979 h 868681"/>
                <a:gd name="connsiteX131" fmla="*/ 241935 w 1219200"/>
                <a:gd name="connsiteY131" fmla="*/ 862966 h 868681"/>
                <a:gd name="connsiteX132" fmla="*/ 219709 w 1219200"/>
                <a:gd name="connsiteY132" fmla="*/ 868681 h 868681"/>
                <a:gd name="connsiteX133" fmla="*/ 195579 w 1219200"/>
                <a:gd name="connsiteY133" fmla="*/ 842011 h 868681"/>
                <a:gd name="connsiteX134" fmla="*/ 195579 w 1219200"/>
                <a:gd name="connsiteY134" fmla="*/ 798831 h 868681"/>
                <a:gd name="connsiteX135" fmla="*/ 179704 w 1219200"/>
                <a:gd name="connsiteY135" fmla="*/ 798831 h 868681"/>
                <a:gd name="connsiteX136" fmla="*/ 179704 w 1219200"/>
                <a:gd name="connsiteY136" fmla="*/ 777241 h 868681"/>
                <a:gd name="connsiteX137" fmla="*/ 195579 w 1219200"/>
                <a:gd name="connsiteY137" fmla="*/ 777241 h 868681"/>
                <a:gd name="connsiteX138" fmla="*/ 195579 w 1219200"/>
                <a:gd name="connsiteY138" fmla="*/ 753746 h 868681"/>
                <a:gd name="connsiteX139" fmla="*/ 749935 w 1219200"/>
                <a:gd name="connsiteY139" fmla="*/ 741681 h 868681"/>
                <a:gd name="connsiteX140" fmla="*/ 763269 w 1219200"/>
                <a:gd name="connsiteY140" fmla="*/ 755016 h 868681"/>
                <a:gd name="connsiteX141" fmla="*/ 749935 w 1219200"/>
                <a:gd name="connsiteY141" fmla="*/ 768351 h 868681"/>
                <a:gd name="connsiteX142" fmla="*/ 736599 w 1219200"/>
                <a:gd name="connsiteY142" fmla="*/ 755016 h 868681"/>
                <a:gd name="connsiteX143" fmla="*/ 749935 w 1219200"/>
                <a:gd name="connsiteY143" fmla="*/ 741681 h 868681"/>
                <a:gd name="connsiteX144" fmla="*/ 154939 w 1219200"/>
                <a:gd name="connsiteY144" fmla="*/ 741681 h 868681"/>
                <a:gd name="connsiteX145" fmla="*/ 168275 w 1219200"/>
                <a:gd name="connsiteY145" fmla="*/ 755016 h 868681"/>
                <a:gd name="connsiteX146" fmla="*/ 154939 w 1219200"/>
                <a:gd name="connsiteY146" fmla="*/ 768351 h 868681"/>
                <a:gd name="connsiteX147" fmla="*/ 141605 w 1219200"/>
                <a:gd name="connsiteY147" fmla="*/ 755016 h 868681"/>
                <a:gd name="connsiteX148" fmla="*/ 154939 w 1219200"/>
                <a:gd name="connsiteY148" fmla="*/ 741681 h 868681"/>
                <a:gd name="connsiteX149" fmla="*/ 856614 w 1219200"/>
                <a:gd name="connsiteY149" fmla="*/ 741046 h 868681"/>
                <a:gd name="connsiteX150" fmla="*/ 856614 w 1219200"/>
                <a:gd name="connsiteY150" fmla="*/ 866141 h 868681"/>
                <a:gd name="connsiteX151" fmla="*/ 833120 w 1219200"/>
                <a:gd name="connsiteY151" fmla="*/ 866141 h 868681"/>
                <a:gd name="connsiteX152" fmla="*/ 833120 w 1219200"/>
                <a:gd name="connsiteY152" fmla="*/ 860426 h 868681"/>
                <a:gd name="connsiteX153" fmla="*/ 812799 w 1219200"/>
                <a:gd name="connsiteY153" fmla="*/ 868046 h 868681"/>
                <a:gd name="connsiteX154" fmla="*/ 775970 w 1219200"/>
                <a:gd name="connsiteY154" fmla="*/ 820421 h 868681"/>
                <a:gd name="connsiteX155" fmla="*/ 812165 w 1219200"/>
                <a:gd name="connsiteY155" fmla="*/ 774066 h 868681"/>
                <a:gd name="connsiteX156" fmla="*/ 833120 w 1219200"/>
                <a:gd name="connsiteY156" fmla="*/ 781051 h 868681"/>
                <a:gd name="connsiteX157" fmla="*/ 833120 w 1219200"/>
                <a:gd name="connsiteY157" fmla="*/ 752476 h 868681"/>
                <a:gd name="connsiteX158" fmla="*/ 707390 w 1219200"/>
                <a:gd name="connsiteY158" fmla="*/ 741046 h 868681"/>
                <a:gd name="connsiteX159" fmla="*/ 724534 w 1219200"/>
                <a:gd name="connsiteY159" fmla="*/ 743586 h 868681"/>
                <a:gd name="connsiteX160" fmla="*/ 724534 w 1219200"/>
                <a:gd name="connsiteY160" fmla="*/ 744221 h 868681"/>
                <a:gd name="connsiteX161" fmla="*/ 724534 w 1219200"/>
                <a:gd name="connsiteY161" fmla="*/ 762636 h 868681"/>
                <a:gd name="connsiteX162" fmla="*/ 713105 w 1219200"/>
                <a:gd name="connsiteY162" fmla="*/ 760731 h 868681"/>
                <a:gd name="connsiteX163" fmla="*/ 703579 w 1219200"/>
                <a:gd name="connsiteY163" fmla="*/ 768351 h 868681"/>
                <a:gd name="connsiteX164" fmla="*/ 703579 w 1219200"/>
                <a:gd name="connsiteY164" fmla="*/ 775336 h 868681"/>
                <a:gd name="connsiteX165" fmla="*/ 722629 w 1219200"/>
                <a:gd name="connsiteY165" fmla="*/ 775336 h 868681"/>
                <a:gd name="connsiteX166" fmla="*/ 722629 w 1219200"/>
                <a:gd name="connsiteY166" fmla="*/ 796926 h 868681"/>
                <a:gd name="connsiteX167" fmla="*/ 703579 w 1219200"/>
                <a:gd name="connsiteY167" fmla="*/ 796926 h 868681"/>
                <a:gd name="connsiteX168" fmla="*/ 703579 w 1219200"/>
                <a:gd name="connsiteY168" fmla="*/ 865506 h 868681"/>
                <a:gd name="connsiteX169" fmla="*/ 680084 w 1219200"/>
                <a:gd name="connsiteY169" fmla="*/ 865506 h 868681"/>
                <a:gd name="connsiteX170" fmla="*/ 680084 w 1219200"/>
                <a:gd name="connsiteY170" fmla="*/ 796926 h 868681"/>
                <a:gd name="connsiteX171" fmla="*/ 667385 w 1219200"/>
                <a:gd name="connsiteY171" fmla="*/ 796926 h 868681"/>
                <a:gd name="connsiteX172" fmla="*/ 667385 w 1219200"/>
                <a:gd name="connsiteY172" fmla="*/ 775336 h 868681"/>
                <a:gd name="connsiteX173" fmla="*/ 680084 w 1219200"/>
                <a:gd name="connsiteY173" fmla="*/ 775336 h 868681"/>
                <a:gd name="connsiteX174" fmla="*/ 680084 w 1219200"/>
                <a:gd name="connsiteY174" fmla="*/ 764541 h 868681"/>
                <a:gd name="connsiteX175" fmla="*/ 707390 w 1219200"/>
                <a:gd name="connsiteY175" fmla="*/ 741046 h 868681"/>
                <a:gd name="connsiteX176" fmla="*/ 282575 w 1219200"/>
                <a:gd name="connsiteY176" fmla="*/ 741046 h 868681"/>
                <a:gd name="connsiteX177" fmla="*/ 282575 w 1219200"/>
                <a:gd name="connsiteY177" fmla="*/ 782321 h 868681"/>
                <a:gd name="connsiteX178" fmla="*/ 304799 w 1219200"/>
                <a:gd name="connsiteY178" fmla="*/ 774066 h 868681"/>
                <a:gd name="connsiteX179" fmla="*/ 336549 w 1219200"/>
                <a:gd name="connsiteY179" fmla="*/ 815341 h 868681"/>
                <a:gd name="connsiteX180" fmla="*/ 336549 w 1219200"/>
                <a:gd name="connsiteY180" fmla="*/ 866141 h 868681"/>
                <a:gd name="connsiteX181" fmla="*/ 313689 w 1219200"/>
                <a:gd name="connsiteY181" fmla="*/ 866141 h 868681"/>
                <a:gd name="connsiteX182" fmla="*/ 313689 w 1219200"/>
                <a:gd name="connsiteY182" fmla="*/ 817246 h 868681"/>
                <a:gd name="connsiteX183" fmla="*/ 298450 w 1219200"/>
                <a:gd name="connsiteY183" fmla="*/ 796291 h 868681"/>
                <a:gd name="connsiteX184" fmla="*/ 282575 w 1219200"/>
                <a:gd name="connsiteY184" fmla="*/ 816611 h 868681"/>
                <a:gd name="connsiteX185" fmla="*/ 282575 w 1219200"/>
                <a:gd name="connsiteY185" fmla="*/ 866141 h 868681"/>
                <a:gd name="connsiteX186" fmla="*/ 259079 w 1219200"/>
                <a:gd name="connsiteY186" fmla="*/ 866141 h 868681"/>
                <a:gd name="connsiteX187" fmla="*/ 259079 w 1219200"/>
                <a:gd name="connsiteY187" fmla="*/ 752476 h 868681"/>
                <a:gd name="connsiteX188" fmla="*/ 92709 w 1219200"/>
                <a:gd name="connsiteY188" fmla="*/ 648336 h 868681"/>
                <a:gd name="connsiteX189" fmla="*/ 92709 w 1219200"/>
                <a:gd name="connsiteY189" fmla="*/ 649606 h 868681"/>
                <a:gd name="connsiteX190" fmla="*/ 92427 w 1219200"/>
                <a:gd name="connsiteY190" fmla="*/ 648959 h 868681"/>
                <a:gd name="connsiteX191" fmla="*/ 230504 w 1219200"/>
                <a:gd name="connsiteY191" fmla="*/ 643256 h 868681"/>
                <a:gd name="connsiteX192" fmla="*/ 215900 w 1219200"/>
                <a:gd name="connsiteY192" fmla="*/ 654686 h 868681"/>
                <a:gd name="connsiteX193" fmla="*/ 228599 w 1219200"/>
                <a:gd name="connsiteY193" fmla="*/ 667386 h 868681"/>
                <a:gd name="connsiteX194" fmla="*/ 245745 w 1219200"/>
                <a:gd name="connsiteY194" fmla="*/ 658496 h 868681"/>
                <a:gd name="connsiteX195" fmla="*/ 245745 w 1219200"/>
                <a:gd name="connsiteY195" fmla="*/ 647066 h 868681"/>
                <a:gd name="connsiteX196" fmla="*/ 230504 w 1219200"/>
                <a:gd name="connsiteY196" fmla="*/ 643256 h 868681"/>
                <a:gd name="connsiteX197" fmla="*/ 321310 w 1219200"/>
                <a:gd name="connsiteY197" fmla="*/ 614046 h 868681"/>
                <a:gd name="connsiteX198" fmla="*/ 306704 w 1219200"/>
                <a:gd name="connsiteY198" fmla="*/ 622301 h 868681"/>
                <a:gd name="connsiteX199" fmla="*/ 306704 w 1219200"/>
                <a:gd name="connsiteY199" fmla="*/ 656591 h 868681"/>
                <a:gd name="connsiteX200" fmla="*/ 323215 w 1219200"/>
                <a:gd name="connsiteY200" fmla="*/ 664846 h 868681"/>
                <a:gd name="connsiteX201" fmla="*/ 339090 w 1219200"/>
                <a:gd name="connsiteY201" fmla="*/ 640716 h 868681"/>
                <a:gd name="connsiteX202" fmla="*/ 338454 w 1219200"/>
                <a:gd name="connsiteY202" fmla="*/ 640716 h 868681"/>
                <a:gd name="connsiteX203" fmla="*/ 321310 w 1219200"/>
                <a:gd name="connsiteY203" fmla="*/ 614046 h 868681"/>
                <a:gd name="connsiteX204" fmla="*/ 1179195 w 1219200"/>
                <a:gd name="connsiteY204" fmla="*/ 612776 h 868681"/>
                <a:gd name="connsiteX205" fmla="*/ 1163320 w 1219200"/>
                <a:gd name="connsiteY205" fmla="*/ 629921 h 868681"/>
                <a:gd name="connsiteX206" fmla="*/ 1163954 w 1219200"/>
                <a:gd name="connsiteY206" fmla="*/ 629921 h 868681"/>
                <a:gd name="connsiteX207" fmla="*/ 1195704 w 1219200"/>
                <a:gd name="connsiteY207" fmla="*/ 629921 h 868681"/>
                <a:gd name="connsiteX208" fmla="*/ 1179195 w 1219200"/>
                <a:gd name="connsiteY208" fmla="*/ 612776 h 868681"/>
                <a:gd name="connsiteX209" fmla="*/ 689610 w 1219200"/>
                <a:gd name="connsiteY209" fmla="*/ 612776 h 868681"/>
                <a:gd name="connsiteX210" fmla="*/ 673735 w 1219200"/>
                <a:gd name="connsiteY210" fmla="*/ 629921 h 868681"/>
                <a:gd name="connsiteX211" fmla="*/ 674370 w 1219200"/>
                <a:gd name="connsiteY211" fmla="*/ 629921 h 868681"/>
                <a:gd name="connsiteX212" fmla="*/ 706120 w 1219200"/>
                <a:gd name="connsiteY212" fmla="*/ 629921 h 868681"/>
                <a:gd name="connsiteX213" fmla="*/ 689610 w 1219200"/>
                <a:gd name="connsiteY213" fmla="*/ 612776 h 868681"/>
                <a:gd name="connsiteX214" fmla="*/ 410845 w 1219200"/>
                <a:gd name="connsiteY214" fmla="*/ 612776 h 868681"/>
                <a:gd name="connsiteX215" fmla="*/ 395605 w 1219200"/>
                <a:gd name="connsiteY215" fmla="*/ 629921 h 868681"/>
                <a:gd name="connsiteX216" fmla="*/ 427355 w 1219200"/>
                <a:gd name="connsiteY216" fmla="*/ 629921 h 868681"/>
                <a:gd name="connsiteX217" fmla="*/ 410845 w 1219200"/>
                <a:gd name="connsiteY217" fmla="*/ 612776 h 868681"/>
                <a:gd name="connsiteX218" fmla="*/ 991870 w 1219200"/>
                <a:gd name="connsiteY218" fmla="*/ 594361 h 868681"/>
                <a:gd name="connsiteX219" fmla="*/ 1014095 w 1219200"/>
                <a:gd name="connsiteY219" fmla="*/ 594361 h 868681"/>
                <a:gd name="connsiteX220" fmla="*/ 1014095 w 1219200"/>
                <a:gd name="connsiteY220" fmla="*/ 643256 h 868681"/>
                <a:gd name="connsiteX221" fmla="*/ 1029334 w 1219200"/>
                <a:gd name="connsiteY221" fmla="*/ 664846 h 868681"/>
                <a:gd name="connsiteX222" fmla="*/ 1044575 w 1219200"/>
                <a:gd name="connsiteY222" fmla="*/ 644526 h 868681"/>
                <a:gd name="connsiteX223" fmla="*/ 1044575 w 1219200"/>
                <a:gd name="connsiteY223" fmla="*/ 594996 h 868681"/>
                <a:gd name="connsiteX224" fmla="*/ 1066799 w 1219200"/>
                <a:gd name="connsiteY224" fmla="*/ 594996 h 868681"/>
                <a:gd name="connsiteX225" fmla="*/ 1066799 w 1219200"/>
                <a:gd name="connsiteY225" fmla="*/ 684531 h 868681"/>
                <a:gd name="connsiteX226" fmla="*/ 1044575 w 1219200"/>
                <a:gd name="connsiteY226" fmla="*/ 684531 h 868681"/>
                <a:gd name="connsiteX227" fmla="*/ 1044575 w 1219200"/>
                <a:gd name="connsiteY227" fmla="*/ 678181 h 868681"/>
                <a:gd name="connsiteX228" fmla="*/ 1023620 w 1219200"/>
                <a:gd name="connsiteY228" fmla="*/ 686436 h 868681"/>
                <a:gd name="connsiteX229" fmla="*/ 991870 w 1219200"/>
                <a:gd name="connsiteY229" fmla="*/ 645161 h 868681"/>
                <a:gd name="connsiteX230" fmla="*/ 836295 w 1219200"/>
                <a:gd name="connsiteY230" fmla="*/ 594361 h 868681"/>
                <a:gd name="connsiteX231" fmla="*/ 858519 w 1219200"/>
                <a:gd name="connsiteY231" fmla="*/ 594361 h 868681"/>
                <a:gd name="connsiteX232" fmla="*/ 858519 w 1219200"/>
                <a:gd name="connsiteY232" fmla="*/ 643256 h 868681"/>
                <a:gd name="connsiteX233" fmla="*/ 873760 w 1219200"/>
                <a:gd name="connsiteY233" fmla="*/ 664846 h 868681"/>
                <a:gd name="connsiteX234" fmla="*/ 889000 w 1219200"/>
                <a:gd name="connsiteY234" fmla="*/ 644526 h 868681"/>
                <a:gd name="connsiteX235" fmla="*/ 889000 w 1219200"/>
                <a:gd name="connsiteY235" fmla="*/ 594996 h 868681"/>
                <a:gd name="connsiteX236" fmla="*/ 911224 w 1219200"/>
                <a:gd name="connsiteY236" fmla="*/ 594996 h 868681"/>
                <a:gd name="connsiteX237" fmla="*/ 911224 w 1219200"/>
                <a:gd name="connsiteY237" fmla="*/ 684531 h 868681"/>
                <a:gd name="connsiteX238" fmla="*/ 889000 w 1219200"/>
                <a:gd name="connsiteY238" fmla="*/ 684531 h 868681"/>
                <a:gd name="connsiteX239" fmla="*/ 889000 w 1219200"/>
                <a:gd name="connsiteY239" fmla="*/ 678181 h 868681"/>
                <a:gd name="connsiteX240" fmla="*/ 868045 w 1219200"/>
                <a:gd name="connsiteY240" fmla="*/ 686436 h 868681"/>
                <a:gd name="connsiteX241" fmla="*/ 836295 w 1219200"/>
                <a:gd name="connsiteY241" fmla="*/ 645161 h 868681"/>
                <a:gd name="connsiteX242" fmla="*/ 1181099 w 1219200"/>
                <a:gd name="connsiteY242" fmla="*/ 592456 h 868681"/>
                <a:gd name="connsiteX243" fmla="*/ 1219200 w 1219200"/>
                <a:gd name="connsiteY243" fmla="*/ 639446 h 868681"/>
                <a:gd name="connsiteX244" fmla="*/ 1218564 w 1219200"/>
                <a:gd name="connsiteY244" fmla="*/ 639446 h 868681"/>
                <a:gd name="connsiteX245" fmla="*/ 1218564 w 1219200"/>
                <a:gd name="connsiteY245" fmla="*/ 647066 h 868681"/>
                <a:gd name="connsiteX246" fmla="*/ 1163954 w 1219200"/>
                <a:gd name="connsiteY246" fmla="*/ 647066 h 868681"/>
                <a:gd name="connsiteX247" fmla="*/ 1183004 w 1219200"/>
                <a:gd name="connsiteY247" fmla="*/ 664846 h 868681"/>
                <a:gd name="connsiteX248" fmla="*/ 1198879 w 1219200"/>
                <a:gd name="connsiteY248" fmla="*/ 658496 h 868681"/>
                <a:gd name="connsiteX249" fmla="*/ 1214754 w 1219200"/>
                <a:gd name="connsiteY249" fmla="*/ 671831 h 868681"/>
                <a:gd name="connsiteX250" fmla="*/ 1182370 w 1219200"/>
                <a:gd name="connsiteY250" fmla="*/ 686436 h 868681"/>
                <a:gd name="connsiteX251" fmla="*/ 1141095 w 1219200"/>
                <a:gd name="connsiteY251" fmla="*/ 639446 h 868681"/>
                <a:gd name="connsiteX252" fmla="*/ 1181099 w 1219200"/>
                <a:gd name="connsiteY252" fmla="*/ 592456 h 868681"/>
                <a:gd name="connsiteX253" fmla="*/ 691515 w 1219200"/>
                <a:gd name="connsiteY253" fmla="*/ 592456 h 868681"/>
                <a:gd name="connsiteX254" fmla="*/ 729614 w 1219200"/>
                <a:gd name="connsiteY254" fmla="*/ 639446 h 868681"/>
                <a:gd name="connsiteX255" fmla="*/ 728980 w 1219200"/>
                <a:gd name="connsiteY255" fmla="*/ 639446 h 868681"/>
                <a:gd name="connsiteX256" fmla="*/ 728980 w 1219200"/>
                <a:gd name="connsiteY256" fmla="*/ 647066 h 868681"/>
                <a:gd name="connsiteX257" fmla="*/ 674370 w 1219200"/>
                <a:gd name="connsiteY257" fmla="*/ 647066 h 868681"/>
                <a:gd name="connsiteX258" fmla="*/ 693420 w 1219200"/>
                <a:gd name="connsiteY258" fmla="*/ 664846 h 868681"/>
                <a:gd name="connsiteX259" fmla="*/ 709295 w 1219200"/>
                <a:gd name="connsiteY259" fmla="*/ 658496 h 868681"/>
                <a:gd name="connsiteX260" fmla="*/ 725170 w 1219200"/>
                <a:gd name="connsiteY260" fmla="*/ 671831 h 868681"/>
                <a:gd name="connsiteX261" fmla="*/ 692784 w 1219200"/>
                <a:gd name="connsiteY261" fmla="*/ 686436 h 868681"/>
                <a:gd name="connsiteX262" fmla="*/ 651510 w 1219200"/>
                <a:gd name="connsiteY262" fmla="*/ 639446 h 868681"/>
                <a:gd name="connsiteX263" fmla="*/ 691515 w 1219200"/>
                <a:gd name="connsiteY263" fmla="*/ 592456 h 868681"/>
                <a:gd name="connsiteX264" fmla="*/ 412114 w 1219200"/>
                <a:gd name="connsiteY264" fmla="*/ 592456 h 868681"/>
                <a:gd name="connsiteX265" fmla="*/ 448310 w 1219200"/>
                <a:gd name="connsiteY265" fmla="*/ 639446 h 868681"/>
                <a:gd name="connsiteX266" fmla="*/ 448310 w 1219200"/>
                <a:gd name="connsiteY266" fmla="*/ 647066 h 868681"/>
                <a:gd name="connsiteX267" fmla="*/ 395605 w 1219200"/>
                <a:gd name="connsiteY267" fmla="*/ 647066 h 868681"/>
                <a:gd name="connsiteX268" fmla="*/ 415290 w 1219200"/>
                <a:gd name="connsiteY268" fmla="*/ 664846 h 868681"/>
                <a:gd name="connsiteX269" fmla="*/ 430530 w 1219200"/>
                <a:gd name="connsiteY269" fmla="*/ 658496 h 868681"/>
                <a:gd name="connsiteX270" fmla="*/ 446405 w 1219200"/>
                <a:gd name="connsiteY270" fmla="*/ 671831 h 868681"/>
                <a:gd name="connsiteX271" fmla="*/ 413385 w 1219200"/>
                <a:gd name="connsiteY271" fmla="*/ 686436 h 868681"/>
                <a:gd name="connsiteX272" fmla="*/ 372110 w 1219200"/>
                <a:gd name="connsiteY272" fmla="*/ 640081 h 868681"/>
                <a:gd name="connsiteX273" fmla="*/ 412114 w 1219200"/>
                <a:gd name="connsiteY273" fmla="*/ 592456 h 868681"/>
                <a:gd name="connsiteX274" fmla="*/ 326390 w 1219200"/>
                <a:gd name="connsiteY274" fmla="*/ 592456 h 868681"/>
                <a:gd name="connsiteX275" fmla="*/ 361314 w 1219200"/>
                <a:gd name="connsiteY275" fmla="*/ 639446 h 868681"/>
                <a:gd name="connsiteX276" fmla="*/ 326390 w 1219200"/>
                <a:gd name="connsiteY276" fmla="*/ 686436 h 868681"/>
                <a:gd name="connsiteX277" fmla="*/ 306070 w 1219200"/>
                <a:gd name="connsiteY277" fmla="*/ 678816 h 868681"/>
                <a:gd name="connsiteX278" fmla="*/ 306070 w 1219200"/>
                <a:gd name="connsiteY278" fmla="*/ 706121 h 868681"/>
                <a:gd name="connsiteX279" fmla="*/ 283845 w 1219200"/>
                <a:gd name="connsiteY279" fmla="*/ 717551 h 868681"/>
                <a:gd name="connsiteX280" fmla="*/ 283845 w 1219200"/>
                <a:gd name="connsiteY280" fmla="*/ 594361 h 868681"/>
                <a:gd name="connsiteX281" fmla="*/ 306070 w 1219200"/>
                <a:gd name="connsiteY281" fmla="*/ 594361 h 868681"/>
                <a:gd name="connsiteX282" fmla="*/ 306070 w 1219200"/>
                <a:gd name="connsiteY282" fmla="*/ 600711 h 868681"/>
                <a:gd name="connsiteX283" fmla="*/ 326390 w 1219200"/>
                <a:gd name="connsiteY283" fmla="*/ 592456 h 868681"/>
                <a:gd name="connsiteX284" fmla="*/ 231775 w 1219200"/>
                <a:gd name="connsiteY284" fmla="*/ 592456 h 868681"/>
                <a:gd name="connsiteX285" fmla="*/ 268605 w 1219200"/>
                <a:gd name="connsiteY285" fmla="*/ 624206 h 868681"/>
                <a:gd name="connsiteX286" fmla="*/ 268605 w 1219200"/>
                <a:gd name="connsiteY286" fmla="*/ 684531 h 868681"/>
                <a:gd name="connsiteX287" fmla="*/ 267970 w 1219200"/>
                <a:gd name="connsiteY287" fmla="*/ 684531 h 868681"/>
                <a:gd name="connsiteX288" fmla="*/ 245745 w 1219200"/>
                <a:gd name="connsiteY288" fmla="*/ 684531 h 868681"/>
                <a:gd name="connsiteX289" fmla="*/ 245745 w 1219200"/>
                <a:gd name="connsiteY289" fmla="*/ 678181 h 868681"/>
                <a:gd name="connsiteX290" fmla="*/ 224790 w 1219200"/>
                <a:gd name="connsiteY290" fmla="*/ 686436 h 868681"/>
                <a:gd name="connsiteX291" fmla="*/ 193040 w 1219200"/>
                <a:gd name="connsiteY291" fmla="*/ 655321 h 868681"/>
                <a:gd name="connsiteX292" fmla="*/ 227965 w 1219200"/>
                <a:gd name="connsiteY292" fmla="*/ 624841 h 868681"/>
                <a:gd name="connsiteX293" fmla="*/ 245745 w 1219200"/>
                <a:gd name="connsiteY293" fmla="*/ 628651 h 868681"/>
                <a:gd name="connsiteX294" fmla="*/ 245745 w 1219200"/>
                <a:gd name="connsiteY294" fmla="*/ 623571 h 868681"/>
                <a:gd name="connsiteX295" fmla="*/ 230504 w 1219200"/>
                <a:gd name="connsiteY295" fmla="*/ 611506 h 868681"/>
                <a:gd name="connsiteX296" fmla="*/ 209549 w 1219200"/>
                <a:gd name="connsiteY296" fmla="*/ 617221 h 868681"/>
                <a:gd name="connsiteX297" fmla="*/ 200659 w 1219200"/>
                <a:gd name="connsiteY297" fmla="*/ 601346 h 868681"/>
                <a:gd name="connsiteX298" fmla="*/ 231775 w 1219200"/>
                <a:gd name="connsiteY298" fmla="*/ 592456 h 868681"/>
                <a:gd name="connsiteX299" fmla="*/ 1125855 w 1219200"/>
                <a:gd name="connsiteY299" fmla="*/ 591821 h 868681"/>
                <a:gd name="connsiteX300" fmla="*/ 1142364 w 1219200"/>
                <a:gd name="connsiteY300" fmla="*/ 598171 h 868681"/>
                <a:gd name="connsiteX301" fmla="*/ 1141730 w 1219200"/>
                <a:gd name="connsiteY301" fmla="*/ 598806 h 868681"/>
                <a:gd name="connsiteX302" fmla="*/ 1132840 w 1219200"/>
                <a:gd name="connsiteY302" fmla="*/ 621031 h 868681"/>
                <a:gd name="connsiteX303" fmla="*/ 1120140 w 1219200"/>
                <a:gd name="connsiteY303" fmla="*/ 615316 h 868681"/>
                <a:gd name="connsiteX304" fmla="*/ 1106805 w 1219200"/>
                <a:gd name="connsiteY304" fmla="*/ 635001 h 868681"/>
                <a:gd name="connsiteX305" fmla="*/ 1106805 w 1219200"/>
                <a:gd name="connsiteY305" fmla="*/ 683896 h 868681"/>
                <a:gd name="connsiteX306" fmla="*/ 1084579 w 1219200"/>
                <a:gd name="connsiteY306" fmla="*/ 683896 h 868681"/>
                <a:gd name="connsiteX307" fmla="*/ 1084579 w 1219200"/>
                <a:gd name="connsiteY307" fmla="*/ 593726 h 868681"/>
                <a:gd name="connsiteX308" fmla="*/ 1106805 w 1219200"/>
                <a:gd name="connsiteY308" fmla="*/ 593726 h 868681"/>
                <a:gd name="connsiteX309" fmla="*/ 1106805 w 1219200"/>
                <a:gd name="connsiteY309" fmla="*/ 600076 h 868681"/>
                <a:gd name="connsiteX310" fmla="*/ 1125855 w 1219200"/>
                <a:gd name="connsiteY310" fmla="*/ 591821 h 868681"/>
                <a:gd name="connsiteX311" fmla="*/ 47625 w 1219200"/>
                <a:gd name="connsiteY311" fmla="*/ 563881 h 868681"/>
                <a:gd name="connsiteX312" fmla="*/ 90170 w 1219200"/>
                <a:gd name="connsiteY312" fmla="*/ 582296 h 868681"/>
                <a:gd name="connsiteX313" fmla="*/ 73659 w 1219200"/>
                <a:gd name="connsiteY313" fmla="*/ 598806 h 868681"/>
                <a:gd name="connsiteX314" fmla="*/ 46355 w 1219200"/>
                <a:gd name="connsiteY314" fmla="*/ 586741 h 868681"/>
                <a:gd name="connsiteX315" fmla="*/ 28575 w 1219200"/>
                <a:gd name="connsiteY315" fmla="*/ 598171 h 868681"/>
                <a:gd name="connsiteX316" fmla="*/ 33655 w 1219200"/>
                <a:gd name="connsiteY316" fmla="*/ 606426 h 868681"/>
                <a:gd name="connsiteX317" fmla="*/ 52704 w 1219200"/>
                <a:gd name="connsiteY317" fmla="*/ 612776 h 868681"/>
                <a:gd name="connsiteX318" fmla="*/ 81915 w 1219200"/>
                <a:gd name="connsiteY318" fmla="*/ 624841 h 868681"/>
                <a:gd name="connsiteX319" fmla="*/ 92427 w 1219200"/>
                <a:gd name="connsiteY319" fmla="*/ 648959 h 868681"/>
                <a:gd name="connsiteX320" fmla="*/ 79454 w 1219200"/>
                <a:gd name="connsiteY320" fmla="*/ 677626 h 868681"/>
                <a:gd name="connsiteX321" fmla="*/ 47625 w 1219200"/>
                <a:gd name="connsiteY321" fmla="*/ 686436 h 868681"/>
                <a:gd name="connsiteX322" fmla="*/ 0 w 1219200"/>
                <a:gd name="connsiteY322" fmla="*/ 664846 h 868681"/>
                <a:gd name="connsiteX323" fmla="*/ 16510 w 1219200"/>
                <a:gd name="connsiteY323" fmla="*/ 650241 h 868681"/>
                <a:gd name="connsiteX324" fmla="*/ 46989 w 1219200"/>
                <a:gd name="connsiteY324" fmla="*/ 664211 h 868681"/>
                <a:gd name="connsiteX325" fmla="*/ 68579 w 1219200"/>
                <a:gd name="connsiteY325" fmla="*/ 649606 h 868681"/>
                <a:gd name="connsiteX326" fmla="*/ 61595 w 1219200"/>
                <a:gd name="connsiteY326" fmla="*/ 640081 h 868681"/>
                <a:gd name="connsiteX327" fmla="*/ 41909 w 1219200"/>
                <a:gd name="connsiteY327" fmla="*/ 634366 h 868681"/>
                <a:gd name="connsiteX328" fmla="*/ 14605 w 1219200"/>
                <a:gd name="connsiteY328" fmla="*/ 623571 h 868681"/>
                <a:gd name="connsiteX329" fmla="*/ 4444 w 1219200"/>
                <a:gd name="connsiteY329" fmla="*/ 599441 h 868681"/>
                <a:gd name="connsiteX330" fmla="*/ 47625 w 1219200"/>
                <a:gd name="connsiteY330" fmla="*/ 563881 h 868681"/>
                <a:gd name="connsiteX331" fmla="*/ 814070 w 1219200"/>
                <a:gd name="connsiteY331" fmla="*/ 560071 h 868681"/>
                <a:gd name="connsiteX332" fmla="*/ 830579 w 1219200"/>
                <a:gd name="connsiteY332" fmla="*/ 562611 h 868681"/>
                <a:gd name="connsiteX333" fmla="*/ 829945 w 1219200"/>
                <a:gd name="connsiteY333" fmla="*/ 562611 h 868681"/>
                <a:gd name="connsiteX334" fmla="*/ 829945 w 1219200"/>
                <a:gd name="connsiteY334" fmla="*/ 581026 h 868681"/>
                <a:gd name="connsiteX335" fmla="*/ 818515 w 1219200"/>
                <a:gd name="connsiteY335" fmla="*/ 579121 h 868681"/>
                <a:gd name="connsiteX336" fmla="*/ 808989 w 1219200"/>
                <a:gd name="connsiteY336" fmla="*/ 586741 h 868681"/>
                <a:gd name="connsiteX337" fmla="*/ 808989 w 1219200"/>
                <a:gd name="connsiteY337" fmla="*/ 594361 h 868681"/>
                <a:gd name="connsiteX338" fmla="*/ 824230 w 1219200"/>
                <a:gd name="connsiteY338" fmla="*/ 594361 h 868681"/>
                <a:gd name="connsiteX339" fmla="*/ 824230 w 1219200"/>
                <a:gd name="connsiteY339" fmla="*/ 615951 h 868681"/>
                <a:gd name="connsiteX340" fmla="*/ 808989 w 1219200"/>
                <a:gd name="connsiteY340" fmla="*/ 615951 h 868681"/>
                <a:gd name="connsiteX341" fmla="*/ 808989 w 1219200"/>
                <a:gd name="connsiteY341" fmla="*/ 684531 h 868681"/>
                <a:gd name="connsiteX342" fmla="*/ 786765 w 1219200"/>
                <a:gd name="connsiteY342" fmla="*/ 684531 h 868681"/>
                <a:gd name="connsiteX343" fmla="*/ 786765 w 1219200"/>
                <a:gd name="connsiteY343" fmla="*/ 615951 h 868681"/>
                <a:gd name="connsiteX344" fmla="*/ 775970 w 1219200"/>
                <a:gd name="connsiteY344" fmla="*/ 615951 h 868681"/>
                <a:gd name="connsiteX345" fmla="*/ 775970 w 1219200"/>
                <a:gd name="connsiteY345" fmla="*/ 594361 h 868681"/>
                <a:gd name="connsiteX346" fmla="*/ 786765 w 1219200"/>
                <a:gd name="connsiteY346" fmla="*/ 594361 h 868681"/>
                <a:gd name="connsiteX347" fmla="*/ 786765 w 1219200"/>
                <a:gd name="connsiteY347" fmla="*/ 583566 h 868681"/>
                <a:gd name="connsiteX348" fmla="*/ 814070 w 1219200"/>
                <a:gd name="connsiteY348" fmla="*/ 560071 h 868681"/>
                <a:gd name="connsiteX349" fmla="*/ 957579 w 1219200"/>
                <a:gd name="connsiteY349" fmla="*/ 559436 h 868681"/>
                <a:gd name="connsiteX350" fmla="*/ 957579 w 1219200"/>
                <a:gd name="connsiteY350" fmla="*/ 594361 h 868681"/>
                <a:gd name="connsiteX351" fmla="*/ 979170 w 1219200"/>
                <a:gd name="connsiteY351" fmla="*/ 594361 h 868681"/>
                <a:gd name="connsiteX352" fmla="*/ 979170 w 1219200"/>
                <a:gd name="connsiteY352" fmla="*/ 615951 h 868681"/>
                <a:gd name="connsiteX353" fmla="*/ 957579 w 1219200"/>
                <a:gd name="connsiteY353" fmla="*/ 615951 h 868681"/>
                <a:gd name="connsiteX354" fmla="*/ 957579 w 1219200"/>
                <a:gd name="connsiteY354" fmla="*/ 654051 h 868681"/>
                <a:gd name="connsiteX355" fmla="*/ 966470 w 1219200"/>
                <a:gd name="connsiteY355" fmla="*/ 664846 h 868681"/>
                <a:gd name="connsiteX356" fmla="*/ 981075 w 1219200"/>
                <a:gd name="connsiteY356" fmla="*/ 658496 h 868681"/>
                <a:gd name="connsiteX357" fmla="*/ 977900 w 1219200"/>
                <a:gd name="connsiteY357" fmla="*/ 681356 h 868681"/>
                <a:gd name="connsiteX358" fmla="*/ 959485 w 1219200"/>
                <a:gd name="connsiteY358" fmla="*/ 686436 h 868681"/>
                <a:gd name="connsiteX359" fmla="*/ 935355 w 1219200"/>
                <a:gd name="connsiteY359" fmla="*/ 659766 h 868681"/>
                <a:gd name="connsiteX360" fmla="*/ 935355 w 1219200"/>
                <a:gd name="connsiteY360" fmla="*/ 615951 h 868681"/>
                <a:gd name="connsiteX361" fmla="*/ 922655 w 1219200"/>
                <a:gd name="connsiteY361" fmla="*/ 615951 h 868681"/>
                <a:gd name="connsiteX362" fmla="*/ 922655 w 1219200"/>
                <a:gd name="connsiteY362" fmla="*/ 594361 h 868681"/>
                <a:gd name="connsiteX363" fmla="*/ 935355 w 1219200"/>
                <a:gd name="connsiteY363" fmla="*/ 594361 h 868681"/>
                <a:gd name="connsiteX364" fmla="*/ 935355 w 1219200"/>
                <a:gd name="connsiteY364" fmla="*/ 570866 h 868681"/>
                <a:gd name="connsiteX365" fmla="*/ 586739 w 1219200"/>
                <a:gd name="connsiteY365" fmla="*/ 559436 h 868681"/>
                <a:gd name="connsiteX366" fmla="*/ 586739 w 1219200"/>
                <a:gd name="connsiteY366" fmla="*/ 600711 h 868681"/>
                <a:gd name="connsiteX367" fmla="*/ 607695 w 1219200"/>
                <a:gd name="connsiteY367" fmla="*/ 592456 h 868681"/>
                <a:gd name="connsiteX368" fmla="*/ 639445 w 1219200"/>
                <a:gd name="connsiteY368" fmla="*/ 633731 h 868681"/>
                <a:gd name="connsiteX369" fmla="*/ 639445 w 1219200"/>
                <a:gd name="connsiteY369" fmla="*/ 684531 h 868681"/>
                <a:gd name="connsiteX370" fmla="*/ 617220 w 1219200"/>
                <a:gd name="connsiteY370" fmla="*/ 684531 h 868681"/>
                <a:gd name="connsiteX371" fmla="*/ 617220 w 1219200"/>
                <a:gd name="connsiteY371" fmla="*/ 635636 h 868681"/>
                <a:gd name="connsiteX372" fmla="*/ 601980 w 1219200"/>
                <a:gd name="connsiteY372" fmla="*/ 614681 h 868681"/>
                <a:gd name="connsiteX373" fmla="*/ 586739 w 1219200"/>
                <a:gd name="connsiteY373" fmla="*/ 635001 h 868681"/>
                <a:gd name="connsiteX374" fmla="*/ 586739 w 1219200"/>
                <a:gd name="connsiteY374" fmla="*/ 684531 h 868681"/>
                <a:gd name="connsiteX375" fmla="*/ 564515 w 1219200"/>
                <a:gd name="connsiteY375" fmla="*/ 684531 h 868681"/>
                <a:gd name="connsiteX376" fmla="*/ 564515 w 1219200"/>
                <a:gd name="connsiteY376" fmla="*/ 570866 h 868681"/>
                <a:gd name="connsiteX377" fmla="*/ 529590 w 1219200"/>
                <a:gd name="connsiteY377" fmla="*/ 559436 h 868681"/>
                <a:gd name="connsiteX378" fmla="*/ 529590 w 1219200"/>
                <a:gd name="connsiteY378" fmla="*/ 594361 h 868681"/>
                <a:gd name="connsiteX379" fmla="*/ 550545 w 1219200"/>
                <a:gd name="connsiteY379" fmla="*/ 594361 h 868681"/>
                <a:gd name="connsiteX380" fmla="*/ 550545 w 1219200"/>
                <a:gd name="connsiteY380" fmla="*/ 615951 h 868681"/>
                <a:gd name="connsiteX381" fmla="*/ 529590 w 1219200"/>
                <a:gd name="connsiteY381" fmla="*/ 615951 h 868681"/>
                <a:gd name="connsiteX382" fmla="*/ 529590 w 1219200"/>
                <a:gd name="connsiteY382" fmla="*/ 654051 h 868681"/>
                <a:gd name="connsiteX383" fmla="*/ 538480 w 1219200"/>
                <a:gd name="connsiteY383" fmla="*/ 664846 h 868681"/>
                <a:gd name="connsiteX384" fmla="*/ 553084 w 1219200"/>
                <a:gd name="connsiteY384" fmla="*/ 658496 h 868681"/>
                <a:gd name="connsiteX385" fmla="*/ 549909 w 1219200"/>
                <a:gd name="connsiteY385" fmla="*/ 681356 h 868681"/>
                <a:gd name="connsiteX386" fmla="*/ 531495 w 1219200"/>
                <a:gd name="connsiteY386" fmla="*/ 686436 h 868681"/>
                <a:gd name="connsiteX387" fmla="*/ 507364 w 1219200"/>
                <a:gd name="connsiteY387" fmla="*/ 659766 h 868681"/>
                <a:gd name="connsiteX388" fmla="*/ 507364 w 1219200"/>
                <a:gd name="connsiteY388" fmla="*/ 615951 h 868681"/>
                <a:gd name="connsiteX389" fmla="*/ 491489 w 1219200"/>
                <a:gd name="connsiteY389" fmla="*/ 615951 h 868681"/>
                <a:gd name="connsiteX390" fmla="*/ 491489 w 1219200"/>
                <a:gd name="connsiteY390" fmla="*/ 594361 h 868681"/>
                <a:gd name="connsiteX391" fmla="*/ 507364 w 1219200"/>
                <a:gd name="connsiteY391" fmla="*/ 594361 h 868681"/>
                <a:gd name="connsiteX392" fmla="*/ 507364 w 1219200"/>
                <a:gd name="connsiteY392" fmla="*/ 570866 h 868681"/>
                <a:gd name="connsiteX393" fmla="*/ 128269 w 1219200"/>
                <a:gd name="connsiteY393" fmla="*/ 559436 h 868681"/>
                <a:gd name="connsiteX394" fmla="*/ 128269 w 1219200"/>
                <a:gd name="connsiteY394" fmla="*/ 600711 h 868681"/>
                <a:gd name="connsiteX395" fmla="*/ 149224 w 1219200"/>
                <a:gd name="connsiteY395" fmla="*/ 592456 h 868681"/>
                <a:gd name="connsiteX396" fmla="*/ 180974 w 1219200"/>
                <a:gd name="connsiteY396" fmla="*/ 633731 h 868681"/>
                <a:gd name="connsiteX397" fmla="*/ 180974 w 1219200"/>
                <a:gd name="connsiteY397" fmla="*/ 684531 h 868681"/>
                <a:gd name="connsiteX398" fmla="*/ 158750 w 1219200"/>
                <a:gd name="connsiteY398" fmla="*/ 684531 h 868681"/>
                <a:gd name="connsiteX399" fmla="*/ 158750 w 1219200"/>
                <a:gd name="connsiteY399" fmla="*/ 635636 h 868681"/>
                <a:gd name="connsiteX400" fmla="*/ 143510 w 1219200"/>
                <a:gd name="connsiteY400" fmla="*/ 614681 h 868681"/>
                <a:gd name="connsiteX401" fmla="*/ 128269 w 1219200"/>
                <a:gd name="connsiteY401" fmla="*/ 635001 h 868681"/>
                <a:gd name="connsiteX402" fmla="*/ 128269 w 1219200"/>
                <a:gd name="connsiteY402" fmla="*/ 684531 h 868681"/>
                <a:gd name="connsiteX403" fmla="*/ 106045 w 1219200"/>
                <a:gd name="connsiteY403" fmla="*/ 684531 h 868681"/>
                <a:gd name="connsiteX404" fmla="*/ 106045 w 1219200"/>
                <a:gd name="connsiteY404" fmla="*/ 570866 h 868681"/>
                <a:gd name="connsiteX405" fmla="*/ 269875 w 1219200"/>
                <a:gd name="connsiteY405" fmla="*/ 635 h 868681"/>
                <a:gd name="connsiteX406" fmla="*/ 501015 w 1219200"/>
                <a:gd name="connsiteY406" fmla="*/ 635 h 868681"/>
                <a:gd name="connsiteX407" fmla="*/ 554989 w 1219200"/>
                <a:gd name="connsiteY407" fmla="*/ 94615 h 868681"/>
                <a:gd name="connsiteX408" fmla="*/ 391795 w 1219200"/>
                <a:gd name="connsiteY408" fmla="*/ 94615 h 868681"/>
                <a:gd name="connsiteX409" fmla="*/ 391795 w 1219200"/>
                <a:gd name="connsiteY409" fmla="*/ 161925 h 868681"/>
                <a:gd name="connsiteX410" fmla="*/ 539114 w 1219200"/>
                <a:gd name="connsiteY410" fmla="*/ 161925 h 868681"/>
                <a:gd name="connsiteX411" fmla="*/ 539114 w 1219200"/>
                <a:gd name="connsiteY411" fmla="*/ 247650 h 868681"/>
                <a:gd name="connsiteX412" fmla="*/ 391795 w 1219200"/>
                <a:gd name="connsiteY412" fmla="*/ 247650 h 868681"/>
                <a:gd name="connsiteX413" fmla="*/ 391795 w 1219200"/>
                <a:gd name="connsiteY413" fmla="*/ 314325 h 868681"/>
                <a:gd name="connsiteX414" fmla="*/ 595629 w 1219200"/>
                <a:gd name="connsiteY414" fmla="*/ 314325 h 868681"/>
                <a:gd name="connsiteX415" fmla="*/ 595629 w 1219200"/>
                <a:gd name="connsiteY415" fmla="*/ 408305 h 868681"/>
                <a:gd name="connsiteX416" fmla="*/ 269875 w 1219200"/>
                <a:gd name="connsiteY416" fmla="*/ 408305 h 868681"/>
                <a:gd name="connsiteX417" fmla="*/ 539114 w 1219200"/>
                <a:gd name="connsiteY417" fmla="*/ 0 h 868681"/>
                <a:gd name="connsiteX418" fmla="*/ 674370 w 1219200"/>
                <a:gd name="connsiteY418" fmla="*/ 0 h 868681"/>
                <a:gd name="connsiteX419" fmla="*/ 743584 w 1219200"/>
                <a:gd name="connsiteY419" fmla="*/ 132715 h 868681"/>
                <a:gd name="connsiteX420" fmla="*/ 812799 w 1219200"/>
                <a:gd name="connsiteY420" fmla="*/ 0 h 868681"/>
                <a:gd name="connsiteX421" fmla="*/ 946150 w 1219200"/>
                <a:gd name="connsiteY421" fmla="*/ 0 h 868681"/>
                <a:gd name="connsiteX422" fmla="*/ 803275 w 1219200"/>
                <a:gd name="connsiteY422" fmla="*/ 246380 h 868681"/>
                <a:gd name="connsiteX423" fmla="*/ 803275 w 1219200"/>
                <a:gd name="connsiteY423" fmla="*/ 407670 h 868681"/>
                <a:gd name="connsiteX424" fmla="*/ 681355 w 1219200"/>
                <a:gd name="connsiteY424" fmla="*/ 407670 h 868681"/>
                <a:gd name="connsiteX425" fmla="*/ 681355 w 1219200"/>
                <a:gd name="connsiteY425" fmla="*/ 246380 h 868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</a:cxnLst>
              <a:rect l="l" t="t" r="r" b="b"/>
              <a:pathLst>
                <a:path w="1219200" h="868681">
                  <a:moveTo>
                    <a:pt x="245110" y="839471"/>
                  </a:moveTo>
                  <a:lnTo>
                    <a:pt x="246379" y="839471"/>
                  </a:lnTo>
                  <a:lnTo>
                    <a:pt x="245041" y="839979"/>
                  </a:lnTo>
                  <a:close/>
                  <a:moveTo>
                    <a:pt x="522605" y="796926"/>
                  </a:moveTo>
                  <a:cubicBezTo>
                    <a:pt x="509905" y="796926"/>
                    <a:pt x="504189" y="807721"/>
                    <a:pt x="504189" y="821691"/>
                  </a:cubicBezTo>
                  <a:cubicBezTo>
                    <a:pt x="504189" y="831216"/>
                    <a:pt x="508000" y="845821"/>
                    <a:pt x="522605" y="845821"/>
                  </a:cubicBezTo>
                  <a:cubicBezTo>
                    <a:pt x="537845" y="845821"/>
                    <a:pt x="541019" y="831851"/>
                    <a:pt x="541019" y="821691"/>
                  </a:cubicBezTo>
                  <a:cubicBezTo>
                    <a:pt x="541019" y="807721"/>
                    <a:pt x="535305" y="796926"/>
                    <a:pt x="522605" y="796926"/>
                  </a:cubicBezTo>
                  <a:close/>
                  <a:moveTo>
                    <a:pt x="817245" y="796291"/>
                  </a:moveTo>
                  <a:cubicBezTo>
                    <a:pt x="803909" y="796291"/>
                    <a:pt x="800735" y="807086"/>
                    <a:pt x="800735" y="819786"/>
                  </a:cubicBezTo>
                  <a:cubicBezTo>
                    <a:pt x="800735" y="834391"/>
                    <a:pt x="805180" y="846456"/>
                    <a:pt x="817879" y="846456"/>
                  </a:cubicBezTo>
                  <a:cubicBezTo>
                    <a:pt x="824230" y="846456"/>
                    <a:pt x="828674" y="843281"/>
                    <a:pt x="833754" y="838836"/>
                  </a:cubicBezTo>
                  <a:lnTo>
                    <a:pt x="833754" y="838201"/>
                  </a:lnTo>
                  <a:lnTo>
                    <a:pt x="833754" y="803911"/>
                  </a:lnTo>
                  <a:cubicBezTo>
                    <a:pt x="828674" y="798831"/>
                    <a:pt x="824230" y="796291"/>
                    <a:pt x="817245" y="796291"/>
                  </a:cubicBezTo>
                  <a:close/>
                  <a:moveTo>
                    <a:pt x="1179195" y="794386"/>
                  </a:moveTo>
                  <a:cubicBezTo>
                    <a:pt x="1168400" y="794386"/>
                    <a:pt x="1163954" y="803911"/>
                    <a:pt x="1163320" y="811531"/>
                  </a:cubicBezTo>
                  <a:lnTo>
                    <a:pt x="1163954" y="811531"/>
                  </a:lnTo>
                  <a:lnTo>
                    <a:pt x="1195704" y="811531"/>
                  </a:lnTo>
                  <a:cubicBezTo>
                    <a:pt x="1195070" y="801371"/>
                    <a:pt x="1188720" y="794386"/>
                    <a:pt x="1179195" y="794386"/>
                  </a:cubicBezTo>
                  <a:close/>
                  <a:moveTo>
                    <a:pt x="909320" y="794386"/>
                  </a:moveTo>
                  <a:cubicBezTo>
                    <a:pt x="898525" y="794386"/>
                    <a:pt x="894079" y="803911"/>
                    <a:pt x="893445" y="811531"/>
                  </a:cubicBezTo>
                  <a:lnTo>
                    <a:pt x="894079" y="811531"/>
                  </a:lnTo>
                  <a:lnTo>
                    <a:pt x="925829" y="811531"/>
                  </a:lnTo>
                  <a:cubicBezTo>
                    <a:pt x="925195" y="801371"/>
                    <a:pt x="918845" y="794386"/>
                    <a:pt x="909320" y="794386"/>
                  </a:cubicBezTo>
                  <a:close/>
                  <a:moveTo>
                    <a:pt x="737870" y="775971"/>
                  </a:moveTo>
                  <a:lnTo>
                    <a:pt x="761364" y="775971"/>
                  </a:lnTo>
                  <a:lnTo>
                    <a:pt x="761364" y="866141"/>
                  </a:lnTo>
                  <a:lnTo>
                    <a:pt x="737870" y="866141"/>
                  </a:lnTo>
                  <a:close/>
                  <a:moveTo>
                    <a:pt x="143510" y="775971"/>
                  </a:moveTo>
                  <a:lnTo>
                    <a:pt x="167004" y="775971"/>
                  </a:lnTo>
                  <a:lnTo>
                    <a:pt x="167004" y="866141"/>
                  </a:lnTo>
                  <a:lnTo>
                    <a:pt x="143510" y="866141"/>
                  </a:lnTo>
                  <a:close/>
                  <a:moveTo>
                    <a:pt x="635" y="775971"/>
                  </a:moveTo>
                  <a:lnTo>
                    <a:pt x="26670" y="775971"/>
                  </a:lnTo>
                  <a:lnTo>
                    <a:pt x="40004" y="828041"/>
                  </a:lnTo>
                  <a:lnTo>
                    <a:pt x="55245" y="775971"/>
                  </a:lnTo>
                  <a:lnTo>
                    <a:pt x="76200" y="775971"/>
                  </a:lnTo>
                  <a:lnTo>
                    <a:pt x="91439" y="828041"/>
                  </a:lnTo>
                  <a:lnTo>
                    <a:pt x="105409" y="775971"/>
                  </a:lnTo>
                  <a:lnTo>
                    <a:pt x="130810" y="775971"/>
                  </a:lnTo>
                  <a:lnTo>
                    <a:pt x="102235" y="866141"/>
                  </a:lnTo>
                  <a:lnTo>
                    <a:pt x="80644" y="866141"/>
                  </a:lnTo>
                  <a:lnTo>
                    <a:pt x="65405" y="811531"/>
                  </a:lnTo>
                  <a:lnTo>
                    <a:pt x="50165" y="866141"/>
                  </a:lnTo>
                  <a:lnTo>
                    <a:pt x="28575" y="866141"/>
                  </a:lnTo>
                  <a:close/>
                  <a:moveTo>
                    <a:pt x="1181099" y="774066"/>
                  </a:moveTo>
                  <a:cubicBezTo>
                    <a:pt x="1204595" y="774066"/>
                    <a:pt x="1219200" y="795021"/>
                    <a:pt x="1219200" y="821056"/>
                  </a:cubicBezTo>
                  <a:lnTo>
                    <a:pt x="1218564" y="821056"/>
                  </a:lnTo>
                  <a:cubicBezTo>
                    <a:pt x="1218564" y="821056"/>
                    <a:pt x="1218564" y="827406"/>
                    <a:pt x="1218564" y="828676"/>
                  </a:cubicBezTo>
                  <a:lnTo>
                    <a:pt x="1163954" y="828676"/>
                  </a:lnTo>
                  <a:cubicBezTo>
                    <a:pt x="1165224" y="841376"/>
                    <a:pt x="1173480" y="846456"/>
                    <a:pt x="1183004" y="846456"/>
                  </a:cubicBezTo>
                  <a:cubicBezTo>
                    <a:pt x="1188720" y="846456"/>
                    <a:pt x="1193799" y="844551"/>
                    <a:pt x="1198879" y="840106"/>
                  </a:cubicBezTo>
                  <a:lnTo>
                    <a:pt x="1214754" y="853441"/>
                  </a:lnTo>
                  <a:cubicBezTo>
                    <a:pt x="1206500" y="864236"/>
                    <a:pt x="1193799" y="868046"/>
                    <a:pt x="1182370" y="868046"/>
                  </a:cubicBezTo>
                  <a:cubicBezTo>
                    <a:pt x="1156335" y="868046"/>
                    <a:pt x="1141095" y="847726"/>
                    <a:pt x="1141095" y="821056"/>
                  </a:cubicBezTo>
                  <a:cubicBezTo>
                    <a:pt x="1141095" y="792481"/>
                    <a:pt x="1158875" y="774066"/>
                    <a:pt x="1181099" y="774066"/>
                  </a:cubicBezTo>
                  <a:close/>
                  <a:moveTo>
                    <a:pt x="1097915" y="774066"/>
                  </a:moveTo>
                  <a:cubicBezTo>
                    <a:pt x="1113790" y="774066"/>
                    <a:pt x="1125220" y="781051"/>
                    <a:pt x="1133474" y="793751"/>
                  </a:cubicBezTo>
                  <a:lnTo>
                    <a:pt x="1118235" y="808991"/>
                  </a:lnTo>
                  <a:cubicBezTo>
                    <a:pt x="1113155" y="802006"/>
                    <a:pt x="1107439" y="796291"/>
                    <a:pt x="1097915" y="796291"/>
                  </a:cubicBezTo>
                  <a:cubicBezTo>
                    <a:pt x="1085215" y="796291"/>
                    <a:pt x="1078864" y="807086"/>
                    <a:pt x="1078864" y="820421"/>
                  </a:cubicBezTo>
                  <a:cubicBezTo>
                    <a:pt x="1078864" y="833121"/>
                    <a:pt x="1084579" y="845186"/>
                    <a:pt x="1097915" y="845186"/>
                  </a:cubicBezTo>
                  <a:cubicBezTo>
                    <a:pt x="1106170" y="845186"/>
                    <a:pt x="1113155" y="840741"/>
                    <a:pt x="1118235" y="833756"/>
                  </a:cubicBezTo>
                  <a:lnTo>
                    <a:pt x="1118870" y="834391"/>
                  </a:lnTo>
                  <a:lnTo>
                    <a:pt x="1133474" y="848361"/>
                  </a:lnTo>
                  <a:cubicBezTo>
                    <a:pt x="1125855" y="857886"/>
                    <a:pt x="1115060" y="868046"/>
                    <a:pt x="1097280" y="868046"/>
                  </a:cubicBezTo>
                  <a:cubicBezTo>
                    <a:pt x="1072515" y="868046"/>
                    <a:pt x="1054735" y="848361"/>
                    <a:pt x="1054735" y="821056"/>
                  </a:cubicBezTo>
                  <a:cubicBezTo>
                    <a:pt x="1054735" y="796291"/>
                    <a:pt x="1069974" y="774066"/>
                    <a:pt x="1097915" y="774066"/>
                  </a:cubicBezTo>
                  <a:close/>
                  <a:moveTo>
                    <a:pt x="1009015" y="774066"/>
                  </a:moveTo>
                  <a:cubicBezTo>
                    <a:pt x="1033144" y="774066"/>
                    <a:pt x="1041400" y="793116"/>
                    <a:pt x="1041400" y="815341"/>
                  </a:cubicBezTo>
                  <a:lnTo>
                    <a:pt x="1041400" y="866141"/>
                  </a:lnTo>
                  <a:lnTo>
                    <a:pt x="1017905" y="866141"/>
                  </a:lnTo>
                  <a:lnTo>
                    <a:pt x="1017905" y="817246"/>
                  </a:lnTo>
                  <a:cubicBezTo>
                    <a:pt x="1017905" y="804546"/>
                    <a:pt x="1014730" y="796291"/>
                    <a:pt x="1002665" y="796291"/>
                  </a:cubicBezTo>
                  <a:cubicBezTo>
                    <a:pt x="990599" y="796291"/>
                    <a:pt x="986790" y="803276"/>
                    <a:pt x="986790" y="816611"/>
                  </a:cubicBezTo>
                  <a:lnTo>
                    <a:pt x="986790" y="866141"/>
                  </a:lnTo>
                  <a:lnTo>
                    <a:pt x="963295" y="866141"/>
                  </a:lnTo>
                  <a:lnTo>
                    <a:pt x="963295" y="775971"/>
                  </a:lnTo>
                  <a:lnTo>
                    <a:pt x="986790" y="775971"/>
                  </a:lnTo>
                  <a:lnTo>
                    <a:pt x="986790" y="782321"/>
                  </a:lnTo>
                  <a:cubicBezTo>
                    <a:pt x="991870" y="777241"/>
                    <a:pt x="998855" y="774066"/>
                    <a:pt x="1009015" y="774066"/>
                  </a:cubicBezTo>
                  <a:close/>
                  <a:moveTo>
                    <a:pt x="911224" y="774066"/>
                  </a:moveTo>
                  <a:cubicBezTo>
                    <a:pt x="934720" y="774066"/>
                    <a:pt x="949325" y="795021"/>
                    <a:pt x="949325" y="821056"/>
                  </a:cubicBezTo>
                  <a:lnTo>
                    <a:pt x="948689" y="821056"/>
                  </a:lnTo>
                  <a:cubicBezTo>
                    <a:pt x="948689" y="821056"/>
                    <a:pt x="948689" y="827406"/>
                    <a:pt x="948689" y="828676"/>
                  </a:cubicBezTo>
                  <a:lnTo>
                    <a:pt x="894079" y="828676"/>
                  </a:lnTo>
                  <a:cubicBezTo>
                    <a:pt x="895349" y="841376"/>
                    <a:pt x="903605" y="846456"/>
                    <a:pt x="913129" y="846456"/>
                  </a:cubicBezTo>
                  <a:cubicBezTo>
                    <a:pt x="918845" y="846456"/>
                    <a:pt x="923924" y="844551"/>
                    <a:pt x="929004" y="840106"/>
                  </a:cubicBezTo>
                  <a:lnTo>
                    <a:pt x="944879" y="853441"/>
                  </a:lnTo>
                  <a:cubicBezTo>
                    <a:pt x="936625" y="864236"/>
                    <a:pt x="923924" y="868046"/>
                    <a:pt x="912495" y="868046"/>
                  </a:cubicBezTo>
                  <a:cubicBezTo>
                    <a:pt x="886459" y="868046"/>
                    <a:pt x="871220" y="847726"/>
                    <a:pt x="871220" y="821056"/>
                  </a:cubicBezTo>
                  <a:cubicBezTo>
                    <a:pt x="871220" y="792481"/>
                    <a:pt x="889000" y="774066"/>
                    <a:pt x="911224" y="774066"/>
                  </a:cubicBezTo>
                  <a:close/>
                  <a:moveTo>
                    <a:pt x="623570" y="774066"/>
                  </a:moveTo>
                  <a:cubicBezTo>
                    <a:pt x="647700" y="774066"/>
                    <a:pt x="655954" y="793116"/>
                    <a:pt x="655954" y="815341"/>
                  </a:cubicBezTo>
                  <a:lnTo>
                    <a:pt x="655954" y="866141"/>
                  </a:lnTo>
                  <a:lnTo>
                    <a:pt x="632459" y="866141"/>
                  </a:lnTo>
                  <a:lnTo>
                    <a:pt x="632459" y="817246"/>
                  </a:lnTo>
                  <a:cubicBezTo>
                    <a:pt x="632459" y="804546"/>
                    <a:pt x="629284" y="796291"/>
                    <a:pt x="617220" y="796291"/>
                  </a:cubicBezTo>
                  <a:cubicBezTo>
                    <a:pt x="605155" y="796291"/>
                    <a:pt x="601345" y="803276"/>
                    <a:pt x="601345" y="816611"/>
                  </a:cubicBezTo>
                  <a:lnTo>
                    <a:pt x="601345" y="866141"/>
                  </a:lnTo>
                  <a:lnTo>
                    <a:pt x="577849" y="866141"/>
                  </a:lnTo>
                  <a:lnTo>
                    <a:pt x="577849" y="775971"/>
                  </a:lnTo>
                  <a:lnTo>
                    <a:pt x="601345" y="775971"/>
                  </a:lnTo>
                  <a:lnTo>
                    <a:pt x="601345" y="782321"/>
                  </a:lnTo>
                  <a:cubicBezTo>
                    <a:pt x="606424" y="777241"/>
                    <a:pt x="613409" y="774066"/>
                    <a:pt x="623570" y="774066"/>
                  </a:cubicBezTo>
                  <a:close/>
                  <a:moveTo>
                    <a:pt x="522605" y="774066"/>
                  </a:moveTo>
                  <a:cubicBezTo>
                    <a:pt x="548004" y="774066"/>
                    <a:pt x="564515" y="793116"/>
                    <a:pt x="564515" y="821056"/>
                  </a:cubicBezTo>
                  <a:cubicBezTo>
                    <a:pt x="564515" y="848996"/>
                    <a:pt x="546735" y="868046"/>
                    <a:pt x="522605" y="868046"/>
                  </a:cubicBezTo>
                  <a:cubicBezTo>
                    <a:pt x="498474" y="868046"/>
                    <a:pt x="480695" y="848996"/>
                    <a:pt x="480695" y="821056"/>
                  </a:cubicBezTo>
                  <a:cubicBezTo>
                    <a:pt x="480695" y="794386"/>
                    <a:pt x="496570" y="774066"/>
                    <a:pt x="522605" y="774066"/>
                  </a:cubicBezTo>
                  <a:close/>
                  <a:moveTo>
                    <a:pt x="436879" y="774066"/>
                  </a:moveTo>
                  <a:cubicBezTo>
                    <a:pt x="452754" y="774066"/>
                    <a:pt x="464185" y="781051"/>
                    <a:pt x="472439" y="793751"/>
                  </a:cubicBezTo>
                  <a:lnTo>
                    <a:pt x="457200" y="808991"/>
                  </a:lnTo>
                  <a:cubicBezTo>
                    <a:pt x="452120" y="802006"/>
                    <a:pt x="446405" y="796291"/>
                    <a:pt x="436879" y="796291"/>
                  </a:cubicBezTo>
                  <a:cubicBezTo>
                    <a:pt x="424180" y="796291"/>
                    <a:pt x="417829" y="807086"/>
                    <a:pt x="417829" y="820421"/>
                  </a:cubicBezTo>
                  <a:cubicBezTo>
                    <a:pt x="417829" y="833121"/>
                    <a:pt x="423545" y="845186"/>
                    <a:pt x="436879" y="845186"/>
                  </a:cubicBezTo>
                  <a:cubicBezTo>
                    <a:pt x="445135" y="845186"/>
                    <a:pt x="452120" y="840741"/>
                    <a:pt x="457200" y="833756"/>
                  </a:cubicBezTo>
                  <a:lnTo>
                    <a:pt x="457834" y="834391"/>
                  </a:lnTo>
                  <a:lnTo>
                    <a:pt x="472439" y="848361"/>
                  </a:lnTo>
                  <a:cubicBezTo>
                    <a:pt x="464820" y="857886"/>
                    <a:pt x="454025" y="868046"/>
                    <a:pt x="436245" y="868046"/>
                  </a:cubicBezTo>
                  <a:cubicBezTo>
                    <a:pt x="411480" y="868046"/>
                    <a:pt x="393700" y="848361"/>
                    <a:pt x="393700" y="821056"/>
                  </a:cubicBezTo>
                  <a:cubicBezTo>
                    <a:pt x="393700" y="796291"/>
                    <a:pt x="408939" y="774066"/>
                    <a:pt x="436879" y="774066"/>
                  </a:cubicBezTo>
                  <a:close/>
                  <a:moveTo>
                    <a:pt x="219075" y="742316"/>
                  </a:moveTo>
                  <a:lnTo>
                    <a:pt x="219075" y="777241"/>
                  </a:lnTo>
                  <a:lnTo>
                    <a:pt x="245110" y="777241"/>
                  </a:lnTo>
                  <a:lnTo>
                    <a:pt x="245110" y="798831"/>
                  </a:lnTo>
                  <a:lnTo>
                    <a:pt x="219075" y="798831"/>
                  </a:lnTo>
                  <a:lnTo>
                    <a:pt x="219075" y="835661"/>
                  </a:lnTo>
                  <a:cubicBezTo>
                    <a:pt x="219075" y="843916"/>
                    <a:pt x="222250" y="846456"/>
                    <a:pt x="227965" y="846456"/>
                  </a:cubicBezTo>
                  <a:lnTo>
                    <a:pt x="245041" y="839979"/>
                  </a:lnTo>
                  <a:lnTo>
                    <a:pt x="241935" y="862966"/>
                  </a:lnTo>
                  <a:cubicBezTo>
                    <a:pt x="236855" y="866776"/>
                    <a:pt x="225424" y="868681"/>
                    <a:pt x="219709" y="868681"/>
                  </a:cubicBezTo>
                  <a:cubicBezTo>
                    <a:pt x="205739" y="868681"/>
                    <a:pt x="195579" y="857251"/>
                    <a:pt x="195579" y="842011"/>
                  </a:cubicBezTo>
                  <a:lnTo>
                    <a:pt x="195579" y="798831"/>
                  </a:lnTo>
                  <a:lnTo>
                    <a:pt x="179704" y="798831"/>
                  </a:lnTo>
                  <a:lnTo>
                    <a:pt x="179704" y="777241"/>
                  </a:lnTo>
                  <a:lnTo>
                    <a:pt x="195579" y="777241"/>
                  </a:lnTo>
                  <a:lnTo>
                    <a:pt x="195579" y="753746"/>
                  </a:lnTo>
                  <a:close/>
                  <a:moveTo>
                    <a:pt x="749935" y="741681"/>
                  </a:moveTo>
                  <a:cubicBezTo>
                    <a:pt x="757555" y="741681"/>
                    <a:pt x="763269" y="747396"/>
                    <a:pt x="763269" y="755016"/>
                  </a:cubicBezTo>
                  <a:cubicBezTo>
                    <a:pt x="763269" y="762636"/>
                    <a:pt x="757555" y="768351"/>
                    <a:pt x="749935" y="768351"/>
                  </a:cubicBezTo>
                  <a:cubicBezTo>
                    <a:pt x="742314" y="768351"/>
                    <a:pt x="736599" y="762636"/>
                    <a:pt x="736599" y="755016"/>
                  </a:cubicBezTo>
                  <a:cubicBezTo>
                    <a:pt x="736599" y="747396"/>
                    <a:pt x="742314" y="741681"/>
                    <a:pt x="749935" y="741681"/>
                  </a:cubicBezTo>
                  <a:close/>
                  <a:moveTo>
                    <a:pt x="154939" y="741681"/>
                  </a:moveTo>
                  <a:cubicBezTo>
                    <a:pt x="162560" y="741681"/>
                    <a:pt x="168275" y="747396"/>
                    <a:pt x="168275" y="755016"/>
                  </a:cubicBezTo>
                  <a:cubicBezTo>
                    <a:pt x="168275" y="762636"/>
                    <a:pt x="162560" y="768351"/>
                    <a:pt x="154939" y="768351"/>
                  </a:cubicBezTo>
                  <a:cubicBezTo>
                    <a:pt x="147320" y="768351"/>
                    <a:pt x="141605" y="762636"/>
                    <a:pt x="141605" y="755016"/>
                  </a:cubicBezTo>
                  <a:cubicBezTo>
                    <a:pt x="141605" y="747396"/>
                    <a:pt x="147320" y="741681"/>
                    <a:pt x="154939" y="741681"/>
                  </a:cubicBezTo>
                  <a:close/>
                  <a:moveTo>
                    <a:pt x="856614" y="741046"/>
                  </a:moveTo>
                  <a:lnTo>
                    <a:pt x="856614" y="866141"/>
                  </a:lnTo>
                  <a:lnTo>
                    <a:pt x="833120" y="866141"/>
                  </a:lnTo>
                  <a:lnTo>
                    <a:pt x="833120" y="860426"/>
                  </a:lnTo>
                  <a:cubicBezTo>
                    <a:pt x="825500" y="866141"/>
                    <a:pt x="821055" y="868046"/>
                    <a:pt x="812799" y="868046"/>
                  </a:cubicBezTo>
                  <a:cubicBezTo>
                    <a:pt x="786765" y="868046"/>
                    <a:pt x="775970" y="845821"/>
                    <a:pt x="775970" y="820421"/>
                  </a:cubicBezTo>
                  <a:cubicBezTo>
                    <a:pt x="775970" y="793116"/>
                    <a:pt x="788670" y="774066"/>
                    <a:pt x="812165" y="774066"/>
                  </a:cubicBezTo>
                  <a:cubicBezTo>
                    <a:pt x="819784" y="774066"/>
                    <a:pt x="827405" y="775971"/>
                    <a:pt x="833120" y="781051"/>
                  </a:cubicBezTo>
                  <a:lnTo>
                    <a:pt x="833120" y="752476"/>
                  </a:lnTo>
                  <a:close/>
                  <a:moveTo>
                    <a:pt x="707390" y="741046"/>
                  </a:moveTo>
                  <a:cubicBezTo>
                    <a:pt x="712470" y="741046"/>
                    <a:pt x="719454" y="741046"/>
                    <a:pt x="724534" y="743586"/>
                  </a:cubicBezTo>
                  <a:lnTo>
                    <a:pt x="724534" y="744221"/>
                  </a:lnTo>
                  <a:lnTo>
                    <a:pt x="724534" y="762636"/>
                  </a:lnTo>
                  <a:cubicBezTo>
                    <a:pt x="721360" y="761366"/>
                    <a:pt x="716280" y="760731"/>
                    <a:pt x="713105" y="760731"/>
                  </a:cubicBezTo>
                  <a:cubicBezTo>
                    <a:pt x="706120" y="760731"/>
                    <a:pt x="703579" y="762636"/>
                    <a:pt x="703579" y="768351"/>
                  </a:cubicBezTo>
                  <a:lnTo>
                    <a:pt x="703579" y="775336"/>
                  </a:lnTo>
                  <a:lnTo>
                    <a:pt x="722629" y="775336"/>
                  </a:lnTo>
                  <a:lnTo>
                    <a:pt x="722629" y="796926"/>
                  </a:lnTo>
                  <a:lnTo>
                    <a:pt x="703579" y="796926"/>
                  </a:lnTo>
                  <a:lnTo>
                    <a:pt x="703579" y="865506"/>
                  </a:lnTo>
                  <a:lnTo>
                    <a:pt x="680084" y="865506"/>
                  </a:lnTo>
                  <a:lnTo>
                    <a:pt x="680084" y="796926"/>
                  </a:lnTo>
                  <a:lnTo>
                    <a:pt x="667385" y="796926"/>
                  </a:lnTo>
                  <a:lnTo>
                    <a:pt x="667385" y="775336"/>
                  </a:lnTo>
                  <a:lnTo>
                    <a:pt x="680084" y="775336"/>
                  </a:lnTo>
                  <a:lnTo>
                    <a:pt x="680084" y="764541"/>
                  </a:lnTo>
                  <a:cubicBezTo>
                    <a:pt x="680084" y="748031"/>
                    <a:pt x="690879" y="741046"/>
                    <a:pt x="707390" y="741046"/>
                  </a:cubicBezTo>
                  <a:close/>
                  <a:moveTo>
                    <a:pt x="282575" y="741046"/>
                  </a:moveTo>
                  <a:lnTo>
                    <a:pt x="282575" y="782321"/>
                  </a:lnTo>
                  <a:cubicBezTo>
                    <a:pt x="287019" y="777241"/>
                    <a:pt x="295909" y="774066"/>
                    <a:pt x="304799" y="774066"/>
                  </a:cubicBezTo>
                  <a:cubicBezTo>
                    <a:pt x="328295" y="774066"/>
                    <a:pt x="336549" y="792481"/>
                    <a:pt x="336549" y="815341"/>
                  </a:cubicBezTo>
                  <a:lnTo>
                    <a:pt x="336549" y="866141"/>
                  </a:lnTo>
                  <a:lnTo>
                    <a:pt x="313689" y="866141"/>
                  </a:lnTo>
                  <a:lnTo>
                    <a:pt x="313689" y="817246"/>
                  </a:lnTo>
                  <a:cubicBezTo>
                    <a:pt x="313689" y="804546"/>
                    <a:pt x="310515" y="796291"/>
                    <a:pt x="298450" y="796291"/>
                  </a:cubicBezTo>
                  <a:cubicBezTo>
                    <a:pt x="286385" y="796291"/>
                    <a:pt x="282575" y="803276"/>
                    <a:pt x="282575" y="816611"/>
                  </a:cubicBezTo>
                  <a:lnTo>
                    <a:pt x="282575" y="866141"/>
                  </a:lnTo>
                  <a:lnTo>
                    <a:pt x="259079" y="866141"/>
                  </a:lnTo>
                  <a:lnTo>
                    <a:pt x="259079" y="752476"/>
                  </a:lnTo>
                  <a:close/>
                  <a:moveTo>
                    <a:pt x="92709" y="648336"/>
                  </a:moveTo>
                  <a:lnTo>
                    <a:pt x="92709" y="649606"/>
                  </a:lnTo>
                  <a:lnTo>
                    <a:pt x="92427" y="648959"/>
                  </a:lnTo>
                  <a:close/>
                  <a:moveTo>
                    <a:pt x="230504" y="643256"/>
                  </a:moveTo>
                  <a:cubicBezTo>
                    <a:pt x="220345" y="643256"/>
                    <a:pt x="215900" y="647701"/>
                    <a:pt x="215900" y="654686"/>
                  </a:cubicBezTo>
                  <a:cubicBezTo>
                    <a:pt x="215900" y="661671"/>
                    <a:pt x="220345" y="667386"/>
                    <a:pt x="228599" y="667386"/>
                  </a:cubicBezTo>
                  <a:cubicBezTo>
                    <a:pt x="233045" y="667386"/>
                    <a:pt x="240665" y="666116"/>
                    <a:pt x="245745" y="658496"/>
                  </a:cubicBezTo>
                  <a:lnTo>
                    <a:pt x="245745" y="647066"/>
                  </a:lnTo>
                  <a:cubicBezTo>
                    <a:pt x="241299" y="643891"/>
                    <a:pt x="234950" y="643256"/>
                    <a:pt x="230504" y="643256"/>
                  </a:cubicBezTo>
                  <a:close/>
                  <a:moveTo>
                    <a:pt x="321310" y="614046"/>
                  </a:moveTo>
                  <a:cubicBezTo>
                    <a:pt x="314959" y="614046"/>
                    <a:pt x="309879" y="617221"/>
                    <a:pt x="306704" y="622301"/>
                  </a:cubicBezTo>
                  <a:lnTo>
                    <a:pt x="306704" y="656591"/>
                  </a:lnTo>
                  <a:cubicBezTo>
                    <a:pt x="310515" y="661671"/>
                    <a:pt x="316230" y="664846"/>
                    <a:pt x="323215" y="664846"/>
                  </a:cubicBezTo>
                  <a:cubicBezTo>
                    <a:pt x="335915" y="664846"/>
                    <a:pt x="339090" y="653416"/>
                    <a:pt x="339090" y="640716"/>
                  </a:cubicBezTo>
                  <a:lnTo>
                    <a:pt x="338454" y="640716"/>
                  </a:lnTo>
                  <a:cubicBezTo>
                    <a:pt x="338454" y="627381"/>
                    <a:pt x="335280" y="614046"/>
                    <a:pt x="321310" y="614046"/>
                  </a:cubicBezTo>
                  <a:close/>
                  <a:moveTo>
                    <a:pt x="1179195" y="612776"/>
                  </a:moveTo>
                  <a:cubicBezTo>
                    <a:pt x="1168400" y="612776"/>
                    <a:pt x="1163954" y="622301"/>
                    <a:pt x="1163320" y="629921"/>
                  </a:cubicBezTo>
                  <a:lnTo>
                    <a:pt x="1163954" y="629921"/>
                  </a:lnTo>
                  <a:lnTo>
                    <a:pt x="1195704" y="629921"/>
                  </a:lnTo>
                  <a:cubicBezTo>
                    <a:pt x="1195070" y="619761"/>
                    <a:pt x="1188720" y="612776"/>
                    <a:pt x="1179195" y="612776"/>
                  </a:cubicBezTo>
                  <a:close/>
                  <a:moveTo>
                    <a:pt x="689610" y="612776"/>
                  </a:moveTo>
                  <a:cubicBezTo>
                    <a:pt x="678814" y="612776"/>
                    <a:pt x="674370" y="622301"/>
                    <a:pt x="673735" y="629921"/>
                  </a:cubicBezTo>
                  <a:lnTo>
                    <a:pt x="674370" y="629921"/>
                  </a:lnTo>
                  <a:lnTo>
                    <a:pt x="706120" y="629921"/>
                  </a:lnTo>
                  <a:cubicBezTo>
                    <a:pt x="705485" y="619761"/>
                    <a:pt x="699135" y="612776"/>
                    <a:pt x="689610" y="612776"/>
                  </a:cubicBezTo>
                  <a:close/>
                  <a:moveTo>
                    <a:pt x="410845" y="612776"/>
                  </a:moveTo>
                  <a:cubicBezTo>
                    <a:pt x="400685" y="612776"/>
                    <a:pt x="396239" y="622301"/>
                    <a:pt x="395605" y="629921"/>
                  </a:cubicBezTo>
                  <a:lnTo>
                    <a:pt x="427355" y="629921"/>
                  </a:lnTo>
                  <a:cubicBezTo>
                    <a:pt x="426084" y="619761"/>
                    <a:pt x="420370" y="612776"/>
                    <a:pt x="410845" y="612776"/>
                  </a:cubicBezTo>
                  <a:close/>
                  <a:moveTo>
                    <a:pt x="991870" y="594361"/>
                  </a:moveTo>
                  <a:lnTo>
                    <a:pt x="1014095" y="594361"/>
                  </a:lnTo>
                  <a:lnTo>
                    <a:pt x="1014095" y="643256"/>
                  </a:lnTo>
                  <a:cubicBezTo>
                    <a:pt x="1014095" y="655321"/>
                    <a:pt x="1016635" y="664846"/>
                    <a:pt x="1029334" y="664846"/>
                  </a:cubicBezTo>
                  <a:cubicBezTo>
                    <a:pt x="1042034" y="664846"/>
                    <a:pt x="1044575" y="655321"/>
                    <a:pt x="1044575" y="644526"/>
                  </a:cubicBezTo>
                  <a:lnTo>
                    <a:pt x="1044575" y="594996"/>
                  </a:lnTo>
                  <a:lnTo>
                    <a:pt x="1066799" y="594996"/>
                  </a:lnTo>
                  <a:lnTo>
                    <a:pt x="1066799" y="684531"/>
                  </a:lnTo>
                  <a:lnTo>
                    <a:pt x="1044575" y="684531"/>
                  </a:lnTo>
                  <a:lnTo>
                    <a:pt x="1044575" y="678181"/>
                  </a:lnTo>
                  <a:cubicBezTo>
                    <a:pt x="1039495" y="683896"/>
                    <a:pt x="1031875" y="686436"/>
                    <a:pt x="1023620" y="686436"/>
                  </a:cubicBezTo>
                  <a:cubicBezTo>
                    <a:pt x="1000125" y="686436"/>
                    <a:pt x="991870" y="669926"/>
                    <a:pt x="991870" y="645161"/>
                  </a:cubicBezTo>
                  <a:close/>
                  <a:moveTo>
                    <a:pt x="836295" y="594361"/>
                  </a:moveTo>
                  <a:lnTo>
                    <a:pt x="858519" y="594361"/>
                  </a:lnTo>
                  <a:lnTo>
                    <a:pt x="858519" y="643256"/>
                  </a:lnTo>
                  <a:cubicBezTo>
                    <a:pt x="858519" y="655321"/>
                    <a:pt x="861060" y="664846"/>
                    <a:pt x="873760" y="664846"/>
                  </a:cubicBezTo>
                  <a:cubicBezTo>
                    <a:pt x="886459" y="664846"/>
                    <a:pt x="889000" y="655321"/>
                    <a:pt x="889000" y="644526"/>
                  </a:cubicBezTo>
                  <a:lnTo>
                    <a:pt x="889000" y="594996"/>
                  </a:lnTo>
                  <a:lnTo>
                    <a:pt x="911224" y="594996"/>
                  </a:lnTo>
                  <a:lnTo>
                    <a:pt x="911224" y="684531"/>
                  </a:lnTo>
                  <a:lnTo>
                    <a:pt x="889000" y="684531"/>
                  </a:lnTo>
                  <a:lnTo>
                    <a:pt x="889000" y="678181"/>
                  </a:lnTo>
                  <a:cubicBezTo>
                    <a:pt x="883920" y="683896"/>
                    <a:pt x="876299" y="686436"/>
                    <a:pt x="868045" y="686436"/>
                  </a:cubicBezTo>
                  <a:cubicBezTo>
                    <a:pt x="844549" y="686436"/>
                    <a:pt x="836295" y="669926"/>
                    <a:pt x="836295" y="645161"/>
                  </a:cubicBezTo>
                  <a:close/>
                  <a:moveTo>
                    <a:pt x="1181099" y="592456"/>
                  </a:moveTo>
                  <a:cubicBezTo>
                    <a:pt x="1204595" y="592456"/>
                    <a:pt x="1219200" y="613411"/>
                    <a:pt x="1219200" y="639446"/>
                  </a:cubicBezTo>
                  <a:lnTo>
                    <a:pt x="1218564" y="639446"/>
                  </a:lnTo>
                  <a:cubicBezTo>
                    <a:pt x="1218564" y="639446"/>
                    <a:pt x="1218564" y="645796"/>
                    <a:pt x="1218564" y="647066"/>
                  </a:cubicBezTo>
                  <a:lnTo>
                    <a:pt x="1163954" y="647066"/>
                  </a:lnTo>
                  <a:cubicBezTo>
                    <a:pt x="1165224" y="659766"/>
                    <a:pt x="1173480" y="664846"/>
                    <a:pt x="1183004" y="664846"/>
                  </a:cubicBezTo>
                  <a:cubicBezTo>
                    <a:pt x="1188720" y="664846"/>
                    <a:pt x="1193799" y="662941"/>
                    <a:pt x="1198879" y="658496"/>
                  </a:cubicBezTo>
                  <a:lnTo>
                    <a:pt x="1214754" y="671831"/>
                  </a:lnTo>
                  <a:cubicBezTo>
                    <a:pt x="1206500" y="682626"/>
                    <a:pt x="1193799" y="686436"/>
                    <a:pt x="1182370" y="686436"/>
                  </a:cubicBezTo>
                  <a:cubicBezTo>
                    <a:pt x="1156335" y="686436"/>
                    <a:pt x="1141095" y="666116"/>
                    <a:pt x="1141095" y="639446"/>
                  </a:cubicBezTo>
                  <a:cubicBezTo>
                    <a:pt x="1141095" y="610871"/>
                    <a:pt x="1158875" y="592456"/>
                    <a:pt x="1181099" y="592456"/>
                  </a:cubicBezTo>
                  <a:close/>
                  <a:moveTo>
                    <a:pt x="691515" y="592456"/>
                  </a:moveTo>
                  <a:cubicBezTo>
                    <a:pt x="715010" y="592456"/>
                    <a:pt x="729614" y="613411"/>
                    <a:pt x="729614" y="639446"/>
                  </a:cubicBezTo>
                  <a:lnTo>
                    <a:pt x="728980" y="639446"/>
                  </a:lnTo>
                  <a:cubicBezTo>
                    <a:pt x="728980" y="639446"/>
                    <a:pt x="728980" y="645796"/>
                    <a:pt x="728980" y="647066"/>
                  </a:cubicBezTo>
                  <a:lnTo>
                    <a:pt x="674370" y="647066"/>
                  </a:lnTo>
                  <a:cubicBezTo>
                    <a:pt x="675640" y="659766"/>
                    <a:pt x="683894" y="664846"/>
                    <a:pt x="693420" y="664846"/>
                  </a:cubicBezTo>
                  <a:cubicBezTo>
                    <a:pt x="699135" y="664846"/>
                    <a:pt x="704215" y="662941"/>
                    <a:pt x="709295" y="658496"/>
                  </a:cubicBezTo>
                  <a:lnTo>
                    <a:pt x="725170" y="671831"/>
                  </a:lnTo>
                  <a:cubicBezTo>
                    <a:pt x="716915" y="682626"/>
                    <a:pt x="704215" y="686436"/>
                    <a:pt x="692784" y="686436"/>
                  </a:cubicBezTo>
                  <a:cubicBezTo>
                    <a:pt x="666750" y="686436"/>
                    <a:pt x="651510" y="666116"/>
                    <a:pt x="651510" y="639446"/>
                  </a:cubicBezTo>
                  <a:cubicBezTo>
                    <a:pt x="651510" y="610871"/>
                    <a:pt x="669290" y="592456"/>
                    <a:pt x="691515" y="592456"/>
                  </a:cubicBezTo>
                  <a:close/>
                  <a:moveTo>
                    <a:pt x="412114" y="592456"/>
                  </a:moveTo>
                  <a:cubicBezTo>
                    <a:pt x="437515" y="592456"/>
                    <a:pt x="448310" y="615316"/>
                    <a:pt x="448310" y="639446"/>
                  </a:cubicBezTo>
                  <a:cubicBezTo>
                    <a:pt x="448310" y="639446"/>
                    <a:pt x="448310" y="645796"/>
                    <a:pt x="448310" y="647066"/>
                  </a:cubicBezTo>
                  <a:lnTo>
                    <a:pt x="395605" y="647066"/>
                  </a:lnTo>
                  <a:cubicBezTo>
                    <a:pt x="396875" y="659766"/>
                    <a:pt x="405129" y="664846"/>
                    <a:pt x="415290" y="664846"/>
                  </a:cubicBezTo>
                  <a:cubicBezTo>
                    <a:pt x="421004" y="664846"/>
                    <a:pt x="426084" y="662941"/>
                    <a:pt x="430530" y="658496"/>
                  </a:cubicBezTo>
                  <a:lnTo>
                    <a:pt x="446405" y="671831"/>
                  </a:lnTo>
                  <a:cubicBezTo>
                    <a:pt x="438784" y="681991"/>
                    <a:pt x="425450" y="686436"/>
                    <a:pt x="413385" y="686436"/>
                  </a:cubicBezTo>
                  <a:cubicBezTo>
                    <a:pt x="387349" y="686436"/>
                    <a:pt x="372110" y="666116"/>
                    <a:pt x="372110" y="640081"/>
                  </a:cubicBezTo>
                  <a:cubicBezTo>
                    <a:pt x="372110" y="614046"/>
                    <a:pt x="388620" y="592456"/>
                    <a:pt x="412114" y="592456"/>
                  </a:cubicBezTo>
                  <a:close/>
                  <a:moveTo>
                    <a:pt x="326390" y="592456"/>
                  </a:moveTo>
                  <a:cubicBezTo>
                    <a:pt x="350519" y="592456"/>
                    <a:pt x="361314" y="615316"/>
                    <a:pt x="361314" y="639446"/>
                  </a:cubicBezTo>
                  <a:cubicBezTo>
                    <a:pt x="361314" y="662306"/>
                    <a:pt x="351790" y="686436"/>
                    <a:pt x="326390" y="686436"/>
                  </a:cubicBezTo>
                  <a:cubicBezTo>
                    <a:pt x="316230" y="686436"/>
                    <a:pt x="310515" y="682626"/>
                    <a:pt x="306070" y="678816"/>
                  </a:cubicBezTo>
                  <a:lnTo>
                    <a:pt x="306070" y="706121"/>
                  </a:lnTo>
                  <a:lnTo>
                    <a:pt x="283845" y="717551"/>
                  </a:lnTo>
                  <a:lnTo>
                    <a:pt x="283845" y="594361"/>
                  </a:lnTo>
                  <a:lnTo>
                    <a:pt x="306070" y="594361"/>
                  </a:lnTo>
                  <a:lnTo>
                    <a:pt x="306070" y="600711"/>
                  </a:lnTo>
                  <a:cubicBezTo>
                    <a:pt x="311784" y="595631"/>
                    <a:pt x="318135" y="592456"/>
                    <a:pt x="326390" y="592456"/>
                  </a:cubicBezTo>
                  <a:close/>
                  <a:moveTo>
                    <a:pt x="231775" y="592456"/>
                  </a:moveTo>
                  <a:cubicBezTo>
                    <a:pt x="254635" y="592456"/>
                    <a:pt x="268605" y="603251"/>
                    <a:pt x="268605" y="624206"/>
                  </a:cubicBezTo>
                  <a:lnTo>
                    <a:pt x="268605" y="684531"/>
                  </a:lnTo>
                  <a:lnTo>
                    <a:pt x="267970" y="684531"/>
                  </a:lnTo>
                  <a:lnTo>
                    <a:pt x="245745" y="684531"/>
                  </a:lnTo>
                  <a:lnTo>
                    <a:pt x="245745" y="678181"/>
                  </a:lnTo>
                  <a:cubicBezTo>
                    <a:pt x="240665" y="683261"/>
                    <a:pt x="233680" y="686436"/>
                    <a:pt x="224790" y="686436"/>
                  </a:cubicBezTo>
                  <a:cubicBezTo>
                    <a:pt x="207010" y="686436"/>
                    <a:pt x="193040" y="675006"/>
                    <a:pt x="193040" y="655321"/>
                  </a:cubicBezTo>
                  <a:cubicBezTo>
                    <a:pt x="193040" y="635636"/>
                    <a:pt x="206375" y="624841"/>
                    <a:pt x="227965" y="624841"/>
                  </a:cubicBezTo>
                  <a:cubicBezTo>
                    <a:pt x="233680" y="624841"/>
                    <a:pt x="239394" y="625476"/>
                    <a:pt x="245745" y="628651"/>
                  </a:cubicBezTo>
                  <a:lnTo>
                    <a:pt x="245745" y="623571"/>
                  </a:lnTo>
                  <a:cubicBezTo>
                    <a:pt x="245745" y="615316"/>
                    <a:pt x="240030" y="611506"/>
                    <a:pt x="230504" y="611506"/>
                  </a:cubicBezTo>
                  <a:cubicBezTo>
                    <a:pt x="223519" y="611506"/>
                    <a:pt x="216534" y="613411"/>
                    <a:pt x="209549" y="617221"/>
                  </a:cubicBezTo>
                  <a:lnTo>
                    <a:pt x="200659" y="601346"/>
                  </a:lnTo>
                  <a:cubicBezTo>
                    <a:pt x="210185" y="594996"/>
                    <a:pt x="219709" y="592456"/>
                    <a:pt x="231775" y="592456"/>
                  </a:cubicBezTo>
                  <a:close/>
                  <a:moveTo>
                    <a:pt x="1125855" y="591821"/>
                  </a:moveTo>
                  <a:cubicBezTo>
                    <a:pt x="1132204" y="591821"/>
                    <a:pt x="1137920" y="593726"/>
                    <a:pt x="1142364" y="598171"/>
                  </a:cubicBezTo>
                  <a:lnTo>
                    <a:pt x="1141730" y="598806"/>
                  </a:lnTo>
                  <a:lnTo>
                    <a:pt x="1132840" y="621031"/>
                  </a:lnTo>
                  <a:cubicBezTo>
                    <a:pt x="1129665" y="617856"/>
                    <a:pt x="1125220" y="615316"/>
                    <a:pt x="1120140" y="615316"/>
                  </a:cubicBezTo>
                  <a:cubicBezTo>
                    <a:pt x="1109345" y="615316"/>
                    <a:pt x="1106805" y="624206"/>
                    <a:pt x="1106805" y="635001"/>
                  </a:cubicBezTo>
                  <a:lnTo>
                    <a:pt x="1106805" y="683896"/>
                  </a:lnTo>
                  <a:lnTo>
                    <a:pt x="1084579" y="683896"/>
                  </a:lnTo>
                  <a:lnTo>
                    <a:pt x="1084579" y="593726"/>
                  </a:lnTo>
                  <a:lnTo>
                    <a:pt x="1106805" y="593726"/>
                  </a:lnTo>
                  <a:lnTo>
                    <a:pt x="1106805" y="600076"/>
                  </a:lnTo>
                  <a:cubicBezTo>
                    <a:pt x="1111885" y="594996"/>
                    <a:pt x="1118235" y="591821"/>
                    <a:pt x="1125855" y="591821"/>
                  </a:cubicBezTo>
                  <a:close/>
                  <a:moveTo>
                    <a:pt x="47625" y="563881"/>
                  </a:moveTo>
                  <a:cubicBezTo>
                    <a:pt x="66040" y="563881"/>
                    <a:pt x="79375" y="571501"/>
                    <a:pt x="90170" y="582296"/>
                  </a:cubicBezTo>
                  <a:lnTo>
                    <a:pt x="73659" y="598806"/>
                  </a:lnTo>
                  <a:cubicBezTo>
                    <a:pt x="66040" y="591186"/>
                    <a:pt x="58420" y="586741"/>
                    <a:pt x="46355" y="586741"/>
                  </a:cubicBezTo>
                  <a:cubicBezTo>
                    <a:pt x="36194" y="586741"/>
                    <a:pt x="28575" y="589916"/>
                    <a:pt x="28575" y="598171"/>
                  </a:cubicBezTo>
                  <a:cubicBezTo>
                    <a:pt x="28575" y="601981"/>
                    <a:pt x="29845" y="604521"/>
                    <a:pt x="33655" y="606426"/>
                  </a:cubicBezTo>
                  <a:cubicBezTo>
                    <a:pt x="38099" y="608966"/>
                    <a:pt x="43814" y="610236"/>
                    <a:pt x="52704" y="612776"/>
                  </a:cubicBezTo>
                  <a:cubicBezTo>
                    <a:pt x="63500" y="615951"/>
                    <a:pt x="73659" y="617856"/>
                    <a:pt x="81915" y="624841"/>
                  </a:cubicBezTo>
                  <a:lnTo>
                    <a:pt x="92427" y="648959"/>
                  </a:lnTo>
                  <a:lnTo>
                    <a:pt x="79454" y="677626"/>
                  </a:lnTo>
                  <a:cubicBezTo>
                    <a:pt x="71279" y="683738"/>
                    <a:pt x="60008" y="686436"/>
                    <a:pt x="47625" y="686436"/>
                  </a:cubicBezTo>
                  <a:cubicBezTo>
                    <a:pt x="29845" y="686436"/>
                    <a:pt x="10795" y="680721"/>
                    <a:pt x="0" y="664846"/>
                  </a:cubicBezTo>
                  <a:lnTo>
                    <a:pt x="16510" y="650241"/>
                  </a:lnTo>
                  <a:cubicBezTo>
                    <a:pt x="24129" y="659766"/>
                    <a:pt x="35560" y="664211"/>
                    <a:pt x="46989" y="664211"/>
                  </a:cubicBezTo>
                  <a:cubicBezTo>
                    <a:pt x="60325" y="664211"/>
                    <a:pt x="68579" y="657861"/>
                    <a:pt x="68579" y="649606"/>
                  </a:cubicBezTo>
                  <a:cubicBezTo>
                    <a:pt x="68579" y="646431"/>
                    <a:pt x="67310" y="642621"/>
                    <a:pt x="61595" y="640081"/>
                  </a:cubicBezTo>
                  <a:cubicBezTo>
                    <a:pt x="57150" y="638176"/>
                    <a:pt x="52069" y="636906"/>
                    <a:pt x="41909" y="634366"/>
                  </a:cubicBezTo>
                  <a:cubicBezTo>
                    <a:pt x="35560" y="633096"/>
                    <a:pt x="22860" y="629921"/>
                    <a:pt x="14605" y="623571"/>
                  </a:cubicBezTo>
                  <a:cubicBezTo>
                    <a:pt x="6349" y="617221"/>
                    <a:pt x="4444" y="607696"/>
                    <a:pt x="4444" y="599441"/>
                  </a:cubicBezTo>
                  <a:cubicBezTo>
                    <a:pt x="4444" y="574041"/>
                    <a:pt x="26034" y="563881"/>
                    <a:pt x="47625" y="563881"/>
                  </a:cubicBezTo>
                  <a:close/>
                  <a:moveTo>
                    <a:pt x="814070" y="560071"/>
                  </a:moveTo>
                  <a:cubicBezTo>
                    <a:pt x="820420" y="560071"/>
                    <a:pt x="824864" y="561341"/>
                    <a:pt x="830579" y="562611"/>
                  </a:cubicBezTo>
                  <a:lnTo>
                    <a:pt x="829945" y="562611"/>
                  </a:lnTo>
                  <a:lnTo>
                    <a:pt x="829945" y="581026"/>
                  </a:lnTo>
                  <a:cubicBezTo>
                    <a:pt x="824864" y="579756"/>
                    <a:pt x="821055" y="579121"/>
                    <a:pt x="818515" y="579121"/>
                  </a:cubicBezTo>
                  <a:cubicBezTo>
                    <a:pt x="810260" y="579121"/>
                    <a:pt x="808989" y="582296"/>
                    <a:pt x="808989" y="586741"/>
                  </a:cubicBezTo>
                  <a:lnTo>
                    <a:pt x="808989" y="594361"/>
                  </a:lnTo>
                  <a:lnTo>
                    <a:pt x="824230" y="594361"/>
                  </a:lnTo>
                  <a:lnTo>
                    <a:pt x="824230" y="615951"/>
                  </a:lnTo>
                  <a:lnTo>
                    <a:pt x="808989" y="615951"/>
                  </a:lnTo>
                  <a:lnTo>
                    <a:pt x="808989" y="684531"/>
                  </a:lnTo>
                  <a:lnTo>
                    <a:pt x="786765" y="684531"/>
                  </a:lnTo>
                  <a:lnTo>
                    <a:pt x="786765" y="615951"/>
                  </a:lnTo>
                  <a:lnTo>
                    <a:pt x="775970" y="615951"/>
                  </a:lnTo>
                  <a:lnTo>
                    <a:pt x="775970" y="594361"/>
                  </a:lnTo>
                  <a:lnTo>
                    <a:pt x="786765" y="594361"/>
                  </a:lnTo>
                  <a:lnTo>
                    <a:pt x="786765" y="583566"/>
                  </a:lnTo>
                  <a:cubicBezTo>
                    <a:pt x="786765" y="567691"/>
                    <a:pt x="795019" y="560071"/>
                    <a:pt x="814070" y="560071"/>
                  </a:cubicBezTo>
                  <a:close/>
                  <a:moveTo>
                    <a:pt x="957579" y="559436"/>
                  </a:moveTo>
                  <a:lnTo>
                    <a:pt x="957579" y="594361"/>
                  </a:lnTo>
                  <a:lnTo>
                    <a:pt x="979170" y="594361"/>
                  </a:lnTo>
                  <a:lnTo>
                    <a:pt x="979170" y="615951"/>
                  </a:lnTo>
                  <a:lnTo>
                    <a:pt x="957579" y="615951"/>
                  </a:lnTo>
                  <a:lnTo>
                    <a:pt x="957579" y="654051"/>
                  </a:lnTo>
                  <a:cubicBezTo>
                    <a:pt x="957579" y="661671"/>
                    <a:pt x="960754" y="664846"/>
                    <a:pt x="966470" y="664846"/>
                  </a:cubicBezTo>
                  <a:cubicBezTo>
                    <a:pt x="972185" y="664846"/>
                    <a:pt x="977900" y="661671"/>
                    <a:pt x="981075" y="658496"/>
                  </a:cubicBezTo>
                  <a:lnTo>
                    <a:pt x="977900" y="681356"/>
                  </a:lnTo>
                  <a:cubicBezTo>
                    <a:pt x="973454" y="685166"/>
                    <a:pt x="965200" y="686436"/>
                    <a:pt x="959485" y="686436"/>
                  </a:cubicBezTo>
                  <a:cubicBezTo>
                    <a:pt x="945515" y="686436"/>
                    <a:pt x="935355" y="676276"/>
                    <a:pt x="935355" y="659766"/>
                  </a:cubicBezTo>
                  <a:lnTo>
                    <a:pt x="935355" y="615951"/>
                  </a:lnTo>
                  <a:lnTo>
                    <a:pt x="922655" y="615951"/>
                  </a:lnTo>
                  <a:lnTo>
                    <a:pt x="922655" y="594361"/>
                  </a:lnTo>
                  <a:lnTo>
                    <a:pt x="935355" y="594361"/>
                  </a:lnTo>
                  <a:lnTo>
                    <a:pt x="935355" y="570866"/>
                  </a:lnTo>
                  <a:close/>
                  <a:moveTo>
                    <a:pt x="586739" y="559436"/>
                  </a:moveTo>
                  <a:lnTo>
                    <a:pt x="586739" y="600711"/>
                  </a:lnTo>
                  <a:cubicBezTo>
                    <a:pt x="591820" y="595631"/>
                    <a:pt x="597534" y="592456"/>
                    <a:pt x="607695" y="592456"/>
                  </a:cubicBezTo>
                  <a:cubicBezTo>
                    <a:pt x="631825" y="592456"/>
                    <a:pt x="639445" y="610871"/>
                    <a:pt x="639445" y="633731"/>
                  </a:cubicBezTo>
                  <a:lnTo>
                    <a:pt x="639445" y="684531"/>
                  </a:lnTo>
                  <a:lnTo>
                    <a:pt x="617220" y="684531"/>
                  </a:lnTo>
                  <a:lnTo>
                    <a:pt x="617220" y="635636"/>
                  </a:lnTo>
                  <a:cubicBezTo>
                    <a:pt x="617220" y="623571"/>
                    <a:pt x="614680" y="614681"/>
                    <a:pt x="601980" y="614681"/>
                  </a:cubicBezTo>
                  <a:cubicBezTo>
                    <a:pt x="589280" y="614681"/>
                    <a:pt x="586739" y="622936"/>
                    <a:pt x="586739" y="635001"/>
                  </a:cubicBezTo>
                  <a:lnTo>
                    <a:pt x="586739" y="684531"/>
                  </a:lnTo>
                  <a:lnTo>
                    <a:pt x="564515" y="684531"/>
                  </a:lnTo>
                  <a:lnTo>
                    <a:pt x="564515" y="570866"/>
                  </a:lnTo>
                  <a:close/>
                  <a:moveTo>
                    <a:pt x="529590" y="559436"/>
                  </a:moveTo>
                  <a:lnTo>
                    <a:pt x="529590" y="594361"/>
                  </a:lnTo>
                  <a:lnTo>
                    <a:pt x="550545" y="594361"/>
                  </a:lnTo>
                  <a:lnTo>
                    <a:pt x="550545" y="615951"/>
                  </a:lnTo>
                  <a:lnTo>
                    <a:pt x="529590" y="615951"/>
                  </a:lnTo>
                  <a:lnTo>
                    <a:pt x="529590" y="654051"/>
                  </a:lnTo>
                  <a:cubicBezTo>
                    <a:pt x="529590" y="661671"/>
                    <a:pt x="532765" y="664846"/>
                    <a:pt x="538480" y="664846"/>
                  </a:cubicBezTo>
                  <a:cubicBezTo>
                    <a:pt x="544195" y="664846"/>
                    <a:pt x="549275" y="661671"/>
                    <a:pt x="553084" y="658496"/>
                  </a:cubicBezTo>
                  <a:lnTo>
                    <a:pt x="549909" y="681356"/>
                  </a:lnTo>
                  <a:cubicBezTo>
                    <a:pt x="545465" y="685166"/>
                    <a:pt x="537209" y="686436"/>
                    <a:pt x="531495" y="686436"/>
                  </a:cubicBezTo>
                  <a:cubicBezTo>
                    <a:pt x="517525" y="686436"/>
                    <a:pt x="507364" y="676276"/>
                    <a:pt x="507364" y="659766"/>
                  </a:cubicBezTo>
                  <a:lnTo>
                    <a:pt x="507364" y="615951"/>
                  </a:lnTo>
                  <a:lnTo>
                    <a:pt x="491489" y="615951"/>
                  </a:lnTo>
                  <a:lnTo>
                    <a:pt x="491489" y="594361"/>
                  </a:lnTo>
                  <a:lnTo>
                    <a:pt x="507364" y="594361"/>
                  </a:lnTo>
                  <a:lnTo>
                    <a:pt x="507364" y="570866"/>
                  </a:lnTo>
                  <a:close/>
                  <a:moveTo>
                    <a:pt x="128269" y="559436"/>
                  </a:moveTo>
                  <a:lnTo>
                    <a:pt x="128269" y="600711"/>
                  </a:lnTo>
                  <a:cubicBezTo>
                    <a:pt x="133349" y="595631"/>
                    <a:pt x="139064" y="592456"/>
                    <a:pt x="149224" y="592456"/>
                  </a:cubicBezTo>
                  <a:cubicBezTo>
                    <a:pt x="173355" y="592456"/>
                    <a:pt x="180974" y="610871"/>
                    <a:pt x="180974" y="633731"/>
                  </a:cubicBezTo>
                  <a:lnTo>
                    <a:pt x="180974" y="684531"/>
                  </a:lnTo>
                  <a:lnTo>
                    <a:pt x="158750" y="684531"/>
                  </a:lnTo>
                  <a:lnTo>
                    <a:pt x="158750" y="635636"/>
                  </a:lnTo>
                  <a:cubicBezTo>
                    <a:pt x="158750" y="623571"/>
                    <a:pt x="156209" y="614681"/>
                    <a:pt x="143510" y="614681"/>
                  </a:cubicBezTo>
                  <a:cubicBezTo>
                    <a:pt x="130810" y="614681"/>
                    <a:pt x="128269" y="622936"/>
                    <a:pt x="128269" y="635001"/>
                  </a:cubicBezTo>
                  <a:lnTo>
                    <a:pt x="128269" y="684531"/>
                  </a:lnTo>
                  <a:lnTo>
                    <a:pt x="106045" y="684531"/>
                  </a:lnTo>
                  <a:lnTo>
                    <a:pt x="106045" y="570866"/>
                  </a:lnTo>
                  <a:close/>
                  <a:moveTo>
                    <a:pt x="269875" y="635"/>
                  </a:moveTo>
                  <a:lnTo>
                    <a:pt x="501015" y="635"/>
                  </a:lnTo>
                  <a:lnTo>
                    <a:pt x="554989" y="94615"/>
                  </a:lnTo>
                  <a:lnTo>
                    <a:pt x="391795" y="94615"/>
                  </a:lnTo>
                  <a:lnTo>
                    <a:pt x="391795" y="161925"/>
                  </a:lnTo>
                  <a:lnTo>
                    <a:pt x="539114" y="161925"/>
                  </a:lnTo>
                  <a:lnTo>
                    <a:pt x="539114" y="247650"/>
                  </a:lnTo>
                  <a:lnTo>
                    <a:pt x="391795" y="247650"/>
                  </a:lnTo>
                  <a:lnTo>
                    <a:pt x="391795" y="314325"/>
                  </a:lnTo>
                  <a:lnTo>
                    <a:pt x="595629" y="314325"/>
                  </a:lnTo>
                  <a:lnTo>
                    <a:pt x="595629" y="408305"/>
                  </a:lnTo>
                  <a:lnTo>
                    <a:pt x="269875" y="408305"/>
                  </a:lnTo>
                  <a:close/>
                  <a:moveTo>
                    <a:pt x="539114" y="0"/>
                  </a:moveTo>
                  <a:lnTo>
                    <a:pt x="674370" y="0"/>
                  </a:lnTo>
                  <a:lnTo>
                    <a:pt x="743584" y="132715"/>
                  </a:lnTo>
                  <a:lnTo>
                    <a:pt x="812799" y="0"/>
                  </a:lnTo>
                  <a:lnTo>
                    <a:pt x="946150" y="0"/>
                  </a:lnTo>
                  <a:lnTo>
                    <a:pt x="803275" y="246380"/>
                  </a:lnTo>
                  <a:lnTo>
                    <a:pt x="803275" y="407670"/>
                  </a:lnTo>
                  <a:lnTo>
                    <a:pt x="681355" y="407670"/>
                  </a:lnTo>
                  <a:lnTo>
                    <a:pt x="681355" y="246380"/>
                  </a:lnTo>
                  <a:close/>
                </a:path>
              </a:pathLst>
            </a:custGeom>
            <a:solidFill>
              <a:srgbClr val="FFFFFF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92E27567-DFCD-709F-AF40-B7A340ECC0FE}"/>
              </a:ext>
            </a:extLst>
          </p:cNvPr>
          <p:cNvGrpSpPr/>
          <p:nvPr userDrawn="1"/>
        </p:nvGrpSpPr>
        <p:grpSpPr>
          <a:xfrm>
            <a:off x="486029" y="6164633"/>
            <a:ext cx="4943508" cy="318770"/>
            <a:chOff x="485775" y="6164633"/>
            <a:chExt cx="4940935" cy="318770"/>
          </a:xfrm>
        </p:grpSpPr>
        <p:sp>
          <p:nvSpPr>
            <p:cNvPr id="24" name="Freeform 23">
              <a:extLst>
                <a:ext uri="{FF2B5EF4-FFF2-40B4-BE49-F238E27FC236}">
                  <a16:creationId xmlns:a16="http://schemas.microsoft.com/office/drawing/2014/main" id="{BDF3ED9A-57E4-25C5-BC4E-AC1C77798191}"/>
                </a:ext>
              </a:extLst>
            </p:cNvPr>
            <p:cNvSpPr/>
            <p:nvPr userDrawn="1"/>
          </p:nvSpPr>
          <p:spPr>
            <a:xfrm>
              <a:off x="485775" y="6164633"/>
              <a:ext cx="405765" cy="81280"/>
            </a:xfrm>
            <a:custGeom>
              <a:avLst/>
              <a:gdLst>
                <a:gd name="connsiteX0" fmla="*/ 324485 w 405765"/>
                <a:gd name="connsiteY0" fmla="*/ 0 h 81280"/>
                <a:gd name="connsiteX1" fmla="*/ 405765 w 405765"/>
                <a:gd name="connsiteY1" fmla="*/ 0 h 81280"/>
                <a:gd name="connsiteX2" fmla="*/ 405765 w 405765"/>
                <a:gd name="connsiteY2" fmla="*/ 81280 h 81280"/>
                <a:gd name="connsiteX3" fmla="*/ 324485 w 405765"/>
                <a:gd name="connsiteY3" fmla="*/ 81280 h 81280"/>
                <a:gd name="connsiteX4" fmla="*/ 161925 w 405765"/>
                <a:gd name="connsiteY4" fmla="*/ 0 h 81280"/>
                <a:gd name="connsiteX5" fmla="*/ 243205 w 405765"/>
                <a:gd name="connsiteY5" fmla="*/ 0 h 81280"/>
                <a:gd name="connsiteX6" fmla="*/ 243205 w 405765"/>
                <a:gd name="connsiteY6" fmla="*/ 81280 h 81280"/>
                <a:gd name="connsiteX7" fmla="*/ 161925 w 405765"/>
                <a:gd name="connsiteY7" fmla="*/ 81280 h 81280"/>
                <a:gd name="connsiteX8" fmla="*/ 0 w 405765"/>
                <a:gd name="connsiteY8" fmla="*/ 0 h 81280"/>
                <a:gd name="connsiteX9" fmla="*/ 81280 w 405765"/>
                <a:gd name="connsiteY9" fmla="*/ 0 h 81280"/>
                <a:gd name="connsiteX10" fmla="*/ 81280 w 405765"/>
                <a:gd name="connsiteY10" fmla="*/ 81280 h 81280"/>
                <a:gd name="connsiteX11" fmla="*/ 0 w 405765"/>
                <a:gd name="connsiteY11" fmla="*/ 81280 h 812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05765" h="81280">
                  <a:moveTo>
                    <a:pt x="324485" y="0"/>
                  </a:moveTo>
                  <a:lnTo>
                    <a:pt x="405765" y="0"/>
                  </a:lnTo>
                  <a:lnTo>
                    <a:pt x="405765" y="81280"/>
                  </a:lnTo>
                  <a:lnTo>
                    <a:pt x="324485" y="81280"/>
                  </a:lnTo>
                  <a:close/>
                  <a:moveTo>
                    <a:pt x="161925" y="0"/>
                  </a:moveTo>
                  <a:lnTo>
                    <a:pt x="243205" y="0"/>
                  </a:lnTo>
                  <a:lnTo>
                    <a:pt x="243205" y="81280"/>
                  </a:lnTo>
                  <a:lnTo>
                    <a:pt x="161925" y="81280"/>
                  </a:lnTo>
                  <a:close/>
                  <a:moveTo>
                    <a:pt x="0" y="0"/>
                  </a:moveTo>
                  <a:lnTo>
                    <a:pt x="81280" y="0"/>
                  </a:lnTo>
                  <a:lnTo>
                    <a:pt x="81280" y="81280"/>
                  </a:lnTo>
                  <a:lnTo>
                    <a:pt x="0" y="81280"/>
                  </a:lnTo>
                  <a:close/>
                </a:path>
              </a:pathLst>
            </a:custGeom>
            <a:solidFill>
              <a:srgbClr val="FFE600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25" name="Freeform 24">
              <a:extLst>
                <a:ext uri="{FF2B5EF4-FFF2-40B4-BE49-F238E27FC236}">
                  <a16:creationId xmlns:a16="http://schemas.microsoft.com/office/drawing/2014/main" id="{F8AD9B21-63CE-8D03-9802-DB2391C6BC13}"/>
                </a:ext>
              </a:extLst>
            </p:cNvPr>
            <p:cNvSpPr/>
            <p:nvPr userDrawn="1"/>
          </p:nvSpPr>
          <p:spPr bwMode="black">
            <a:xfrm>
              <a:off x="485779" y="6344974"/>
              <a:ext cx="4940931" cy="138429"/>
            </a:xfrm>
            <a:custGeom>
              <a:avLst/>
              <a:gdLst>
                <a:gd name="connsiteX0" fmla="*/ 1032512 w 4940931"/>
                <a:gd name="connsiteY0" fmla="*/ 137477 h 138429"/>
                <a:gd name="connsiteX1" fmla="*/ 1032512 w 4940931"/>
                <a:gd name="connsiteY1" fmla="*/ 137794 h 138429"/>
                <a:gd name="connsiteX2" fmla="*/ 1030607 w 4940931"/>
                <a:gd name="connsiteY2" fmla="*/ 138429 h 138429"/>
                <a:gd name="connsiteX3" fmla="*/ 4929501 w 4940931"/>
                <a:gd name="connsiteY3" fmla="*/ 87629 h 138429"/>
                <a:gd name="connsiteX4" fmla="*/ 4933946 w 4940931"/>
                <a:gd name="connsiteY4" fmla="*/ 88264 h 138429"/>
                <a:gd name="connsiteX5" fmla="*/ 4937756 w 4940931"/>
                <a:gd name="connsiteY5" fmla="*/ 90804 h 138429"/>
                <a:gd name="connsiteX6" fmla="*/ 4940296 w 4940931"/>
                <a:gd name="connsiteY6" fmla="*/ 94614 h 138429"/>
                <a:gd name="connsiteX7" fmla="*/ 4940931 w 4940931"/>
                <a:gd name="connsiteY7" fmla="*/ 99059 h 138429"/>
                <a:gd name="connsiteX8" fmla="*/ 4940296 w 4940931"/>
                <a:gd name="connsiteY8" fmla="*/ 103504 h 138429"/>
                <a:gd name="connsiteX9" fmla="*/ 4937756 w 4940931"/>
                <a:gd name="connsiteY9" fmla="*/ 107314 h 138429"/>
                <a:gd name="connsiteX10" fmla="*/ 4933946 w 4940931"/>
                <a:gd name="connsiteY10" fmla="*/ 109854 h 138429"/>
                <a:gd name="connsiteX11" fmla="*/ 4929501 w 4940931"/>
                <a:gd name="connsiteY11" fmla="*/ 110489 h 138429"/>
                <a:gd name="connsiteX12" fmla="*/ 4925056 w 4940931"/>
                <a:gd name="connsiteY12" fmla="*/ 109854 h 138429"/>
                <a:gd name="connsiteX13" fmla="*/ 4921246 w 4940931"/>
                <a:gd name="connsiteY13" fmla="*/ 107314 h 138429"/>
                <a:gd name="connsiteX14" fmla="*/ 4918706 w 4940931"/>
                <a:gd name="connsiteY14" fmla="*/ 103504 h 138429"/>
                <a:gd name="connsiteX15" fmla="*/ 4918071 w 4940931"/>
                <a:gd name="connsiteY15" fmla="*/ 99059 h 138429"/>
                <a:gd name="connsiteX16" fmla="*/ 4918706 w 4940931"/>
                <a:gd name="connsiteY16" fmla="*/ 94614 h 138429"/>
                <a:gd name="connsiteX17" fmla="*/ 4921246 w 4940931"/>
                <a:gd name="connsiteY17" fmla="*/ 90804 h 138429"/>
                <a:gd name="connsiteX18" fmla="*/ 4925056 w 4940931"/>
                <a:gd name="connsiteY18" fmla="*/ 88264 h 138429"/>
                <a:gd name="connsiteX19" fmla="*/ 4929501 w 4940931"/>
                <a:gd name="connsiteY19" fmla="*/ 87629 h 138429"/>
                <a:gd name="connsiteX20" fmla="*/ 3079110 w 4940931"/>
                <a:gd name="connsiteY20" fmla="*/ 87629 h 138429"/>
                <a:gd name="connsiteX21" fmla="*/ 3083555 w 4940931"/>
                <a:gd name="connsiteY21" fmla="*/ 88264 h 138429"/>
                <a:gd name="connsiteX22" fmla="*/ 3087365 w 4940931"/>
                <a:gd name="connsiteY22" fmla="*/ 90804 h 138429"/>
                <a:gd name="connsiteX23" fmla="*/ 3089905 w 4940931"/>
                <a:gd name="connsiteY23" fmla="*/ 94614 h 138429"/>
                <a:gd name="connsiteX24" fmla="*/ 3090540 w 4940931"/>
                <a:gd name="connsiteY24" fmla="*/ 99059 h 138429"/>
                <a:gd name="connsiteX25" fmla="*/ 3089905 w 4940931"/>
                <a:gd name="connsiteY25" fmla="*/ 103504 h 138429"/>
                <a:gd name="connsiteX26" fmla="*/ 3087365 w 4940931"/>
                <a:gd name="connsiteY26" fmla="*/ 107314 h 138429"/>
                <a:gd name="connsiteX27" fmla="*/ 3083555 w 4940931"/>
                <a:gd name="connsiteY27" fmla="*/ 109854 h 138429"/>
                <a:gd name="connsiteX28" fmla="*/ 3079110 w 4940931"/>
                <a:gd name="connsiteY28" fmla="*/ 110489 h 138429"/>
                <a:gd name="connsiteX29" fmla="*/ 3074665 w 4940931"/>
                <a:gd name="connsiteY29" fmla="*/ 109854 h 138429"/>
                <a:gd name="connsiteX30" fmla="*/ 3070855 w 4940931"/>
                <a:gd name="connsiteY30" fmla="*/ 107314 h 138429"/>
                <a:gd name="connsiteX31" fmla="*/ 3068315 w 4940931"/>
                <a:gd name="connsiteY31" fmla="*/ 103504 h 138429"/>
                <a:gd name="connsiteX32" fmla="*/ 3067680 w 4940931"/>
                <a:gd name="connsiteY32" fmla="*/ 99059 h 138429"/>
                <a:gd name="connsiteX33" fmla="*/ 3068315 w 4940931"/>
                <a:gd name="connsiteY33" fmla="*/ 94614 h 138429"/>
                <a:gd name="connsiteX34" fmla="*/ 3070855 w 4940931"/>
                <a:gd name="connsiteY34" fmla="*/ 90804 h 138429"/>
                <a:gd name="connsiteX35" fmla="*/ 3074665 w 4940931"/>
                <a:gd name="connsiteY35" fmla="*/ 88264 h 138429"/>
                <a:gd name="connsiteX36" fmla="*/ 3079110 w 4940931"/>
                <a:gd name="connsiteY36" fmla="*/ 87629 h 138429"/>
                <a:gd name="connsiteX37" fmla="*/ 1565275 w 4940931"/>
                <a:gd name="connsiteY37" fmla="*/ 87629 h 138429"/>
                <a:gd name="connsiteX38" fmla="*/ 1569720 w 4940931"/>
                <a:gd name="connsiteY38" fmla="*/ 88264 h 138429"/>
                <a:gd name="connsiteX39" fmla="*/ 1573529 w 4940931"/>
                <a:gd name="connsiteY39" fmla="*/ 90804 h 138429"/>
                <a:gd name="connsiteX40" fmla="*/ 1576069 w 4940931"/>
                <a:gd name="connsiteY40" fmla="*/ 94614 h 138429"/>
                <a:gd name="connsiteX41" fmla="*/ 1576705 w 4940931"/>
                <a:gd name="connsiteY41" fmla="*/ 99059 h 138429"/>
                <a:gd name="connsiteX42" fmla="*/ 1576069 w 4940931"/>
                <a:gd name="connsiteY42" fmla="*/ 103504 h 138429"/>
                <a:gd name="connsiteX43" fmla="*/ 1573529 w 4940931"/>
                <a:gd name="connsiteY43" fmla="*/ 107314 h 138429"/>
                <a:gd name="connsiteX44" fmla="*/ 1569720 w 4940931"/>
                <a:gd name="connsiteY44" fmla="*/ 109854 h 138429"/>
                <a:gd name="connsiteX45" fmla="*/ 1565275 w 4940931"/>
                <a:gd name="connsiteY45" fmla="*/ 110489 h 138429"/>
                <a:gd name="connsiteX46" fmla="*/ 1560830 w 4940931"/>
                <a:gd name="connsiteY46" fmla="*/ 109854 h 138429"/>
                <a:gd name="connsiteX47" fmla="*/ 1557020 w 4940931"/>
                <a:gd name="connsiteY47" fmla="*/ 107314 h 138429"/>
                <a:gd name="connsiteX48" fmla="*/ 1554479 w 4940931"/>
                <a:gd name="connsiteY48" fmla="*/ 103504 h 138429"/>
                <a:gd name="connsiteX49" fmla="*/ 1553844 w 4940931"/>
                <a:gd name="connsiteY49" fmla="*/ 99059 h 138429"/>
                <a:gd name="connsiteX50" fmla="*/ 1554479 w 4940931"/>
                <a:gd name="connsiteY50" fmla="*/ 94614 h 138429"/>
                <a:gd name="connsiteX51" fmla="*/ 1557020 w 4940931"/>
                <a:gd name="connsiteY51" fmla="*/ 90804 h 138429"/>
                <a:gd name="connsiteX52" fmla="*/ 1560830 w 4940931"/>
                <a:gd name="connsiteY52" fmla="*/ 88264 h 138429"/>
                <a:gd name="connsiteX53" fmla="*/ 1565275 w 4940931"/>
                <a:gd name="connsiteY53" fmla="*/ 87629 h 138429"/>
                <a:gd name="connsiteX54" fmla="*/ 2642230 w 4940931"/>
                <a:gd name="connsiteY54" fmla="*/ 73024 h 138429"/>
                <a:gd name="connsiteX55" fmla="*/ 2630800 w 4940931"/>
                <a:gd name="connsiteY55" fmla="*/ 76199 h 138429"/>
                <a:gd name="connsiteX56" fmla="*/ 2626355 w 4940931"/>
                <a:gd name="connsiteY56" fmla="*/ 84454 h 138429"/>
                <a:gd name="connsiteX57" fmla="*/ 2627625 w 4940931"/>
                <a:gd name="connsiteY57" fmla="*/ 90169 h 138429"/>
                <a:gd name="connsiteX58" fmla="*/ 2630800 w 4940931"/>
                <a:gd name="connsiteY58" fmla="*/ 93979 h 138429"/>
                <a:gd name="connsiteX59" fmla="*/ 2635245 w 4940931"/>
                <a:gd name="connsiteY59" fmla="*/ 96519 h 138429"/>
                <a:gd name="connsiteX60" fmla="*/ 2641595 w 4940931"/>
                <a:gd name="connsiteY60" fmla="*/ 97154 h 138429"/>
                <a:gd name="connsiteX61" fmla="*/ 2647310 w 4940931"/>
                <a:gd name="connsiteY61" fmla="*/ 96519 h 138429"/>
                <a:gd name="connsiteX62" fmla="*/ 2652390 w 4940931"/>
                <a:gd name="connsiteY62" fmla="*/ 93979 h 138429"/>
                <a:gd name="connsiteX63" fmla="*/ 2656835 w 4940931"/>
                <a:gd name="connsiteY63" fmla="*/ 90804 h 138429"/>
                <a:gd name="connsiteX64" fmla="*/ 2660010 w 4940931"/>
                <a:gd name="connsiteY64" fmla="*/ 86994 h 138429"/>
                <a:gd name="connsiteX65" fmla="*/ 2660010 w 4940931"/>
                <a:gd name="connsiteY65" fmla="*/ 75564 h 138429"/>
                <a:gd name="connsiteX66" fmla="*/ 2656200 w 4940931"/>
                <a:gd name="connsiteY66" fmla="*/ 74294 h 138429"/>
                <a:gd name="connsiteX67" fmla="*/ 2652390 w 4940931"/>
                <a:gd name="connsiteY67" fmla="*/ 73659 h 138429"/>
                <a:gd name="connsiteX68" fmla="*/ 2647945 w 4940931"/>
                <a:gd name="connsiteY68" fmla="*/ 73024 h 138429"/>
                <a:gd name="connsiteX69" fmla="*/ 2642230 w 4940931"/>
                <a:gd name="connsiteY69" fmla="*/ 73024 h 138429"/>
                <a:gd name="connsiteX70" fmla="*/ 4664706 w 4940931"/>
                <a:gd name="connsiteY70" fmla="*/ 43814 h 138429"/>
                <a:gd name="connsiteX71" fmla="*/ 4657086 w 4940931"/>
                <a:gd name="connsiteY71" fmla="*/ 45719 h 138429"/>
                <a:gd name="connsiteX72" fmla="*/ 4651371 w 4940931"/>
                <a:gd name="connsiteY72" fmla="*/ 50799 h 138429"/>
                <a:gd name="connsiteX73" fmla="*/ 4647561 w 4940931"/>
                <a:gd name="connsiteY73" fmla="*/ 59054 h 138429"/>
                <a:gd name="connsiteX74" fmla="*/ 4646291 w 4940931"/>
                <a:gd name="connsiteY74" fmla="*/ 69849 h 138429"/>
                <a:gd name="connsiteX75" fmla="*/ 4647561 w 4940931"/>
                <a:gd name="connsiteY75" fmla="*/ 81279 h 138429"/>
                <a:gd name="connsiteX76" fmla="*/ 4651371 w 4940931"/>
                <a:gd name="connsiteY76" fmla="*/ 89534 h 138429"/>
                <a:gd name="connsiteX77" fmla="*/ 4657721 w 4940931"/>
                <a:gd name="connsiteY77" fmla="*/ 94614 h 138429"/>
                <a:gd name="connsiteX78" fmla="*/ 4665341 w 4940931"/>
                <a:gd name="connsiteY78" fmla="*/ 96519 h 138429"/>
                <a:gd name="connsiteX79" fmla="*/ 4672961 w 4940931"/>
                <a:gd name="connsiteY79" fmla="*/ 94614 h 138429"/>
                <a:gd name="connsiteX80" fmla="*/ 4678676 w 4940931"/>
                <a:gd name="connsiteY80" fmla="*/ 88899 h 138429"/>
                <a:gd name="connsiteX81" fmla="*/ 4682486 w 4940931"/>
                <a:gd name="connsiteY81" fmla="*/ 80644 h 138429"/>
                <a:gd name="connsiteX82" fmla="*/ 4683756 w 4940931"/>
                <a:gd name="connsiteY82" fmla="*/ 70484 h 138429"/>
                <a:gd name="connsiteX83" fmla="*/ 4684391 w 4940931"/>
                <a:gd name="connsiteY83" fmla="*/ 69849 h 138429"/>
                <a:gd name="connsiteX84" fmla="*/ 4683121 w 4940931"/>
                <a:gd name="connsiteY84" fmla="*/ 59054 h 138429"/>
                <a:gd name="connsiteX85" fmla="*/ 4679311 w 4940931"/>
                <a:gd name="connsiteY85" fmla="*/ 50799 h 138429"/>
                <a:gd name="connsiteX86" fmla="*/ 4672961 w 4940931"/>
                <a:gd name="connsiteY86" fmla="*/ 45719 h 138429"/>
                <a:gd name="connsiteX87" fmla="*/ 4664706 w 4940931"/>
                <a:gd name="connsiteY87" fmla="*/ 43814 h 138429"/>
                <a:gd name="connsiteX88" fmla="*/ 4264020 w 4940931"/>
                <a:gd name="connsiteY88" fmla="*/ 43814 h 138429"/>
                <a:gd name="connsiteX89" fmla="*/ 4256400 w 4940931"/>
                <a:gd name="connsiteY89" fmla="*/ 45719 h 138429"/>
                <a:gd name="connsiteX90" fmla="*/ 4250685 w 4940931"/>
                <a:gd name="connsiteY90" fmla="*/ 50799 h 138429"/>
                <a:gd name="connsiteX91" fmla="*/ 4246875 w 4940931"/>
                <a:gd name="connsiteY91" fmla="*/ 59054 h 138429"/>
                <a:gd name="connsiteX92" fmla="*/ 4245605 w 4940931"/>
                <a:gd name="connsiteY92" fmla="*/ 69849 h 138429"/>
                <a:gd name="connsiteX93" fmla="*/ 4246875 w 4940931"/>
                <a:gd name="connsiteY93" fmla="*/ 81279 h 138429"/>
                <a:gd name="connsiteX94" fmla="*/ 4250685 w 4940931"/>
                <a:gd name="connsiteY94" fmla="*/ 89534 h 138429"/>
                <a:gd name="connsiteX95" fmla="*/ 4257035 w 4940931"/>
                <a:gd name="connsiteY95" fmla="*/ 94614 h 138429"/>
                <a:gd name="connsiteX96" fmla="*/ 4264655 w 4940931"/>
                <a:gd name="connsiteY96" fmla="*/ 96519 h 138429"/>
                <a:gd name="connsiteX97" fmla="*/ 4272275 w 4940931"/>
                <a:gd name="connsiteY97" fmla="*/ 94614 h 138429"/>
                <a:gd name="connsiteX98" fmla="*/ 4277990 w 4940931"/>
                <a:gd name="connsiteY98" fmla="*/ 88899 h 138429"/>
                <a:gd name="connsiteX99" fmla="*/ 4281800 w 4940931"/>
                <a:gd name="connsiteY99" fmla="*/ 80644 h 138429"/>
                <a:gd name="connsiteX100" fmla="*/ 4283070 w 4940931"/>
                <a:gd name="connsiteY100" fmla="*/ 70484 h 138429"/>
                <a:gd name="connsiteX101" fmla="*/ 4283705 w 4940931"/>
                <a:gd name="connsiteY101" fmla="*/ 69849 h 138429"/>
                <a:gd name="connsiteX102" fmla="*/ 4282435 w 4940931"/>
                <a:gd name="connsiteY102" fmla="*/ 59054 h 138429"/>
                <a:gd name="connsiteX103" fmla="*/ 4278625 w 4940931"/>
                <a:gd name="connsiteY103" fmla="*/ 50799 h 138429"/>
                <a:gd name="connsiteX104" fmla="*/ 4272275 w 4940931"/>
                <a:gd name="connsiteY104" fmla="*/ 45719 h 138429"/>
                <a:gd name="connsiteX105" fmla="*/ 4264020 w 4940931"/>
                <a:gd name="connsiteY105" fmla="*/ 43814 h 138429"/>
                <a:gd name="connsiteX106" fmla="*/ 1420495 w 4940931"/>
                <a:gd name="connsiteY106" fmla="*/ 43814 h 138429"/>
                <a:gd name="connsiteX107" fmla="*/ 1412875 w 4940931"/>
                <a:gd name="connsiteY107" fmla="*/ 45719 h 138429"/>
                <a:gd name="connsiteX108" fmla="*/ 1407160 w 4940931"/>
                <a:gd name="connsiteY108" fmla="*/ 50799 h 138429"/>
                <a:gd name="connsiteX109" fmla="*/ 1403350 w 4940931"/>
                <a:gd name="connsiteY109" fmla="*/ 59054 h 138429"/>
                <a:gd name="connsiteX110" fmla="*/ 1402080 w 4940931"/>
                <a:gd name="connsiteY110" fmla="*/ 69849 h 138429"/>
                <a:gd name="connsiteX111" fmla="*/ 1403350 w 4940931"/>
                <a:gd name="connsiteY111" fmla="*/ 81279 h 138429"/>
                <a:gd name="connsiteX112" fmla="*/ 1407160 w 4940931"/>
                <a:gd name="connsiteY112" fmla="*/ 89534 h 138429"/>
                <a:gd name="connsiteX113" fmla="*/ 1413510 w 4940931"/>
                <a:gd name="connsiteY113" fmla="*/ 94614 h 138429"/>
                <a:gd name="connsiteX114" fmla="*/ 1421130 w 4940931"/>
                <a:gd name="connsiteY114" fmla="*/ 96519 h 138429"/>
                <a:gd name="connsiteX115" fmla="*/ 1428750 w 4940931"/>
                <a:gd name="connsiteY115" fmla="*/ 94614 h 138429"/>
                <a:gd name="connsiteX116" fmla="*/ 1434465 w 4940931"/>
                <a:gd name="connsiteY116" fmla="*/ 88899 h 138429"/>
                <a:gd name="connsiteX117" fmla="*/ 1438275 w 4940931"/>
                <a:gd name="connsiteY117" fmla="*/ 80644 h 138429"/>
                <a:gd name="connsiteX118" fmla="*/ 1439545 w 4940931"/>
                <a:gd name="connsiteY118" fmla="*/ 70484 h 138429"/>
                <a:gd name="connsiteX119" fmla="*/ 1440180 w 4940931"/>
                <a:gd name="connsiteY119" fmla="*/ 69849 h 138429"/>
                <a:gd name="connsiteX120" fmla="*/ 1438910 w 4940931"/>
                <a:gd name="connsiteY120" fmla="*/ 59054 h 138429"/>
                <a:gd name="connsiteX121" fmla="*/ 1435100 w 4940931"/>
                <a:gd name="connsiteY121" fmla="*/ 50799 h 138429"/>
                <a:gd name="connsiteX122" fmla="*/ 1428750 w 4940931"/>
                <a:gd name="connsiteY122" fmla="*/ 45719 h 138429"/>
                <a:gd name="connsiteX123" fmla="*/ 1420495 w 4940931"/>
                <a:gd name="connsiteY123" fmla="*/ 43814 h 138429"/>
                <a:gd name="connsiteX124" fmla="*/ 4041770 w 4940931"/>
                <a:gd name="connsiteY124" fmla="*/ 43180 h 138429"/>
                <a:gd name="connsiteX125" fmla="*/ 4034785 w 4940931"/>
                <a:gd name="connsiteY125" fmla="*/ 44450 h 138429"/>
                <a:gd name="connsiteX126" fmla="*/ 4029705 w 4940931"/>
                <a:gd name="connsiteY126" fmla="*/ 48260 h 138429"/>
                <a:gd name="connsiteX127" fmla="*/ 4025895 w 4940931"/>
                <a:gd name="connsiteY127" fmla="*/ 54610 h 138429"/>
                <a:gd name="connsiteX128" fmla="*/ 4023990 w 4940931"/>
                <a:gd name="connsiteY128" fmla="*/ 62865 h 138429"/>
                <a:gd name="connsiteX129" fmla="*/ 4060185 w 4940931"/>
                <a:gd name="connsiteY129" fmla="*/ 62865 h 138429"/>
                <a:gd name="connsiteX130" fmla="*/ 4058915 w 4940931"/>
                <a:gd name="connsiteY130" fmla="*/ 55245 h 138429"/>
                <a:gd name="connsiteX131" fmla="*/ 4055740 w 4940931"/>
                <a:gd name="connsiteY131" fmla="*/ 48895 h 138429"/>
                <a:gd name="connsiteX132" fmla="*/ 4050025 w 4940931"/>
                <a:gd name="connsiteY132" fmla="*/ 44450 h 138429"/>
                <a:gd name="connsiteX133" fmla="*/ 4041770 w 4940931"/>
                <a:gd name="connsiteY133" fmla="*/ 43180 h 138429"/>
                <a:gd name="connsiteX134" fmla="*/ 3728081 w 4940931"/>
                <a:gd name="connsiteY134" fmla="*/ 43180 h 138429"/>
                <a:gd name="connsiteX135" fmla="*/ 3721096 w 4940931"/>
                <a:gd name="connsiteY135" fmla="*/ 44450 h 138429"/>
                <a:gd name="connsiteX136" fmla="*/ 3716016 w 4940931"/>
                <a:gd name="connsiteY136" fmla="*/ 48260 h 138429"/>
                <a:gd name="connsiteX137" fmla="*/ 3712206 w 4940931"/>
                <a:gd name="connsiteY137" fmla="*/ 54610 h 138429"/>
                <a:gd name="connsiteX138" fmla="*/ 3710301 w 4940931"/>
                <a:gd name="connsiteY138" fmla="*/ 62865 h 138429"/>
                <a:gd name="connsiteX139" fmla="*/ 3746496 w 4940931"/>
                <a:gd name="connsiteY139" fmla="*/ 62865 h 138429"/>
                <a:gd name="connsiteX140" fmla="*/ 3745226 w 4940931"/>
                <a:gd name="connsiteY140" fmla="*/ 55245 h 138429"/>
                <a:gd name="connsiteX141" fmla="*/ 3742051 w 4940931"/>
                <a:gd name="connsiteY141" fmla="*/ 48895 h 138429"/>
                <a:gd name="connsiteX142" fmla="*/ 3736336 w 4940931"/>
                <a:gd name="connsiteY142" fmla="*/ 44450 h 138429"/>
                <a:gd name="connsiteX143" fmla="*/ 3728081 w 4940931"/>
                <a:gd name="connsiteY143" fmla="*/ 43180 h 138429"/>
                <a:gd name="connsiteX144" fmla="*/ 3541391 w 4940931"/>
                <a:gd name="connsiteY144" fmla="*/ 43180 h 138429"/>
                <a:gd name="connsiteX145" fmla="*/ 3534406 w 4940931"/>
                <a:gd name="connsiteY145" fmla="*/ 44450 h 138429"/>
                <a:gd name="connsiteX146" fmla="*/ 3529326 w 4940931"/>
                <a:gd name="connsiteY146" fmla="*/ 48260 h 138429"/>
                <a:gd name="connsiteX147" fmla="*/ 3525516 w 4940931"/>
                <a:gd name="connsiteY147" fmla="*/ 54610 h 138429"/>
                <a:gd name="connsiteX148" fmla="*/ 3523611 w 4940931"/>
                <a:gd name="connsiteY148" fmla="*/ 62865 h 138429"/>
                <a:gd name="connsiteX149" fmla="*/ 3559806 w 4940931"/>
                <a:gd name="connsiteY149" fmla="*/ 62865 h 138429"/>
                <a:gd name="connsiteX150" fmla="*/ 3558536 w 4940931"/>
                <a:gd name="connsiteY150" fmla="*/ 55245 h 138429"/>
                <a:gd name="connsiteX151" fmla="*/ 3555361 w 4940931"/>
                <a:gd name="connsiteY151" fmla="*/ 48895 h 138429"/>
                <a:gd name="connsiteX152" fmla="*/ 3549646 w 4940931"/>
                <a:gd name="connsiteY152" fmla="*/ 44450 h 138429"/>
                <a:gd name="connsiteX153" fmla="*/ 3541391 w 4940931"/>
                <a:gd name="connsiteY153" fmla="*/ 43180 h 138429"/>
                <a:gd name="connsiteX154" fmla="*/ 3463285 w 4940931"/>
                <a:gd name="connsiteY154" fmla="*/ 43180 h 138429"/>
                <a:gd name="connsiteX155" fmla="*/ 3458205 w 4940931"/>
                <a:gd name="connsiteY155" fmla="*/ 43815 h 138429"/>
                <a:gd name="connsiteX156" fmla="*/ 3453125 w 4940931"/>
                <a:gd name="connsiteY156" fmla="*/ 45720 h 138429"/>
                <a:gd name="connsiteX157" fmla="*/ 3448680 w 4940931"/>
                <a:gd name="connsiteY157" fmla="*/ 48895 h 138429"/>
                <a:gd name="connsiteX158" fmla="*/ 3445505 w 4940931"/>
                <a:gd name="connsiteY158" fmla="*/ 52705 h 138429"/>
                <a:gd name="connsiteX159" fmla="*/ 3445505 w 4940931"/>
                <a:gd name="connsiteY159" fmla="*/ 85725 h 138429"/>
                <a:gd name="connsiteX160" fmla="*/ 3448680 w 4940931"/>
                <a:gd name="connsiteY160" fmla="*/ 89535 h 138429"/>
                <a:gd name="connsiteX161" fmla="*/ 3453125 w 4940931"/>
                <a:gd name="connsiteY161" fmla="*/ 92710 h 138429"/>
                <a:gd name="connsiteX162" fmla="*/ 3458205 w 4940931"/>
                <a:gd name="connsiteY162" fmla="*/ 95250 h 138429"/>
                <a:gd name="connsiteX163" fmla="*/ 3463920 w 4940931"/>
                <a:gd name="connsiteY163" fmla="*/ 95885 h 138429"/>
                <a:gd name="connsiteX164" fmla="*/ 3476620 w 4940931"/>
                <a:gd name="connsiteY164" fmla="*/ 89535 h 138429"/>
                <a:gd name="connsiteX165" fmla="*/ 3481065 w 4940931"/>
                <a:gd name="connsiteY165" fmla="*/ 71120 h 138429"/>
                <a:gd name="connsiteX166" fmla="*/ 3480430 w 4940931"/>
                <a:gd name="connsiteY166" fmla="*/ 71755 h 138429"/>
                <a:gd name="connsiteX167" fmla="*/ 3475985 w 4940931"/>
                <a:gd name="connsiteY167" fmla="*/ 50165 h 138429"/>
                <a:gd name="connsiteX168" fmla="*/ 3463285 w 4940931"/>
                <a:gd name="connsiteY168" fmla="*/ 43180 h 138429"/>
                <a:gd name="connsiteX169" fmla="*/ 3343271 w 4940931"/>
                <a:gd name="connsiteY169" fmla="*/ 43180 h 138429"/>
                <a:gd name="connsiteX170" fmla="*/ 3336286 w 4940931"/>
                <a:gd name="connsiteY170" fmla="*/ 44450 h 138429"/>
                <a:gd name="connsiteX171" fmla="*/ 3331206 w 4940931"/>
                <a:gd name="connsiteY171" fmla="*/ 48260 h 138429"/>
                <a:gd name="connsiteX172" fmla="*/ 3327396 w 4940931"/>
                <a:gd name="connsiteY172" fmla="*/ 54610 h 138429"/>
                <a:gd name="connsiteX173" fmla="*/ 3325491 w 4940931"/>
                <a:gd name="connsiteY173" fmla="*/ 62865 h 138429"/>
                <a:gd name="connsiteX174" fmla="*/ 3361686 w 4940931"/>
                <a:gd name="connsiteY174" fmla="*/ 62865 h 138429"/>
                <a:gd name="connsiteX175" fmla="*/ 3360416 w 4940931"/>
                <a:gd name="connsiteY175" fmla="*/ 55245 h 138429"/>
                <a:gd name="connsiteX176" fmla="*/ 3357241 w 4940931"/>
                <a:gd name="connsiteY176" fmla="*/ 48895 h 138429"/>
                <a:gd name="connsiteX177" fmla="*/ 3351526 w 4940931"/>
                <a:gd name="connsiteY177" fmla="*/ 44450 h 138429"/>
                <a:gd name="connsiteX178" fmla="*/ 3343271 w 4940931"/>
                <a:gd name="connsiteY178" fmla="*/ 43180 h 138429"/>
                <a:gd name="connsiteX179" fmla="*/ 2976876 w 4940931"/>
                <a:gd name="connsiteY179" fmla="*/ 43180 h 138429"/>
                <a:gd name="connsiteX180" fmla="*/ 2969891 w 4940931"/>
                <a:gd name="connsiteY180" fmla="*/ 44450 h 138429"/>
                <a:gd name="connsiteX181" fmla="*/ 2964811 w 4940931"/>
                <a:gd name="connsiteY181" fmla="*/ 48260 h 138429"/>
                <a:gd name="connsiteX182" fmla="*/ 2961001 w 4940931"/>
                <a:gd name="connsiteY182" fmla="*/ 54610 h 138429"/>
                <a:gd name="connsiteX183" fmla="*/ 2959096 w 4940931"/>
                <a:gd name="connsiteY183" fmla="*/ 62865 h 138429"/>
                <a:gd name="connsiteX184" fmla="*/ 2995291 w 4940931"/>
                <a:gd name="connsiteY184" fmla="*/ 62865 h 138429"/>
                <a:gd name="connsiteX185" fmla="*/ 2994021 w 4940931"/>
                <a:gd name="connsiteY185" fmla="*/ 55245 h 138429"/>
                <a:gd name="connsiteX186" fmla="*/ 2990846 w 4940931"/>
                <a:gd name="connsiteY186" fmla="*/ 48895 h 138429"/>
                <a:gd name="connsiteX187" fmla="*/ 2985131 w 4940931"/>
                <a:gd name="connsiteY187" fmla="*/ 44450 h 138429"/>
                <a:gd name="connsiteX188" fmla="*/ 2976876 w 4940931"/>
                <a:gd name="connsiteY188" fmla="*/ 43180 h 138429"/>
                <a:gd name="connsiteX189" fmla="*/ 2527930 w 4940931"/>
                <a:gd name="connsiteY189" fmla="*/ 43180 h 138429"/>
                <a:gd name="connsiteX190" fmla="*/ 2520945 w 4940931"/>
                <a:gd name="connsiteY190" fmla="*/ 44450 h 138429"/>
                <a:gd name="connsiteX191" fmla="*/ 2515865 w 4940931"/>
                <a:gd name="connsiteY191" fmla="*/ 48260 h 138429"/>
                <a:gd name="connsiteX192" fmla="*/ 2512055 w 4940931"/>
                <a:gd name="connsiteY192" fmla="*/ 54610 h 138429"/>
                <a:gd name="connsiteX193" fmla="*/ 2510150 w 4940931"/>
                <a:gd name="connsiteY193" fmla="*/ 62865 h 138429"/>
                <a:gd name="connsiteX194" fmla="*/ 2546345 w 4940931"/>
                <a:gd name="connsiteY194" fmla="*/ 62865 h 138429"/>
                <a:gd name="connsiteX195" fmla="*/ 2545075 w 4940931"/>
                <a:gd name="connsiteY195" fmla="*/ 55245 h 138429"/>
                <a:gd name="connsiteX196" fmla="*/ 2541900 w 4940931"/>
                <a:gd name="connsiteY196" fmla="*/ 48895 h 138429"/>
                <a:gd name="connsiteX197" fmla="*/ 2536185 w 4940931"/>
                <a:gd name="connsiteY197" fmla="*/ 44450 h 138429"/>
                <a:gd name="connsiteX198" fmla="*/ 2527930 w 4940931"/>
                <a:gd name="connsiteY198" fmla="*/ 43180 h 138429"/>
                <a:gd name="connsiteX199" fmla="*/ 2214240 w 4940931"/>
                <a:gd name="connsiteY199" fmla="*/ 43180 h 138429"/>
                <a:gd name="connsiteX200" fmla="*/ 2207255 w 4940931"/>
                <a:gd name="connsiteY200" fmla="*/ 44450 h 138429"/>
                <a:gd name="connsiteX201" fmla="*/ 2202175 w 4940931"/>
                <a:gd name="connsiteY201" fmla="*/ 48260 h 138429"/>
                <a:gd name="connsiteX202" fmla="*/ 2198365 w 4940931"/>
                <a:gd name="connsiteY202" fmla="*/ 54610 h 138429"/>
                <a:gd name="connsiteX203" fmla="*/ 2196460 w 4940931"/>
                <a:gd name="connsiteY203" fmla="*/ 62865 h 138429"/>
                <a:gd name="connsiteX204" fmla="*/ 2232655 w 4940931"/>
                <a:gd name="connsiteY204" fmla="*/ 62865 h 138429"/>
                <a:gd name="connsiteX205" fmla="*/ 2231385 w 4940931"/>
                <a:gd name="connsiteY205" fmla="*/ 55245 h 138429"/>
                <a:gd name="connsiteX206" fmla="*/ 2228210 w 4940931"/>
                <a:gd name="connsiteY206" fmla="*/ 48895 h 138429"/>
                <a:gd name="connsiteX207" fmla="*/ 2222495 w 4940931"/>
                <a:gd name="connsiteY207" fmla="*/ 44450 h 138429"/>
                <a:gd name="connsiteX208" fmla="*/ 2214240 w 4940931"/>
                <a:gd name="connsiteY208" fmla="*/ 43180 h 138429"/>
                <a:gd name="connsiteX209" fmla="*/ 2027551 w 4940931"/>
                <a:gd name="connsiteY209" fmla="*/ 43180 h 138429"/>
                <a:gd name="connsiteX210" fmla="*/ 2020566 w 4940931"/>
                <a:gd name="connsiteY210" fmla="*/ 44450 h 138429"/>
                <a:gd name="connsiteX211" fmla="*/ 2015486 w 4940931"/>
                <a:gd name="connsiteY211" fmla="*/ 48260 h 138429"/>
                <a:gd name="connsiteX212" fmla="*/ 2011676 w 4940931"/>
                <a:gd name="connsiteY212" fmla="*/ 54610 h 138429"/>
                <a:gd name="connsiteX213" fmla="*/ 2009771 w 4940931"/>
                <a:gd name="connsiteY213" fmla="*/ 62865 h 138429"/>
                <a:gd name="connsiteX214" fmla="*/ 2045966 w 4940931"/>
                <a:gd name="connsiteY214" fmla="*/ 62865 h 138429"/>
                <a:gd name="connsiteX215" fmla="*/ 2044696 w 4940931"/>
                <a:gd name="connsiteY215" fmla="*/ 55245 h 138429"/>
                <a:gd name="connsiteX216" fmla="*/ 2041521 w 4940931"/>
                <a:gd name="connsiteY216" fmla="*/ 48895 h 138429"/>
                <a:gd name="connsiteX217" fmla="*/ 2035806 w 4940931"/>
                <a:gd name="connsiteY217" fmla="*/ 44450 h 138429"/>
                <a:gd name="connsiteX218" fmla="*/ 2027551 w 4940931"/>
                <a:gd name="connsiteY218" fmla="*/ 43180 h 138429"/>
                <a:gd name="connsiteX219" fmla="*/ 1949445 w 4940931"/>
                <a:gd name="connsiteY219" fmla="*/ 43180 h 138429"/>
                <a:gd name="connsiteX220" fmla="*/ 1944365 w 4940931"/>
                <a:gd name="connsiteY220" fmla="*/ 43815 h 138429"/>
                <a:gd name="connsiteX221" fmla="*/ 1939285 w 4940931"/>
                <a:gd name="connsiteY221" fmla="*/ 45720 h 138429"/>
                <a:gd name="connsiteX222" fmla="*/ 1934840 w 4940931"/>
                <a:gd name="connsiteY222" fmla="*/ 48895 h 138429"/>
                <a:gd name="connsiteX223" fmla="*/ 1931665 w 4940931"/>
                <a:gd name="connsiteY223" fmla="*/ 52705 h 138429"/>
                <a:gd name="connsiteX224" fmla="*/ 1931665 w 4940931"/>
                <a:gd name="connsiteY224" fmla="*/ 85725 h 138429"/>
                <a:gd name="connsiteX225" fmla="*/ 1934840 w 4940931"/>
                <a:gd name="connsiteY225" fmla="*/ 89535 h 138429"/>
                <a:gd name="connsiteX226" fmla="*/ 1939285 w 4940931"/>
                <a:gd name="connsiteY226" fmla="*/ 92710 h 138429"/>
                <a:gd name="connsiteX227" fmla="*/ 1944365 w 4940931"/>
                <a:gd name="connsiteY227" fmla="*/ 95250 h 138429"/>
                <a:gd name="connsiteX228" fmla="*/ 1950080 w 4940931"/>
                <a:gd name="connsiteY228" fmla="*/ 95885 h 138429"/>
                <a:gd name="connsiteX229" fmla="*/ 1962780 w 4940931"/>
                <a:gd name="connsiteY229" fmla="*/ 89535 h 138429"/>
                <a:gd name="connsiteX230" fmla="*/ 1967225 w 4940931"/>
                <a:gd name="connsiteY230" fmla="*/ 71120 h 138429"/>
                <a:gd name="connsiteX231" fmla="*/ 1966590 w 4940931"/>
                <a:gd name="connsiteY231" fmla="*/ 71755 h 138429"/>
                <a:gd name="connsiteX232" fmla="*/ 1962145 w 4940931"/>
                <a:gd name="connsiteY232" fmla="*/ 50165 h 138429"/>
                <a:gd name="connsiteX233" fmla="*/ 1949445 w 4940931"/>
                <a:gd name="connsiteY233" fmla="*/ 43180 h 138429"/>
                <a:gd name="connsiteX234" fmla="*/ 1829431 w 4940931"/>
                <a:gd name="connsiteY234" fmla="*/ 43180 h 138429"/>
                <a:gd name="connsiteX235" fmla="*/ 1822446 w 4940931"/>
                <a:gd name="connsiteY235" fmla="*/ 44450 h 138429"/>
                <a:gd name="connsiteX236" fmla="*/ 1817366 w 4940931"/>
                <a:gd name="connsiteY236" fmla="*/ 48260 h 138429"/>
                <a:gd name="connsiteX237" fmla="*/ 1813556 w 4940931"/>
                <a:gd name="connsiteY237" fmla="*/ 54610 h 138429"/>
                <a:gd name="connsiteX238" fmla="*/ 1811651 w 4940931"/>
                <a:gd name="connsiteY238" fmla="*/ 62865 h 138429"/>
                <a:gd name="connsiteX239" fmla="*/ 1847846 w 4940931"/>
                <a:gd name="connsiteY239" fmla="*/ 62865 h 138429"/>
                <a:gd name="connsiteX240" fmla="*/ 1846576 w 4940931"/>
                <a:gd name="connsiteY240" fmla="*/ 55245 h 138429"/>
                <a:gd name="connsiteX241" fmla="*/ 1843401 w 4940931"/>
                <a:gd name="connsiteY241" fmla="*/ 48895 h 138429"/>
                <a:gd name="connsiteX242" fmla="*/ 1837686 w 4940931"/>
                <a:gd name="connsiteY242" fmla="*/ 44450 h 138429"/>
                <a:gd name="connsiteX243" fmla="*/ 1829431 w 4940931"/>
                <a:gd name="connsiteY243" fmla="*/ 43180 h 138429"/>
                <a:gd name="connsiteX244" fmla="*/ 1178561 w 4940931"/>
                <a:gd name="connsiteY244" fmla="*/ 43180 h 138429"/>
                <a:gd name="connsiteX245" fmla="*/ 1171576 w 4940931"/>
                <a:gd name="connsiteY245" fmla="*/ 44450 h 138429"/>
                <a:gd name="connsiteX246" fmla="*/ 1166496 w 4940931"/>
                <a:gd name="connsiteY246" fmla="*/ 48260 h 138429"/>
                <a:gd name="connsiteX247" fmla="*/ 1162686 w 4940931"/>
                <a:gd name="connsiteY247" fmla="*/ 54610 h 138429"/>
                <a:gd name="connsiteX248" fmla="*/ 1160781 w 4940931"/>
                <a:gd name="connsiteY248" fmla="*/ 62865 h 138429"/>
                <a:gd name="connsiteX249" fmla="*/ 1196976 w 4940931"/>
                <a:gd name="connsiteY249" fmla="*/ 62865 h 138429"/>
                <a:gd name="connsiteX250" fmla="*/ 1195706 w 4940931"/>
                <a:gd name="connsiteY250" fmla="*/ 55245 h 138429"/>
                <a:gd name="connsiteX251" fmla="*/ 1192531 w 4940931"/>
                <a:gd name="connsiteY251" fmla="*/ 48895 h 138429"/>
                <a:gd name="connsiteX252" fmla="*/ 1186816 w 4940931"/>
                <a:gd name="connsiteY252" fmla="*/ 44450 h 138429"/>
                <a:gd name="connsiteX253" fmla="*/ 1178561 w 4940931"/>
                <a:gd name="connsiteY253" fmla="*/ 43180 h 138429"/>
                <a:gd name="connsiteX254" fmla="*/ 898525 w 4940931"/>
                <a:gd name="connsiteY254" fmla="*/ 43180 h 138429"/>
                <a:gd name="connsiteX255" fmla="*/ 891540 w 4940931"/>
                <a:gd name="connsiteY255" fmla="*/ 44450 h 138429"/>
                <a:gd name="connsiteX256" fmla="*/ 886460 w 4940931"/>
                <a:gd name="connsiteY256" fmla="*/ 48260 h 138429"/>
                <a:gd name="connsiteX257" fmla="*/ 882650 w 4940931"/>
                <a:gd name="connsiteY257" fmla="*/ 54610 h 138429"/>
                <a:gd name="connsiteX258" fmla="*/ 880745 w 4940931"/>
                <a:gd name="connsiteY258" fmla="*/ 62865 h 138429"/>
                <a:gd name="connsiteX259" fmla="*/ 916940 w 4940931"/>
                <a:gd name="connsiteY259" fmla="*/ 62865 h 138429"/>
                <a:gd name="connsiteX260" fmla="*/ 915670 w 4940931"/>
                <a:gd name="connsiteY260" fmla="*/ 55245 h 138429"/>
                <a:gd name="connsiteX261" fmla="*/ 912495 w 4940931"/>
                <a:gd name="connsiteY261" fmla="*/ 48895 h 138429"/>
                <a:gd name="connsiteX262" fmla="*/ 906780 w 4940931"/>
                <a:gd name="connsiteY262" fmla="*/ 44450 h 138429"/>
                <a:gd name="connsiteX263" fmla="*/ 898525 w 4940931"/>
                <a:gd name="connsiteY263" fmla="*/ 43180 h 138429"/>
                <a:gd name="connsiteX264" fmla="*/ 584834 w 4940931"/>
                <a:gd name="connsiteY264" fmla="*/ 43180 h 138429"/>
                <a:gd name="connsiteX265" fmla="*/ 577849 w 4940931"/>
                <a:gd name="connsiteY265" fmla="*/ 44450 h 138429"/>
                <a:gd name="connsiteX266" fmla="*/ 572769 w 4940931"/>
                <a:gd name="connsiteY266" fmla="*/ 48260 h 138429"/>
                <a:gd name="connsiteX267" fmla="*/ 568959 w 4940931"/>
                <a:gd name="connsiteY267" fmla="*/ 54610 h 138429"/>
                <a:gd name="connsiteX268" fmla="*/ 567054 w 4940931"/>
                <a:gd name="connsiteY268" fmla="*/ 62865 h 138429"/>
                <a:gd name="connsiteX269" fmla="*/ 603249 w 4940931"/>
                <a:gd name="connsiteY269" fmla="*/ 62865 h 138429"/>
                <a:gd name="connsiteX270" fmla="*/ 601979 w 4940931"/>
                <a:gd name="connsiteY270" fmla="*/ 55245 h 138429"/>
                <a:gd name="connsiteX271" fmla="*/ 598804 w 4940931"/>
                <a:gd name="connsiteY271" fmla="*/ 48895 h 138429"/>
                <a:gd name="connsiteX272" fmla="*/ 593089 w 4940931"/>
                <a:gd name="connsiteY272" fmla="*/ 44450 h 138429"/>
                <a:gd name="connsiteX273" fmla="*/ 584834 w 4940931"/>
                <a:gd name="connsiteY273" fmla="*/ 43180 h 138429"/>
                <a:gd name="connsiteX274" fmla="*/ 398145 w 4940931"/>
                <a:gd name="connsiteY274" fmla="*/ 43180 h 138429"/>
                <a:gd name="connsiteX275" fmla="*/ 391160 w 4940931"/>
                <a:gd name="connsiteY275" fmla="*/ 44450 h 138429"/>
                <a:gd name="connsiteX276" fmla="*/ 386080 w 4940931"/>
                <a:gd name="connsiteY276" fmla="*/ 48260 h 138429"/>
                <a:gd name="connsiteX277" fmla="*/ 382270 w 4940931"/>
                <a:gd name="connsiteY277" fmla="*/ 54610 h 138429"/>
                <a:gd name="connsiteX278" fmla="*/ 380365 w 4940931"/>
                <a:gd name="connsiteY278" fmla="*/ 62865 h 138429"/>
                <a:gd name="connsiteX279" fmla="*/ 416560 w 4940931"/>
                <a:gd name="connsiteY279" fmla="*/ 62865 h 138429"/>
                <a:gd name="connsiteX280" fmla="*/ 415290 w 4940931"/>
                <a:gd name="connsiteY280" fmla="*/ 55245 h 138429"/>
                <a:gd name="connsiteX281" fmla="*/ 412115 w 4940931"/>
                <a:gd name="connsiteY281" fmla="*/ 48895 h 138429"/>
                <a:gd name="connsiteX282" fmla="*/ 406400 w 4940931"/>
                <a:gd name="connsiteY282" fmla="*/ 44450 h 138429"/>
                <a:gd name="connsiteX283" fmla="*/ 398145 w 4940931"/>
                <a:gd name="connsiteY283" fmla="*/ 43180 h 138429"/>
                <a:gd name="connsiteX284" fmla="*/ 320039 w 4940931"/>
                <a:gd name="connsiteY284" fmla="*/ 43180 h 138429"/>
                <a:gd name="connsiteX285" fmla="*/ 314959 w 4940931"/>
                <a:gd name="connsiteY285" fmla="*/ 43815 h 138429"/>
                <a:gd name="connsiteX286" fmla="*/ 309879 w 4940931"/>
                <a:gd name="connsiteY286" fmla="*/ 45720 h 138429"/>
                <a:gd name="connsiteX287" fmla="*/ 305434 w 4940931"/>
                <a:gd name="connsiteY287" fmla="*/ 48895 h 138429"/>
                <a:gd name="connsiteX288" fmla="*/ 302259 w 4940931"/>
                <a:gd name="connsiteY288" fmla="*/ 52705 h 138429"/>
                <a:gd name="connsiteX289" fmla="*/ 302259 w 4940931"/>
                <a:gd name="connsiteY289" fmla="*/ 85725 h 138429"/>
                <a:gd name="connsiteX290" fmla="*/ 305434 w 4940931"/>
                <a:gd name="connsiteY290" fmla="*/ 89535 h 138429"/>
                <a:gd name="connsiteX291" fmla="*/ 309879 w 4940931"/>
                <a:gd name="connsiteY291" fmla="*/ 92710 h 138429"/>
                <a:gd name="connsiteX292" fmla="*/ 314959 w 4940931"/>
                <a:gd name="connsiteY292" fmla="*/ 95250 h 138429"/>
                <a:gd name="connsiteX293" fmla="*/ 320674 w 4940931"/>
                <a:gd name="connsiteY293" fmla="*/ 95885 h 138429"/>
                <a:gd name="connsiteX294" fmla="*/ 333374 w 4940931"/>
                <a:gd name="connsiteY294" fmla="*/ 89535 h 138429"/>
                <a:gd name="connsiteX295" fmla="*/ 337819 w 4940931"/>
                <a:gd name="connsiteY295" fmla="*/ 71120 h 138429"/>
                <a:gd name="connsiteX296" fmla="*/ 337184 w 4940931"/>
                <a:gd name="connsiteY296" fmla="*/ 71755 h 138429"/>
                <a:gd name="connsiteX297" fmla="*/ 332739 w 4940931"/>
                <a:gd name="connsiteY297" fmla="*/ 50165 h 138429"/>
                <a:gd name="connsiteX298" fmla="*/ 320039 w 4940931"/>
                <a:gd name="connsiteY298" fmla="*/ 43180 h 138429"/>
                <a:gd name="connsiteX299" fmla="*/ 200025 w 4940931"/>
                <a:gd name="connsiteY299" fmla="*/ 43180 h 138429"/>
                <a:gd name="connsiteX300" fmla="*/ 193040 w 4940931"/>
                <a:gd name="connsiteY300" fmla="*/ 44450 h 138429"/>
                <a:gd name="connsiteX301" fmla="*/ 187960 w 4940931"/>
                <a:gd name="connsiteY301" fmla="*/ 48260 h 138429"/>
                <a:gd name="connsiteX302" fmla="*/ 184150 w 4940931"/>
                <a:gd name="connsiteY302" fmla="*/ 54610 h 138429"/>
                <a:gd name="connsiteX303" fmla="*/ 182245 w 4940931"/>
                <a:gd name="connsiteY303" fmla="*/ 62865 h 138429"/>
                <a:gd name="connsiteX304" fmla="*/ 218440 w 4940931"/>
                <a:gd name="connsiteY304" fmla="*/ 62865 h 138429"/>
                <a:gd name="connsiteX305" fmla="*/ 217170 w 4940931"/>
                <a:gd name="connsiteY305" fmla="*/ 55245 h 138429"/>
                <a:gd name="connsiteX306" fmla="*/ 213995 w 4940931"/>
                <a:gd name="connsiteY306" fmla="*/ 48895 h 138429"/>
                <a:gd name="connsiteX307" fmla="*/ 208280 w 4940931"/>
                <a:gd name="connsiteY307" fmla="*/ 44450 h 138429"/>
                <a:gd name="connsiteX308" fmla="*/ 200025 w 4940931"/>
                <a:gd name="connsiteY308" fmla="*/ 43180 h 138429"/>
                <a:gd name="connsiteX309" fmla="*/ 4439281 w 4940931"/>
                <a:gd name="connsiteY309" fmla="*/ 43179 h 138429"/>
                <a:gd name="connsiteX310" fmla="*/ 4426581 w 4940931"/>
                <a:gd name="connsiteY310" fmla="*/ 49529 h 138429"/>
                <a:gd name="connsiteX311" fmla="*/ 4422136 w 4940931"/>
                <a:gd name="connsiteY311" fmla="*/ 67944 h 138429"/>
                <a:gd name="connsiteX312" fmla="*/ 4423406 w 4940931"/>
                <a:gd name="connsiteY312" fmla="*/ 80644 h 138429"/>
                <a:gd name="connsiteX313" fmla="*/ 4426581 w 4940931"/>
                <a:gd name="connsiteY313" fmla="*/ 89534 h 138429"/>
                <a:gd name="connsiteX314" fmla="*/ 4432296 w 4940931"/>
                <a:gd name="connsiteY314" fmla="*/ 94614 h 138429"/>
                <a:gd name="connsiteX315" fmla="*/ 4439916 w 4940931"/>
                <a:gd name="connsiteY315" fmla="*/ 96519 h 138429"/>
                <a:gd name="connsiteX316" fmla="*/ 4444996 w 4940931"/>
                <a:gd name="connsiteY316" fmla="*/ 95884 h 138429"/>
                <a:gd name="connsiteX317" fmla="*/ 4450076 w 4940931"/>
                <a:gd name="connsiteY317" fmla="*/ 93344 h 138429"/>
                <a:gd name="connsiteX318" fmla="*/ 4454521 w 4940931"/>
                <a:gd name="connsiteY318" fmla="*/ 90169 h 138429"/>
                <a:gd name="connsiteX319" fmla="*/ 4457696 w 4940931"/>
                <a:gd name="connsiteY319" fmla="*/ 86359 h 138429"/>
                <a:gd name="connsiteX320" fmla="*/ 4457696 w 4940931"/>
                <a:gd name="connsiteY320" fmla="*/ 53339 h 138429"/>
                <a:gd name="connsiteX321" fmla="*/ 4454521 w 4940931"/>
                <a:gd name="connsiteY321" fmla="*/ 49529 h 138429"/>
                <a:gd name="connsiteX322" fmla="*/ 4450076 w 4940931"/>
                <a:gd name="connsiteY322" fmla="*/ 46354 h 138429"/>
                <a:gd name="connsiteX323" fmla="*/ 4444996 w 4940931"/>
                <a:gd name="connsiteY323" fmla="*/ 43814 h 138429"/>
                <a:gd name="connsiteX324" fmla="*/ 4439281 w 4940931"/>
                <a:gd name="connsiteY324" fmla="*/ 43179 h 138429"/>
                <a:gd name="connsiteX325" fmla="*/ 1014731 w 4940931"/>
                <a:gd name="connsiteY325" fmla="*/ 43179 h 138429"/>
                <a:gd name="connsiteX326" fmla="*/ 1002032 w 4940931"/>
                <a:gd name="connsiteY326" fmla="*/ 49529 h 138429"/>
                <a:gd name="connsiteX327" fmla="*/ 997587 w 4940931"/>
                <a:gd name="connsiteY327" fmla="*/ 67944 h 138429"/>
                <a:gd name="connsiteX328" fmla="*/ 1002032 w 4940931"/>
                <a:gd name="connsiteY328" fmla="*/ 88899 h 138429"/>
                <a:gd name="connsiteX329" fmla="*/ 1015367 w 4940931"/>
                <a:gd name="connsiteY329" fmla="*/ 95884 h 138429"/>
                <a:gd name="connsiteX330" fmla="*/ 1024891 w 4940931"/>
                <a:gd name="connsiteY330" fmla="*/ 93344 h 138429"/>
                <a:gd name="connsiteX331" fmla="*/ 1033147 w 4940931"/>
                <a:gd name="connsiteY331" fmla="*/ 86359 h 138429"/>
                <a:gd name="connsiteX332" fmla="*/ 1033147 w 4940931"/>
                <a:gd name="connsiteY332" fmla="*/ 53339 h 138429"/>
                <a:gd name="connsiteX333" fmla="*/ 1029971 w 4940931"/>
                <a:gd name="connsiteY333" fmla="*/ 49529 h 138429"/>
                <a:gd name="connsiteX334" fmla="*/ 1025526 w 4940931"/>
                <a:gd name="connsiteY334" fmla="*/ 46354 h 138429"/>
                <a:gd name="connsiteX335" fmla="*/ 1020446 w 4940931"/>
                <a:gd name="connsiteY335" fmla="*/ 43814 h 138429"/>
                <a:gd name="connsiteX336" fmla="*/ 1014731 w 4940931"/>
                <a:gd name="connsiteY336" fmla="*/ 43179 h 138429"/>
                <a:gd name="connsiteX337" fmla="*/ 4524370 w 4940931"/>
                <a:gd name="connsiteY337" fmla="*/ 31114 h 138429"/>
                <a:gd name="connsiteX338" fmla="*/ 4538975 w 4940931"/>
                <a:gd name="connsiteY338" fmla="*/ 31114 h 138429"/>
                <a:gd name="connsiteX339" fmla="*/ 4552310 w 4940931"/>
                <a:gd name="connsiteY339" fmla="*/ 84454 h 138429"/>
                <a:gd name="connsiteX340" fmla="*/ 4566915 w 4940931"/>
                <a:gd name="connsiteY340" fmla="*/ 31114 h 138429"/>
                <a:gd name="connsiteX341" fmla="*/ 4579615 w 4940931"/>
                <a:gd name="connsiteY341" fmla="*/ 31114 h 138429"/>
                <a:gd name="connsiteX342" fmla="*/ 4594220 w 4940931"/>
                <a:gd name="connsiteY342" fmla="*/ 84454 h 138429"/>
                <a:gd name="connsiteX343" fmla="*/ 4606920 w 4940931"/>
                <a:gd name="connsiteY343" fmla="*/ 31114 h 138429"/>
                <a:gd name="connsiteX344" fmla="*/ 4622160 w 4940931"/>
                <a:gd name="connsiteY344" fmla="*/ 31114 h 138429"/>
                <a:gd name="connsiteX345" fmla="*/ 4600570 w 4940931"/>
                <a:gd name="connsiteY345" fmla="*/ 108584 h 138429"/>
                <a:gd name="connsiteX346" fmla="*/ 4587235 w 4940931"/>
                <a:gd name="connsiteY346" fmla="*/ 108584 h 138429"/>
                <a:gd name="connsiteX347" fmla="*/ 4572630 w 4940931"/>
                <a:gd name="connsiteY347" fmla="*/ 54609 h 138429"/>
                <a:gd name="connsiteX348" fmla="*/ 4558660 w 4940931"/>
                <a:gd name="connsiteY348" fmla="*/ 108584 h 138429"/>
                <a:gd name="connsiteX349" fmla="*/ 4545325 w 4940931"/>
                <a:gd name="connsiteY349" fmla="*/ 108584 h 138429"/>
                <a:gd name="connsiteX350" fmla="*/ 4123686 w 4940931"/>
                <a:gd name="connsiteY350" fmla="*/ 31114 h 138429"/>
                <a:gd name="connsiteX351" fmla="*/ 4138926 w 4940931"/>
                <a:gd name="connsiteY351" fmla="*/ 31114 h 138429"/>
                <a:gd name="connsiteX352" fmla="*/ 4152261 w 4940931"/>
                <a:gd name="connsiteY352" fmla="*/ 84454 h 138429"/>
                <a:gd name="connsiteX353" fmla="*/ 4166866 w 4940931"/>
                <a:gd name="connsiteY353" fmla="*/ 31114 h 138429"/>
                <a:gd name="connsiteX354" fmla="*/ 4178931 w 4940931"/>
                <a:gd name="connsiteY354" fmla="*/ 31114 h 138429"/>
                <a:gd name="connsiteX355" fmla="*/ 4193536 w 4940931"/>
                <a:gd name="connsiteY355" fmla="*/ 84454 h 138429"/>
                <a:gd name="connsiteX356" fmla="*/ 4206871 w 4940931"/>
                <a:gd name="connsiteY356" fmla="*/ 31114 h 138429"/>
                <a:gd name="connsiteX357" fmla="*/ 4222111 w 4940931"/>
                <a:gd name="connsiteY357" fmla="*/ 31114 h 138429"/>
                <a:gd name="connsiteX358" fmla="*/ 4200521 w 4940931"/>
                <a:gd name="connsiteY358" fmla="*/ 108584 h 138429"/>
                <a:gd name="connsiteX359" fmla="*/ 4187186 w 4940931"/>
                <a:gd name="connsiteY359" fmla="*/ 108584 h 138429"/>
                <a:gd name="connsiteX360" fmla="*/ 4172581 w 4940931"/>
                <a:gd name="connsiteY360" fmla="*/ 54609 h 138429"/>
                <a:gd name="connsiteX361" fmla="*/ 4157976 w 4940931"/>
                <a:gd name="connsiteY361" fmla="*/ 108584 h 138429"/>
                <a:gd name="connsiteX362" fmla="*/ 4145276 w 4940931"/>
                <a:gd name="connsiteY362" fmla="*/ 108584 h 138429"/>
                <a:gd name="connsiteX363" fmla="*/ 2837811 w 4940931"/>
                <a:gd name="connsiteY363" fmla="*/ 31114 h 138429"/>
                <a:gd name="connsiteX364" fmla="*/ 2852416 w 4940931"/>
                <a:gd name="connsiteY364" fmla="*/ 31114 h 138429"/>
                <a:gd name="connsiteX365" fmla="*/ 2865751 w 4940931"/>
                <a:gd name="connsiteY365" fmla="*/ 84454 h 138429"/>
                <a:gd name="connsiteX366" fmla="*/ 2880356 w 4940931"/>
                <a:gd name="connsiteY366" fmla="*/ 31114 h 138429"/>
                <a:gd name="connsiteX367" fmla="*/ 2893056 w 4940931"/>
                <a:gd name="connsiteY367" fmla="*/ 31114 h 138429"/>
                <a:gd name="connsiteX368" fmla="*/ 2907661 w 4940931"/>
                <a:gd name="connsiteY368" fmla="*/ 84454 h 138429"/>
                <a:gd name="connsiteX369" fmla="*/ 2920361 w 4940931"/>
                <a:gd name="connsiteY369" fmla="*/ 31114 h 138429"/>
                <a:gd name="connsiteX370" fmla="*/ 2935601 w 4940931"/>
                <a:gd name="connsiteY370" fmla="*/ 31114 h 138429"/>
                <a:gd name="connsiteX371" fmla="*/ 2914011 w 4940931"/>
                <a:gd name="connsiteY371" fmla="*/ 108584 h 138429"/>
                <a:gd name="connsiteX372" fmla="*/ 2900676 w 4940931"/>
                <a:gd name="connsiteY372" fmla="*/ 108584 h 138429"/>
                <a:gd name="connsiteX373" fmla="*/ 2886706 w 4940931"/>
                <a:gd name="connsiteY373" fmla="*/ 54609 h 138429"/>
                <a:gd name="connsiteX374" fmla="*/ 2872101 w 4940931"/>
                <a:gd name="connsiteY374" fmla="*/ 108584 h 138429"/>
                <a:gd name="connsiteX375" fmla="*/ 2858766 w 4940931"/>
                <a:gd name="connsiteY375" fmla="*/ 108584 h 138429"/>
                <a:gd name="connsiteX376" fmla="*/ 1354455 w 4940931"/>
                <a:gd name="connsiteY376" fmla="*/ 31114 h 138429"/>
                <a:gd name="connsiteX377" fmla="*/ 1369695 w 4940931"/>
                <a:gd name="connsiteY377" fmla="*/ 31114 h 138429"/>
                <a:gd name="connsiteX378" fmla="*/ 1369695 w 4940931"/>
                <a:gd name="connsiteY378" fmla="*/ 109219 h 138429"/>
                <a:gd name="connsiteX379" fmla="*/ 1354455 w 4940931"/>
                <a:gd name="connsiteY379" fmla="*/ 109219 h 138429"/>
                <a:gd name="connsiteX380" fmla="*/ 2646040 w 4940931"/>
                <a:gd name="connsiteY380" fmla="*/ 29844 h 138429"/>
                <a:gd name="connsiteX381" fmla="*/ 2658105 w 4940931"/>
                <a:gd name="connsiteY381" fmla="*/ 31749 h 138429"/>
                <a:gd name="connsiteX382" fmla="*/ 2667630 w 4940931"/>
                <a:gd name="connsiteY382" fmla="*/ 36829 h 138429"/>
                <a:gd name="connsiteX383" fmla="*/ 2673345 w 4940931"/>
                <a:gd name="connsiteY383" fmla="*/ 45084 h 138429"/>
                <a:gd name="connsiteX384" fmla="*/ 2675250 w 4940931"/>
                <a:gd name="connsiteY384" fmla="*/ 56514 h 138429"/>
                <a:gd name="connsiteX385" fmla="*/ 2675250 w 4940931"/>
                <a:gd name="connsiteY385" fmla="*/ 109854 h 138429"/>
                <a:gd name="connsiteX386" fmla="*/ 2660010 w 4940931"/>
                <a:gd name="connsiteY386" fmla="*/ 109854 h 138429"/>
                <a:gd name="connsiteX387" fmla="*/ 2660010 w 4940931"/>
                <a:gd name="connsiteY387" fmla="*/ 108584 h 138429"/>
                <a:gd name="connsiteX388" fmla="*/ 2660010 w 4940931"/>
                <a:gd name="connsiteY388" fmla="*/ 100964 h 138429"/>
                <a:gd name="connsiteX389" fmla="*/ 2654930 w 4940931"/>
                <a:gd name="connsiteY389" fmla="*/ 104774 h 138429"/>
                <a:gd name="connsiteX390" fmla="*/ 2651120 w 4940931"/>
                <a:gd name="connsiteY390" fmla="*/ 107314 h 138429"/>
                <a:gd name="connsiteX391" fmla="*/ 2646040 w 4940931"/>
                <a:gd name="connsiteY391" fmla="*/ 109219 h 138429"/>
                <a:gd name="connsiteX392" fmla="*/ 2639055 w 4940931"/>
                <a:gd name="connsiteY392" fmla="*/ 109854 h 138429"/>
                <a:gd name="connsiteX393" fmla="*/ 2629530 w 4940931"/>
                <a:gd name="connsiteY393" fmla="*/ 108584 h 138429"/>
                <a:gd name="connsiteX394" fmla="*/ 2620640 w 4940931"/>
                <a:gd name="connsiteY394" fmla="*/ 104139 h 138429"/>
                <a:gd name="connsiteX395" fmla="*/ 2614290 w 4940931"/>
                <a:gd name="connsiteY395" fmla="*/ 95884 h 138429"/>
                <a:gd name="connsiteX396" fmla="*/ 2611750 w 4940931"/>
                <a:gd name="connsiteY396" fmla="*/ 83819 h 138429"/>
                <a:gd name="connsiteX397" fmla="*/ 2614290 w 4940931"/>
                <a:gd name="connsiteY397" fmla="*/ 72389 h 138429"/>
                <a:gd name="connsiteX398" fmla="*/ 2620640 w 4940931"/>
                <a:gd name="connsiteY398" fmla="*/ 64769 h 138429"/>
                <a:gd name="connsiteX399" fmla="*/ 2630800 w 4940931"/>
                <a:gd name="connsiteY399" fmla="*/ 60324 h 138429"/>
                <a:gd name="connsiteX400" fmla="*/ 2642865 w 4940931"/>
                <a:gd name="connsiteY400" fmla="*/ 59054 h 138429"/>
                <a:gd name="connsiteX401" fmla="*/ 2653025 w 4940931"/>
                <a:gd name="connsiteY401" fmla="*/ 59689 h 138429"/>
                <a:gd name="connsiteX402" fmla="*/ 2660010 w 4940931"/>
                <a:gd name="connsiteY402" fmla="*/ 61594 h 138429"/>
                <a:gd name="connsiteX403" fmla="*/ 2660010 w 4940931"/>
                <a:gd name="connsiteY403" fmla="*/ 55879 h 138429"/>
                <a:gd name="connsiteX404" fmla="*/ 2656200 w 4940931"/>
                <a:gd name="connsiteY404" fmla="*/ 46354 h 138429"/>
                <a:gd name="connsiteX405" fmla="*/ 2645405 w 4940931"/>
                <a:gd name="connsiteY405" fmla="*/ 43179 h 138429"/>
                <a:gd name="connsiteX406" fmla="*/ 2634610 w 4940931"/>
                <a:gd name="connsiteY406" fmla="*/ 44449 h 138429"/>
                <a:gd name="connsiteX407" fmla="*/ 2625085 w 4940931"/>
                <a:gd name="connsiteY407" fmla="*/ 48259 h 138429"/>
                <a:gd name="connsiteX408" fmla="*/ 2619370 w 4940931"/>
                <a:gd name="connsiteY408" fmla="*/ 36829 h 138429"/>
                <a:gd name="connsiteX409" fmla="*/ 2631435 w 4940931"/>
                <a:gd name="connsiteY409" fmla="*/ 31749 h 138429"/>
                <a:gd name="connsiteX410" fmla="*/ 2646040 w 4940931"/>
                <a:gd name="connsiteY410" fmla="*/ 29844 h 138429"/>
                <a:gd name="connsiteX411" fmla="*/ 1114426 w 4940931"/>
                <a:gd name="connsiteY411" fmla="*/ 29844 h 138429"/>
                <a:gd name="connsiteX412" fmla="*/ 1129666 w 4940931"/>
                <a:gd name="connsiteY412" fmla="*/ 29844 h 138429"/>
                <a:gd name="connsiteX413" fmla="*/ 1129666 w 4940931"/>
                <a:gd name="connsiteY413" fmla="*/ 107949 h 138429"/>
                <a:gd name="connsiteX414" fmla="*/ 1114426 w 4940931"/>
                <a:gd name="connsiteY414" fmla="*/ 107949 h 138429"/>
                <a:gd name="connsiteX415" fmla="*/ 1114426 w 4940931"/>
                <a:gd name="connsiteY415" fmla="*/ 100964 h 138429"/>
                <a:gd name="connsiteX416" fmla="*/ 1106171 w 4940931"/>
                <a:gd name="connsiteY416" fmla="*/ 107314 h 138429"/>
                <a:gd name="connsiteX417" fmla="*/ 1094741 w 4940931"/>
                <a:gd name="connsiteY417" fmla="*/ 109854 h 138429"/>
                <a:gd name="connsiteX418" fmla="*/ 1073786 w 4940931"/>
                <a:gd name="connsiteY418" fmla="*/ 100964 h 138429"/>
                <a:gd name="connsiteX419" fmla="*/ 1066800 w 4940931"/>
                <a:gd name="connsiteY419" fmla="*/ 74929 h 138429"/>
                <a:gd name="connsiteX420" fmla="*/ 1066800 w 4940931"/>
                <a:gd name="connsiteY420" fmla="*/ 30479 h 138429"/>
                <a:gd name="connsiteX421" fmla="*/ 1082040 w 4940931"/>
                <a:gd name="connsiteY421" fmla="*/ 30479 h 138429"/>
                <a:gd name="connsiteX422" fmla="*/ 1082040 w 4940931"/>
                <a:gd name="connsiteY422" fmla="*/ 74294 h 138429"/>
                <a:gd name="connsiteX423" fmla="*/ 1085851 w 4940931"/>
                <a:gd name="connsiteY423" fmla="*/ 90169 h 138429"/>
                <a:gd name="connsiteX424" fmla="*/ 1097916 w 4940931"/>
                <a:gd name="connsiteY424" fmla="*/ 95249 h 138429"/>
                <a:gd name="connsiteX425" fmla="*/ 1109981 w 4940931"/>
                <a:gd name="connsiteY425" fmla="*/ 90169 h 138429"/>
                <a:gd name="connsiteX426" fmla="*/ 1114426 w 4940931"/>
                <a:gd name="connsiteY426" fmla="*/ 75564 h 138429"/>
                <a:gd name="connsiteX427" fmla="*/ 1011556 w 4940931"/>
                <a:gd name="connsiteY427" fmla="*/ 29844 h 138429"/>
                <a:gd name="connsiteX428" fmla="*/ 1017272 w 4940931"/>
                <a:gd name="connsiteY428" fmla="*/ 30479 h 138429"/>
                <a:gd name="connsiteX429" fmla="*/ 1022352 w 4940931"/>
                <a:gd name="connsiteY429" fmla="*/ 32384 h 138429"/>
                <a:gd name="connsiteX430" fmla="*/ 1026797 w 4940931"/>
                <a:gd name="connsiteY430" fmla="*/ 35559 h 138429"/>
                <a:gd name="connsiteX431" fmla="*/ 1030607 w 4940931"/>
                <a:gd name="connsiteY431" fmla="*/ 38734 h 138429"/>
                <a:gd name="connsiteX432" fmla="*/ 1030607 w 4940931"/>
                <a:gd name="connsiteY432" fmla="*/ 31749 h 138429"/>
                <a:gd name="connsiteX433" fmla="*/ 1045847 w 4940931"/>
                <a:gd name="connsiteY433" fmla="*/ 31749 h 138429"/>
                <a:gd name="connsiteX434" fmla="*/ 1045847 w 4940931"/>
                <a:gd name="connsiteY434" fmla="*/ 130809 h 138429"/>
                <a:gd name="connsiteX435" fmla="*/ 1032512 w 4940931"/>
                <a:gd name="connsiteY435" fmla="*/ 137477 h 138429"/>
                <a:gd name="connsiteX436" fmla="*/ 1032512 w 4940931"/>
                <a:gd name="connsiteY436" fmla="*/ 101599 h 138429"/>
                <a:gd name="connsiteX437" fmla="*/ 1022986 w 4940931"/>
                <a:gd name="connsiteY437" fmla="*/ 107949 h 138429"/>
                <a:gd name="connsiteX438" fmla="*/ 1011556 w 4940931"/>
                <a:gd name="connsiteY438" fmla="*/ 110489 h 138429"/>
                <a:gd name="connsiteX439" fmla="*/ 999491 w 4940931"/>
                <a:gd name="connsiteY439" fmla="*/ 107949 h 138429"/>
                <a:gd name="connsiteX440" fmla="*/ 989966 w 4940931"/>
                <a:gd name="connsiteY440" fmla="*/ 100329 h 138429"/>
                <a:gd name="connsiteX441" fmla="*/ 983616 w 4940931"/>
                <a:gd name="connsiteY441" fmla="*/ 87629 h 138429"/>
                <a:gd name="connsiteX442" fmla="*/ 981076 w 4940931"/>
                <a:gd name="connsiteY442" fmla="*/ 68579 h 138429"/>
                <a:gd name="connsiteX443" fmla="*/ 983616 w 4940931"/>
                <a:gd name="connsiteY443" fmla="*/ 51434 h 138429"/>
                <a:gd name="connsiteX444" fmla="*/ 990601 w 4940931"/>
                <a:gd name="connsiteY444" fmla="*/ 39369 h 138429"/>
                <a:gd name="connsiteX445" fmla="*/ 1000126 w 4940931"/>
                <a:gd name="connsiteY445" fmla="*/ 32384 h 138429"/>
                <a:gd name="connsiteX446" fmla="*/ 1011556 w 4940931"/>
                <a:gd name="connsiteY446" fmla="*/ 29844 h 138429"/>
                <a:gd name="connsiteX447" fmla="*/ 4871716 w 4940931"/>
                <a:gd name="connsiteY447" fmla="*/ 29210 h 138429"/>
                <a:gd name="connsiteX448" fmla="*/ 4885686 w 4940931"/>
                <a:gd name="connsiteY448" fmla="*/ 31750 h 138429"/>
                <a:gd name="connsiteX449" fmla="*/ 4897751 w 4940931"/>
                <a:gd name="connsiteY449" fmla="*/ 38100 h 138429"/>
                <a:gd name="connsiteX450" fmla="*/ 4899021 w 4940931"/>
                <a:gd name="connsiteY450" fmla="*/ 38100 h 138429"/>
                <a:gd name="connsiteX451" fmla="*/ 4892036 w 4940931"/>
                <a:gd name="connsiteY451" fmla="*/ 50165 h 138429"/>
                <a:gd name="connsiteX452" fmla="*/ 4882511 w 4940931"/>
                <a:gd name="connsiteY452" fmla="*/ 45085 h 138429"/>
                <a:gd name="connsiteX453" fmla="*/ 4872351 w 4940931"/>
                <a:gd name="connsiteY453" fmla="*/ 43180 h 138429"/>
                <a:gd name="connsiteX454" fmla="*/ 4864096 w 4940931"/>
                <a:gd name="connsiteY454" fmla="*/ 45085 h 138429"/>
                <a:gd name="connsiteX455" fmla="*/ 4861556 w 4940931"/>
                <a:gd name="connsiteY455" fmla="*/ 50165 h 138429"/>
                <a:gd name="connsiteX456" fmla="*/ 4861556 w 4940931"/>
                <a:gd name="connsiteY456" fmla="*/ 52705 h 138429"/>
                <a:gd name="connsiteX457" fmla="*/ 4863461 w 4940931"/>
                <a:gd name="connsiteY457" fmla="*/ 55245 h 138429"/>
                <a:gd name="connsiteX458" fmla="*/ 4867906 w 4940931"/>
                <a:gd name="connsiteY458" fmla="*/ 57785 h 138429"/>
                <a:gd name="connsiteX459" fmla="*/ 4874891 w 4940931"/>
                <a:gd name="connsiteY459" fmla="*/ 60960 h 138429"/>
                <a:gd name="connsiteX460" fmla="*/ 4886321 w 4940931"/>
                <a:gd name="connsiteY460" fmla="*/ 66040 h 138429"/>
                <a:gd name="connsiteX461" fmla="*/ 4894576 w 4940931"/>
                <a:gd name="connsiteY461" fmla="*/ 71120 h 138429"/>
                <a:gd name="connsiteX462" fmla="*/ 4899656 w 4940931"/>
                <a:gd name="connsiteY462" fmla="*/ 78105 h 138429"/>
                <a:gd name="connsiteX463" fmla="*/ 4901561 w 4940931"/>
                <a:gd name="connsiteY463" fmla="*/ 87630 h 138429"/>
                <a:gd name="connsiteX464" fmla="*/ 4899021 w 4940931"/>
                <a:gd name="connsiteY464" fmla="*/ 98425 h 138429"/>
                <a:gd name="connsiteX465" fmla="*/ 4892671 w 4940931"/>
                <a:gd name="connsiteY465" fmla="*/ 105410 h 138429"/>
                <a:gd name="connsiteX466" fmla="*/ 4883146 w 4940931"/>
                <a:gd name="connsiteY466" fmla="*/ 109220 h 138429"/>
                <a:gd name="connsiteX467" fmla="*/ 4872351 w 4940931"/>
                <a:gd name="connsiteY467" fmla="*/ 110490 h 138429"/>
                <a:gd name="connsiteX468" fmla="*/ 4857111 w 4940931"/>
                <a:gd name="connsiteY468" fmla="*/ 107950 h 138429"/>
                <a:gd name="connsiteX469" fmla="*/ 4842506 w 4940931"/>
                <a:gd name="connsiteY469" fmla="*/ 100965 h 138429"/>
                <a:gd name="connsiteX470" fmla="*/ 4849491 w 4940931"/>
                <a:gd name="connsiteY470" fmla="*/ 89535 h 138429"/>
                <a:gd name="connsiteX471" fmla="*/ 4860921 w 4940931"/>
                <a:gd name="connsiteY471" fmla="*/ 95250 h 138429"/>
                <a:gd name="connsiteX472" fmla="*/ 4872351 w 4940931"/>
                <a:gd name="connsiteY472" fmla="*/ 97155 h 138429"/>
                <a:gd name="connsiteX473" fmla="*/ 4883146 w 4940931"/>
                <a:gd name="connsiteY473" fmla="*/ 94615 h 138429"/>
                <a:gd name="connsiteX474" fmla="*/ 4886321 w 4940931"/>
                <a:gd name="connsiteY474" fmla="*/ 88265 h 138429"/>
                <a:gd name="connsiteX475" fmla="*/ 4885051 w 4940931"/>
                <a:gd name="connsiteY475" fmla="*/ 84455 h 138429"/>
                <a:gd name="connsiteX476" fmla="*/ 4881241 w 4940931"/>
                <a:gd name="connsiteY476" fmla="*/ 81280 h 138429"/>
                <a:gd name="connsiteX477" fmla="*/ 4875526 w 4940931"/>
                <a:gd name="connsiteY477" fmla="*/ 78105 h 138429"/>
                <a:gd name="connsiteX478" fmla="*/ 4867906 w 4940931"/>
                <a:gd name="connsiteY478" fmla="*/ 74930 h 138429"/>
                <a:gd name="connsiteX479" fmla="*/ 4857111 w 4940931"/>
                <a:gd name="connsiteY479" fmla="*/ 69850 h 138429"/>
                <a:gd name="connsiteX480" fmla="*/ 4850126 w 4940931"/>
                <a:gd name="connsiteY480" fmla="*/ 64770 h 138429"/>
                <a:gd name="connsiteX481" fmla="*/ 4846316 w 4940931"/>
                <a:gd name="connsiteY481" fmla="*/ 58420 h 138429"/>
                <a:gd name="connsiteX482" fmla="*/ 4845046 w 4940931"/>
                <a:gd name="connsiteY482" fmla="*/ 50165 h 138429"/>
                <a:gd name="connsiteX483" fmla="*/ 4846951 w 4940931"/>
                <a:gd name="connsiteY483" fmla="*/ 40640 h 138429"/>
                <a:gd name="connsiteX484" fmla="*/ 4852666 w 4940931"/>
                <a:gd name="connsiteY484" fmla="*/ 34290 h 138429"/>
                <a:gd name="connsiteX485" fmla="*/ 4860921 w 4940931"/>
                <a:gd name="connsiteY485" fmla="*/ 30480 h 138429"/>
                <a:gd name="connsiteX486" fmla="*/ 4871716 w 4940931"/>
                <a:gd name="connsiteY486" fmla="*/ 29210 h 138429"/>
                <a:gd name="connsiteX487" fmla="*/ 4749796 w 4940931"/>
                <a:gd name="connsiteY487" fmla="*/ 29210 h 138429"/>
                <a:gd name="connsiteX488" fmla="*/ 4757416 w 4940931"/>
                <a:gd name="connsiteY488" fmla="*/ 29845 h 138429"/>
                <a:gd name="connsiteX489" fmla="*/ 4763131 w 4940931"/>
                <a:gd name="connsiteY489" fmla="*/ 32385 h 138429"/>
                <a:gd name="connsiteX490" fmla="*/ 4759321 w 4940931"/>
                <a:gd name="connsiteY490" fmla="*/ 46990 h 138429"/>
                <a:gd name="connsiteX491" fmla="*/ 4758051 w 4940931"/>
                <a:gd name="connsiteY491" fmla="*/ 46990 h 138429"/>
                <a:gd name="connsiteX492" fmla="*/ 4752971 w 4940931"/>
                <a:gd name="connsiteY492" fmla="*/ 45085 h 138429"/>
                <a:gd name="connsiteX493" fmla="*/ 4746621 w 4940931"/>
                <a:gd name="connsiteY493" fmla="*/ 44450 h 138429"/>
                <a:gd name="connsiteX494" fmla="*/ 4735191 w 4940931"/>
                <a:gd name="connsiteY494" fmla="*/ 49530 h 138429"/>
                <a:gd name="connsiteX495" fmla="*/ 4731381 w 4940931"/>
                <a:gd name="connsiteY495" fmla="*/ 64770 h 138429"/>
                <a:gd name="connsiteX496" fmla="*/ 4731381 w 4940931"/>
                <a:gd name="connsiteY496" fmla="*/ 109220 h 138429"/>
                <a:gd name="connsiteX497" fmla="*/ 4716141 w 4940931"/>
                <a:gd name="connsiteY497" fmla="*/ 109220 h 138429"/>
                <a:gd name="connsiteX498" fmla="*/ 4716141 w 4940931"/>
                <a:gd name="connsiteY498" fmla="*/ 31115 h 138429"/>
                <a:gd name="connsiteX499" fmla="*/ 4731381 w 4940931"/>
                <a:gd name="connsiteY499" fmla="*/ 31115 h 138429"/>
                <a:gd name="connsiteX500" fmla="*/ 4731381 w 4940931"/>
                <a:gd name="connsiteY500" fmla="*/ 38735 h 138429"/>
                <a:gd name="connsiteX501" fmla="*/ 4734556 w 4940931"/>
                <a:gd name="connsiteY501" fmla="*/ 34925 h 138429"/>
                <a:gd name="connsiteX502" fmla="*/ 4739001 w 4940931"/>
                <a:gd name="connsiteY502" fmla="*/ 31750 h 138429"/>
                <a:gd name="connsiteX503" fmla="*/ 4744081 w 4940931"/>
                <a:gd name="connsiteY503" fmla="*/ 29845 h 138429"/>
                <a:gd name="connsiteX504" fmla="*/ 4749796 w 4940931"/>
                <a:gd name="connsiteY504" fmla="*/ 29210 h 138429"/>
                <a:gd name="connsiteX505" fmla="*/ 4349110 w 4940931"/>
                <a:gd name="connsiteY505" fmla="*/ 29210 h 138429"/>
                <a:gd name="connsiteX506" fmla="*/ 4356730 w 4940931"/>
                <a:gd name="connsiteY506" fmla="*/ 29845 h 138429"/>
                <a:gd name="connsiteX507" fmla="*/ 4362445 w 4940931"/>
                <a:gd name="connsiteY507" fmla="*/ 32385 h 138429"/>
                <a:gd name="connsiteX508" fmla="*/ 4358635 w 4940931"/>
                <a:gd name="connsiteY508" fmla="*/ 46990 h 138429"/>
                <a:gd name="connsiteX509" fmla="*/ 4357365 w 4940931"/>
                <a:gd name="connsiteY509" fmla="*/ 46990 h 138429"/>
                <a:gd name="connsiteX510" fmla="*/ 4352285 w 4940931"/>
                <a:gd name="connsiteY510" fmla="*/ 45085 h 138429"/>
                <a:gd name="connsiteX511" fmla="*/ 4345935 w 4940931"/>
                <a:gd name="connsiteY511" fmla="*/ 44450 h 138429"/>
                <a:gd name="connsiteX512" fmla="*/ 4334505 w 4940931"/>
                <a:gd name="connsiteY512" fmla="*/ 49530 h 138429"/>
                <a:gd name="connsiteX513" fmla="*/ 4330695 w 4940931"/>
                <a:gd name="connsiteY513" fmla="*/ 64770 h 138429"/>
                <a:gd name="connsiteX514" fmla="*/ 4330695 w 4940931"/>
                <a:gd name="connsiteY514" fmla="*/ 109220 h 138429"/>
                <a:gd name="connsiteX515" fmla="*/ 4315455 w 4940931"/>
                <a:gd name="connsiteY515" fmla="*/ 109220 h 138429"/>
                <a:gd name="connsiteX516" fmla="*/ 4315455 w 4940931"/>
                <a:gd name="connsiteY516" fmla="*/ 31115 h 138429"/>
                <a:gd name="connsiteX517" fmla="*/ 4330695 w 4940931"/>
                <a:gd name="connsiteY517" fmla="*/ 31115 h 138429"/>
                <a:gd name="connsiteX518" fmla="*/ 4330695 w 4940931"/>
                <a:gd name="connsiteY518" fmla="*/ 38735 h 138429"/>
                <a:gd name="connsiteX519" fmla="*/ 4333870 w 4940931"/>
                <a:gd name="connsiteY519" fmla="*/ 34925 h 138429"/>
                <a:gd name="connsiteX520" fmla="*/ 4338315 w 4940931"/>
                <a:gd name="connsiteY520" fmla="*/ 31750 h 138429"/>
                <a:gd name="connsiteX521" fmla="*/ 4343395 w 4940931"/>
                <a:gd name="connsiteY521" fmla="*/ 29845 h 138429"/>
                <a:gd name="connsiteX522" fmla="*/ 4349110 w 4940931"/>
                <a:gd name="connsiteY522" fmla="*/ 29210 h 138429"/>
                <a:gd name="connsiteX523" fmla="*/ 4044310 w 4940931"/>
                <a:gd name="connsiteY523" fmla="*/ 29210 h 138429"/>
                <a:gd name="connsiteX524" fmla="*/ 4058915 w 4940931"/>
                <a:gd name="connsiteY524" fmla="*/ 32385 h 138429"/>
                <a:gd name="connsiteX525" fmla="*/ 4069075 w 4940931"/>
                <a:gd name="connsiteY525" fmla="*/ 40640 h 138429"/>
                <a:gd name="connsiteX526" fmla="*/ 4075425 w 4940931"/>
                <a:gd name="connsiteY526" fmla="*/ 53340 h 138429"/>
                <a:gd name="connsiteX527" fmla="*/ 4077330 w 4940931"/>
                <a:gd name="connsiteY527" fmla="*/ 68580 h 138429"/>
                <a:gd name="connsiteX528" fmla="*/ 4076060 w 4940931"/>
                <a:gd name="connsiteY528" fmla="*/ 68580 h 138429"/>
                <a:gd name="connsiteX529" fmla="*/ 4076060 w 4940931"/>
                <a:gd name="connsiteY529" fmla="*/ 72390 h 138429"/>
                <a:gd name="connsiteX530" fmla="*/ 4076060 w 4940931"/>
                <a:gd name="connsiteY530" fmla="*/ 75565 h 138429"/>
                <a:gd name="connsiteX531" fmla="*/ 4024625 w 4940931"/>
                <a:gd name="connsiteY531" fmla="*/ 75565 h 138429"/>
                <a:gd name="connsiteX532" fmla="*/ 4027165 w 4940931"/>
                <a:gd name="connsiteY532" fmla="*/ 85090 h 138429"/>
                <a:gd name="connsiteX533" fmla="*/ 4031610 w 4940931"/>
                <a:gd name="connsiteY533" fmla="*/ 91440 h 138429"/>
                <a:gd name="connsiteX534" fmla="*/ 4037325 w 4940931"/>
                <a:gd name="connsiteY534" fmla="*/ 95250 h 138429"/>
                <a:gd name="connsiteX535" fmla="*/ 4044310 w 4940931"/>
                <a:gd name="connsiteY535" fmla="*/ 96520 h 138429"/>
                <a:gd name="connsiteX536" fmla="*/ 4049390 w 4940931"/>
                <a:gd name="connsiteY536" fmla="*/ 96520 h 138429"/>
                <a:gd name="connsiteX537" fmla="*/ 4053835 w 4940931"/>
                <a:gd name="connsiteY537" fmla="*/ 95250 h 138429"/>
                <a:gd name="connsiteX538" fmla="*/ 4057645 w 4940931"/>
                <a:gd name="connsiteY538" fmla="*/ 93345 h 138429"/>
                <a:gd name="connsiteX539" fmla="*/ 4062090 w 4940931"/>
                <a:gd name="connsiteY539" fmla="*/ 90805 h 138429"/>
                <a:gd name="connsiteX540" fmla="*/ 4070980 w 4940931"/>
                <a:gd name="connsiteY540" fmla="*/ 100330 h 138429"/>
                <a:gd name="connsiteX541" fmla="*/ 4065265 w 4940931"/>
                <a:gd name="connsiteY541" fmla="*/ 104775 h 138429"/>
                <a:gd name="connsiteX542" fmla="*/ 4059550 w 4940931"/>
                <a:gd name="connsiteY542" fmla="*/ 107950 h 138429"/>
                <a:gd name="connsiteX543" fmla="*/ 4052565 w 4940931"/>
                <a:gd name="connsiteY543" fmla="*/ 109855 h 138429"/>
                <a:gd name="connsiteX544" fmla="*/ 4043675 w 4940931"/>
                <a:gd name="connsiteY544" fmla="*/ 110490 h 138429"/>
                <a:gd name="connsiteX545" fmla="*/ 4034150 w 4940931"/>
                <a:gd name="connsiteY545" fmla="*/ 109220 h 138429"/>
                <a:gd name="connsiteX546" fmla="*/ 4026530 w 4940931"/>
                <a:gd name="connsiteY546" fmla="*/ 105410 h 138429"/>
                <a:gd name="connsiteX547" fmla="*/ 4020180 w 4940931"/>
                <a:gd name="connsiteY547" fmla="*/ 100330 h 138429"/>
                <a:gd name="connsiteX548" fmla="*/ 4015100 w 4940931"/>
                <a:gd name="connsiteY548" fmla="*/ 92710 h 138429"/>
                <a:gd name="connsiteX549" fmla="*/ 4011290 w 4940931"/>
                <a:gd name="connsiteY549" fmla="*/ 82550 h 138429"/>
                <a:gd name="connsiteX550" fmla="*/ 4010020 w 4940931"/>
                <a:gd name="connsiteY550" fmla="*/ 69850 h 138429"/>
                <a:gd name="connsiteX551" fmla="*/ 4012560 w 4940931"/>
                <a:gd name="connsiteY551" fmla="*/ 52070 h 138429"/>
                <a:gd name="connsiteX552" fmla="*/ 4019545 w 4940931"/>
                <a:gd name="connsiteY552" fmla="*/ 39370 h 138429"/>
                <a:gd name="connsiteX553" fmla="*/ 4030340 w 4940931"/>
                <a:gd name="connsiteY553" fmla="*/ 31750 h 138429"/>
                <a:gd name="connsiteX554" fmla="*/ 4044310 w 4940931"/>
                <a:gd name="connsiteY554" fmla="*/ 29210 h 138429"/>
                <a:gd name="connsiteX555" fmla="*/ 3811900 w 4940931"/>
                <a:gd name="connsiteY555" fmla="*/ 29210 h 138429"/>
                <a:gd name="connsiteX556" fmla="*/ 3819520 w 4940931"/>
                <a:gd name="connsiteY556" fmla="*/ 29845 h 138429"/>
                <a:gd name="connsiteX557" fmla="*/ 3825235 w 4940931"/>
                <a:gd name="connsiteY557" fmla="*/ 32385 h 138429"/>
                <a:gd name="connsiteX558" fmla="*/ 3821425 w 4940931"/>
                <a:gd name="connsiteY558" fmla="*/ 46990 h 138429"/>
                <a:gd name="connsiteX559" fmla="*/ 3820155 w 4940931"/>
                <a:gd name="connsiteY559" fmla="*/ 46990 h 138429"/>
                <a:gd name="connsiteX560" fmla="*/ 3815075 w 4940931"/>
                <a:gd name="connsiteY560" fmla="*/ 45085 h 138429"/>
                <a:gd name="connsiteX561" fmla="*/ 3808725 w 4940931"/>
                <a:gd name="connsiteY561" fmla="*/ 44450 h 138429"/>
                <a:gd name="connsiteX562" fmla="*/ 3797295 w 4940931"/>
                <a:gd name="connsiteY562" fmla="*/ 49530 h 138429"/>
                <a:gd name="connsiteX563" fmla="*/ 3793485 w 4940931"/>
                <a:gd name="connsiteY563" fmla="*/ 64770 h 138429"/>
                <a:gd name="connsiteX564" fmla="*/ 3793485 w 4940931"/>
                <a:gd name="connsiteY564" fmla="*/ 109220 h 138429"/>
                <a:gd name="connsiteX565" fmla="*/ 3778245 w 4940931"/>
                <a:gd name="connsiteY565" fmla="*/ 109220 h 138429"/>
                <a:gd name="connsiteX566" fmla="*/ 3778245 w 4940931"/>
                <a:gd name="connsiteY566" fmla="*/ 31115 h 138429"/>
                <a:gd name="connsiteX567" fmla="*/ 3793485 w 4940931"/>
                <a:gd name="connsiteY567" fmla="*/ 31115 h 138429"/>
                <a:gd name="connsiteX568" fmla="*/ 3793485 w 4940931"/>
                <a:gd name="connsiteY568" fmla="*/ 38735 h 138429"/>
                <a:gd name="connsiteX569" fmla="*/ 3796660 w 4940931"/>
                <a:gd name="connsiteY569" fmla="*/ 34925 h 138429"/>
                <a:gd name="connsiteX570" fmla="*/ 3801105 w 4940931"/>
                <a:gd name="connsiteY570" fmla="*/ 31750 h 138429"/>
                <a:gd name="connsiteX571" fmla="*/ 3806185 w 4940931"/>
                <a:gd name="connsiteY571" fmla="*/ 29845 h 138429"/>
                <a:gd name="connsiteX572" fmla="*/ 3811900 w 4940931"/>
                <a:gd name="connsiteY572" fmla="*/ 29210 h 138429"/>
                <a:gd name="connsiteX573" fmla="*/ 3729986 w 4940931"/>
                <a:gd name="connsiteY573" fmla="*/ 29210 h 138429"/>
                <a:gd name="connsiteX574" fmla="*/ 3744591 w 4940931"/>
                <a:gd name="connsiteY574" fmla="*/ 32385 h 138429"/>
                <a:gd name="connsiteX575" fmla="*/ 3754751 w 4940931"/>
                <a:gd name="connsiteY575" fmla="*/ 40640 h 138429"/>
                <a:gd name="connsiteX576" fmla="*/ 3761101 w 4940931"/>
                <a:gd name="connsiteY576" fmla="*/ 53340 h 138429"/>
                <a:gd name="connsiteX577" fmla="*/ 3763006 w 4940931"/>
                <a:gd name="connsiteY577" fmla="*/ 68580 h 138429"/>
                <a:gd name="connsiteX578" fmla="*/ 3761736 w 4940931"/>
                <a:gd name="connsiteY578" fmla="*/ 68580 h 138429"/>
                <a:gd name="connsiteX579" fmla="*/ 3761736 w 4940931"/>
                <a:gd name="connsiteY579" fmla="*/ 72390 h 138429"/>
                <a:gd name="connsiteX580" fmla="*/ 3761736 w 4940931"/>
                <a:gd name="connsiteY580" fmla="*/ 75565 h 138429"/>
                <a:gd name="connsiteX581" fmla="*/ 3710301 w 4940931"/>
                <a:gd name="connsiteY581" fmla="*/ 75565 h 138429"/>
                <a:gd name="connsiteX582" fmla="*/ 3712841 w 4940931"/>
                <a:gd name="connsiteY582" fmla="*/ 85090 h 138429"/>
                <a:gd name="connsiteX583" fmla="*/ 3717286 w 4940931"/>
                <a:gd name="connsiteY583" fmla="*/ 91440 h 138429"/>
                <a:gd name="connsiteX584" fmla="*/ 3723001 w 4940931"/>
                <a:gd name="connsiteY584" fmla="*/ 95250 h 138429"/>
                <a:gd name="connsiteX585" fmla="*/ 3729986 w 4940931"/>
                <a:gd name="connsiteY585" fmla="*/ 96520 h 138429"/>
                <a:gd name="connsiteX586" fmla="*/ 3735066 w 4940931"/>
                <a:gd name="connsiteY586" fmla="*/ 96520 h 138429"/>
                <a:gd name="connsiteX587" fmla="*/ 3739511 w 4940931"/>
                <a:gd name="connsiteY587" fmla="*/ 95250 h 138429"/>
                <a:gd name="connsiteX588" fmla="*/ 3743321 w 4940931"/>
                <a:gd name="connsiteY588" fmla="*/ 93345 h 138429"/>
                <a:gd name="connsiteX589" fmla="*/ 3747766 w 4940931"/>
                <a:gd name="connsiteY589" fmla="*/ 90805 h 138429"/>
                <a:gd name="connsiteX590" fmla="*/ 3756656 w 4940931"/>
                <a:gd name="connsiteY590" fmla="*/ 100330 h 138429"/>
                <a:gd name="connsiteX591" fmla="*/ 3750941 w 4940931"/>
                <a:gd name="connsiteY591" fmla="*/ 104775 h 138429"/>
                <a:gd name="connsiteX592" fmla="*/ 3745226 w 4940931"/>
                <a:gd name="connsiteY592" fmla="*/ 107950 h 138429"/>
                <a:gd name="connsiteX593" fmla="*/ 3738241 w 4940931"/>
                <a:gd name="connsiteY593" fmla="*/ 109855 h 138429"/>
                <a:gd name="connsiteX594" fmla="*/ 3729351 w 4940931"/>
                <a:gd name="connsiteY594" fmla="*/ 110490 h 138429"/>
                <a:gd name="connsiteX595" fmla="*/ 3719826 w 4940931"/>
                <a:gd name="connsiteY595" fmla="*/ 109220 h 138429"/>
                <a:gd name="connsiteX596" fmla="*/ 3712206 w 4940931"/>
                <a:gd name="connsiteY596" fmla="*/ 105410 h 138429"/>
                <a:gd name="connsiteX597" fmla="*/ 3705856 w 4940931"/>
                <a:gd name="connsiteY597" fmla="*/ 100330 h 138429"/>
                <a:gd name="connsiteX598" fmla="*/ 3700776 w 4940931"/>
                <a:gd name="connsiteY598" fmla="*/ 92710 h 138429"/>
                <a:gd name="connsiteX599" fmla="*/ 3696966 w 4940931"/>
                <a:gd name="connsiteY599" fmla="*/ 82550 h 138429"/>
                <a:gd name="connsiteX600" fmla="*/ 3695696 w 4940931"/>
                <a:gd name="connsiteY600" fmla="*/ 69850 h 138429"/>
                <a:gd name="connsiteX601" fmla="*/ 3698236 w 4940931"/>
                <a:gd name="connsiteY601" fmla="*/ 52070 h 138429"/>
                <a:gd name="connsiteX602" fmla="*/ 3705221 w 4940931"/>
                <a:gd name="connsiteY602" fmla="*/ 39370 h 138429"/>
                <a:gd name="connsiteX603" fmla="*/ 3716016 w 4940931"/>
                <a:gd name="connsiteY603" fmla="*/ 31750 h 138429"/>
                <a:gd name="connsiteX604" fmla="*/ 3729986 w 4940931"/>
                <a:gd name="connsiteY604" fmla="*/ 29210 h 138429"/>
                <a:gd name="connsiteX605" fmla="*/ 3543296 w 4940931"/>
                <a:gd name="connsiteY605" fmla="*/ 29210 h 138429"/>
                <a:gd name="connsiteX606" fmla="*/ 3557901 w 4940931"/>
                <a:gd name="connsiteY606" fmla="*/ 32385 h 138429"/>
                <a:gd name="connsiteX607" fmla="*/ 3568061 w 4940931"/>
                <a:gd name="connsiteY607" fmla="*/ 40640 h 138429"/>
                <a:gd name="connsiteX608" fmla="*/ 3574411 w 4940931"/>
                <a:gd name="connsiteY608" fmla="*/ 53340 h 138429"/>
                <a:gd name="connsiteX609" fmla="*/ 3576316 w 4940931"/>
                <a:gd name="connsiteY609" fmla="*/ 68580 h 138429"/>
                <a:gd name="connsiteX610" fmla="*/ 3575046 w 4940931"/>
                <a:gd name="connsiteY610" fmla="*/ 68580 h 138429"/>
                <a:gd name="connsiteX611" fmla="*/ 3575046 w 4940931"/>
                <a:gd name="connsiteY611" fmla="*/ 72390 h 138429"/>
                <a:gd name="connsiteX612" fmla="*/ 3575046 w 4940931"/>
                <a:gd name="connsiteY612" fmla="*/ 75565 h 138429"/>
                <a:gd name="connsiteX613" fmla="*/ 3523611 w 4940931"/>
                <a:gd name="connsiteY613" fmla="*/ 75565 h 138429"/>
                <a:gd name="connsiteX614" fmla="*/ 3526151 w 4940931"/>
                <a:gd name="connsiteY614" fmla="*/ 85090 h 138429"/>
                <a:gd name="connsiteX615" fmla="*/ 3530596 w 4940931"/>
                <a:gd name="connsiteY615" fmla="*/ 91440 h 138429"/>
                <a:gd name="connsiteX616" fmla="*/ 3536311 w 4940931"/>
                <a:gd name="connsiteY616" fmla="*/ 95250 h 138429"/>
                <a:gd name="connsiteX617" fmla="*/ 3543296 w 4940931"/>
                <a:gd name="connsiteY617" fmla="*/ 96520 h 138429"/>
                <a:gd name="connsiteX618" fmla="*/ 3548376 w 4940931"/>
                <a:gd name="connsiteY618" fmla="*/ 96520 h 138429"/>
                <a:gd name="connsiteX619" fmla="*/ 3552821 w 4940931"/>
                <a:gd name="connsiteY619" fmla="*/ 95250 h 138429"/>
                <a:gd name="connsiteX620" fmla="*/ 3556631 w 4940931"/>
                <a:gd name="connsiteY620" fmla="*/ 93345 h 138429"/>
                <a:gd name="connsiteX621" fmla="*/ 3561076 w 4940931"/>
                <a:gd name="connsiteY621" fmla="*/ 90805 h 138429"/>
                <a:gd name="connsiteX622" fmla="*/ 3569966 w 4940931"/>
                <a:gd name="connsiteY622" fmla="*/ 100330 h 138429"/>
                <a:gd name="connsiteX623" fmla="*/ 3564251 w 4940931"/>
                <a:gd name="connsiteY623" fmla="*/ 104775 h 138429"/>
                <a:gd name="connsiteX624" fmla="*/ 3558536 w 4940931"/>
                <a:gd name="connsiteY624" fmla="*/ 107950 h 138429"/>
                <a:gd name="connsiteX625" fmla="*/ 3551551 w 4940931"/>
                <a:gd name="connsiteY625" fmla="*/ 109855 h 138429"/>
                <a:gd name="connsiteX626" fmla="*/ 3542661 w 4940931"/>
                <a:gd name="connsiteY626" fmla="*/ 110490 h 138429"/>
                <a:gd name="connsiteX627" fmla="*/ 3533136 w 4940931"/>
                <a:gd name="connsiteY627" fmla="*/ 109220 h 138429"/>
                <a:gd name="connsiteX628" fmla="*/ 3525516 w 4940931"/>
                <a:gd name="connsiteY628" fmla="*/ 105410 h 138429"/>
                <a:gd name="connsiteX629" fmla="*/ 3519166 w 4940931"/>
                <a:gd name="connsiteY629" fmla="*/ 100330 h 138429"/>
                <a:gd name="connsiteX630" fmla="*/ 3514086 w 4940931"/>
                <a:gd name="connsiteY630" fmla="*/ 92710 h 138429"/>
                <a:gd name="connsiteX631" fmla="*/ 3510276 w 4940931"/>
                <a:gd name="connsiteY631" fmla="*/ 82550 h 138429"/>
                <a:gd name="connsiteX632" fmla="*/ 3509006 w 4940931"/>
                <a:gd name="connsiteY632" fmla="*/ 69850 h 138429"/>
                <a:gd name="connsiteX633" fmla="*/ 3511546 w 4940931"/>
                <a:gd name="connsiteY633" fmla="*/ 52070 h 138429"/>
                <a:gd name="connsiteX634" fmla="*/ 3518531 w 4940931"/>
                <a:gd name="connsiteY634" fmla="*/ 39370 h 138429"/>
                <a:gd name="connsiteX635" fmla="*/ 3529326 w 4940931"/>
                <a:gd name="connsiteY635" fmla="*/ 31750 h 138429"/>
                <a:gd name="connsiteX636" fmla="*/ 3543296 w 4940931"/>
                <a:gd name="connsiteY636" fmla="*/ 29210 h 138429"/>
                <a:gd name="connsiteX637" fmla="*/ 3345176 w 4940931"/>
                <a:gd name="connsiteY637" fmla="*/ 29210 h 138429"/>
                <a:gd name="connsiteX638" fmla="*/ 3359781 w 4940931"/>
                <a:gd name="connsiteY638" fmla="*/ 32385 h 138429"/>
                <a:gd name="connsiteX639" fmla="*/ 3369941 w 4940931"/>
                <a:gd name="connsiteY639" fmla="*/ 40640 h 138429"/>
                <a:gd name="connsiteX640" fmla="*/ 3376291 w 4940931"/>
                <a:gd name="connsiteY640" fmla="*/ 53340 h 138429"/>
                <a:gd name="connsiteX641" fmla="*/ 3378196 w 4940931"/>
                <a:gd name="connsiteY641" fmla="*/ 68580 h 138429"/>
                <a:gd name="connsiteX642" fmla="*/ 3376926 w 4940931"/>
                <a:gd name="connsiteY642" fmla="*/ 68580 h 138429"/>
                <a:gd name="connsiteX643" fmla="*/ 3376926 w 4940931"/>
                <a:gd name="connsiteY643" fmla="*/ 72390 h 138429"/>
                <a:gd name="connsiteX644" fmla="*/ 3376926 w 4940931"/>
                <a:gd name="connsiteY644" fmla="*/ 75565 h 138429"/>
                <a:gd name="connsiteX645" fmla="*/ 3325491 w 4940931"/>
                <a:gd name="connsiteY645" fmla="*/ 75565 h 138429"/>
                <a:gd name="connsiteX646" fmla="*/ 3328031 w 4940931"/>
                <a:gd name="connsiteY646" fmla="*/ 85090 h 138429"/>
                <a:gd name="connsiteX647" fmla="*/ 3332476 w 4940931"/>
                <a:gd name="connsiteY647" fmla="*/ 91440 h 138429"/>
                <a:gd name="connsiteX648" fmla="*/ 3338191 w 4940931"/>
                <a:gd name="connsiteY648" fmla="*/ 95250 h 138429"/>
                <a:gd name="connsiteX649" fmla="*/ 3345176 w 4940931"/>
                <a:gd name="connsiteY649" fmla="*/ 96520 h 138429"/>
                <a:gd name="connsiteX650" fmla="*/ 3350256 w 4940931"/>
                <a:gd name="connsiteY650" fmla="*/ 96520 h 138429"/>
                <a:gd name="connsiteX651" fmla="*/ 3354701 w 4940931"/>
                <a:gd name="connsiteY651" fmla="*/ 95250 h 138429"/>
                <a:gd name="connsiteX652" fmla="*/ 3358511 w 4940931"/>
                <a:gd name="connsiteY652" fmla="*/ 93345 h 138429"/>
                <a:gd name="connsiteX653" fmla="*/ 3362956 w 4940931"/>
                <a:gd name="connsiteY653" fmla="*/ 90805 h 138429"/>
                <a:gd name="connsiteX654" fmla="*/ 3371846 w 4940931"/>
                <a:gd name="connsiteY654" fmla="*/ 100330 h 138429"/>
                <a:gd name="connsiteX655" fmla="*/ 3366131 w 4940931"/>
                <a:gd name="connsiteY655" fmla="*/ 104775 h 138429"/>
                <a:gd name="connsiteX656" fmla="*/ 3360416 w 4940931"/>
                <a:gd name="connsiteY656" fmla="*/ 107950 h 138429"/>
                <a:gd name="connsiteX657" fmla="*/ 3353431 w 4940931"/>
                <a:gd name="connsiteY657" fmla="*/ 109855 h 138429"/>
                <a:gd name="connsiteX658" fmla="*/ 3344541 w 4940931"/>
                <a:gd name="connsiteY658" fmla="*/ 110490 h 138429"/>
                <a:gd name="connsiteX659" fmla="*/ 3335016 w 4940931"/>
                <a:gd name="connsiteY659" fmla="*/ 109220 h 138429"/>
                <a:gd name="connsiteX660" fmla="*/ 3327396 w 4940931"/>
                <a:gd name="connsiteY660" fmla="*/ 105410 h 138429"/>
                <a:gd name="connsiteX661" fmla="*/ 3321046 w 4940931"/>
                <a:gd name="connsiteY661" fmla="*/ 100330 h 138429"/>
                <a:gd name="connsiteX662" fmla="*/ 3315966 w 4940931"/>
                <a:gd name="connsiteY662" fmla="*/ 92710 h 138429"/>
                <a:gd name="connsiteX663" fmla="*/ 3312156 w 4940931"/>
                <a:gd name="connsiteY663" fmla="*/ 82550 h 138429"/>
                <a:gd name="connsiteX664" fmla="*/ 3310886 w 4940931"/>
                <a:gd name="connsiteY664" fmla="*/ 69850 h 138429"/>
                <a:gd name="connsiteX665" fmla="*/ 3313426 w 4940931"/>
                <a:gd name="connsiteY665" fmla="*/ 52070 h 138429"/>
                <a:gd name="connsiteX666" fmla="*/ 3320411 w 4940931"/>
                <a:gd name="connsiteY666" fmla="*/ 39370 h 138429"/>
                <a:gd name="connsiteX667" fmla="*/ 3331206 w 4940931"/>
                <a:gd name="connsiteY667" fmla="*/ 31750 h 138429"/>
                <a:gd name="connsiteX668" fmla="*/ 3345176 w 4940931"/>
                <a:gd name="connsiteY668" fmla="*/ 29210 h 138429"/>
                <a:gd name="connsiteX669" fmla="*/ 3060696 w 4940931"/>
                <a:gd name="connsiteY669" fmla="*/ 29210 h 138429"/>
                <a:gd name="connsiteX670" fmla="*/ 3068316 w 4940931"/>
                <a:gd name="connsiteY670" fmla="*/ 29845 h 138429"/>
                <a:gd name="connsiteX671" fmla="*/ 3074031 w 4940931"/>
                <a:gd name="connsiteY671" fmla="*/ 32385 h 138429"/>
                <a:gd name="connsiteX672" fmla="*/ 3070221 w 4940931"/>
                <a:gd name="connsiteY672" fmla="*/ 46990 h 138429"/>
                <a:gd name="connsiteX673" fmla="*/ 3068951 w 4940931"/>
                <a:gd name="connsiteY673" fmla="*/ 46990 h 138429"/>
                <a:gd name="connsiteX674" fmla="*/ 3063871 w 4940931"/>
                <a:gd name="connsiteY674" fmla="*/ 45085 h 138429"/>
                <a:gd name="connsiteX675" fmla="*/ 3057521 w 4940931"/>
                <a:gd name="connsiteY675" fmla="*/ 44450 h 138429"/>
                <a:gd name="connsiteX676" fmla="*/ 3046091 w 4940931"/>
                <a:gd name="connsiteY676" fmla="*/ 49530 h 138429"/>
                <a:gd name="connsiteX677" fmla="*/ 3042281 w 4940931"/>
                <a:gd name="connsiteY677" fmla="*/ 64770 h 138429"/>
                <a:gd name="connsiteX678" fmla="*/ 3042281 w 4940931"/>
                <a:gd name="connsiteY678" fmla="*/ 109220 h 138429"/>
                <a:gd name="connsiteX679" fmla="*/ 3027041 w 4940931"/>
                <a:gd name="connsiteY679" fmla="*/ 109220 h 138429"/>
                <a:gd name="connsiteX680" fmla="*/ 3027041 w 4940931"/>
                <a:gd name="connsiteY680" fmla="*/ 31115 h 138429"/>
                <a:gd name="connsiteX681" fmla="*/ 3042281 w 4940931"/>
                <a:gd name="connsiteY681" fmla="*/ 31115 h 138429"/>
                <a:gd name="connsiteX682" fmla="*/ 3042281 w 4940931"/>
                <a:gd name="connsiteY682" fmla="*/ 38735 h 138429"/>
                <a:gd name="connsiteX683" fmla="*/ 3045456 w 4940931"/>
                <a:gd name="connsiteY683" fmla="*/ 34925 h 138429"/>
                <a:gd name="connsiteX684" fmla="*/ 3049901 w 4940931"/>
                <a:gd name="connsiteY684" fmla="*/ 31750 h 138429"/>
                <a:gd name="connsiteX685" fmla="*/ 3054981 w 4940931"/>
                <a:gd name="connsiteY685" fmla="*/ 29845 h 138429"/>
                <a:gd name="connsiteX686" fmla="*/ 3060696 w 4940931"/>
                <a:gd name="connsiteY686" fmla="*/ 29210 h 138429"/>
                <a:gd name="connsiteX687" fmla="*/ 2978781 w 4940931"/>
                <a:gd name="connsiteY687" fmla="*/ 29210 h 138429"/>
                <a:gd name="connsiteX688" fmla="*/ 2993386 w 4940931"/>
                <a:gd name="connsiteY688" fmla="*/ 32385 h 138429"/>
                <a:gd name="connsiteX689" fmla="*/ 3003546 w 4940931"/>
                <a:gd name="connsiteY689" fmla="*/ 40640 h 138429"/>
                <a:gd name="connsiteX690" fmla="*/ 3009896 w 4940931"/>
                <a:gd name="connsiteY690" fmla="*/ 53340 h 138429"/>
                <a:gd name="connsiteX691" fmla="*/ 3011801 w 4940931"/>
                <a:gd name="connsiteY691" fmla="*/ 68580 h 138429"/>
                <a:gd name="connsiteX692" fmla="*/ 3010531 w 4940931"/>
                <a:gd name="connsiteY692" fmla="*/ 68580 h 138429"/>
                <a:gd name="connsiteX693" fmla="*/ 3010531 w 4940931"/>
                <a:gd name="connsiteY693" fmla="*/ 72390 h 138429"/>
                <a:gd name="connsiteX694" fmla="*/ 3010531 w 4940931"/>
                <a:gd name="connsiteY694" fmla="*/ 75565 h 138429"/>
                <a:gd name="connsiteX695" fmla="*/ 2959096 w 4940931"/>
                <a:gd name="connsiteY695" fmla="*/ 75565 h 138429"/>
                <a:gd name="connsiteX696" fmla="*/ 2961636 w 4940931"/>
                <a:gd name="connsiteY696" fmla="*/ 85090 h 138429"/>
                <a:gd name="connsiteX697" fmla="*/ 2966081 w 4940931"/>
                <a:gd name="connsiteY697" fmla="*/ 91440 h 138429"/>
                <a:gd name="connsiteX698" fmla="*/ 2971796 w 4940931"/>
                <a:gd name="connsiteY698" fmla="*/ 95250 h 138429"/>
                <a:gd name="connsiteX699" fmla="*/ 2978781 w 4940931"/>
                <a:gd name="connsiteY699" fmla="*/ 96520 h 138429"/>
                <a:gd name="connsiteX700" fmla="*/ 2983861 w 4940931"/>
                <a:gd name="connsiteY700" fmla="*/ 96520 h 138429"/>
                <a:gd name="connsiteX701" fmla="*/ 2988306 w 4940931"/>
                <a:gd name="connsiteY701" fmla="*/ 95250 h 138429"/>
                <a:gd name="connsiteX702" fmla="*/ 2992116 w 4940931"/>
                <a:gd name="connsiteY702" fmla="*/ 93345 h 138429"/>
                <a:gd name="connsiteX703" fmla="*/ 2996561 w 4940931"/>
                <a:gd name="connsiteY703" fmla="*/ 90805 h 138429"/>
                <a:gd name="connsiteX704" fmla="*/ 3005451 w 4940931"/>
                <a:gd name="connsiteY704" fmla="*/ 100330 h 138429"/>
                <a:gd name="connsiteX705" fmla="*/ 2999736 w 4940931"/>
                <a:gd name="connsiteY705" fmla="*/ 104775 h 138429"/>
                <a:gd name="connsiteX706" fmla="*/ 2994021 w 4940931"/>
                <a:gd name="connsiteY706" fmla="*/ 107950 h 138429"/>
                <a:gd name="connsiteX707" fmla="*/ 2987036 w 4940931"/>
                <a:gd name="connsiteY707" fmla="*/ 109855 h 138429"/>
                <a:gd name="connsiteX708" fmla="*/ 2978146 w 4940931"/>
                <a:gd name="connsiteY708" fmla="*/ 110490 h 138429"/>
                <a:gd name="connsiteX709" fmla="*/ 2968621 w 4940931"/>
                <a:gd name="connsiteY709" fmla="*/ 109220 h 138429"/>
                <a:gd name="connsiteX710" fmla="*/ 2961001 w 4940931"/>
                <a:gd name="connsiteY710" fmla="*/ 105410 h 138429"/>
                <a:gd name="connsiteX711" fmla="*/ 2954651 w 4940931"/>
                <a:gd name="connsiteY711" fmla="*/ 100330 h 138429"/>
                <a:gd name="connsiteX712" fmla="*/ 2949571 w 4940931"/>
                <a:gd name="connsiteY712" fmla="*/ 92710 h 138429"/>
                <a:gd name="connsiteX713" fmla="*/ 2945761 w 4940931"/>
                <a:gd name="connsiteY713" fmla="*/ 82550 h 138429"/>
                <a:gd name="connsiteX714" fmla="*/ 2944491 w 4940931"/>
                <a:gd name="connsiteY714" fmla="*/ 69850 h 138429"/>
                <a:gd name="connsiteX715" fmla="*/ 2947031 w 4940931"/>
                <a:gd name="connsiteY715" fmla="*/ 52070 h 138429"/>
                <a:gd name="connsiteX716" fmla="*/ 2954016 w 4940931"/>
                <a:gd name="connsiteY716" fmla="*/ 39370 h 138429"/>
                <a:gd name="connsiteX717" fmla="*/ 2964811 w 4940931"/>
                <a:gd name="connsiteY717" fmla="*/ 31750 h 138429"/>
                <a:gd name="connsiteX718" fmla="*/ 2978781 w 4940931"/>
                <a:gd name="connsiteY718" fmla="*/ 29210 h 138429"/>
                <a:gd name="connsiteX719" fmla="*/ 2798440 w 4940931"/>
                <a:gd name="connsiteY719" fmla="*/ 29210 h 138429"/>
                <a:gd name="connsiteX720" fmla="*/ 2813045 w 4940931"/>
                <a:gd name="connsiteY720" fmla="*/ 31750 h 138429"/>
                <a:gd name="connsiteX721" fmla="*/ 2825110 w 4940931"/>
                <a:gd name="connsiteY721" fmla="*/ 38100 h 138429"/>
                <a:gd name="connsiteX722" fmla="*/ 2827015 w 4940931"/>
                <a:gd name="connsiteY722" fmla="*/ 38100 h 138429"/>
                <a:gd name="connsiteX723" fmla="*/ 2820030 w 4940931"/>
                <a:gd name="connsiteY723" fmla="*/ 50165 h 138429"/>
                <a:gd name="connsiteX724" fmla="*/ 2810505 w 4940931"/>
                <a:gd name="connsiteY724" fmla="*/ 45085 h 138429"/>
                <a:gd name="connsiteX725" fmla="*/ 2799710 w 4940931"/>
                <a:gd name="connsiteY725" fmla="*/ 43180 h 138429"/>
                <a:gd name="connsiteX726" fmla="*/ 2791455 w 4940931"/>
                <a:gd name="connsiteY726" fmla="*/ 45085 h 138429"/>
                <a:gd name="connsiteX727" fmla="*/ 2788915 w 4940931"/>
                <a:gd name="connsiteY727" fmla="*/ 50165 h 138429"/>
                <a:gd name="connsiteX728" fmla="*/ 2788915 w 4940931"/>
                <a:gd name="connsiteY728" fmla="*/ 52705 h 138429"/>
                <a:gd name="connsiteX729" fmla="*/ 2790820 w 4940931"/>
                <a:gd name="connsiteY729" fmla="*/ 55245 h 138429"/>
                <a:gd name="connsiteX730" fmla="*/ 2795265 w 4940931"/>
                <a:gd name="connsiteY730" fmla="*/ 57785 h 138429"/>
                <a:gd name="connsiteX731" fmla="*/ 2802250 w 4940931"/>
                <a:gd name="connsiteY731" fmla="*/ 60960 h 138429"/>
                <a:gd name="connsiteX732" fmla="*/ 2813680 w 4940931"/>
                <a:gd name="connsiteY732" fmla="*/ 66040 h 138429"/>
                <a:gd name="connsiteX733" fmla="*/ 2821935 w 4940931"/>
                <a:gd name="connsiteY733" fmla="*/ 71120 h 138429"/>
                <a:gd name="connsiteX734" fmla="*/ 2827015 w 4940931"/>
                <a:gd name="connsiteY734" fmla="*/ 78105 h 138429"/>
                <a:gd name="connsiteX735" fmla="*/ 2828920 w 4940931"/>
                <a:gd name="connsiteY735" fmla="*/ 87630 h 138429"/>
                <a:gd name="connsiteX736" fmla="*/ 2826380 w 4940931"/>
                <a:gd name="connsiteY736" fmla="*/ 98425 h 138429"/>
                <a:gd name="connsiteX737" fmla="*/ 2820030 w 4940931"/>
                <a:gd name="connsiteY737" fmla="*/ 105410 h 138429"/>
                <a:gd name="connsiteX738" fmla="*/ 2810505 w 4940931"/>
                <a:gd name="connsiteY738" fmla="*/ 109220 h 138429"/>
                <a:gd name="connsiteX739" fmla="*/ 2799710 w 4940931"/>
                <a:gd name="connsiteY739" fmla="*/ 110490 h 138429"/>
                <a:gd name="connsiteX740" fmla="*/ 2783835 w 4940931"/>
                <a:gd name="connsiteY740" fmla="*/ 107950 h 138429"/>
                <a:gd name="connsiteX741" fmla="*/ 2769230 w 4940931"/>
                <a:gd name="connsiteY741" fmla="*/ 100965 h 138429"/>
                <a:gd name="connsiteX742" fmla="*/ 2776215 w 4940931"/>
                <a:gd name="connsiteY742" fmla="*/ 89535 h 138429"/>
                <a:gd name="connsiteX743" fmla="*/ 2787645 w 4940931"/>
                <a:gd name="connsiteY743" fmla="*/ 95250 h 138429"/>
                <a:gd name="connsiteX744" fmla="*/ 2799075 w 4940931"/>
                <a:gd name="connsiteY744" fmla="*/ 97155 h 138429"/>
                <a:gd name="connsiteX745" fmla="*/ 2809870 w 4940931"/>
                <a:gd name="connsiteY745" fmla="*/ 94615 h 138429"/>
                <a:gd name="connsiteX746" fmla="*/ 2813045 w 4940931"/>
                <a:gd name="connsiteY746" fmla="*/ 88265 h 138429"/>
                <a:gd name="connsiteX747" fmla="*/ 2811775 w 4940931"/>
                <a:gd name="connsiteY747" fmla="*/ 84455 h 138429"/>
                <a:gd name="connsiteX748" fmla="*/ 2807965 w 4940931"/>
                <a:gd name="connsiteY748" fmla="*/ 81280 h 138429"/>
                <a:gd name="connsiteX749" fmla="*/ 2802250 w 4940931"/>
                <a:gd name="connsiteY749" fmla="*/ 78105 h 138429"/>
                <a:gd name="connsiteX750" fmla="*/ 2794630 w 4940931"/>
                <a:gd name="connsiteY750" fmla="*/ 74930 h 138429"/>
                <a:gd name="connsiteX751" fmla="*/ 2783835 w 4940931"/>
                <a:gd name="connsiteY751" fmla="*/ 69850 h 138429"/>
                <a:gd name="connsiteX752" fmla="*/ 2776850 w 4940931"/>
                <a:gd name="connsiteY752" fmla="*/ 64770 h 138429"/>
                <a:gd name="connsiteX753" fmla="*/ 2773040 w 4940931"/>
                <a:gd name="connsiteY753" fmla="*/ 58420 h 138429"/>
                <a:gd name="connsiteX754" fmla="*/ 2771770 w 4940931"/>
                <a:gd name="connsiteY754" fmla="*/ 50165 h 138429"/>
                <a:gd name="connsiteX755" fmla="*/ 2773675 w 4940931"/>
                <a:gd name="connsiteY755" fmla="*/ 40640 h 138429"/>
                <a:gd name="connsiteX756" fmla="*/ 2779390 w 4940931"/>
                <a:gd name="connsiteY756" fmla="*/ 34290 h 138429"/>
                <a:gd name="connsiteX757" fmla="*/ 2787645 w 4940931"/>
                <a:gd name="connsiteY757" fmla="*/ 30480 h 138429"/>
                <a:gd name="connsiteX758" fmla="*/ 2798440 w 4940931"/>
                <a:gd name="connsiteY758" fmla="*/ 29210 h 138429"/>
                <a:gd name="connsiteX759" fmla="*/ 2723510 w 4940931"/>
                <a:gd name="connsiteY759" fmla="*/ 29210 h 138429"/>
                <a:gd name="connsiteX760" fmla="*/ 2729225 w 4940931"/>
                <a:gd name="connsiteY760" fmla="*/ 29210 h 138429"/>
                <a:gd name="connsiteX761" fmla="*/ 2741290 w 4940931"/>
                <a:gd name="connsiteY761" fmla="*/ 31750 h 138429"/>
                <a:gd name="connsiteX762" fmla="*/ 2750180 w 4940931"/>
                <a:gd name="connsiteY762" fmla="*/ 38100 h 138429"/>
                <a:gd name="connsiteX763" fmla="*/ 2755260 w 4940931"/>
                <a:gd name="connsiteY763" fmla="*/ 48895 h 138429"/>
                <a:gd name="connsiteX764" fmla="*/ 2757165 w 4940931"/>
                <a:gd name="connsiteY764" fmla="*/ 64135 h 138429"/>
                <a:gd name="connsiteX765" fmla="*/ 2757165 w 4940931"/>
                <a:gd name="connsiteY765" fmla="*/ 108585 h 138429"/>
                <a:gd name="connsiteX766" fmla="*/ 2741925 w 4940931"/>
                <a:gd name="connsiteY766" fmla="*/ 108585 h 138429"/>
                <a:gd name="connsiteX767" fmla="*/ 2741290 w 4940931"/>
                <a:gd name="connsiteY767" fmla="*/ 108585 h 138429"/>
                <a:gd name="connsiteX768" fmla="*/ 2741290 w 4940931"/>
                <a:gd name="connsiteY768" fmla="*/ 64770 h 138429"/>
                <a:gd name="connsiteX769" fmla="*/ 2737480 w 4940931"/>
                <a:gd name="connsiteY769" fmla="*/ 48895 h 138429"/>
                <a:gd name="connsiteX770" fmla="*/ 2725415 w 4940931"/>
                <a:gd name="connsiteY770" fmla="*/ 43180 h 138429"/>
                <a:gd name="connsiteX771" fmla="*/ 2718430 w 4940931"/>
                <a:gd name="connsiteY771" fmla="*/ 44450 h 138429"/>
                <a:gd name="connsiteX772" fmla="*/ 2713350 w 4940931"/>
                <a:gd name="connsiteY772" fmla="*/ 48260 h 138429"/>
                <a:gd name="connsiteX773" fmla="*/ 2710175 w 4940931"/>
                <a:gd name="connsiteY773" fmla="*/ 54610 h 138429"/>
                <a:gd name="connsiteX774" fmla="*/ 2709540 w 4940931"/>
                <a:gd name="connsiteY774" fmla="*/ 62865 h 138429"/>
                <a:gd name="connsiteX775" fmla="*/ 2709540 w 4940931"/>
                <a:gd name="connsiteY775" fmla="*/ 108585 h 138429"/>
                <a:gd name="connsiteX776" fmla="*/ 2694300 w 4940931"/>
                <a:gd name="connsiteY776" fmla="*/ 108585 h 138429"/>
                <a:gd name="connsiteX777" fmla="*/ 2694300 w 4940931"/>
                <a:gd name="connsiteY777" fmla="*/ 30480 h 138429"/>
                <a:gd name="connsiteX778" fmla="*/ 2709540 w 4940931"/>
                <a:gd name="connsiteY778" fmla="*/ 30480 h 138429"/>
                <a:gd name="connsiteX779" fmla="*/ 2709540 w 4940931"/>
                <a:gd name="connsiteY779" fmla="*/ 38100 h 138429"/>
                <a:gd name="connsiteX780" fmla="*/ 2713350 w 4940931"/>
                <a:gd name="connsiteY780" fmla="*/ 34290 h 138429"/>
                <a:gd name="connsiteX781" fmla="*/ 2717795 w 4940931"/>
                <a:gd name="connsiteY781" fmla="*/ 31115 h 138429"/>
                <a:gd name="connsiteX782" fmla="*/ 2723510 w 4940931"/>
                <a:gd name="connsiteY782" fmla="*/ 29210 h 138429"/>
                <a:gd name="connsiteX783" fmla="*/ 2530470 w 4940931"/>
                <a:gd name="connsiteY783" fmla="*/ 29210 h 138429"/>
                <a:gd name="connsiteX784" fmla="*/ 2545075 w 4940931"/>
                <a:gd name="connsiteY784" fmla="*/ 32385 h 138429"/>
                <a:gd name="connsiteX785" fmla="*/ 2555235 w 4940931"/>
                <a:gd name="connsiteY785" fmla="*/ 40640 h 138429"/>
                <a:gd name="connsiteX786" fmla="*/ 2561585 w 4940931"/>
                <a:gd name="connsiteY786" fmla="*/ 53340 h 138429"/>
                <a:gd name="connsiteX787" fmla="*/ 2563490 w 4940931"/>
                <a:gd name="connsiteY787" fmla="*/ 68580 h 138429"/>
                <a:gd name="connsiteX788" fmla="*/ 2562220 w 4940931"/>
                <a:gd name="connsiteY788" fmla="*/ 68580 h 138429"/>
                <a:gd name="connsiteX789" fmla="*/ 2562220 w 4940931"/>
                <a:gd name="connsiteY789" fmla="*/ 72390 h 138429"/>
                <a:gd name="connsiteX790" fmla="*/ 2562220 w 4940931"/>
                <a:gd name="connsiteY790" fmla="*/ 75565 h 138429"/>
                <a:gd name="connsiteX791" fmla="*/ 2510785 w 4940931"/>
                <a:gd name="connsiteY791" fmla="*/ 75565 h 138429"/>
                <a:gd name="connsiteX792" fmla="*/ 2513325 w 4940931"/>
                <a:gd name="connsiteY792" fmla="*/ 85090 h 138429"/>
                <a:gd name="connsiteX793" fmla="*/ 2517770 w 4940931"/>
                <a:gd name="connsiteY793" fmla="*/ 91440 h 138429"/>
                <a:gd name="connsiteX794" fmla="*/ 2523485 w 4940931"/>
                <a:gd name="connsiteY794" fmla="*/ 95250 h 138429"/>
                <a:gd name="connsiteX795" fmla="*/ 2530470 w 4940931"/>
                <a:gd name="connsiteY795" fmla="*/ 96520 h 138429"/>
                <a:gd name="connsiteX796" fmla="*/ 2535550 w 4940931"/>
                <a:gd name="connsiteY796" fmla="*/ 96520 h 138429"/>
                <a:gd name="connsiteX797" fmla="*/ 2539995 w 4940931"/>
                <a:gd name="connsiteY797" fmla="*/ 95250 h 138429"/>
                <a:gd name="connsiteX798" fmla="*/ 2543805 w 4940931"/>
                <a:gd name="connsiteY798" fmla="*/ 93345 h 138429"/>
                <a:gd name="connsiteX799" fmla="*/ 2548250 w 4940931"/>
                <a:gd name="connsiteY799" fmla="*/ 90805 h 138429"/>
                <a:gd name="connsiteX800" fmla="*/ 2557140 w 4940931"/>
                <a:gd name="connsiteY800" fmla="*/ 100330 h 138429"/>
                <a:gd name="connsiteX801" fmla="*/ 2551425 w 4940931"/>
                <a:gd name="connsiteY801" fmla="*/ 104775 h 138429"/>
                <a:gd name="connsiteX802" fmla="*/ 2545710 w 4940931"/>
                <a:gd name="connsiteY802" fmla="*/ 107950 h 138429"/>
                <a:gd name="connsiteX803" fmla="*/ 2538725 w 4940931"/>
                <a:gd name="connsiteY803" fmla="*/ 109855 h 138429"/>
                <a:gd name="connsiteX804" fmla="*/ 2529835 w 4940931"/>
                <a:gd name="connsiteY804" fmla="*/ 110490 h 138429"/>
                <a:gd name="connsiteX805" fmla="*/ 2520310 w 4940931"/>
                <a:gd name="connsiteY805" fmla="*/ 109220 h 138429"/>
                <a:gd name="connsiteX806" fmla="*/ 2512690 w 4940931"/>
                <a:gd name="connsiteY806" fmla="*/ 105410 h 138429"/>
                <a:gd name="connsiteX807" fmla="*/ 2506340 w 4940931"/>
                <a:gd name="connsiteY807" fmla="*/ 100330 h 138429"/>
                <a:gd name="connsiteX808" fmla="*/ 2501260 w 4940931"/>
                <a:gd name="connsiteY808" fmla="*/ 92710 h 138429"/>
                <a:gd name="connsiteX809" fmla="*/ 2497450 w 4940931"/>
                <a:gd name="connsiteY809" fmla="*/ 82550 h 138429"/>
                <a:gd name="connsiteX810" fmla="*/ 2496180 w 4940931"/>
                <a:gd name="connsiteY810" fmla="*/ 69850 h 138429"/>
                <a:gd name="connsiteX811" fmla="*/ 2498720 w 4940931"/>
                <a:gd name="connsiteY811" fmla="*/ 52070 h 138429"/>
                <a:gd name="connsiteX812" fmla="*/ 2505705 w 4940931"/>
                <a:gd name="connsiteY812" fmla="*/ 39370 h 138429"/>
                <a:gd name="connsiteX813" fmla="*/ 2516500 w 4940931"/>
                <a:gd name="connsiteY813" fmla="*/ 31750 h 138429"/>
                <a:gd name="connsiteX814" fmla="*/ 2530470 w 4940931"/>
                <a:gd name="connsiteY814" fmla="*/ 29210 h 138429"/>
                <a:gd name="connsiteX815" fmla="*/ 2298061 w 4940931"/>
                <a:gd name="connsiteY815" fmla="*/ 29210 h 138429"/>
                <a:gd name="connsiteX816" fmla="*/ 2305681 w 4940931"/>
                <a:gd name="connsiteY816" fmla="*/ 29845 h 138429"/>
                <a:gd name="connsiteX817" fmla="*/ 2311396 w 4940931"/>
                <a:gd name="connsiteY817" fmla="*/ 32385 h 138429"/>
                <a:gd name="connsiteX818" fmla="*/ 2307586 w 4940931"/>
                <a:gd name="connsiteY818" fmla="*/ 46990 h 138429"/>
                <a:gd name="connsiteX819" fmla="*/ 2306316 w 4940931"/>
                <a:gd name="connsiteY819" fmla="*/ 46990 h 138429"/>
                <a:gd name="connsiteX820" fmla="*/ 2301236 w 4940931"/>
                <a:gd name="connsiteY820" fmla="*/ 45085 h 138429"/>
                <a:gd name="connsiteX821" fmla="*/ 2294886 w 4940931"/>
                <a:gd name="connsiteY821" fmla="*/ 44450 h 138429"/>
                <a:gd name="connsiteX822" fmla="*/ 2283456 w 4940931"/>
                <a:gd name="connsiteY822" fmla="*/ 49530 h 138429"/>
                <a:gd name="connsiteX823" fmla="*/ 2279646 w 4940931"/>
                <a:gd name="connsiteY823" fmla="*/ 64770 h 138429"/>
                <a:gd name="connsiteX824" fmla="*/ 2279646 w 4940931"/>
                <a:gd name="connsiteY824" fmla="*/ 109220 h 138429"/>
                <a:gd name="connsiteX825" fmla="*/ 2264406 w 4940931"/>
                <a:gd name="connsiteY825" fmla="*/ 109220 h 138429"/>
                <a:gd name="connsiteX826" fmla="*/ 2264406 w 4940931"/>
                <a:gd name="connsiteY826" fmla="*/ 31115 h 138429"/>
                <a:gd name="connsiteX827" fmla="*/ 2279646 w 4940931"/>
                <a:gd name="connsiteY827" fmla="*/ 31115 h 138429"/>
                <a:gd name="connsiteX828" fmla="*/ 2279646 w 4940931"/>
                <a:gd name="connsiteY828" fmla="*/ 38735 h 138429"/>
                <a:gd name="connsiteX829" fmla="*/ 2282821 w 4940931"/>
                <a:gd name="connsiteY829" fmla="*/ 34925 h 138429"/>
                <a:gd name="connsiteX830" fmla="*/ 2287266 w 4940931"/>
                <a:gd name="connsiteY830" fmla="*/ 31750 h 138429"/>
                <a:gd name="connsiteX831" fmla="*/ 2292346 w 4940931"/>
                <a:gd name="connsiteY831" fmla="*/ 29845 h 138429"/>
                <a:gd name="connsiteX832" fmla="*/ 2298061 w 4940931"/>
                <a:gd name="connsiteY832" fmla="*/ 29210 h 138429"/>
                <a:gd name="connsiteX833" fmla="*/ 2216145 w 4940931"/>
                <a:gd name="connsiteY833" fmla="*/ 29210 h 138429"/>
                <a:gd name="connsiteX834" fmla="*/ 2230750 w 4940931"/>
                <a:gd name="connsiteY834" fmla="*/ 32385 h 138429"/>
                <a:gd name="connsiteX835" fmla="*/ 2240910 w 4940931"/>
                <a:gd name="connsiteY835" fmla="*/ 40640 h 138429"/>
                <a:gd name="connsiteX836" fmla="*/ 2247260 w 4940931"/>
                <a:gd name="connsiteY836" fmla="*/ 53340 h 138429"/>
                <a:gd name="connsiteX837" fmla="*/ 2249165 w 4940931"/>
                <a:gd name="connsiteY837" fmla="*/ 68580 h 138429"/>
                <a:gd name="connsiteX838" fmla="*/ 2247895 w 4940931"/>
                <a:gd name="connsiteY838" fmla="*/ 68580 h 138429"/>
                <a:gd name="connsiteX839" fmla="*/ 2247895 w 4940931"/>
                <a:gd name="connsiteY839" fmla="*/ 72390 h 138429"/>
                <a:gd name="connsiteX840" fmla="*/ 2247895 w 4940931"/>
                <a:gd name="connsiteY840" fmla="*/ 75565 h 138429"/>
                <a:gd name="connsiteX841" fmla="*/ 2196460 w 4940931"/>
                <a:gd name="connsiteY841" fmla="*/ 75565 h 138429"/>
                <a:gd name="connsiteX842" fmla="*/ 2199000 w 4940931"/>
                <a:gd name="connsiteY842" fmla="*/ 85090 h 138429"/>
                <a:gd name="connsiteX843" fmla="*/ 2203445 w 4940931"/>
                <a:gd name="connsiteY843" fmla="*/ 91440 h 138429"/>
                <a:gd name="connsiteX844" fmla="*/ 2209160 w 4940931"/>
                <a:gd name="connsiteY844" fmla="*/ 95250 h 138429"/>
                <a:gd name="connsiteX845" fmla="*/ 2216145 w 4940931"/>
                <a:gd name="connsiteY845" fmla="*/ 96520 h 138429"/>
                <a:gd name="connsiteX846" fmla="*/ 2221225 w 4940931"/>
                <a:gd name="connsiteY846" fmla="*/ 96520 h 138429"/>
                <a:gd name="connsiteX847" fmla="*/ 2225670 w 4940931"/>
                <a:gd name="connsiteY847" fmla="*/ 95250 h 138429"/>
                <a:gd name="connsiteX848" fmla="*/ 2229480 w 4940931"/>
                <a:gd name="connsiteY848" fmla="*/ 93345 h 138429"/>
                <a:gd name="connsiteX849" fmla="*/ 2233925 w 4940931"/>
                <a:gd name="connsiteY849" fmla="*/ 90805 h 138429"/>
                <a:gd name="connsiteX850" fmla="*/ 2242815 w 4940931"/>
                <a:gd name="connsiteY850" fmla="*/ 100330 h 138429"/>
                <a:gd name="connsiteX851" fmla="*/ 2237100 w 4940931"/>
                <a:gd name="connsiteY851" fmla="*/ 104775 h 138429"/>
                <a:gd name="connsiteX852" fmla="*/ 2231385 w 4940931"/>
                <a:gd name="connsiteY852" fmla="*/ 107950 h 138429"/>
                <a:gd name="connsiteX853" fmla="*/ 2224400 w 4940931"/>
                <a:gd name="connsiteY853" fmla="*/ 109855 h 138429"/>
                <a:gd name="connsiteX854" fmla="*/ 2215510 w 4940931"/>
                <a:gd name="connsiteY854" fmla="*/ 110490 h 138429"/>
                <a:gd name="connsiteX855" fmla="*/ 2205985 w 4940931"/>
                <a:gd name="connsiteY855" fmla="*/ 109220 h 138429"/>
                <a:gd name="connsiteX856" fmla="*/ 2198365 w 4940931"/>
                <a:gd name="connsiteY856" fmla="*/ 105410 h 138429"/>
                <a:gd name="connsiteX857" fmla="*/ 2192015 w 4940931"/>
                <a:gd name="connsiteY857" fmla="*/ 100330 h 138429"/>
                <a:gd name="connsiteX858" fmla="*/ 2186935 w 4940931"/>
                <a:gd name="connsiteY858" fmla="*/ 92710 h 138429"/>
                <a:gd name="connsiteX859" fmla="*/ 2183125 w 4940931"/>
                <a:gd name="connsiteY859" fmla="*/ 82550 h 138429"/>
                <a:gd name="connsiteX860" fmla="*/ 2181855 w 4940931"/>
                <a:gd name="connsiteY860" fmla="*/ 69850 h 138429"/>
                <a:gd name="connsiteX861" fmla="*/ 2184395 w 4940931"/>
                <a:gd name="connsiteY861" fmla="*/ 52070 h 138429"/>
                <a:gd name="connsiteX862" fmla="*/ 2191380 w 4940931"/>
                <a:gd name="connsiteY862" fmla="*/ 39370 h 138429"/>
                <a:gd name="connsiteX863" fmla="*/ 2202175 w 4940931"/>
                <a:gd name="connsiteY863" fmla="*/ 31750 h 138429"/>
                <a:gd name="connsiteX864" fmla="*/ 2216145 w 4940931"/>
                <a:gd name="connsiteY864" fmla="*/ 29210 h 138429"/>
                <a:gd name="connsiteX865" fmla="*/ 2029456 w 4940931"/>
                <a:gd name="connsiteY865" fmla="*/ 29210 h 138429"/>
                <a:gd name="connsiteX866" fmla="*/ 2044061 w 4940931"/>
                <a:gd name="connsiteY866" fmla="*/ 32385 h 138429"/>
                <a:gd name="connsiteX867" fmla="*/ 2054221 w 4940931"/>
                <a:gd name="connsiteY867" fmla="*/ 40640 h 138429"/>
                <a:gd name="connsiteX868" fmla="*/ 2060571 w 4940931"/>
                <a:gd name="connsiteY868" fmla="*/ 53340 h 138429"/>
                <a:gd name="connsiteX869" fmla="*/ 2062476 w 4940931"/>
                <a:gd name="connsiteY869" fmla="*/ 68580 h 138429"/>
                <a:gd name="connsiteX870" fmla="*/ 2061206 w 4940931"/>
                <a:gd name="connsiteY870" fmla="*/ 68580 h 138429"/>
                <a:gd name="connsiteX871" fmla="*/ 2061206 w 4940931"/>
                <a:gd name="connsiteY871" fmla="*/ 72390 h 138429"/>
                <a:gd name="connsiteX872" fmla="*/ 2061206 w 4940931"/>
                <a:gd name="connsiteY872" fmla="*/ 75565 h 138429"/>
                <a:gd name="connsiteX873" fmla="*/ 2009771 w 4940931"/>
                <a:gd name="connsiteY873" fmla="*/ 75565 h 138429"/>
                <a:gd name="connsiteX874" fmla="*/ 2012311 w 4940931"/>
                <a:gd name="connsiteY874" fmla="*/ 85090 h 138429"/>
                <a:gd name="connsiteX875" fmla="*/ 2016756 w 4940931"/>
                <a:gd name="connsiteY875" fmla="*/ 91440 h 138429"/>
                <a:gd name="connsiteX876" fmla="*/ 2022471 w 4940931"/>
                <a:gd name="connsiteY876" fmla="*/ 95250 h 138429"/>
                <a:gd name="connsiteX877" fmla="*/ 2029456 w 4940931"/>
                <a:gd name="connsiteY877" fmla="*/ 96520 h 138429"/>
                <a:gd name="connsiteX878" fmla="*/ 2034536 w 4940931"/>
                <a:gd name="connsiteY878" fmla="*/ 96520 h 138429"/>
                <a:gd name="connsiteX879" fmla="*/ 2038981 w 4940931"/>
                <a:gd name="connsiteY879" fmla="*/ 95250 h 138429"/>
                <a:gd name="connsiteX880" fmla="*/ 2042791 w 4940931"/>
                <a:gd name="connsiteY880" fmla="*/ 93345 h 138429"/>
                <a:gd name="connsiteX881" fmla="*/ 2047236 w 4940931"/>
                <a:gd name="connsiteY881" fmla="*/ 90805 h 138429"/>
                <a:gd name="connsiteX882" fmla="*/ 2056126 w 4940931"/>
                <a:gd name="connsiteY882" fmla="*/ 100330 h 138429"/>
                <a:gd name="connsiteX883" fmla="*/ 2050411 w 4940931"/>
                <a:gd name="connsiteY883" fmla="*/ 104775 h 138429"/>
                <a:gd name="connsiteX884" fmla="*/ 2044696 w 4940931"/>
                <a:gd name="connsiteY884" fmla="*/ 107950 h 138429"/>
                <a:gd name="connsiteX885" fmla="*/ 2037711 w 4940931"/>
                <a:gd name="connsiteY885" fmla="*/ 109855 h 138429"/>
                <a:gd name="connsiteX886" fmla="*/ 2028821 w 4940931"/>
                <a:gd name="connsiteY886" fmla="*/ 110490 h 138429"/>
                <a:gd name="connsiteX887" fmla="*/ 2019296 w 4940931"/>
                <a:gd name="connsiteY887" fmla="*/ 109220 h 138429"/>
                <a:gd name="connsiteX888" fmla="*/ 2011676 w 4940931"/>
                <a:gd name="connsiteY888" fmla="*/ 105410 h 138429"/>
                <a:gd name="connsiteX889" fmla="*/ 2005326 w 4940931"/>
                <a:gd name="connsiteY889" fmla="*/ 100330 h 138429"/>
                <a:gd name="connsiteX890" fmla="*/ 2000246 w 4940931"/>
                <a:gd name="connsiteY890" fmla="*/ 92710 h 138429"/>
                <a:gd name="connsiteX891" fmla="*/ 1996436 w 4940931"/>
                <a:gd name="connsiteY891" fmla="*/ 82550 h 138429"/>
                <a:gd name="connsiteX892" fmla="*/ 1995166 w 4940931"/>
                <a:gd name="connsiteY892" fmla="*/ 69850 h 138429"/>
                <a:gd name="connsiteX893" fmla="*/ 1997706 w 4940931"/>
                <a:gd name="connsiteY893" fmla="*/ 52070 h 138429"/>
                <a:gd name="connsiteX894" fmla="*/ 2004691 w 4940931"/>
                <a:gd name="connsiteY894" fmla="*/ 39370 h 138429"/>
                <a:gd name="connsiteX895" fmla="*/ 2015486 w 4940931"/>
                <a:gd name="connsiteY895" fmla="*/ 31750 h 138429"/>
                <a:gd name="connsiteX896" fmla="*/ 2029456 w 4940931"/>
                <a:gd name="connsiteY896" fmla="*/ 29210 h 138429"/>
                <a:gd name="connsiteX897" fmla="*/ 1831336 w 4940931"/>
                <a:gd name="connsiteY897" fmla="*/ 29210 h 138429"/>
                <a:gd name="connsiteX898" fmla="*/ 1845941 w 4940931"/>
                <a:gd name="connsiteY898" fmla="*/ 32385 h 138429"/>
                <a:gd name="connsiteX899" fmla="*/ 1856101 w 4940931"/>
                <a:gd name="connsiteY899" fmla="*/ 40640 h 138429"/>
                <a:gd name="connsiteX900" fmla="*/ 1862451 w 4940931"/>
                <a:gd name="connsiteY900" fmla="*/ 53340 h 138429"/>
                <a:gd name="connsiteX901" fmla="*/ 1864356 w 4940931"/>
                <a:gd name="connsiteY901" fmla="*/ 68580 h 138429"/>
                <a:gd name="connsiteX902" fmla="*/ 1863086 w 4940931"/>
                <a:gd name="connsiteY902" fmla="*/ 68580 h 138429"/>
                <a:gd name="connsiteX903" fmla="*/ 1863086 w 4940931"/>
                <a:gd name="connsiteY903" fmla="*/ 72390 h 138429"/>
                <a:gd name="connsiteX904" fmla="*/ 1863086 w 4940931"/>
                <a:gd name="connsiteY904" fmla="*/ 75565 h 138429"/>
                <a:gd name="connsiteX905" fmla="*/ 1811651 w 4940931"/>
                <a:gd name="connsiteY905" fmla="*/ 75565 h 138429"/>
                <a:gd name="connsiteX906" fmla="*/ 1814191 w 4940931"/>
                <a:gd name="connsiteY906" fmla="*/ 85090 h 138429"/>
                <a:gd name="connsiteX907" fmla="*/ 1818636 w 4940931"/>
                <a:gd name="connsiteY907" fmla="*/ 91440 h 138429"/>
                <a:gd name="connsiteX908" fmla="*/ 1824351 w 4940931"/>
                <a:gd name="connsiteY908" fmla="*/ 95250 h 138429"/>
                <a:gd name="connsiteX909" fmla="*/ 1831336 w 4940931"/>
                <a:gd name="connsiteY909" fmla="*/ 96520 h 138429"/>
                <a:gd name="connsiteX910" fmla="*/ 1836416 w 4940931"/>
                <a:gd name="connsiteY910" fmla="*/ 96520 h 138429"/>
                <a:gd name="connsiteX911" fmla="*/ 1840861 w 4940931"/>
                <a:gd name="connsiteY911" fmla="*/ 95250 h 138429"/>
                <a:gd name="connsiteX912" fmla="*/ 1844671 w 4940931"/>
                <a:gd name="connsiteY912" fmla="*/ 93345 h 138429"/>
                <a:gd name="connsiteX913" fmla="*/ 1849116 w 4940931"/>
                <a:gd name="connsiteY913" fmla="*/ 90805 h 138429"/>
                <a:gd name="connsiteX914" fmla="*/ 1858006 w 4940931"/>
                <a:gd name="connsiteY914" fmla="*/ 100330 h 138429"/>
                <a:gd name="connsiteX915" fmla="*/ 1852291 w 4940931"/>
                <a:gd name="connsiteY915" fmla="*/ 104775 h 138429"/>
                <a:gd name="connsiteX916" fmla="*/ 1846576 w 4940931"/>
                <a:gd name="connsiteY916" fmla="*/ 107950 h 138429"/>
                <a:gd name="connsiteX917" fmla="*/ 1839591 w 4940931"/>
                <a:gd name="connsiteY917" fmla="*/ 109855 h 138429"/>
                <a:gd name="connsiteX918" fmla="*/ 1830701 w 4940931"/>
                <a:gd name="connsiteY918" fmla="*/ 110490 h 138429"/>
                <a:gd name="connsiteX919" fmla="*/ 1821176 w 4940931"/>
                <a:gd name="connsiteY919" fmla="*/ 109220 h 138429"/>
                <a:gd name="connsiteX920" fmla="*/ 1813556 w 4940931"/>
                <a:gd name="connsiteY920" fmla="*/ 105410 h 138429"/>
                <a:gd name="connsiteX921" fmla="*/ 1807206 w 4940931"/>
                <a:gd name="connsiteY921" fmla="*/ 100330 h 138429"/>
                <a:gd name="connsiteX922" fmla="*/ 1802126 w 4940931"/>
                <a:gd name="connsiteY922" fmla="*/ 92710 h 138429"/>
                <a:gd name="connsiteX923" fmla="*/ 1798316 w 4940931"/>
                <a:gd name="connsiteY923" fmla="*/ 82550 h 138429"/>
                <a:gd name="connsiteX924" fmla="*/ 1797046 w 4940931"/>
                <a:gd name="connsiteY924" fmla="*/ 69850 h 138429"/>
                <a:gd name="connsiteX925" fmla="*/ 1799586 w 4940931"/>
                <a:gd name="connsiteY925" fmla="*/ 52070 h 138429"/>
                <a:gd name="connsiteX926" fmla="*/ 1806571 w 4940931"/>
                <a:gd name="connsiteY926" fmla="*/ 39370 h 138429"/>
                <a:gd name="connsiteX927" fmla="*/ 1817366 w 4940931"/>
                <a:gd name="connsiteY927" fmla="*/ 31750 h 138429"/>
                <a:gd name="connsiteX928" fmla="*/ 1831336 w 4940931"/>
                <a:gd name="connsiteY928" fmla="*/ 29210 h 138429"/>
                <a:gd name="connsiteX929" fmla="*/ 1501140 w 4940931"/>
                <a:gd name="connsiteY929" fmla="*/ 29210 h 138429"/>
                <a:gd name="connsiteX930" fmla="*/ 1506856 w 4940931"/>
                <a:gd name="connsiteY930" fmla="*/ 29210 h 138429"/>
                <a:gd name="connsiteX931" fmla="*/ 1518920 w 4940931"/>
                <a:gd name="connsiteY931" fmla="*/ 31750 h 138429"/>
                <a:gd name="connsiteX932" fmla="*/ 1527811 w 4940931"/>
                <a:gd name="connsiteY932" fmla="*/ 38100 h 138429"/>
                <a:gd name="connsiteX933" fmla="*/ 1532891 w 4940931"/>
                <a:gd name="connsiteY933" fmla="*/ 48895 h 138429"/>
                <a:gd name="connsiteX934" fmla="*/ 1534796 w 4940931"/>
                <a:gd name="connsiteY934" fmla="*/ 64135 h 138429"/>
                <a:gd name="connsiteX935" fmla="*/ 1534796 w 4940931"/>
                <a:gd name="connsiteY935" fmla="*/ 108585 h 138429"/>
                <a:gd name="connsiteX936" fmla="*/ 1519556 w 4940931"/>
                <a:gd name="connsiteY936" fmla="*/ 108585 h 138429"/>
                <a:gd name="connsiteX937" fmla="*/ 1518920 w 4940931"/>
                <a:gd name="connsiteY937" fmla="*/ 108585 h 138429"/>
                <a:gd name="connsiteX938" fmla="*/ 1518920 w 4940931"/>
                <a:gd name="connsiteY938" fmla="*/ 64770 h 138429"/>
                <a:gd name="connsiteX939" fmla="*/ 1515111 w 4940931"/>
                <a:gd name="connsiteY939" fmla="*/ 48895 h 138429"/>
                <a:gd name="connsiteX940" fmla="*/ 1503046 w 4940931"/>
                <a:gd name="connsiteY940" fmla="*/ 43180 h 138429"/>
                <a:gd name="connsiteX941" fmla="*/ 1496061 w 4940931"/>
                <a:gd name="connsiteY941" fmla="*/ 44450 h 138429"/>
                <a:gd name="connsiteX942" fmla="*/ 1490981 w 4940931"/>
                <a:gd name="connsiteY942" fmla="*/ 48260 h 138429"/>
                <a:gd name="connsiteX943" fmla="*/ 1487806 w 4940931"/>
                <a:gd name="connsiteY943" fmla="*/ 54610 h 138429"/>
                <a:gd name="connsiteX944" fmla="*/ 1487170 w 4940931"/>
                <a:gd name="connsiteY944" fmla="*/ 62865 h 138429"/>
                <a:gd name="connsiteX945" fmla="*/ 1487170 w 4940931"/>
                <a:gd name="connsiteY945" fmla="*/ 108585 h 138429"/>
                <a:gd name="connsiteX946" fmla="*/ 1471931 w 4940931"/>
                <a:gd name="connsiteY946" fmla="*/ 108585 h 138429"/>
                <a:gd name="connsiteX947" fmla="*/ 1471931 w 4940931"/>
                <a:gd name="connsiteY947" fmla="*/ 30480 h 138429"/>
                <a:gd name="connsiteX948" fmla="*/ 1487170 w 4940931"/>
                <a:gd name="connsiteY948" fmla="*/ 30480 h 138429"/>
                <a:gd name="connsiteX949" fmla="*/ 1487170 w 4940931"/>
                <a:gd name="connsiteY949" fmla="*/ 38100 h 138429"/>
                <a:gd name="connsiteX950" fmla="*/ 1490981 w 4940931"/>
                <a:gd name="connsiteY950" fmla="*/ 34290 h 138429"/>
                <a:gd name="connsiteX951" fmla="*/ 1495426 w 4940931"/>
                <a:gd name="connsiteY951" fmla="*/ 31115 h 138429"/>
                <a:gd name="connsiteX952" fmla="*/ 1501140 w 4940931"/>
                <a:gd name="connsiteY952" fmla="*/ 29210 h 138429"/>
                <a:gd name="connsiteX953" fmla="*/ 1250316 w 4940931"/>
                <a:gd name="connsiteY953" fmla="*/ 29210 h 138429"/>
                <a:gd name="connsiteX954" fmla="*/ 1264286 w 4940931"/>
                <a:gd name="connsiteY954" fmla="*/ 31750 h 138429"/>
                <a:gd name="connsiteX955" fmla="*/ 1276350 w 4940931"/>
                <a:gd name="connsiteY955" fmla="*/ 38100 h 138429"/>
                <a:gd name="connsiteX956" fmla="*/ 1278256 w 4940931"/>
                <a:gd name="connsiteY956" fmla="*/ 38100 h 138429"/>
                <a:gd name="connsiteX957" fmla="*/ 1271271 w 4940931"/>
                <a:gd name="connsiteY957" fmla="*/ 50165 h 138429"/>
                <a:gd name="connsiteX958" fmla="*/ 1261746 w 4940931"/>
                <a:gd name="connsiteY958" fmla="*/ 45085 h 138429"/>
                <a:gd name="connsiteX959" fmla="*/ 1250951 w 4940931"/>
                <a:gd name="connsiteY959" fmla="*/ 43180 h 138429"/>
                <a:gd name="connsiteX960" fmla="*/ 1242696 w 4940931"/>
                <a:gd name="connsiteY960" fmla="*/ 45085 h 138429"/>
                <a:gd name="connsiteX961" fmla="*/ 1240156 w 4940931"/>
                <a:gd name="connsiteY961" fmla="*/ 50165 h 138429"/>
                <a:gd name="connsiteX962" fmla="*/ 1240156 w 4940931"/>
                <a:gd name="connsiteY962" fmla="*/ 52705 h 138429"/>
                <a:gd name="connsiteX963" fmla="*/ 1242061 w 4940931"/>
                <a:gd name="connsiteY963" fmla="*/ 55245 h 138429"/>
                <a:gd name="connsiteX964" fmla="*/ 1246506 w 4940931"/>
                <a:gd name="connsiteY964" fmla="*/ 57785 h 138429"/>
                <a:gd name="connsiteX965" fmla="*/ 1253491 w 4940931"/>
                <a:gd name="connsiteY965" fmla="*/ 60960 h 138429"/>
                <a:gd name="connsiteX966" fmla="*/ 1264921 w 4940931"/>
                <a:gd name="connsiteY966" fmla="*/ 66040 h 138429"/>
                <a:gd name="connsiteX967" fmla="*/ 1273176 w 4940931"/>
                <a:gd name="connsiteY967" fmla="*/ 71120 h 138429"/>
                <a:gd name="connsiteX968" fmla="*/ 1278256 w 4940931"/>
                <a:gd name="connsiteY968" fmla="*/ 78105 h 138429"/>
                <a:gd name="connsiteX969" fmla="*/ 1280161 w 4940931"/>
                <a:gd name="connsiteY969" fmla="*/ 87630 h 138429"/>
                <a:gd name="connsiteX970" fmla="*/ 1277621 w 4940931"/>
                <a:gd name="connsiteY970" fmla="*/ 98425 h 138429"/>
                <a:gd name="connsiteX971" fmla="*/ 1271271 w 4940931"/>
                <a:gd name="connsiteY971" fmla="*/ 105410 h 138429"/>
                <a:gd name="connsiteX972" fmla="*/ 1261746 w 4940931"/>
                <a:gd name="connsiteY972" fmla="*/ 109220 h 138429"/>
                <a:gd name="connsiteX973" fmla="*/ 1250951 w 4940931"/>
                <a:gd name="connsiteY973" fmla="*/ 110490 h 138429"/>
                <a:gd name="connsiteX974" fmla="*/ 1235711 w 4940931"/>
                <a:gd name="connsiteY974" fmla="*/ 107950 h 138429"/>
                <a:gd name="connsiteX975" fmla="*/ 1221106 w 4940931"/>
                <a:gd name="connsiteY975" fmla="*/ 100965 h 138429"/>
                <a:gd name="connsiteX976" fmla="*/ 1228091 w 4940931"/>
                <a:gd name="connsiteY976" fmla="*/ 89535 h 138429"/>
                <a:gd name="connsiteX977" fmla="*/ 1239521 w 4940931"/>
                <a:gd name="connsiteY977" fmla="*/ 95250 h 138429"/>
                <a:gd name="connsiteX978" fmla="*/ 1250951 w 4940931"/>
                <a:gd name="connsiteY978" fmla="*/ 97155 h 138429"/>
                <a:gd name="connsiteX979" fmla="*/ 1261746 w 4940931"/>
                <a:gd name="connsiteY979" fmla="*/ 94615 h 138429"/>
                <a:gd name="connsiteX980" fmla="*/ 1264921 w 4940931"/>
                <a:gd name="connsiteY980" fmla="*/ 88265 h 138429"/>
                <a:gd name="connsiteX981" fmla="*/ 1263650 w 4940931"/>
                <a:gd name="connsiteY981" fmla="*/ 84455 h 138429"/>
                <a:gd name="connsiteX982" fmla="*/ 1259841 w 4940931"/>
                <a:gd name="connsiteY982" fmla="*/ 81280 h 138429"/>
                <a:gd name="connsiteX983" fmla="*/ 1254125 w 4940931"/>
                <a:gd name="connsiteY983" fmla="*/ 78105 h 138429"/>
                <a:gd name="connsiteX984" fmla="*/ 1246506 w 4940931"/>
                <a:gd name="connsiteY984" fmla="*/ 74930 h 138429"/>
                <a:gd name="connsiteX985" fmla="*/ 1235711 w 4940931"/>
                <a:gd name="connsiteY985" fmla="*/ 69850 h 138429"/>
                <a:gd name="connsiteX986" fmla="*/ 1228726 w 4940931"/>
                <a:gd name="connsiteY986" fmla="*/ 64770 h 138429"/>
                <a:gd name="connsiteX987" fmla="*/ 1224916 w 4940931"/>
                <a:gd name="connsiteY987" fmla="*/ 58420 h 138429"/>
                <a:gd name="connsiteX988" fmla="*/ 1223646 w 4940931"/>
                <a:gd name="connsiteY988" fmla="*/ 50165 h 138429"/>
                <a:gd name="connsiteX989" fmla="*/ 1225551 w 4940931"/>
                <a:gd name="connsiteY989" fmla="*/ 40640 h 138429"/>
                <a:gd name="connsiteX990" fmla="*/ 1231266 w 4940931"/>
                <a:gd name="connsiteY990" fmla="*/ 34290 h 138429"/>
                <a:gd name="connsiteX991" fmla="*/ 1239521 w 4940931"/>
                <a:gd name="connsiteY991" fmla="*/ 30480 h 138429"/>
                <a:gd name="connsiteX992" fmla="*/ 1250316 w 4940931"/>
                <a:gd name="connsiteY992" fmla="*/ 29210 h 138429"/>
                <a:gd name="connsiteX993" fmla="*/ 1180466 w 4940931"/>
                <a:gd name="connsiteY993" fmla="*/ 29210 h 138429"/>
                <a:gd name="connsiteX994" fmla="*/ 1195071 w 4940931"/>
                <a:gd name="connsiteY994" fmla="*/ 32385 h 138429"/>
                <a:gd name="connsiteX995" fmla="*/ 1205231 w 4940931"/>
                <a:gd name="connsiteY995" fmla="*/ 40640 h 138429"/>
                <a:gd name="connsiteX996" fmla="*/ 1211581 w 4940931"/>
                <a:gd name="connsiteY996" fmla="*/ 53340 h 138429"/>
                <a:gd name="connsiteX997" fmla="*/ 1213486 w 4940931"/>
                <a:gd name="connsiteY997" fmla="*/ 68580 h 138429"/>
                <a:gd name="connsiteX998" fmla="*/ 1212216 w 4940931"/>
                <a:gd name="connsiteY998" fmla="*/ 68580 h 138429"/>
                <a:gd name="connsiteX999" fmla="*/ 1212216 w 4940931"/>
                <a:gd name="connsiteY999" fmla="*/ 72390 h 138429"/>
                <a:gd name="connsiteX1000" fmla="*/ 1212216 w 4940931"/>
                <a:gd name="connsiteY1000" fmla="*/ 75565 h 138429"/>
                <a:gd name="connsiteX1001" fmla="*/ 1160781 w 4940931"/>
                <a:gd name="connsiteY1001" fmla="*/ 75565 h 138429"/>
                <a:gd name="connsiteX1002" fmla="*/ 1163321 w 4940931"/>
                <a:gd name="connsiteY1002" fmla="*/ 85090 h 138429"/>
                <a:gd name="connsiteX1003" fmla="*/ 1167766 w 4940931"/>
                <a:gd name="connsiteY1003" fmla="*/ 91440 h 138429"/>
                <a:gd name="connsiteX1004" fmla="*/ 1173481 w 4940931"/>
                <a:gd name="connsiteY1004" fmla="*/ 95250 h 138429"/>
                <a:gd name="connsiteX1005" fmla="*/ 1180466 w 4940931"/>
                <a:gd name="connsiteY1005" fmla="*/ 96520 h 138429"/>
                <a:gd name="connsiteX1006" fmla="*/ 1185546 w 4940931"/>
                <a:gd name="connsiteY1006" fmla="*/ 96520 h 138429"/>
                <a:gd name="connsiteX1007" fmla="*/ 1189991 w 4940931"/>
                <a:gd name="connsiteY1007" fmla="*/ 95250 h 138429"/>
                <a:gd name="connsiteX1008" fmla="*/ 1193801 w 4940931"/>
                <a:gd name="connsiteY1008" fmla="*/ 93345 h 138429"/>
                <a:gd name="connsiteX1009" fmla="*/ 1198246 w 4940931"/>
                <a:gd name="connsiteY1009" fmla="*/ 90805 h 138429"/>
                <a:gd name="connsiteX1010" fmla="*/ 1207136 w 4940931"/>
                <a:gd name="connsiteY1010" fmla="*/ 100330 h 138429"/>
                <a:gd name="connsiteX1011" fmla="*/ 1201421 w 4940931"/>
                <a:gd name="connsiteY1011" fmla="*/ 104775 h 138429"/>
                <a:gd name="connsiteX1012" fmla="*/ 1195706 w 4940931"/>
                <a:gd name="connsiteY1012" fmla="*/ 107950 h 138429"/>
                <a:gd name="connsiteX1013" fmla="*/ 1188721 w 4940931"/>
                <a:gd name="connsiteY1013" fmla="*/ 109855 h 138429"/>
                <a:gd name="connsiteX1014" fmla="*/ 1179831 w 4940931"/>
                <a:gd name="connsiteY1014" fmla="*/ 110490 h 138429"/>
                <a:gd name="connsiteX1015" fmla="*/ 1170306 w 4940931"/>
                <a:gd name="connsiteY1015" fmla="*/ 109220 h 138429"/>
                <a:gd name="connsiteX1016" fmla="*/ 1162686 w 4940931"/>
                <a:gd name="connsiteY1016" fmla="*/ 105410 h 138429"/>
                <a:gd name="connsiteX1017" fmla="*/ 1156336 w 4940931"/>
                <a:gd name="connsiteY1017" fmla="*/ 100330 h 138429"/>
                <a:gd name="connsiteX1018" fmla="*/ 1151256 w 4940931"/>
                <a:gd name="connsiteY1018" fmla="*/ 92710 h 138429"/>
                <a:gd name="connsiteX1019" fmla="*/ 1147446 w 4940931"/>
                <a:gd name="connsiteY1019" fmla="*/ 82550 h 138429"/>
                <a:gd name="connsiteX1020" fmla="*/ 1146176 w 4940931"/>
                <a:gd name="connsiteY1020" fmla="*/ 69850 h 138429"/>
                <a:gd name="connsiteX1021" fmla="*/ 1148716 w 4940931"/>
                <a:gd name="connsiteY1021" fmla="*/ 52070 h 138429"/>
                <a:gd name="connsiteX1022" fmla="*/ 1155701 w 4940931"/>
                <a:gd name="connsiteY1022" fmla="*/ 39370 h 138429"/>
                <a:gd name="connsiteX1023" fmla="*/ 1166496 w 4940931"/>
                <a:gd name="connsiteY1023" fmla="*/ 31750 h 138429"/>
                <a:gd name="connsiteX1024" fmla="*/ 1180466 w 4940931"/>
                <a:gd name="connsiteY1024" fmla="*/ 29210 h 138429"/>
                <a:gd name="connsiteX1025" fmla="*/ 901065 w 4940931"/>
                <a:gd name="connsiteY1025" fmla="*/ 29210 h 138429"/>
                <a:gd name="connsiteX1026" fmla="*/ 915670 w 4940931"/>
                <a:gd name="connsiteY1026" fmla="*/ 32385 h 138429"/>
                <a:gd name="connsiteX1027" fmla="*/ 925830 w 4940931"/>
                <a:gd name="connsiteY1027" fmla="*/ 40640 h 138429"/>
                <a:gd name="connsiteX1028" fmla="*/ 932180 w 4940931"/>
                <a:gd name="connsiteY1028" fmla="*/ 53340 h 138429"/>
                <a:gd name="connsiteX1029" fmla="*/ 934085 w 4940931"/>
                <a:gd name="connsiteY1029" fmla="*/ 68580 h 138429"/>
                <a:gd name="connsiteX1030" fmla="*/ 932815 w 4940931"/>
                <a:gd name="connsiteY1030" fmla="*/ 68580 h 138429"/>
                <a:gd name="connsiteX1031" fmla="*/ 932815 w 4940931"/>
                <a:gd name="connsiteY1031" fmla="*/ 72390 h 138429"/>
                <a:gd name="connsiteX1032" fmla="*/ 932815 w 4940931"/>
                <a:gd name="connsiteY1032" fmla="*/ 75565 h 138429"/>
                <a:gd name="connsiteX1033" fmla="*/ 881380 w 4940931"/>
                <a:gd name="connsiteY1033" fmla="*/ 75565 h 138429"/>
                <a:gd name="connsiteX1034" fmla="*/ 883920 w 4940931"/>
                <a:gd name="connsiteY1034" fmla="*/ 85090 h 138429"/>
                <a:gd name="connsiteX1035" fmla="*/ 888365 w 4940931"/>
                <a:gd name="connsiteY1035" fmla="*/ 91440 h 138429"/>
                <a:gd name="connsiteX1036" fmla="*/ 894080 w 4940931"/>
                <a:gd name="connsiteY1036" fmla="*/ 95250 h 138429"/>
                <a:gd name="connsiteX1037" fmla="*/ 901065 w 4940931"/>
                <a:gd name="connsiteY1037" fmla="*/ 96520 h 138429"/>
                <a:gd name="connsiteX1038" fmla="*/ 906145 w 4940931"/>
                <a:gd name="connsiteY1038" fmla="*/ 96520 h 138429"/>
                <a:gd name="connsiteX1039" fmla="*/ 910590 w 4940931"/>
                <a:gd name="connsiteY1039" fmla="*/ 95250 h 138429"/>
                <a:gd name="connsiteX1040" fmla="*/ 914400 w 4940931"/>
                <a:gd name="connsiteY1040" fmla="*/ 93345 h 138429"/>
                <a:gd name="connsiteX1041" fmla="*/ 918845 w 4940931"/>
                <a:gd name="connsiteY1041" fmla="*/ 90805 h 138429"/>
                <a:gd name="connsiteX1042" fmla="*/ 927735 w 4940931"/>
                <a:gd name="connsiteY1042" fmla="*/ 100330 h 138429"/>
                <a:gd name="connsiteX1043" fmla="*/ 922020 w 4940931"/>
                <a:gd name="connsiteY1043" fmla="*/ 104775 h 138429"/>
                <a:gd name="connsiteX1044" fmla="*/ 916305 w 4940931"/>
                <a:gd name="connsiteY1044" fmla="*/ 107950 h 138429"/>
                <a:gd name="connsiteX1045" fmla="*/ 909320 w 4940931"/>
                <a:gd name="connsiteY1045" fmla="*/ 109855 h 138429"/>
                <a:gd name="connsiteX1046" fmla="*/ 900430 w 4940931"/>
                <a:gd name="connsiteY1046" fmla="*/ 110490 h 138429"/>
                <a:gd name="connsiteX1047" fmla="*/ 890905 w 4940931"/>
                <a:gd name="connsiteY1047" fmla="*/ 109220 h 138429"/>
                <a:gd name="connsiteX1048" fmla="*/ 883285 w 4940931"/>
                <a:gd name="connsiteY1048" fmla="*/ 105410 h 138429"/>
                <a:gd name="connsiteX1049" fmla="*/ 876935 w 4940931"/>
                <a:gd name="connsiteY1049" fmla="*/ 100330 h 138429"/>
                <a:gd name="connsiteX1050" fmla="*/ 871855 w 4940931"/>
                <a:gd name="connsiteY1050" fmla="*/ 92710 h 138429"/>
                <a:gd name="connsiteX1051" fmla="*/ 868045 w 4940931"/>
                <a:gd name="connsiteY1051" fmla="*/ 82550 h 138429"/>
                <a:gd name="connsiteX1052" fmla="*/ 866775 w 4940931"/>
                <a:gd name="connsiteY1052" fmla="*/ 69850 h 138429"/>
                <a:gd name="connsiteX1053" fmla="*/ 869315 w 4940931"/>
                <a:gd name="connsiteY1053" fmla="*/ 52070 h 138429"/>
                <a:gd name="connsiteX1054" fmla="*/ 876300 w 4940931"/>
                <a:gd name="connsiteY1054" fmla="*/ 39370 h 138429"/>
                <a:gd name="connsiteX1055" fmla="*/ 887095 w 4940931"/>
                <a:gd name="connsiteY1055" fmla="*/ 31750 h 138429"/>
                <a:gd name="connsiteX1056" fmla="*/ 901065 w 4940931"/>
                <a:gd name="connsiteY1056" fmla="*/ 29210 h 138429"/>
                <a:gd name="connsiteX1057" fmla="*/ 668656 w 4940931"/>
                <a:gd name="connsiteY1057" fmla="*/ 29210 h 138429"/>
                <a:gd name="connsiteX1058" fmla="*/ 676275 w 4940931"/>
                <a:gd name="connsiteY1058" fmla="*/ 29845 h 138429"/>
                <a:gd name="connsiteX1059" fmla="*/ 681991 w 4940931"/>
                <a:gd name="connsiteY1059" fmla="*/ 32385 h 138429"/>
                <a:gd name="connsiteX1060" fmla="*/ 678181 w 4940931"/>
                <a:gd name="connsiteY1060" fmla="*/ 46990 h 138429"/>
                <a:gd name="connsiteX1061" fmla="*/ 676910 w 4940931"/>
                <a:gd name="connsiteY1061" fmla="*/ 46990 h 138429"/>
                <a:gd name="connsiteX1062" fmla="*/ 671830 w 4940931"/>
                <a:gd name="connsiteY1062" fmla="*/ 45085 h 138429"/>
                <a:gd name="connsiteX1063" fmla="*/ 665480 w 4940931"/>
                <a:gd name="connsiteY1063" fmla="*/ 44450 h 138429"/>
                <a:gd name="connsiteX1064" fmla="*/ 654050 w 4940931"/>
                <a:gd name="connsiteY1064" fmla="*/ 49530 h 138429"/>
                <a:gd name="connsiteX1065" fmla="*/ 650240 w 4940931"/>
                <a:gd name="connsiteY1065" fmla="*/ 64770 h 138429"/>
                <a:gd name="connsiteX1066" fmla="*/ 650240 w 4940931"/>
                <a:gd name="connsiteY1066" fmla="*/ 109220 h 138429"/>
                <a:gd name="connsiteX1067" fmla="*/ 635000 w 4940931"/>
                <a:gd name="connsiteY1067" fmla="*/ 109220 h 138429"/>
                <a:gd name="connsiteX1068" fmla="*/ 635000 w 4940931"/>
                <a:gd name="connsiteY1068" fmla="*/ 31115 h 138429"/>
                <a:gd name="connsiteX1069" fmla="*/ 650240 w 4940931"/>
                <a:gd name="connsiteY1069" fmla="*/ 31115 h 138429"/>
                <a:gd name="connsiteX1070" fmla="*/ 650240 w 4940931"/>
                <a:gd name="connsiteY1070" fmla="*/ 38735 h 138429"/>
                <a:gd name="connsiteX1071" fmla="*/ 653416 w 4940931"/>
                <a:gd name="connsiteY1071" fmla="*/ 34925 h 138429"/>
                <a:gd name="connsiteX1072" fmla="*/ 657861 w 4940931"/>
                <a:gd name="connsiteY1072" fmla="*/ 31750 h 138429"/>
                <a:gd name="connsiteX1073" fmla="*/ 662940 w 4940931"/>
                <a:gd name="connsiteY1073" fmla="*/ 29845 h 138429"/>
                <a:gd name="connsiteX1074" fmla="*/ 668656 w 4940931"/>
                <a:gd name="connsiteY1074" fmla="*/ 29210 h 138429"/>
                <a:gd name="connsiteX1075" fmla="*/ 586739 w 4940931"/>
                <a:gd name="connsiteY1075" fmla="*/ 29210 h 138429"/>
                <a:gd name="connsiteX1076" fmla="*/ 601344 w 4940931"/>
                <a:gd name="connsiteY1076" fmla="*/ 32385 h 138429"/>
                <a:gd name="connsiteX1077" fmla="*/ 611504 w 4940931"/>
                <a:gd name="connsiteY1077" fmla="*/ 40640 h 138429"/>
                <a:gd name="connsiteX1078" fmla="*/ 617854 w 4940931"/>
                <a:gd name="connsiteY1078" fmla="*/ 53340 h 138429"/>
                <a:gd name="connsiteX1079" fmla="*/ 619759 w 4940931"/>
                <a:gd name="connsiteY1079" fmla="*/ 68580 h 138429"/>
                <a:gd name="connsiteX1080" fmla="*/ 618489 w 4940931"/>
                <a:gd name="connsiteY1080" fmla="*/ 68580 h 138429"/>
                <a:gd name="connsiteX1081" fmla="*/ 618489 w 4940931"/>
                <a:gd name="connsiteY1081" fmla="*/ 72390 h 138429"/>
                <a:gd name="connsiteX1082" fmla="*/ 618489 w 4940931"/>
                <a:gd name="connsiteY1082" fmla="*/ 75565 h 138429"/>
                <a:gd name="connsiteX1083" fmla="*/ 567054 w 4940931"/>
                <a:gd name="connsiteY1083" fmla="*/ 75565 h 138429"/>
                <a:gd name="connsiteX1084" fmla="*/ 569594 w 4940931"/>
                <a:gd name="connsiteY1084" fmla="*/ 85090 h 138429"/>
                <a:gd name="connsiteX1085" fmla="*/ 574039 w 4940931"/>
                <a:gd name="connsiteY1085" fmla="*/ 91440 h 138429"/>
                <a:gd name="connsiteX1086" fmla="*/ 579754 w 4940931"/>
                <a:gd name="connsiteY1086" fmla="*/ 95250 h 138429"/>
                <a:gd name="connsiteX1087" fmla="*/ 586739 w 4940931"/>
                <a:gd name="connsiteY1087" fmla="*/ 96520 h 138429"/>
                <a:gd name="connsiteX1088" fmla="*/ 591819 w 4940931"/>
                <a:gd name="connsiteY1088" fmla="*/ 96520 h 138429"/>
                <a:gd name="connsiteX1089" fmla="*/ 596264 w 4940931"/>
                <a:gd name="connsiteY1089" fmla="*/ 95250 h 138429"/>
                <a:gd name="connsiteX1090" fmla="*/ 600074 w 4940931"/>
                <a:gd name="connsiteY1090" fmla="*/ 93345 h 138429"/>
                <a:gd name="connsiteX1091" fmla="*/ 604519 w 4940931"/>
                <a:gd name="connsiteY1091" fmla="*/ 90805 h 138429"/>
                <a:gd name="connsiteX1092" fmla="*/ 613409 w 4940931"/>
                <a:gd name="connsiteY1092" fmla="*/ 100330 h 138429"/>
                <a:gd name="connsiteX1093" fmla="*/ 607694 w 4940931"/>
                <a:gd name="connsiteY1093" fmla="*/ 104775 h 138429"/>
                <a:gd name="connsiteX1094" fmla="*/ 601979 w 4940931"/>
                <a:gd name="connsiteY1094" fmla="*/ 107950 h 138429"/>
                <a:gd name="connsiteX1095" fmla="*/ 594994 w 4940931"/>
                <a:gd name="connsiteY1095" fmla="*/ 109855 h 138429"/>
                <a:gd name="connsiteX1096" fmla="*/ 586104 w 4940931"/>
                <a:gd name="connsiteY1096" fmla="*/ 110490 h 138429"/>
                <a:gd name="connsiteX1097" fmla="*/ 576579 w 4940931"/>
                <a:gd name="connsiteY1097" fmla="*/ 109220 h 138429"/>
                <a:gd name="connsiteX1098" fmla="*/ 568959 w 4940931"/>
                <a:gd name="connsiteY1098" fmla="*/ 105410 h 138429"/>
                <a:gd name="connsiteX1099" fmla="*/ 562609 w 4940931"/>
                <a:gd name="connsiteY1099" fmla="*/ 100330 h 138429"/>
                <a:gd name="connsiteX1100" fmla="*/ 557529 w 4940931"/>
                <a:gd name="connsiteY1100" fmla="*/ 92710 h 138429"/>
                <a:gd name="connsiteX1101" fmla="*/ 553719 w 4940931"/>
                <a:gd name="connsiteY1101" fmla="*/ 82550 h 138429"/>
                <a:gd name="connsiteX1102" fmla="*/ 552449 w 4940931"/>
                <a:gd name="connsiteY1102" fmla="*/ 69850 h 138429"/>
                <a:gd name="connsiteX1103" fmla="*/ 554989 w 4940931"/>
                <a:gd name="connsiteY1103" fmla="*/ 52070 h 138429"/>
                <a:gd name="connsiteX1104" fmla="*/ 561974 w 4940931"/>
                <a:gd name="connsiteY1104" fmla="*/ 39370 h 138429"/>
                <a:gd name="connsiteX1105" fmla="*/ 572769 w 4940931"/>
                <a:gd name="connsiteY1105" fmla="*/ 31750 h 138429"/>
                <a:gd name="connsiteX1106" fmla="*/ 586739 w 4940931"/>
                <a:gd name="connsiteY1106" fmla="*/ 29210 h 138429"/>
                <a:gd name="connsiteX1107" fmla="*/ 400050 w 4940931"/>
                <a:gd name="connsiteY1107" fmla="*/ 29210 h 138429"/>
                <a:gd name="connsiteX1108" fmla="*/ 414655 w 4940931"/>
                <a:gd name="connsiteY1108" fmla="*/ 32385 h 138429"/>
                <a:gd name="connsiteX1109" fmla="*/ 424815 w 4940931"/>
                <a:gd name="connsiteY1109" fmla="*/ 40640 h 138429"/>
                <a:gd name="connsiteX1110" fmla="*/ 431165 w 4940931"/>
                <a:gd name="connsiteY1110" fmla="*/ 53340 h 138429"/>
                <a:gd name="connsiteX1111" fmla="*/ 433070 w 4940931"/>
                <a:gd name="connsiteY1111" fmla="*/ 68580 h 138429"/>
                <a:gd name="connsiteX1112" fmla="*/ 431800 w 4940931"/>
                <a:gd name="connsiteY1112" fmla="*/ 68580 h 138429"/>
                <a:gd name="connsiteX1113" fmla="*/ 431800 w 4940931"/>
                <a:gd name="connsiteY1113" fmla="*/ 72390 h 138429"/>
                <a:gd name="connsiteX1114" fmla="*/ 431800 w 4940931"/>
                <a:gd name="connsiteY1114" fmla="*/ 75565 h 138429"/>
                <a:gd name="connsiteX1115" fmla="*/ 380365 w 4940931"/>
                <a:gd name="connsiteY1115" fmla="*/ 75565 h 138429"/>
                <a:gd name="connsiteX1116" fmla="*/ 382905 w 4940931"/>
                <a:gd name="connsiteY1116" fmla="*/ 85090 h 138429"/>
                <a:gd name="connsiteX1117" fmla="*/ 387350 w 4940931"/>
                <a:gd name="connsiteY1117" fmla="*/ 91440 h 138429"/>
                <a:gd name="connsiteX1118" fmla="*/ 393065 w 4940931"/>
                <a:gd name="connsiteY1118" fmla="*/ 95250 h 138429"/>
                <a:gd name="connsiteX1119" fmla="*/ 400050 w 4940931"/>
                <a:gd name="connsiteY1119" fmla="*/ 96520 h 138429"/>
                <a:gd name="connsiteX1120" fmla="*/ 405130 w 4940931"/>
                <a:gd name="connsiteY1120" fmla="*/ 96520 h 138429"/>
                <a:gd name="connsiteX1121" fmla="*/ 409575 w 4940931"/>
                <a:gd name="connsiteY1121" fmla="*/ 95250 h 138429"/>
                <a:gd name="connsiteX1122" fmla="*/ 413385 w 4940931"/>
                <a:gd name="connsiteY1122" fmla="*/ 93345 h 138429"/>
                <a:gd name="connsiteX1123" fmla="*/ 417830 w 4940931"/>
                <a:gd name="connsiteY1123" fmla="*/ 90805 h 138429"/>
                <a:gd name="connsiteX1124" fmla="*/ 426720 w 4940931"/>
                <a:gd name="connsiteY1124" fmla="*/ 100330 h 138429"/>
                <a:gd name="connsiteX1125" fmla="*/ 421005 w 4940931"/>
                <a:gd name="connsiteY1125" fmla="*/ 104775 h 138429"/>
                <a:gd name="connsiteX1126" fmla="*/ 415290 w 4940931"/>
                <a:gd name="connsiteY1126" fmla="*/ 107950 h 138429"/>
                <a:gd name="connsiteX1127" fmla="*/ 408305 w 4940931"/>
                <a:gd name="connsiteY1127" fmla="*/ 109855 h 138429"/>
                <a:gd name="connsiteX1128" fmla="*/ 399415 w 4940931"/>
                <a:gd name="connsiteY1128" fmla="*/ 110490 h 138429"/>
                <a:gd name="connsiteX1129" fmla="*/ 389890 w 4940931"/>
                <a:gd name="connsiteY1129" fmla="*/ 109220 h 138429"/>
                <a:gd name="connsiteX1130" fmla="*/ 382270 w 4940931"/>
                <a:gd name="connsiteY1130" fmla="*/ 105410 h 138429"/>
                <a:gd name="connsiteX1131" fmla="*/ 375920 w 4940931"/>
                <a:gd name="connsiteY1131" fmla="*/ 100330 h 138429"/>
                <a:gd name="connsiteX1132" fmla="*/ 370840 w 4940931"/>
                <a:gd name="connsiteY1132" fmla="*/ 92710 h 138429"/>
                <a:gd name="connsiteX1133" fmla="*/ 367030 w 4940931"/>
                <a:gd name="connsiteY1133" fmla="*/ 82550 h 138429"/>
                <a:gd name="connsiteX1134" fmla="*/ 365760 w 4940931"/>
                <a:gd name="connsiteY1134" fmla="*/ 69850 h 138429"/>
                <a:gd name="connsiteX1135" fmla="*/ 368300 w 4940931"/>
                <a:gd name="connsiteY1135" fmla="*/ 52070 h 138429"/>
                <a:gd name="connsiteX1136" fmla="*/ 375285 w 4940931"/>
                <a:gd name="connsiteY1136" fmla="*/ 39370 h 138429"/>
                <a:gd name="connsiteX1137" fmla="*/ 386080 w 4940931"/>
                <a:gd name="connsiteY1137" fmla="*/ 31750 h 138429"/>
                <a:gd name="connsiteX1138" fmla="*/ 400050 w 4940931"/>
                <a:gd name="connsiteY1138" fmla="*/ 29210 h 138429"/>
                <a:gd name="connsiteX1139" fmla="*/ 201930 w 4940931"/>
                <a:gd name="connsiteY1139" fmla="*/ 29210 h 138429"/>
                <a:gd name="connsiteX1140" fmla="*/ 216535 w 4940931"/>
                <a:gd name="connsiteY1140" fmla="*/ 32385 h 138429"/>
                <a:gd name="connsiteX1141" fmla="*/ 226695 w 4940931"/>
                <a:gd name="connsiteY1141" fmla="*/ 40640 h 138429"/>
                <a:gd name="connsiteX1142" fmla="*/ 233045 w 4940931"/>
                <a:gd name="connsiteY1142" fmla="*/ 53340 h 138429"/>
                <a:gd name="connsiteX1143" fmla="*/ 234950 w 4940931"/>
                <a:gd name="connsiteY1143" fmla="*/ 68580 h 138429"/>
                <a:gd name="connsiteX1144" fmla="*/ 233680 w 4940931"/>
                <a:gd name="connsiteY1144" fmla="*/ 68580 h 138429"/>
                <a:gd name="connsiteX1145" fmla="*/ 233680 w 4940931"/>
                <a:gd name="connsiteY1145" fmla="*/ 72390 h 138429"/>
                <a:gd name="connsiteX1146" fmla="*/ 233680 w 4940931"/>
                <a:gd name="connsiteY1146" fmla="*/ 75565 h 138429"/>
                <a:gd name="connsiteX1147" fmla="*/ 182245 w 4940931"/>
                <a:gd name="connsiteY1147" fmla="*/ 75565 h 138429"/>
                <a:gd name="connsiteX1148" fmla="*/ 184785 w 4940931"/>
                <a:gd name="connsiteY1148" fmla="*/ 85090 h 138429"/>
                <a:gd name="connsiteX1149" fmla="*/ 189230 w 4940931"/>
                <a:gd name="connsiteY1149" fmla="*/ 91440 h 138429"/>
                <a:gd name="connsiteX1150" fmla="*/ 194945 w 4940931"/>
                <a:gd name="connsiteY1150" fmla="*/ 95250 h 138429"/>
                <a:gd name="connsiteX1151" fmla="*/ 201930 w 4940931"/>
                <a:gd name="connsiteY1151" fmla="*/ 96520 h 138429"/>
                <a:gd name="connsiteX1152" fmla="*/ 207010 w 4940931"/>
                <a:gd name="connsiteY1152" fmla="*/ 96520 h 138429"/>
                <a:gd name="connsiteX1153" fmla="*/ 211455 w 4940931"/>
                <a:gd name="connsiteY1153" fmla="*/ 95250 h 138429"/>
                <a:gd name="connsiteX1154" fmla="*/ 215265 w 4940931"/>
                <a:gd name="connsiteY1154" fmla="*/ 93345 h 138429"/>
                <a:gd name="connsiteX1155" fmla="*/ 219710 w 4940931"/>
                <a:gd name="connsiteY1155" fmla="*/ 90805 h 138429"/>
                <a:gd name="connsiteX1156" fmla="*/ 228600 w 4940931"/>
                <a:gd name="connsiteY1156" fmla="*/ 100330 h 138429"/>
                <a:gd name="connsiteX1157" fmla="*/ 222885 w 4940931"/>
                <a:gd name="connsiteY1157" fmla="*/ 104775 h 138429"/>
                <a:gd name="connsiteX1158" fmla="*/ 217170 w 4940931"/>
                <a:gd name="connsiteY1158" fmla="*/ 107950 h 138429"/>
                <a:gd name="connsiteX1159" fmla="*/ 210185 w 4940931"/>
                <a:gd name="connsiteY1159" fmla="*/ 109855 h 138429"/>
                <a:gd name="connsiteX1160" fmla="*/ 201295 w 4940931"/>
                <a:gd name="connsiteY1160" fmla="*/ 110490 h 138429"/>
                <a:gd name="connsiteX1161" fmla="*/ 191770 w 4940931"/>
                <a:gd name="connsiteY1161" fmla="*/ 109220 h 138429"/>
                <a:gd name="connsiteX1162" fmla="*/ 184150 w 4940931"/>
                <a:gd name="connsiteY1162" fmla="*/ 105410 h 138429"/>
                <a:gd name="connsiteX1163" fmla="*/ 177800 w 4940931"/>
                <a:gd name="connsiteY1163" fmla="*/ 100330 h 138429"/>
                <a:gd name="connsiteX1164" fmla="*/ 172720 w 4940931"/>
                <a:gd name="connsiteY1164" fmla="*/ 92710 h 138429"/>
                <a:gd name="connsiteX1165" fmla="*/ 168910 w 4940931"/>
                <a:gd name="connsiteY1165" fmla="*/ 82550 h 138429"/>
                <a:gd name="connsiteX1166" fmla="*/ 167640 w 4940931"/>
                <a:gd name="connsiteY1166" fmla="*/ 69850 h 138429"/>
                <a:gd name="connsiteX1167" fmla="*/ 170180 w 4940931"/>
                <a:gd name="connsiteY1167" fmla="*/ 52070 h 138429"/>
                <a:gd name="connsiteX1168" fmla="*/ 177165 w 4940931"/>
                <a:gd name="connsiteY1168" fmla="*/ 39370 h 138429"/>
                <a:gd name="connsiteX1169" fmla="*/ 187960 w 4940931"/>
                <a:gd name="connsiteY1169" fmla="*/ 31750 h 138429"/>
                <a:gd name="connsiteX1170" fmla="*/ 201930 w 4940931"/>
                <a:gd name="connsiteY1170" fmla="*/ 29210 h 138429"/>
                <a:gd name="connsiteX1171" fmla="*/ 4664706 w 4940931"/>
                <a:gd name="connsiteY1171" fmla="*/ 28574 h 138429"/>
                <a:gd name="connsiteX1172" fmla="*/ 4678676 w 4940931"/>
                <a:gd name="connsiteY1172" fmla="*/ 31749 h 138429"/>
                <a:gd name="connsiteX1173" fmla="*/ 4689471 w 4940931"/>
                <a:gd name="connsiteY1173" fmla="*/ 40004 h 138429"/>
                <a:gd name="connsiteX1174" fmla="*/ 4696456 w 4940931"/>
                <a:gd name="connsiteY1174" fmla="*/ 52704 h 138429"/>
                <a:gd name="connsiteX1175" fmla="*/ 4698996 w 4940931"/>
                <a:gd name="connsiteY1175" fmla="*/ 69214 h 138429"/>
                <a:gd name="connsiteX1176" fmla="*/ 4699631 w 4940931"/>
                <a:gd name="connsiteY1176" fmla="*/ 69214 h 138429"/>
                <a:gd name="connsiteX1177" fmla="*/ 4697091 w 4940931"/>
                <a:gd name="connsiteY1177" fmla="*/ 86359 h 138429"/>
                <a:gd name="connsiteX1178" fmla="*/ 4689471 w 4940931"/>
                <a:gd name="connsiteY1178" fmla="*/ 99059 h 138429"/>
                <a:gd name="connsiteX1179" fmla="*/ 4678041 w 4940931"/>
                <a:gd name="connsiteY1179" fmla="*/ 107314 h 138429"/>
                <a:gd name="connsiteX1180" fmla="*/ 4664071 w 4940931"/>
                <a:gd name="connsiteY1180" fmla="*/ 109854 h 138429"/>
                <a:gd name="connsiteX1181" fmla="*/ 4650101 w 4940931"/>
                <a:gd name="connsiteY1181" fmla="*/ 106679 h 138429"/>
                <a:gd name="connsiteX1182" fmla="*/ 4639306 w 4940931"/>
                <a:gd name="connsiteY1182" fmla="*/ 98424 h 138429"/>
                <a:gd name="connsiteX1183" fmla="*/ 4632321 w 4940931"/>
                <a:gd name="connsiteY1183" fmla="*/ 85724 h 138429"/>
                <a:gd name="connsiteX1184" fmla="*/ 4629781 w 4940931"/>
                <a:gd name="connsiteY1184" fmla="*/ 69214 h 138429"/>
                <a:gd name="connsiteX1185" fmla="*/ 4632321 w 4940931"/>
                <a:gd name="connsiteY1185" fmla="*/ 52069 h 138429"/>
                <a:gd name="connsiteX1186" fmla="*/ 4639941 w 4940931"/>
                <a:gd name="connsiteY1186" fmla="*/ 39369 h 138429"/>
                <a:gd name="connsiteX1187" fmla="*/ 4650736 w 4940931"/>
                <a:gd name="connsiteY1187" fmla="*/ 31114 h 138429"/>
                <a:gd name="connsiteX1188" fmla="*/ 4664706 w 4940931"/>
                <a:gd name="connsiteY1188" fmla="*/ 28574 h 138429"/>
                <a:gd name="connsiteX1189" fmla="*/ 4264655 w 4940931"/>
                <a:gd name="connsiteY1189" fmla="*/ 28574 h 138429"/>
                <a:gd name="connsiteX1190" fmla="*/ 4278625 w 4940931"/>
                <a:gd name="connsiteY1190" fmla="*/ 31749 h 138429"/>
                <a:gd name="connsiteX1191" fmla="*/ 4289420 w 4940931"/>
                <a:gd name="connsiteY1191" fmla="*/ 40004 h 138429"/>
                <a:gd name="connsiteX1192" fmla="*/ 4296405 w 4940931"/>
                <a:gd name="connsiteY1192" fmla="*/ 52704 h 138429"/>
                <a:gd name="connsiteX1193" fmla="*/ 4298945 w 4940931"/>
                <a:gd name="connsiteY1193" fmla="*/ 69214 h 138429"/>
                <a:gd name="connsiteX1194" fmla="*/ 4299580 w 4940931"/>
                <a:gd name="connsiteY1194" fmla="*/ 69214 h 138429"/>
                <a:gd name="connsiteX1195" fmla="*/ 4297040 w 4940931"/>
                <a:gd name="connsiteY1195" fmla="*/ 86359 h 138429"/>
                <a:gd name="connsiteX1196" fmla="*/ 4289420 w 4940931"/>
                <a:gd name="connsiteY1196" fmla="*/ 99059 h 138429"/>
                <a:gd name="connsiteX1197" fmla="*/ 4277990 w 4940931"/>
                <a:gd name="connsiteY1197" fmla="*/ 107314 h 138429"/>
                <a:gd name="connsiteX1198" fmla="*/ 4264020 w 4940931"/>
                <a:gd name="connsiteY1198" fmla="*/ 109854 h 138429"/>
                <a:gd name="connsiteX1199" fmla="*/ 4250050 w 4940931"/>
                <a:gd name="connsiteY1199" fmla="*/ 106679 h 138429"/>
                <a:gd name="connsiteX1200" fmla="*/ 4239255 w 4940931"/>
                <a:gd name="connsiteY1200" fmla="*/ 98424 h 138429"/>
                <a:gd name="connsiteX1201" fmla="*/ 4232270 w 4940931"/>
                <a:gd name="connsiteY1201" fmla="*/ 85724 h 138429"/>
                <a:gd name="connsiteX1202" fmla="*/ 4229730 w 4940931"/>
                <a:gd name="connsiteY1202" fmla="*/ 69214 h 138429"/>
                <a:gd name="connsiteX1203" fmla="*/ 4232270 w 4940931"/>
                <a:gd name="connsiteY1203" fmla="*/ 52069 h 138429"/>
                <a:gd name="connsiteX1204" fmla="*/ 4239890 w 4940931"/>
                <a:gd name="connsiteY1204" fmla="*/ 39369 h 138429"/>
                <a:gd name="connsiteX1205" fmla="*/ 4250685 w 4940931"/>
                <a:gd name="connsiteY1205" fmla="*/ 31114 h 138429"/>
                <a:gd name="connsiteX1206" fmla="*/ 4264655 w 4940931"/>
                <a:gd name="connsiteY1206" fmla="*/ 28574 h 138429"/>
                <a:gd name="connsiteX1207" fmla="*/ 1420495 w 4940931"/>
                <a:gd name="connsiteY1207" fmla="*/ 28574 h 138429"/>
                <a:gd name="connsiteX1208" fmla="*/ 1434465 w 4940931"/>
                <a:gd name="connsiteY1208" fmla="*/ 31749 h 138429"/>
                <a:gd name="connsiteX1209" fmla="*/ 1445260 w 4940931"/>
                <a:gd name="connsiteY1209" fmla="*/ 40004 h 138429"/>
                <a:gd name="connsiteX1210" fmla="*/ 1452245 w 4940931"/>
                <a:gd name="connsiteY1210" fmla="*/ 52704 h 138429"/>
                <a:gd name="connsiteX1211" fmla="*/ 1454785 w 4940931"/>
                <a:gd name="connsiteY1211" fmla="*/ 69214 h 138429"/>
                <a:gd name="connsiteX1212" fmla="*/ 1455420 w 4940931"/>
                <a:gd name="connsiteY1212" fmla="*/ 69214 h 138429"/>
                <a:gd name="connsiteX1213" fmla="*/ 1452880 w 4940931"/>
                <a:gd name="connsiteY1213" fmla="*/ 86359 h 138429"/>
                <a:gd name="connsiteX1214" fmla="*/ 1445260 w 4940931"/>
                <a:gd name="connsiteY1214" fmla="*/ 99059 h 138429"/>
                <a:gd name="connsiteX1215" fmla="*/ 1433830 w 4940931"/>
                <a:gd name="connsiteY1215" fmla="*/ 107314 h 138429"/>
                <a:gd name="connsiteX1216" fmla="*/ 1419860 w 4940931"/>
                <a:gd name="connsiteY1216" fmla="*/ 109854 h 138429"/>
                <a:gd name="connsiteX1217" fmla="*/ 1405890 w 4940931"/>
                <a:gd name="connsiteY1217" fmla="*/ 106679 h 138429"/>
                <a:gd name="connsiteX1218" fmla="*/ 1395095 w 4940931"/>
                <a:gd name="connsiteY1218" fmla="*/ 98424 h 138429"/>
                <a:gd name="connsiteX1219" fmla="*/ 1388110 w 4940931"/>
                <a:gd name="connsiteY1219" fmla="*/ 85724 h 138429"/>
                <a:gd name="connsiteX1220" fmla="*/ 1385570 w 4940931"/>
                <a:gd name="connsiteY1220" fmla="*/ 69214 h 138429"/>
                <a:gd name="connsiteX1221" fmla="*/ 1388110 w 4940931"/>
                <a:gd name="connsiteY1221" fmla="*/ 52069 h 138429"/>
                <a:gd name="connsiteX1222" fmla="*/ 1395730 w 4940931"/>
                <a:gd name="connsiteY1222" fmla="*/ 39369 h 138429"/>
                <a:gd name="connsiteX1223" fmla="*/ 1406525 w 4940931"/>
                <a:gd name="connsiteY1223" fmla="*/ 31114 h 138429"/>
                <a:gd name="connsiteX1224" fmla="*/ 1420495 w 4940931"/>
                <a:gd name="connsiteY1224" fmla="*/ 28574 h 138429"/>
                <a:gd name="connsiteX1225" fmla="*/ 3143245 w 4940931"/>
                <a:gd name="connsiteY1225" fmla="*/ 5079 h 138429"/>
                <a:gd name="connsiteX1226" fmla="*/ 3219445 w 4940931"/>
                <a:gd name="connsiteY1226" fmla="*/ 5079 h 138429"/>
                <a:gd name="connsiteX1227" fmla="*/ 3219445 w 4940931"/>
                <a:gd name="connsiteY1227" fmla="*/ 20319 h 138429"/>
                <a:gd name="connsiteX1228" fmla="*/ 3188965 w 4940931"/>
                <a:gd name="connsiteY1228" fmla="*/ 20319 h 138429"/>
                <a:gd name="connsiteX1229" fmla="*/ 3188965 w 4940931"/>
                <a:gd name="connsiteY1229" fmla="*/ 108584 h 138429"/>
                <a:gd name="connsiteX1230" fmla="*/ 3173090 w 4940931"/>
                <a:gd name="connsiteY1230" fmla="*/ 108584 h 138429"/>
                <a:gd name="connsiteX1231" fmla="*/ 3173090 w 4940931"/>
                <a:gd name="connsiteY1231" fmla="*/ 20319 h 138429"/>
                <a:gd name="connsiteX1232" fmla="*/ 3143245 w 4940931"/>
                <a:gd name="connsiteY1232" fmla="*/ 20319 h 138429"/>
                <a:gd name="connsiteX1233" fmla="*/ 1628774 w 4940931"/>
                <a:gd name="connsiteY1233" fmla="*/ 5079 h 138429"/>
                <a:gd name="connsiteX1234" fmla="*/ 1704970 w 4940931"/>
                <a:gd name="connsiteY1234" fmla="*/ 5079 h 138429"/>
                <a:gd name="connsiteX1235" fmla="*/ 1704970 w 4940931"/>
                <a:gd name="connsiteY1235" fmla="*/ 20319 h 138429"/>
                <a:gd name="connsiteX1236" fmla="*/ 1675129 w 4940931"/>
                <a:gd name="connsiteY1236" fmla="*/ 20319 h 138429"/>
                <a:gd name="connsiteX1237" fmla="*/ 1675129 w 4940931"/>
                <a:gd name="connsiteY1237" fmla="*/ 108584 h 138429"/>
                <a:gd name="connsiteX1238" fmla="*/ 1659255 w 4940931"/>
                <a:gd name="connsiteY1238" fmla="*/ 108584 h 138429"/>
                <a:gd name="connsiteX1239" fmla="*/ 1659255 w 4940931"/>
                <a:gd name="connsiteY1239" fmla="*/ 20319 h 138429"/>
                <a:gd name="connsiteX1240" fmla="*/ 1628774 w 4940931"/>
                <a:gd name="connsiteY1240" fmla="*/ 20319 h 138429"/>
                <a:gd name="connsiteX1241" fmla="*/ 0 w 4940931"/>
                <a:gd name="connsiteY1241" fmla="*/ 5079 h 138429"/>
                <a:gd name="connsiteX1242" fmla="*/ 76200 w 4940931"/>
                <a:gd name="connsiteY1242" fmla="*/ 5079 h 138429"/>
                <a:gd name="connsiteX1243" fmla="*/ 76200 w 4940931"/>
                <a:gd name="connsiteY1243" fmla="*/ 20319 h 138429"/>
                <a:gd name="connsiteX1244" fmla="*/ 45720 w 4940931"/>
                <a:gd name="connsiteY1244" fmla="*/ 20319 h 138429"/>
                <a:gd name="connsiteX1245" fmla="*/ 45720 w 4940931"/>
                <a:gd name="connsiteY1245" fmla="*/ 108584 h 138429"/>
                <a:gd name="connsiteX1246" fmla="*/ 29845 w 4940931"/>
                <a:gd name="connsiteY1246" fmla="*/ 108584 h 138429"/>
                <a:gd name="connsiteX1247" fmla="*/ 29845 w 4940931"/>
                <a:gd name="connsiteY1247" fmla="*/ 20319 h 138429"/>
                <a:gd name="connsiteX1248" fmla="*/ 0 w 4940931"/>
                <a:gd name="connsiteY1248" fmla="*/ 20319 h 138429"/>
                <a:gd name="connsiteX1249" fmla="*/ 1362075 w 4940931"/>
                <a:gd name="connsiteY1249" fmla="*/ 1269 h 138429"/>
                <a:gd name="connsiteX1250" fmla="*/ 1365885 w 4940931"/>
                <a:gd name="connsiteY1250" fmla="*/ 1904 h 138429"/>
                <a:gd name="connsiteX1251" fmla="*/ 1369060 w 4940931"/>
                <a:gd name="connsiteY1251" fmla="*/ 3809 h 138429"/>
                <a:gd name="connsiteX1252" fmla="*/ 1370965 w 4940931"/>
                <a:gd name="connsiteY1252" fmla="*/ 6984 h 138429"/>
                <a:gd name="connsiteX1253" fmla="*/ 1371600 w 4940931"/>
                <a:gd name="connsiteY1253" fmla="*/ 10794 h 138429"/>
                <a:gd name="connsiteX1254" fmla="*/ 1370965 w 4940931"/>
                <a:gd name="connsiteY1254" fmla="*/ 14604 h 138429"/>
                <a:gd name="connsiteX1255" fmla="*/ 1369060 w 4940931"/>
                <a:gd name="connsiteY1255" fmla="*/ 17779 h 138429"/>
                <a:gd name="connsiteX1256" fmla="*/ 1365885 w 4940931"/>
                <a:gd name="connsiteY1256" fmla="*/ 19684 h 138429"/>
                <a:gd name="connsiteX1257" fmla="*/ 1362075 w 4940931"/>
                <a:gd name="connsiteY1257" fmla="*/ 20319 h 138429"/>
                <a:gd name="connsiteX1258" fmla="*/ 1358265 w 4940931"/>
                <a:gd name="connsiteY1258" fmla="*/ 19684 h 138429"/>
                <a:gd name="connsiteX1259" fmla="*/ 1355090 w 4940931"/>
                <a:gd name="connsiteY1259" fmla="*/ 17779 h 138429"/>
                <a:gd name="connsiteX1260" fmla="*/ 1353185 w 4940931"/>
                <a:gd name="connsiteY1260" fmla="*/ 14604 h 138429"/>
                <a:gd name="connsiteX1261" fmla="*/ 1352550 w 4940931"/>
                <a:gd name="connsiteY1261" fmla="*/ 10794 h 138429"/>
                <a:gd name="connsiteX1262" fmla="*/ 1353185 w 4940931"/>
                <a:gd name="connsiteY1262" fmla="*/ 6984 h 138429"/>
                <a:gd name="connsiteX1263" fmla="*/ 1355090 w 4940931"/>
                <a:gd name="connsiteY1263" fmla="*/ 3809 h 138429"/>
                <a:gd name="connsiteX1264" fmla="*/ 1358265 w 4940931"/>
                <a:gd name="connsiteY1264" fmla="*/ 1904 h 138429"/>
                <a:gd name="connsiteX1265" fmla="*/ 1362075 w 4940931"/>
                <a:gd name="connsiteY1265" fmla="*/ 1269 h 138429"/>
                <a:gd name="connsiteX1266" fmla="*/ 4789801 w 4940931"/>
                <a:gd name="connsiteY1266" fmla="*/ 634 h 138429"/>
                <a:gd name="connsiteX1267" fmla="*/ 4789801 w 4940931"/>
                <a:gd name="connsiteY1267" fmla="*/ 65404 h 138429"/>
                <a:gd name="connsiteX1268" fmla="*/ 4814566 w 4940931"/>
                <a:gd name="connsiteY1268" fmla="*/ 31114 h 138429"/>
                <a:gd name="connsiteX1269" fmla="*/ 4831711 w 4940931"/>
                <a:gd name="connsiteY1269" fmla="*/ 31114 h 138429"/>
                <a:gd name="connsiteX1270" fmla="*/ 4812026 w 4940931"/>
                <a:gd name="connsiteY1270" fmla="*/ 57149 h 138429"/>
                <a:gd name="connsiteX1271" fmla="*/ 4835521 w 4940931"/>
                <a:gd name="connsiteY1271" fmla="*/ 108584 h 138429"/>
                <a:gd name="connsiteX1272" fmla="*/ 4819011 w 4940931"/>
                <a:gd name="connsiteY1272" fmla="*/ 108584 h 138429"/>
                <a:gd name="connsiteX1273" fmla="*/ 4801866 w 4940931"/>
                <a:gd name="connsiteY1273" fmla="*/ 69849 h 138429"/>
                <a:gd name="connsiteX1274" fmla="*/ 4789801 w 4940931"/>
                <a:gd name="connsiteY1274" fmla="*/ 85724 h 138429"/>
                <a:gd name="connsiteX1275" fmla="*/ 4789801 w 4940931"/>
                <a:gd name="connsiteY1275" fmla="*/ 108584 h 138429"/>
                <a:gd name="connsiteX1276" fmla="*/ 4774561 w 4940931"/>
                <a:gd name="connsiteY1276" fmla="*/ 108584 h 138429"/>
                <a:gd name="connsiteX1277" fmla="*/ 4774561 w 4940931"/>
                <a:gd name="connsiteY1277" fmla="*/ 8889 h 138429"/>
                <a:gd name="connsiteX1278" fmla="*/ 4472301 w 4940931"/>
                <a:gd name="connsiteY1278" fmla="*/ 634 h 138429"/>
                <a:gd name="connsiteX1279" fmla="*/ 4472301 w 4940931"/>
                <a:gd name="connsiteY1279" fmla="*/ 109219 h 138429"/>
                <a:gd name="connsiteX1280" fmla="*/ 4457061 w 4940931"/>
                <a:gd name="connsiteY1280" fmla="*/ 109219 h 138429"/>
                <a:gd name="connsiteX1281" fmla="*/ 4457696 w 4940931"/>
                <a:gd name="connsiteY1281" fmla="*/ 108584 h 138429"/>
                <a:gd name="connsiteX1282" fmla="*/ 4457696 w 4940931"/>
                <a:gd name="connsiteY1282" fmla="*/ 100964 h 138429"/>
                <a:gd name="connsiteX1283" fmla="*/ 4453251 w 4940931"/>
                <a:gd name="connsiteY1283" fmla="*/ 104774 h 138429"/>
                <a:gd name="connsiteX1284" fmla="*/ 4448171 w 4940931"/>
                <a:gd name="connsiteY1284" fmla="*/ 107949 h 138429"/>
                <a:gd name="connsiteX1285" fmla="*/ 4443091 w 4940931"/>
                <a:gd name="connsiteY1285" fmla="*/ 109854 h 138429"/>
                <a:gd name="connsiteX1286" fmla="*/ 4437376 w 4940931"/>
                <a:gd name="connsiteY1286" fmla="*/ 109854 h 138429"/>
                <a:gd name="connsiteX1287" fmla="*/ 4425946 w 4940931"/>
                <a:gd name="connsiteY1287" fmla="*/ 107314 h 138429"/>
                <a:gd name="connsiteX1288" fmla="*/ 4416421 w 4940931"/>
                <a:gd name="connsiteY1288" fmla="*/ 99694 h 138429"/>
                <a:gd name="connsiteX1289" fmla="*/ 4410071 w 4940931"/>
                <a:gd name="connsiteY1289" fmla="*/ 86994 h 138429"/>
                <a:gd name="connsiteX1290" fmla="*/ 4407531 w 4940931"/>
                <a:gd name="connsiteY1290" fmla="*/ 67944 h 138429"/>
                <a:gd name="connsiteX1291" fmla="*/ 4410071 w 4940931"/>
                <a:gd name="connsiteY1291" fmla="*/ 50799 h 138429"/>
                <a:gd name="connsiteX1292" fmla="*/ 4417056 w 4940931"/>
                <a:gd name="connsiteY1292" fmla="*/ 38734 h 138429"/>
                <a:gd name="connsiteX1293" fmla="*/ 4426581 w 4940931"/>
                <a:gd name="connsiteY1293" fmla="*/ 31749 h 138429"/>
                <a:gd name="connsiteX1294" fmla="*/ 4438011 w 4940931"/>
                <a:gd name="connsiteY1294" fmla="*/ 29209 h 138429"/>
                <a:gd name="connsiteX1295" fmla="*/ 4443726 w 4940931"/>
                <a:gd name="connsiteY1295" fmla="*/ 29844 h 138429"/>
                <a:gd name="connsiteX1296" fmla="*/ 4448806 w 4940931"/>
                <a:gd name="connsiteY1296" fmla="*/ 31749 h 138429"/>
                <a:gd name="connsiteX1297" fmla="*/ 4453251 w 4940931"/>
                <a:gd name="connsiteY1297" fmla="*/ 34924 h 138429"/>
                <a:gd name="connsiteX1298" fmla="*/ 4457061 w 4940931"/>
                <a:gd name="connsiteY1298" fmla="*/ 38099 h 138429"/>
                <a:gd name="connsiteX1299" fmla="*/ 4457061 w 4940931"/>
                <a:gd name="connsiteY1299" fmla="*/ 8254 h 138429"/>
                <a:gd name="connsiteX1300" fmla="*/ 4390385 w 4940931"/>
                <a:gd name="connsiteY1300" fmla="*/ 634 h 138429"/>
                <a:gd name="connsiteX1301" fmla="*/ 4390385 w 4940931"/>
                <a:gd name="connsiteY1301" fmla="*/ 108584 h 138429"/>
                <a:gd name="connsiteX1302" fmla="*/ 4375145 w 4940931"/>
                <a:gd name="connsiteY1302" fmla="*/ 108584 h 138429"/>
                <a:gd name="connsiteX1303" fmla="*/ 4375145 w 4940931"/>
                <a:gd name="connsiteY1303" fmla="*/ 8889 h 138429"/>
                <a:gd name="connsiteX1304" fmla="*/ 3946521 w 4940931"/>
                <a:gd name="connsiteY1304" fmla="*/ 634 h 138429"/>
                <a:gd name="connsiteX1305" fmla="*/ 3946521 w 4940931"/>
                <a:gd name="connsiteY1305" fmla="*/ 38099 h 138429"/>
                <a:gd name="connsiteX1306" fmla="*/ 3950331 w 4940931"/>
                <a:gd name="connsiteY1306" fmla="*/ 34289 h 138429"/>
                <a:gd name="connsiteX1307" fmla="*/ 3954776 w 4940931"/>
                <a:gd name="connsiteY1307" fmla="*/ 31114 h 138429"/>
                <a:gd name="connsiteX1308" fmla="*/ 3960491 w 4940931"/>
                <a:gd name="connsiteY1308" fmla="*/ 29209 h 138429"/>
                <a:gd name="connsiteX1309" fmla="*/ 3966206 w 4940931"/>
                <a:gd name="connsiteY1309" fmla="*/ 29209 h 138429"/>
                <a:gd name="connsiteX1310" fmla="*/ 3978271 w 4940931"/>
                <a:gd name="connsiteY1310" fmla="*/ 31749 h 138429"/>
                <a:gd name="connsiteX1311" fmla="*/ 3987161 w 4940931"/>
                <a:gd name="connsiteY1311" fmla="*/ 38099 h 138429"/>
                <a:gd name="connsiteX1312" fmla="*/ 3992241 w 4940931"/>
                <a:gd name="connsiteY1312" fmla="*/ 49529 h 138429"/>
                <a:gd name="connsiteX1313" fmla="*/ 3994146 w 4940931"/>
                <a:gd name="connsiteY1313" fmla="*/ 64134 h 138429"/>
                <a:gd name="connsiteX1314" fmla="*/ 3994146 w 4940931"/>
                <a:gd name="connsiteY1314" fmla="*/ 108584 h 138429"/>
                <a:gd name="connsiteX1315" fmla="*/ 3978906 w 4940931"/>
                <a:gd name="connsiteY1315" fmla="*/ 108584 h 138429"/>
                <a:gd name="connsiteX1316" fmla="*/ 3978271 w 4940931"/>
                <a:gd name="connsiteY1316" fmla="*/ 108584 h 138429"/>
                <a:gd name="connsiteX1317" fmla="*/ 3978271 w 4940931"/>
                <a:gd name="connsiteY1317" fmla="*/ 64769 h 138429"/>
                <a:gd name="connsiteX1318" fmla="*/ 3974461 w 4940931"/>
                <a:gd name="connsiteY1318" fmla="*/ 48894 h 138429"/>
                <a:gd name="connsiteX1319" fmla="*/ 3962396 w 4940931"/>
                <a:gd name="connsiteY1319" fmla="*/ 43814 h 138429"/>
                <a:gd name="connsiteX1320" fmla="*/ 3956046 w 4940931"/>
                <a:gd name="connsiteY1320" fmla="*/ 45084 h 138429"/>
                <a:gd name="connsiteX1321" fmla="*/ 3950966 w 4940931"/>
                <a:gd name="connsiteY1321" fmla="*/ 48894 h 138429"/>
                <a:gd name="connsiteX1322" fmla="*/ 3947791 w 4940931"/>
                <a:gd name="connsiteY1322" fmla="*/ 55244 h 138429"/>
                <a:gd name="connsiteX1323" fmla="*/ 3946521 w 4940931"/>
                <a:gd name="connsiteY1323" fmla="*/ 63499 h 138429"/>
                <a:gd name="connsiteX1324" fmla="*/ 3946521 w 4940931"/>
                <a:gd name="connsiteY1324" fmla="*/ 109219 h 138429"/>
                <a:gd name="connsiteX1325" fmla="*/ 3931281 w 4940931"/>
                <a:gd name="connsiteY1325" fmla="*/ 109219 h 138429"/>
                <a:gd name="connsiteX1326" fmla="*/ 3931281 w 4940931"/>
                <a:gd name="connsiteY1326" fmla="*/ 8889 h 138429"/>
                <a:gd name="connsiteX1327" fmla="*/ 3248021 w 4940931"/>
                <a:gd name="connsiteY1327" fmla="*/ 634 h 138429"/>
                <a:gd name="connsiteX1328" fmla="*/ 3248021 w 4940931"/>
                <a:gd name="connsiteY1328" fmla="*/ 38099 h 138429"/>
                <a:gd name="connsiteX1329" fmla="*/ 3251831 w 4940931"/>
                <a:gd name="connsiteY1329" fmla="*/ 34289 h 138429"/>
                <a:gd name="connsiteX1330" fmla="*/ 3256276 w 4940931"/>
                <a:gd name="connsiteY1330" fmla="*/ 31114 h 138429"/>
                <a:gd name="connsiteX1331" fmla="*/ 3261991 w 4940931"/>
                <a:gd name="connsiteY1331" fmla="*/ 29209 h 138429"/>
                <a:gd name="connsiteX1332" fmla="*/ 3267706 w 4940931"/>
                <a:gd name="connsiteY1332" fmla="*/ 29209 h 138429"/>
                <a:gd name="connsiteX1333" fmla="*/ 3279771 w 4940931"/>
                <a:gd name="connsiteY1333" fmla="*/ 31749 h 138429"/>
                <a:gd name="connsiteX1334" fmla="*/ 3288661 w 4940931"/>
                <a:gd name="connsiteY1334" fmla="*/ 38099 h 138429"/>
                <a:gd name="connsiteX1335" fmla="*/ 3293741 w 4940931"/>
                <a:gd name="connsiteY1335" fmla="*/ 49529 h 138429"/>
                <a:gd name="connsiteX1336" fmla="*/ 3295646 w 4940931"/>
                <a:gd name="connsiteY1336" fmla="*/ 64134 h 138429"/>
                <a:gd name="connsiteX1337" fmla="*/ 3295646 w 4940931"/>
                <a:gd name="connsiteY1337" fmla="*/ 108584 h 138429"/>
                <a:gd name="connsiteX1338" fmla="*/ 3280406 w 4940931"/>
                <a:gd name="connsiteY1338" fmla="*/ 108584 h 138429"/>
                <a:gd name="connsiteX1339" fmla="*/ 3279771 w 4940931"/>
                <a:gd name="connsiteY1339" fmla="*/ 108584 h 138429"/>
                <a:gd name="connsiteX1340" fmla="*/ 3279771 w 4940931"/>
                <a:gd name="connsiteY1340" fmla="*/ 64769 h 138429"/>
                <a:gd name="connsiteX1341" fmla="*/ 3275961 w 4940931"/>
                <a:gd name="connsiteY1341" fmla="*/ 48894 h 138429"/>
                <a:gd name="connsiteX1342" fmla="*/ 3263896 w 4940931"/>
                <a:gd name="connsiteY1342" fmla="*/ 43814 h 138429"/>
                <a:gd name="connsiteX1343" fmla="*/ 3257546 w 4940931"/>
                <a:gd name="connsiteY1343" fmla="*/ 45084 h 138429"/>
                <a:gd name="connsiteX1344" fmla="*/ 3252466 w 4940931"/>
                <a:gd name="connsiteY1344" fmla="*/ 48894 h 138429"/>
                <a:gd name="connsiteX1345" fmla="*/ 3249291 w 4940931"/>
                <a:gd name="connsiteY1345" fmla="*/ 55244 h 138429"/>
                <a:gd name="connsiteX1346" fmla="*/ 3248021 w 4940931"/>
                <a:gd name="connsiteY1346" fmla="*/ 63499 h 138429"/>
                <a:gd name="connsiteX1347" fmla="*/ 3248021 w 4940931"/>
                <a:gd name="connsiteY1347" fmla="*/ 109219 h 138429"/>
                <a:gd name="connsiteX1348" fmla="*/ 3232781 w 4940931"/>
                <a:gd name="connsiteY1348" fmla="*/ 109219 h 138429"/>
                <a:gd name="connsiteX1349" fmla="*/ 3232781 w 4940931"/>
                <a:gd name="connsiteY1349" fmla="*/ 8889 h 138429"/>
                <a:gd name="connsiteX1350" fmla="*/ 2432681 w 4940931"/>
                <a:gd name="connsiteY1350" fmla="*/ 634 h 138429"/>
                <a:gd name="connsiteX1351" fmla="*/ 2432681 w 4940931"/>
                <a:gd name="connsiteY1351" fmla="*/ 38099 h 138429"/>
                <a:gd name="connsiteX1352" fmla="*/ 2436491 w 4940931"/>
                <a:gd name="connsiteY1352" fmla="*/ 34289 h 138429"/>
                <a:gd name="connsiteX1353" fmla="*/ 2440936 w 4940931"/>
                <a:gd name="connsiteY1353" fmla="*/ 31114 h 138429"/>
                <a:gd name="connsiteX1354" fmla="*/ 2446651 w 4940931"/>
                <a:gd name="connsiteY1354" fmla="*/ 29209 h 138429"/>
                <a:gd name="connsiteX1355" fmla="*/ 2452366 w 4940931"/>
                <a:gd name="connsiteY1355" fmla="*/ 29209 h 138429"/>
                <a:gd name="connsiteX1356" fmla="*/ 2464431 w 4940931"/>
                <a:gd name="connsiteY1356" fmla="*/ 31749 h 138429"/>
                <a:gd name="connsiteX1357" fmla="*/ 2473321 w 4940931"/>
                <a:gd name="connsiteY1357" fmla="*/ 38099 h 138429"/>
                <a:gd name="connsiteX1358" fmla="*/ 2478401 w 4940931"/>
                <a:gd name="connsiteY1358" fmla="*/ 49529 h 138429"/>
                <a:gd name="connsiteX1359" fmla="*/ 2480306 w 4940931"/>
                <a:gd name="connsiteY1359" fmla="*/ 64134 h 138429"/>
                <a:gd name="connsiteX1360" fmla="*/ 2480306 w 4940931"/>
                <a:gd name="connsiteY1360" fmla="*/ 108584 h 138429"/>
                <a:gd name="connsiteX1361" fmla="*/ 2465066 w 4940931"/>
                <a:gd name="connsiteY1361" fmla="*/ 108584 h 138429"/>
                <a:gd name="connsiteX1362" fmla="*/ 2464431 w 4940931"/>
                <a:gd name="connsiteY1362" fmla="*/ 108584 h 138429"/>
                <a:gd name="connsiteX1363" fmla="*/ 2464431 w 4940931"/>
                <a:gd name="connsiteY1363" fmla="*/ 64769 h 138429"/>
                <a:gd name="connsiteX1364" fmla="*/ 2460621 w 4940931"/>
                <a:gd name="connsiteY1364" fmla="*/ 48894 h 138429"/>
                <a:gd name="connsiteX1365" fmla="*/ 2448556 w 4940931"/>
                <a:gd name="connsiteY1365" fmla="*/ 43814 h 138429"/>
                <a:gd name="connsiteX1366" fmla="*/ 2442206 w 4940931"/>
                <a:gd name="connsiteY1366" fmla="*/ 45084 h 138429"/>
                <a:gd name="connsiteX1367" fmla="*/ 2437126 w 4940931"/>
                <a:gd name="connsiteY1367" fmla="*/ 48894 h 138429"/>
                <a:gd name="connsiteX1368" fmla="*/ 2433951 w 4940931"/>
                <a:gd name="connsiteY1368" fmla="*/ 55244 h 138429"/>
                <a:gd name="connsiteX1369" fmla="*/ 2432681 w 4940931"/>
                <a:gd name="connsiteY1369" fmla="*/ 63499 h 138429"/>
                <a:gd name="connsiteX1370" fmla="*/ 2432681 w 4940931"/>
                <a:gd name="connsiteY1370" fmla="*/ 109219 h 138429"/>
                <a:gd name="connsiteX1371" fmla="*/ 2417441 w 4940931"/>
                <a:gd name="connsiteY1371" fmla="*/ 109219 h 138429"/>
                <a:gd name="connsiteX1372" fmla="*/ 2417441 w 4940931"/>
                <a:gd name="connsiteY1372" fmla="*/ 8889 h 138429"/>
                <a:gd name="connsiteX1373" fmla="*/ 1734181 w 4940931"/>
                <a:gd name="connsiteY1373" fmla="*/ 634 h 138429"/>
                <a:gd name="connsiteX1374" fmla="*/ 1734181 w 4940931"/>
                <a:gd name="connsiteY1374" fmla="*/ 38099 h 138429"/>
                <a:gd name="connsiteX1375" fmla="*/ 1737991 w 4940931"/>
                <a:gd name="connsiteY1375" fmla="*/ 34289 h 138429"/>
                <a:gd name="connsiteX1376" fmla="*/ 1742436 w 4940931"/>
                <a:gd name="connsiteY1376" fmla="*/ 31114 h 138429"/>
                <a:gd name="connsiteX1377" fmla="*/ 1748151 w 4940931"/>
                <a:gd name="connsiteY1377" fmla="*/ 29209 h 138429"/>
                <a:gd name="connsiteX1378" fmla="*/ 1753866 w 4940931"/>
                <a:gd name="connsiteY1378" fmla="*/ 29209 h 138429"/>
                <a:gd name="connsiteX1379" fmla="*/ 1765931 w 4940931"/>
                <a:gd name="connsiteY1379" fmla="*/ 31749 h 138429"/>
                <a:gd name="connsiteX1380" fmla="*/ 1774821 w 4940931"/>
                <a:gd name="connsiteY1380" fmla="*/ 38099 h 138429"/>
                <a:gd name="connsiteX1381" fmla="*/ 1779901 w 4940931"/>
                <a:gd name="connsiteY1381" fmla="*/ 49529 h 138429"/>
                <a:gd name="connsiteX1382" fmla="*/ 1781806 w 4940931"/>
                <a:gd name="connsiteY1382" fmla="*/ 64134 h 138429"/>
                <a:gd name="connsiteX1383" fmla="*/ 1781806 w 4940931"/>
                <a:gd name="connsiteY1383" fmla="*/ 108584 h 138429"/>
                <a:gd name="connsiteX1384" fmla="*/ 1766566 w 4940931"/>
                <a:gd name="connsiteY1384" fmla="*/ 108584 h 138429"/>
                <a:gd name="connsiteX1385" fmla="*/ 1765931 w 4940931"/>
                <a:gd name="connsiteY1385" fmla="*/ 108584 h 138429"/>
                <a:gd name="connsiteX1386" fmla="*/ 1765931 w 4940931"/>
                <a:gd name="connsiteY1386" fmla="*/ 64769 h 138429"/>
                <a:gd name="connsiteX1387" fmla="*/ 1762121 w 4940931"/>
                <a:gd name="connsiteY1387" fmla="*/ 48894 h 138429"/>
                <a:gd name="connsiteX1388" fmla="*/ 1750056 w 4940931"/>
                <a:gd name="connsiteY1388" fmla="*/ 43814 h 138429"/>
                <a:gd name="connsiteX1389" fmla="*/ 1743706 w 4940931"/>
                <a:gd name="connsiteY1389" fmla="*/ 45084 h 138429"/>
                <a:gd name="connsiteX1390" fmla="*/ 1738626 w 4940931"/>
                <a:gd name="connsiteY1390" fmla="*/ 48894 h 138429"/>
                <a:gd name="connsiteX1391" fmla="*/ 1735451 w 4940931"/>
                <a:gd name="connsiteY1391" fmla="*/ 55244 h 138429"/>
                <a:gd name="connsiteX1392" fmla="*/ 1734181 w 4940931"/>
                <a:gd name="connsiteY1392" fmla="*/ 63499 h 138429"/>
                <a:gd name="connsiteX1393" fmla="*/ 1734181 w 4940931"/>
                <a:gd name="connsiteY1393" fmla="*/ 109219 h 138429"/>
                <a:gd name="connsiteX1394" fmla="*/ 1718941 w 4940931"/>
                <a:gd name="connsiteY1394" fmla="*/ 109219 h 138429"/>
                <a:gd name="connsiteX1395" fmla="*/ 1718941 w 4940931"/>
                <a:gd name="connsiteY1395" fmla="*/ 8889 h 138429"/>
                <a:gd name="connsiteX1396" fmla="*/ 803275 w 4940931"/>
                <a:gd name="connsiteY1396" fmla="*/ 634 h 138429"/>
                <a:gd name="connsiteX1397" fmla="*/ 803275 w 4940931"/>
                <a:gd name="connsiteY1397" fmla="*/ 38099 h 138429"/>
                <a:gd name="connsiteX1398" fmla="*/ 807085 w 4940931"/>
                <a:gd name="connsiteY1398" fmla="*/ 34289 h 138429"/>
                <a:gd name="connsiteX1399" fmla="*/ 811530 w 4940931"/>
                <a:gd name="connsiteY1399" fmla="*/ 31114 h 138429"/>
                <a:gd name="connsiteX1400" fmla="*/ 817245 w 4940931"/>
                <a:gd name="connsiteY1400" fmla="*/ 29209 h 138429"/>
                <a:gd name="connsiteX1401" fmla="*/ 822960 w 4940931"/>
                <a:gd name="connsiteY1401" fmla="*/ 29209 h 138429"/>
                <a:gd name="connsiteX1402" fmla="*/ 835025 w 4940931"/>
                <a:gd name="connsiteY1402" fmla="*/ 31749 h 138429"/>
                <a:gd name="connsiteX1403" fmla="*/ 843915 w 4940931"/>
                <a:gd name="connsiteY1403" fmla="*/ 38099 h 138429"/>
                <a:gd name="connsiteX1404" fmla="*/ 848995 w 4940931"/>
                <a:gd name="connsiteY1404" fmla="*/ 49529 h 138429"/>
                <a:gd name="connsiteX1405" fmla="*/ 850900 w 4940931"/>
                <a:gd name="connsiteY1405" fmla="*/ 64134 h 138429"/>
                <a:gd name="connsiteX1406" fmla="*/ 850900 w 4940931"/>
                <a:gd name="connsiteY1406" fmla="*/ 108584 h 138429"/>
                <a:gd name="connsiteX1407" fmla="*/ 835660 w 4940931"/>
                <a:gd name="connsiteY1407" fmla="*/ 108584 h 138429"/>
                <a:gd name="connsiteX1408" fmla="*/ 835025 w 4940931"/>
                <a:gd name="connsiteY1408" fmla="*/ 108584 h 138429"/>
                <a:gd name="connsiteX1409" fmla="*/ 835025 w 4940931"/>
                <a:gd name="connsiteY1409" fmla="*/ 64769 h 138429"/>
                <a:gd name="connsiteX1410" fmla="*/ 831215 w 4940931"/>
                <a:gd name="connsiteY1410" fmla="*/ 48894 h 138429"/>
                <a:gd name="connsiteX1411" fmla="*/ 819150 w 4940931"/>
                <a:gd name="connsiteY1411" fmla="*/ 43814 h 138429"/>
                <a:gd name="connsiteX1412" fmla="*/ 812800 w 4940931"/>
                <a:gd name="connsiteY1412" fmla="*/ 45084 h 138429"/>
                <a:gd name="connsiteX1413" fmla="*/ 807720 w 4940931"/>
                <a:gd name="connsiteY1413" fmla="*/ 48894 h 138429"/>
                <a:gd name="connsiteX1414" fmla="*/ 804545 w 4940931"/>
                <a:gd name="connsiteY1414" fmla="*/ 55244 h 138429"/>
                <a:gd name="connsiteX1415" fmla="*/ 803275 w 4940931"/>
                <a:gd name="connsiteY1415" fmla="*/ 63499 h 138429"/>
                <a:gd name="connsiteX1416" fmla="*/ 803275 w 4940931"/>
                <a:gd name="connsiteY1416" fmla="*/ 109219 h 138429"/>
                <a:gd name="connsiteX1417" fmla="*/ 788035 w 4940931"/>
                <a:gd name="connsiteY1417" fmla="*/ 109219 h 138429"/>
                <a:gd name="connsiteX1418" fmla="*/ 788035 w 4940931"/>
                <a:gd name="connsiteY1418" fmla="*/ 8889 h 138429"/>
                <a:gd name="connsiteX1419" fmla="*/ 104774 w 4940931"/>
                <a:gd name="connsiteY1419" fmla="*/ 634 h 138429"/>
                <a:gd name="connsiteX1420" fmla="*/ 104774 w 4940931"/>
                <a:gd name="connsiteY1420" fmla="*/ 38099 h 138429"/>
                <a:gd name="connsiteX1421" fmla="*/ 108584 w 4940931"/>
                <a:gd name="connsiteY1421" fmla="*/ 34289 h 138429"/>
                <a:gd name="connsiteX1422" fmla="*/ 113029 w 4940931"/>
                <a:gd name="connsiteY1422" fmla="*/ 31114 h 138429"/>
                <a:gd name="connsiteX1423" fmla="*/ 118744 w 4940931"/>
                <a:gd name="connsiteY1423" fmla="*/ 29209 h 138429"/>
                <a:gd name="connsiteX1424" fmla="*/ 124459 w 4940931"/>
                <a:gd name="connsiteY1424" fmla="*/ 29209 h 138429"/>
                <a:gd name="connsiteX1425" fmla="*/ 136524 w 4940931"/>
                <a:gd name="connsiteY1425" fmla="*/ 31749 h 138429"/>
                <a:gd name="connsiteX1426" fmla="*/ 145414 w 4940931"/>
                <a:gd name="connsiteY1426" fmla="*/ 38099 h 138429"/>
                <a:gd name="connsiteX1427" fmla="*/ 150494 w 4940931"/>
                <a:gd name="connsiteY1427" fmla="*/ 49529 h 138429"/>
                <a:gd name="connsiteX1428" fmla="*/ 152399 w 4940931"/>
                <a:gd name="connsiteY1428" fmla="*/ 64134 h 138429"/>
                <a:gd name="connsiteX1429" fmla="*/ 152399 w 4940931"/>
                <a:gd name="connsiteY1429" fmla="*/ 108584 h 138429"/>
                <a:gd name="connsiteX1430" fmla="*/ 137159 w 4940931"/>
                <a:gd name="connsiteY1430" fmla="*/ 108584 h 138429"/>
                <a:gd name="connsiteX1431" fmla="*/ 136524 w 4940931"/>
                <a:gd name="connsiteY1431" fmla="*/ 108584 h 138429"/>
                <a:gd name="connsiteX1432" fmla="*/ 136524 w 4940931"/>
                <a:gd name="connsiteY1432" fmla="*/ 64769 h 138429"/>
                <a:gd name="connsiteX1433" fmla="*/ 132714 w 4940931"/>
                <a:gd name="connsiteY1433" fmla="*/ 48894 h 138429"/>
                <a:gd name="connsiteX1434" fmla="*/ 120649 w 4940931"/>
                <a:gd name="connsiteY1434" fmla="*/ 43814 h 138429"/>
                <a:gd name="connsiteX1435" fmla="*/ 114299 w 4940931"/>
                <a:gd name="connsiteY1435" fmla="*/ 45084 h 138429"/>
                <a:gd name="connsiteX1436" fmla="*/ 109219 w 4940931"/>
                <a:gd name="connsiteY1436" fmla="*/ 48894 h 138429"/>
                <a:gd name="connsiteX1437" fmla="*/ 106044 w 4940931"/>
                <a:gd name="connsiteY1437" fmla="*/ 55244 h 138429"/>
                <a:gd name="connsiteX1438" fmla="*/ 104774 w 4940931"/>
                <a:gd name="connsiteY1438" fmla="*/ 63499 h 138429"/>
                <a:gd name="connsiteX1439" fmla="*/ 104774 w 4940931"/>
                <a:gd name="connsiteY1439" fmla="*/ 109219 h 138429"/>
                <a:gd name="connsiteX1440" fmla="*/ 89534 w 4940931"/>
                <a:gd name="connsiteY1440" fmla="*/ 109219 h 138429"/>
                <a:gd name="connsiteX1441" fmla="*/ 89534 w 4940931"/>
                <a:gd name="connsiteY1441" fmla="*/ 8889 h 138429"/>
                <a:gd name="connsiteX1442" fmla="*/ 3894450 w 4940931"/>
                <a:gd name="connsiteY1442" fmla="*/ 0 h 138429"/>
                <a:gd name="connsiteX1443" fmla="*/ 3894450 w 4940931"/>
                <a:gd name="connsiteY1443" fmla="*/ 30480 h 138429"/>
                <a:gd name="connsiteX1444" fmla="*/ 3913500 w 4940931"/>
                <a:gd name="connsiteY1444" fmla="*/ 30480 h 138429"/>
                <a:gd name="connsiteX1445" fmla="*/ 3913500 w 4940931"/>
                <a:gd name="connsiteY1445" fmla="*/ 44450 h 138429"/>
                <a:gd name="connsiteX1446" fmla="*/ 3894450 w 4940931"/>
                <a:gd name="connsiteY1446" fmla="*/ 44450 h 138429"/>
                <a:gd name="connsiteX1447" fmla="*/ 3894450 w 4940931"/>
                <a:gd name="connsiteY1447" fmla="*/ 86995 h 138429"/>
                <a:gd name="connsiteX1448" fmla="*/ 3894450 w 4940931"/>
                <a:gd name="connsiteY1448" fmla="*/ 91440 h 138429"/>
                <a:gd name="connsiteX1449" fmla="*/ 3895720 w 4940931"/>
                <a:gd name="connsiteY1449" fmla="*/ 94615 h 138429"/>
                <a:gd name="connsiteX1450" fmla="*/ 3898260 w 4940931"/>
                <a:gd name="connsiteY1450" fmla="*/ 95885 h 138429"/>
                <a:gd name="connsiteX1451" fmla="*/ 3902070 w 4940931"/>
                <a:gd name="connsiteY1451" fmla="*/ 95885 h 138429"/>
                <a:gd name="connsiteX1452" fmla="*/ 3908420 w 4940931"/>
                <a:gd name="connsiteY1452" fmla="*/ 95250 h 138429"/>
                <a:gd name="connsiteX1453" fmla="*/ 3913500 w 4940931"/>
                <a:gd name="connsiteY1453" fmla="*/ 93345 h 138429"/>
                <a:gd name="connsiteX1454" fmla="*/ 3911595 w 4940931"/>
                <a:gd name="connsiteY1454" fmla="*/ 106680 h 138429"/>
                <a:gd name="connsiteX1455" fmla="*/ 3905245 w 4940931"/>
                <a:gd name="connsiteY1455" fmla="*/ 109220 h 138429"/>
                <a:gd name="connsiteX1456" fmla="*/ 3896990 w 4940931"/>
                <a:gd name="connsiteY1456" fmla="*/ 110490 h 138429"/>
                <a:gd name="connsiteX1457" fmla="*/ 3890005 w 4940931"/>
                <a:gd name="connsiteY1457" fmla="*/ 109220 h 138429"/>
                <a:gd name="connsiteX1458" fmla="*/ 3884290 w 4940931"/>
                <a:gd name="connsiteY1458" fmla="*/ 105410 h 138429"/>
                <a:gd name="connsiteX1459" fmla="*/ 3880480 w 4940931"/>
                <a:gd name="connsiteY1459" fmla="*/ 99060 h 138429"/>
                <a:gd name="connsiteX1460" fmla="*/ 3879210 w 4940931"/>
                <a:gd name="connsiteY1460" fmla="*/ 89535 h 138429"/>
                <a:gd name="connsiteX1461" fmla="*/ 3879210 w 4940931"/>
                <a:gd name="connsiteY1461" fmla="*/ 44450 h 138429"/>
                <a:gd name="connsiteX1462" fmla="*/ 3868415 w 4940931"/>
                <a:gd name="connsiteY1462" fmla="*/ 44450 h 138429"/>
                <a:gd name="connsiteX1463" fmla="*/ 3868415 w 4940931"/>
                <a:gd name="connsiteY1463" fmla="*/ 30480 h 138429"/>
                <a:gd name="connsiteX1464" fmla="*/ 3879210 w 4940931"/>
                <a:gd name="connsiteY1464" fmla="*/ 30480 h 138429"/>
                <a:gd name="connsiteX1465" fmla="*/ 3879210 w 4940931"/>
                <a:gd name="connsiteY1465" fmla="*/ 8255 h 138429"/>
                <a:gd name="connsiteX1466" fmla="*/ 3664581 w 4940931"/>
                <a:gd name="connsiteY1466" fmla="*/ 0 h 138429"/>
                <a:gd name="connsiteX1467" fmla="*/ 3664581 w 4940931"/>
                <a:gd name="connsiteY1467" fmla="*/ 30480 h 138429"/>
                <a:gd name="connsiteX1468" fmla="*/ 3683631 w 4940931"/>
                <a:gd name="connsiteY1468" fmla="*/ 30480 h 138429"/>
                <a:gd name="connsiteX1469" fmla="*/ 3683631 w 4940931"/>
                <a:gd name="connsiteY1469" fmla="*/ 44450 h 138429"/>
                <a:gd name="connsiteX1470" fmla="*/ 3664581 w 4940931"/>
                <a:gd name="connsiteY1470" fmla="*/ 44450 h 138429"/>
                <a:gd name="connsiteX1471" fmla="*/ 3664581 w 4940931"/>
                <a:gd name="connsiteY1471" fmla="*/ 86995 h 138429"/>
                <a:gd name="connsiteX1472" fmla="*/ 3664581 w 4940931"/>
                <a:gd name="connsiteY1472" fmla="*/ 91440 h 138429"/>
                <a:gd name="connsiteX1473" fmla="*/ 3665851 w 4940931"/>
                <a:gd name="connsiteY1473" fmla="*/ 94615 h 138429"/>
                <a:gd name="connsiteX1474" fmla="*/ 3668391 w 4940931"/>
                <a:gd name="connsiteY1474" fmla="*/ 95885 h 138429"/>
                <a:gd name="connsiteX1475" fmla="*/ 3672201 w 4940931"/>
                <a:gd name="connsiteY1475" fmla="*/ 95885 h 138429"/>
                <a:gd name="connsiteX1476" fmla="*/ 3678551 w 4940931"/>
                <a:gd name="connsiteY1476" fmla="*/ 95250 h 138429"/>
                <a:gd name="connsiteX1477" fmla="*/ 3683631 w 4940931"/>
                <a:gd name="connsiteY1477" fmla="*/ 93345 h 138429"/>
                <a:gd name="connsiteX1478" fmla="*/ 3681726 w 4940931"/>
                <a:gd name="connsiteY1478" fmla="*/ 106680 h 138429"/>
                <a:gd name="connsiteX1479" fmla="*/ 3675376 w 4940931"/>
                <a:gd name="connsiteY1479" fmla="*/ 109220 h 138429"/>
                <a:gd name="connsiteX1480" fmla="*/ 3667121 w 4940931"/>
                <a:gd name="connsiteY1480" fmla="*/ 110490 h 138429"/>
                <a:gd name="connsiteX1481" fmla="*/ 3660136 w 4940931"/>
                <a:gd name="connsiteY1481" fmla="*/ 109220 h 138429"/>
                <a:gd name="connsiteX1482" fmla="*/ 3654421 w 4940931"/>
                <a:gd name="connsiteY1482" fmla="*/ 105410 h 138429"/>
                <a:gd name="connsiteX1483" fmla="*/ 3650611 w 4940931"/>
                <a:gd name="connsiteY1483" fmla="*/ 99060 h 138429"/>
                <a:gd name="connsiteX1484" fmla="*/ 3649341 w 4940931"/>
                <a:gd name="connsiteY1484" fmla="*/ 89535 h 138429"/>
                <a:gd name="connsiteX1485" fmla="*/ 3649341 w 4940931"/>
                <a:gd name="connsiteY1485" fmla="*/ 44450 h 138429"/>
                <a:gd name="connsiteX1486" fmla="*/ 3638546 w 4940931"/>
                <a:gd name="connsiteY1486" fmla="*/ 44450 h 138429"/>
                <a:gd name="connsiteX1487" fmla="*/ 3638546 w 4940931"/>
                <a:gd name="connsiteY1487" fmla="*/ 30480 h 138429"/>
                <a:gd name="connsiteX1488" fmla="*/ 3649341 w 4940931"/>
                <a:gd name="connsiteY1488" fmla="*/ 30480 h 138429"/>
                <a:gd name="connsiteX1489" fmla="*/ 3649341 w 4940931"/>
                <a:gd name="connsiteY1489" fmla="*/ 8255 h 138429"/>
                <a:gd name="connsiteX1490" fmla="*/ 3610605 w 4940931"/>
                <a:gd name="connsiteY1490" fmla="*/ 0 h 138429"/>
                <a:gd name="connsiteX1491" fmla="*/ 3610605 w 4940931"/>
                <a:gd name="connsiteY1491" fmla="*/ 30480 h 138429"/>
                <a:gd name="connsiteX1492" fmla="*/ 3629655 w 4940931"/>
                <a:gd name="connsiteY1492" fmla="*/ 30480 h 138429"/>
                <a:gd name="connsiteX1493" fmla="*/ 3629655 w 4940931"/>
                <a:gd name="connsiteY1493" fmla="*/ 44450 h 138429"/>
                <a:gd name="connsiteX1494" fmla="*/ 3610605 w 4940931"/>
                <a:gd name="connsiteY1494" fmla="*/ 44450 h 138429"/>
                <a:gd name="connsiteX1495" fmla="*/ 3610605 w 4940931"/>
                <a:gd name="connsiteY1495" fmla="*/ 86995 h 138429"/>
                <a:gd name="connsiteX1496" fmla="*/ 3610605 w 4940931"/>
                <a:gd name="connsiteY1496" fmla="*/ 91440 h 138429"/>
                <a:gd name="connsiteX1497" fmla="*/ 3611875 w 4940931"/>
                <a:gd name="connsiteY1497" fmla="*/ 94615 h 138429"/>
                <a:gd name="connsiteX1498" fmla="*/ 3614415 w 4940931"/>
                <a:gd name="connsiteY1498" fmla="*/ 95885 h 138429"/>
                <a:gd name="connsiteX1499" fmla="*/ 3618225 w 4940931"/>
                <a:gd name="connsiteY1499" fmla="*/ 95885 h 138429"/>
                <a:gd name="connsiteX1500" fmla="*/ 3624575 w 4940931"/>
                <a:gd name="connsiteY1500" fmla="*/ 95250 h 138429"/>
                <a:gd name="connsiteX1501" fmla="*/ 3629655 w 4940931"/>
                <a:gd name="connsiteY1501" fmla="*/ 93345 h 138429"/>
                <a:gd name="connsiteX1502" fmla="*/ 3627750 w 4940931"/>
                <a:gd name="connsiteY1502" fmla="*/ 106680 h 138429"/>
                <a:gd name="connsiteX1503" fmla="*/ 3621400 w 4940931"/>
                <a:gd name="connsiteY1503" fmla="*/ 109220 h 138429"/>
                <a:gd name="connsiteX1504" fmla="*/ 3613145 w 4940931"/>
                <a:gd name="connsiteY1504" fmla="*/ 110490 h 138429"/>
                <a:gd name="connsiteX1505" fmla="*/ 3606160 w 4940931"/>
                <a:gd name="connsiteY1505" fmla="*/ 109220 h 138429"/>
                <a:gd name="connsiteX1506" fmla="*/ 3600445 w 4940931"/>
                <a:gd name="connsiteY1506" fmla="*/ 105410 h 138429"/>
                <a:gd name="connsiteX1507" fmla="*/ 3596635 w 4940931"/>
                <a:gd name="connsiteY1507" fmla="*/ 99060 h 138429"/>
                <a:gd name="connsiteX1508" fmla="*/ 3595365 w 4940931"/>
                <a:gd name="connsiteY1508" fmla="*/ 89535 h 138429"/>
                <a:gd name="connsiteX1509" fmla="*/ 3595365 w 4940931"/>
                <a:gd name="connsiteY1509" fmla="*/ 44450 h 138429"/>
                <a:gd name="connsiteX1510" fmla="*/ 3584570 w 4940931"/>
                <a:gd name="connsiteY1510" fmla="*/ 44450 h 138429"/>
                <a:gd name="connsiteX1511" fmla="*/ 3584570 w 4940931"/>
                <a:gd name="connsiteY1511" fmla="*/ 30480 h 138429"/>
                <a:gd name="connsiteX1512" fmla="*/ 3595365 w 4940931"/>
                <a:gd name="connsiteY1512" fmla="*/ 30480 h 138429"/>
                <a:gd name="connsiteX1513" fmla="*/ 3595365 w 4940931"/>
                <a:gd name="connsiteY1513" fmla="*/ 8255 h 138429"/>
                <a:gd name="connsiteX1514" fmla="*/ 3445505 w 4940931"/>
                <a:gd name="connsiteY1514" fmla="*/ 0 h 138429"/>
                <a:gd name="connsiteX1515" fmla="*/ 3445505 w 4940931"/>
                <a:gd name="connsiteY1515" fmla="*/ 37465 h 138429"/>
                <a:gd name="connsiteX1516" fmla="*/ 3449950 w 4940931"/>
                <a:gd name="connsiteY1516" fmla="*/ 33655 h 138429"/>
                <a:gd name="connsiteX1517" fmla="*/ 3453760 w 4940931"/>
                <a:gd name="connsiteY1517" fmla="*/ 31115 h 138429"/>
                <a:gd name="connsiteX1518" fmla="*/ 3458840 w 4940931"/>
                <a:gd name="connsiteY1518" fmla="*/ 29210 h 138429"/>
                <a:gd name="connsiteX1519" fmla="*/ 3465825 w 4940931"/>
                <a:gd name="connsiteY1519" fmla="*/ 28575 h 138429"/>
                <a:gd name="connsiteX1520" fmla="*/ 3477890 w 4940931"/>
                <a:gd name="connsiteY1520" fmla="*/ 31115 h 138429"/>
                <a:gd name="connsiteX1521" fmla="*/ 3487415 w 4940931"/>
                <a:gd name="connsiteY1521" fmla="*/ 38735 h 138429"/>
                <a:gd name="connsiteX1522" fmla="*/ 3493765 w 4940931"/>
                <a:gd name="connsiteY1522" fmla="*/ 51435 h 138429"/>
                <a:gd name="connsiteX1523" fmla="*/ 3496305 w 4940931"/>
                <a:gd name="connsiteY1523" fmla="*/ 70485 h 138429"/>
                <a:gd name="connsiteX1524" fmla="*/ 3495670 w 4940931"/>
                <a:gd name="connsiteY1524" fmla="*/ 71120 h 138429"/>
                <a:gd name="connsiteX1525" fmla="*/ 3493130 w 4940931"/>
                <a:gd name="connsiteY1525" fmla="*/ 88265 h 138429"/>
                <a:gd name="connsiteX1526" fmla="*/ 3486145 w 4940931"/>
                <a:gd name="connsiteY1526" fmla="*/ 100330 h 138429"/>
                <a:gd name="connsiteX1527" fmla="*/ 3476620 w 4940931"/>
                <a:gd name="connsiteY1527" fmla="*/ 107315 h 138429"/>
                <a:gd name="connsiteX1528" fmla="*/ 3465190 w 4940931"/>
                <a:gd name="connsiteY1528" fmla="*/ 109855 h 138429"/>
                <a:gd name="connsiteX1529" fmla="*/ 3454395 w 4940931"/>
                <a:gd name="connsiteY1529" fmla="*/ 107315 h 138429"/>
                <a:gd name="connsiteX1530" fmla="*/ 3445505 w 4940931"/>
                <a:gd name="connsiteY1530" fmla="*/ 100965 h 138429"/>
                <a:gd name="connsiteX1531" fmla="*/ 3445505 w 4940931"/>
                <a:gd name="connsiteY1531" fmla="*/ 107950 h 138429"/>
                <a:gd name="connsiteX1532" fmla="*/ 3430265 w 4940931"/>
                <a:gd name="connsiteY1532" fmla="*/ 107950 h 138429"/>
                <a:gd name="connsiteX1533" fmla="*/ 3430265 w 4940931"/>
                <a:gd name="connsiteY1533" fmla="*/ 7620 h 138429"/>
                <a:gd name="connsiteX1534" fmla="*/ 2380611 w 4940931"/>
                <a:gd name="connsiteY1534" fmla="*/ 0 h 138429"/>
                <a:gd name="connsiteX1535" fmla="*/ 2380611 w 4940931"/>
                <a:gd name="connsiteY1535" fmla="*/ 30480 h 138429"/>
                <a:gd name="connsiteX1536" fmla="*/ 2399661 w 4940931"/>
                <a:gd name="connsiteY1536" fmla="*/ 30480 h 138429"/>
                <a:gd name="connsiteX1537" fmla="*/ 2399661 w 4940931"/>
                <a:gd name="connsiteY1537" fmla="*/ 44450 h 138429"/>
                <a:gd name="connsiteX1538" fmla="*/ 2380611 w 4940931"/>
                <a:gd name="connsiteY1538" fmla="*/ 44450 h 138429"/>
                <a:gd name="connsiteX1539" fmla="*/ 2380611 w 4940931"/>
                <a:gd name="connsiteY1539" fmla="*/ 86995 h 138429"/>
                <a:gd name="connsiteX1540" fmla="*/ 2380611 w 4940931"/>
                <a:gd name="connsiteY1540" fmla="*/ 91440 h 138429"/>
                <a:gd name="connsiteX1541" fmla="*/ 2381881 w 4940931"/>
                <a:gd name="connsiteY1541" fmla="*/ 94615 h 138429"/>
                <a:gd name="connsiteX1542" fmla="*/ 2384421 w 4940931"/>
                <a:gd name="connsiteY1542" fmla="*/ 95885 h 138429"/>
                <a:gd name="connsiteX1543" fmla="*/ 2388231 w 4940931"/>
                <a:gd name="connsiteY1543" fmla="*/ 95885 h 138429"/>
                <a:gd name="connsiteX1544" fmla="*/ 2394581 w 4940931"/>
                <a:gd name="connsiteY1544" fmla="*/ 95250 h 138429"/>
                <a:gd name="connsiteX1545" fmla="*/ 2399661 w 4940931"/>
                <a:gd name="connsiteY1545" fmla="*/ 93345 h 138429"/>
                <a:gd name="connsiteX1546" fmla="*/ 2397756 w 4940931"/>
                <a:gd name="connsiteY1546" fmla="*/ 106680 h 138429"/>
                <a:gd name="connsiteX1547" fmla="*/ 2391406 w 4940931"/>
                <a:gd name="connsiteY1547" fmla="*/ 109220 h 138429"/>
                <a:gd name="connsiteX1548" fmla="*/ 2383151 w 4940931"/>
                <a:gd name="connsiteY1548" fmla="*/ 110490 h 138429"/>
                <a:gd name="connsiteX1549" fmla="*/ 2376166 w 4940931"/>
                <a:gd name="connsiteY1549" fmla="*/ 109220 h 138429"/>
                <a:gd name="connsiteX1550" fmla="*/ 2370451 w 4940931"/>
                <a:gd name="connsiteY1550" fmla="*/ 105410 h 138429"/>
                <a:gd name="connsiteX1551" fmla="*/ 2366641 w 4940931"/>
                <a:gd name="connsiteY1551" fmla="*/ 99060 h 138429"/>
                <a:gd name="connsiteX1552" fmla="*/ 2365371 w 4940931"/>
                <a:gd name="connsiteY1552" fmla="*/ 89535 h 138429"/>
                <a:gd name="connsiteX1553" fmla="*/ 2365371 w 4940931"/>
                <a:gd name="connsiteY1553" fmla="*/ 44450 h 138429"/>
                <a:gd name="connsiteX1554" fmla="*/ 2354576 w 4940931"/>
                <a:gd name="connsiteY1554" fmla="*/ 44450 h 138429"/>
                <a:gd name="connsiteX1555" fmla="*/ 2354576 w 4940931"/>
                <a:gd name="connsiteY1555" fmla="*/ 30480 h 138429"/>
                <a:gd name="connsiteX1556" fmla="*/ 2365371 w 4940931"/>
                <a:gd name="connsiteY1556" fmla="*/ 30480 h 138429"/>
                <a:gd name="connsiteX1557" fmla="*/ 2365371 w 4940931"/>
                <a:gd name="connsiteY1557" fmla="*/ 8255 h 138429"/>
                <a:gd name="connsiteX1558" fmla="*/ 2150741 w 4940931"/>
                <a:gd name="connsiteY1558" fmla="*/ 0 h 138429"/>
                <a:gd name="connsiteX1559" fmla="*/ 2150741 w 4940931"/>
                <a:gd name="connsiteY1559" fmla="*/ 30480 h 138429"/>
                <a:gd name="connsiteX1560" fmla="*/ 2169791 w 4940931"/>
                <a:gd name="connsiteY1560" fmla="*/ 30480 h 138429"/>
                <a:gd name="connsiteX1561" fmla="*/ 2169791 w 4940931"/>
                <a:gd name="connsiteY1561" fmla="*/ 44450 h 138429"/>
                <a:gd name="connsiteX1562" fmla="*/ 2150741 w 4940931"/>
                <a:gd name="connsiteY1562" fmla="*/ 44450 h 138429"/>
                <a:gd name="connsiteX1563" fmla="*/ 2150741 w 4940931"/>
                <a:gd name="connsiteY1563" fmla="*/ 86995 h 138429"/>
                <a:gd name="connsiteX1564" fmla="*/ 2150741 w 4940931"/>
                <a:gd name="connsiteY1564" fmla="*/ 91440 h 138429"/>
                <a:gd name="connsiteX1565" fmla="*/ 2152011 w 4940931"/>
                <a:gd name="connsiteY1565" fmla="*/ 94615 h 138429"/>
                <a:gd name="connsiteX1566" fmla="*/ 2154551 w 4940931"/>
                <a:gd name="connsiteY1566" fmla="*/ 95885 h 138429"/>
                <a:gd name="connsiteX1567" fmla="*/ 2158361 w 4940931"/>
                <a:gd name="connsiteY1567" fmla="*/ 95885 h 138429"/>
                <a:gd name="connsiteX1568" fmla="*/ 2164711 w 4940931"/>
                <a:gd name="connsiteY1568" fmla="*/ 95250 h 138429"/>
                <a:gd name="connsiteX1569" fmla="*/ 2169791 w 4940931"/>
                <a:gd name="connsiteY1569" fmla="*/ 93345 h 138429"/>
                <a:gd name="connsiteX1570" fmla="*/ 2167886 w 4940931"/>
                <a:gd name="connsiteY1570" fmla="*/ 106680 h 138429"/>
                <a:gd name="connsiteX1571" fmla="*/ 2161536 w 4940931"/>
                <a:gd name="connsiteY1571" fmla="*/ 109220 h 138429"/>
                <a:gd name="connsiteX1572" fmla="*/ 2153281 w 4940931"/>
                <a:gd name="connsiteY1572" fmla="*/ 110490 h 138429"/>
                <a:gd name="connsiteX1573" fmla="*/ 2146296 w 4940931"/>
                <a:gd name="connsiteY1573" fmla="*/ 109220 h 138429"/>
                <a:gd name="connsiteX1574" fmla="*/ 2140581 w 4940931"/>
                <a:gd name="connsiteY1574" fmla="*/ 105410 h 138429"/>
                <a:gd name="connsiteX1575" fmla="*/ 2136771 w 4940931"/>
                <a:gd name="connsiteY1575" fmla="*/ 99060 h 138429"/>
                <a:gd name="connsiteX1576" fmla="*/ 2135501 w 4940931"/>
                <a:gd name="connsiteY1576" fmla="*/ 89535 h 138429"/>
                <a:gd name="connsiteX1577" fmla="*/ 2135501 w 4940931"/>
                <a:gd name="connsiteY1577" fmla="*/ 44450 h 138429"/>
                <a:gd name="connsiteX1578" fmla="*/ 2124706 w 4940931"/>
                <a:gd name="connsiteY1578" fmla="*/ 44450 h 138429"/>
                <a:gd name="connsiteX1579" fmla="*/ 2124706 w 4940931"/>
                <a:gd name="connsiteY1579" fmla="*/ 30480 h 138429"/>
                <a:gd name="connsiteX1580" fmla="*/ 2135501 w 4940931"/>
                <a:gd name="connsiteY1580" fmla="*/ 30480 h 138429"/>
                <a:gd name="connsiteX1581" fmla="*/ 2135501 w 4940931"/>
                <a:gd name="connsiteY1581" fmla="*/ 8255 h 138429"/>
                <a:gd name="connsiteX1582" fmla="*/ 2096131 w 4940931"/>
                <a:gd name="connsiteY1582" fmla="*/ 0 h 138429"/>
                <a:gd name="connsiteX1583" fmla="*/ 2096131 w 4940931"/>
                <a:gd name="connsiteY1583" fmla="*/ 30480 h 138429"/>
                <a:gd name="connsiteX1584" fmla="*/ 2115181 w 4940931"/>
                <a:gd name="connsiteY1584" fmla="*/ 30480 h 138429"/>
                <a:gd name="connsiteX1585" fmla="*/ 2115181 w 4940931"/>
                <a:gd name="connsiteY1585" fmla="*/ 44450 h 138429"/>
                <a:gd name="connsiteX1586" fmla="*/ 2096131 w 4940931"/>
                <a:gd name="connsiteY1586" fmla="*/ 44450 h 138429"/>
                <a:gd name="connsiteX1587" fmla="*/ 2096131 w 4940931"/>
                <a:gd name="connsiteY1587" fmla="*/ 86995 h 138429"/>
                <a:gd name="connsiteX1588" fmla="*/ 2096131 w 4940931"/>
                <a:gd name="connsiteY1588" fmla="*/ 91440 h 138429"/>
                <a:gd name="connsiteX1589" fmla="*/ 2097401 w 4940931"/>
                <a:gd name="connsiteY1589" fmla="*/ 94615 h 138429"/>
                <a:gd name="connsiteX1590" fmla="*/ 2099941 w 4940931"/>
                <a:gd name="connsiteY1590" fmla="*/ 95885 h 138429"/>
                <a:gd name="connsiteX1591" fmla="*/ 2103751 w 4940931"/>
                <a:gd name="connsiteY1591" fmla="*/ 95885 h 138429"/>
                <a:gd name="connsiteX1592" fmla="*/ 2110101 w 4940931"/>
                <a:gd name="connsiteY1592" fmla="*/ 95250 h 138429"/>
                <a:gd name="connsiteX1593" fmla="*/ 2115181 w 4940931"/>
                <a:gd name="connsiteY1593" fmla="*/ 93345 h 138429"/>
                <a:gd name="connsiteX1594" fmla="*/ 2113276 w 4940931"/>
                <a:gd name="connsiteY1594" fmla="*/ 106680 h 138429"/>
                <a:gd name="connsiteX1595" fmla="*/ 2106926 w 4940931"/>
                <a:gd name="connsiteY1595" fmla="*/ 109220 h 138429"/>
                <a:gd name="connsiteX1596" fmla="*/ 2098671 w 4940931"/>
                <a:gd name="connsiteY1596" fmla="*/ 110490 h 138429"/>
                <a:gd name="connsiteX1597" fmla="*/ 2091686 w 4940931"/>
                <a:gd name="connsiteY1597" fmla="*/ 109220 h 138429"/>
                <a:gd name="connsiteX1598" fmla="*/ 2085971 w 4940931"/>
                <a:gd name="connsiteY1598" fmla="*/ 105410 h 138429"/>
                <a:gd name="connsiteX1599" fmla="*/ 2082161 w 4940931"/>
                <a:gd name="connsiteY1599" fmla="*/ 99060 h 138429"/>
                <a:gd name="connsiteX1600" fmla="*/ 2080891 w 4940931"/>
                <a:gd name="connsiteY1600" fmla="*/ 89535 h 138429"/>
                <a:gd name="connsiteX1601" fmla="*/ 2080891 w 4940931"/>
                <a:gd name="connsiteY1601" fmla="*/ 44450 h 138429"/>
                <a:gd name="connsiteX1602" fmla="*/ 2070096 w 4940931"/>
                <a:gd name="connsiteY1602" fmla="*/ 44450 h 138429"/>
                <a:gd name="connsiteX1603" fmla="*/ 2070096 w 4940931"/>
                <a:gd name="connsiteY1603" fmla="*/ 30480 h 138429"/>
                <a:gd name="connsiteX1604" fmla="*/ 2080891 w 4940931"/>
                <a:gd name="connsiteY1604" fmla="*/ 30480 h 138429"/>
                <a:gd name="connsiteX1605" fmla="*/ 2080891 w 4940931"/>
                <a:gd name="connsiteY1605" fmla="*/ 8255 h 138429"/>
                <a:gd name="connsiteX1606" fmla="*/ 1931665 w 4940931"/>
                <a:gd name="connsiteY1606" fmla="*/ 0 h 138429"/>
                <a:gd name="connsiteX1607" fmla="*/ 1931665 w 4940931"/>
                <a:gd name="connsiteY1607" fmla="*/ 37465 h 138429"/>
                <a:gd name="connsiteX1608" fmla="*/ 1936110 w 4940931"/>
                <a:gd name="connsiteY1608" fmla="*/ 33655 h 138429"/>
                <a:gd name="connsiteX1609" fmla="*/ 1939920 w 4940931"/>
                <a:gd name="connsiteY1609" fmla="*/ 31115 h 138429"/>
                <a:gd name="connsiteX1610" fmla="*/ 1945000 w 4940931"/>
                <a:gd name="connsiteY1610" fmla="*/ 29210 h 138429"/>
                <a:gd name="connsiteX1611" fmla="*/ 1951985 w 4940931"/>
                <a:gd name="connsiteY1611" fmla="*/ 28575 h 138429"/>
                <a:gd name="connsiteX1612" fmla="*/ 1964050 w 4940931"/>
                <a:gd name="connsiteY1612" fmla="*/ 31115 h 138429"/>
                <a:gd name="connsiteX1613" fmla="*/ 1973575 w 4940931"/>
                <a:gd name="connsiteY1613" fmla="*/ 38735 h 138429"/>
                <a:gd name="connsiteX1614" fmla="*/ 1979925 w 4940931"/>
                <a:gd name="connsiteY1614" fmla="*/ 51435 h 138429"/>
                <a:gd name="connsiteX1615" fmla="*/ 1982465 w 4940931"/>
                <a:gd name="connsiteY1615" fmla="*/ 70485 h 138429"/>
                <a:gd name="connsiteX1616" fmla="*/ 1981830 w 4940931"/>
                <a:gd name="connsiteY1616" fmla="*/ 71120 h 138429"/>
                <a:gd name="connsiteX1617" fmla="*/ 1979290 w 4940931"/>
                <a:gd name="connsiteY1617" fmla="*/ 88265 h 138429"/>
                <a:gd name="connsiteX1618" fmla="*/ 1972305 w 4940931"/>
                <a:gd name="connsiteY1618" fmla="*/ 100330 h 138429"/>
                <a:gd name="connsiteX1619" fmla="*/ 1962780 w 4940931"/>
                <a:gd name="connsiteY1619" fmla="*/ 107315 h 138429"/>
                <a:gd name="connsiteX1620" fmla="*/ 1951350 w 4940931"/>
                <a:gd name="connsiteY1620" fmla="*/ 109855 h 138429"/>
                <a:gd name="connsiteX1621" fmla="*/ 1940555 w 4940931"/>
                <a:gd name="connsiteY1621" fmla="*/ 107315 h 138429"/>
                <a:gd name="connsiteX1622" fmla="*/ 1931665 w 4940931"/>
                <a:gd name="connsiteY1622" fmla="*/ 100965 h 138429"/>
                <a:gd name="connsiteX1623" fmla="*/ 1931665 w 4940931"/>
                <a:gd name="connsiteY1623" fmla="*/ 107950 h 138429"/>
                <a:gd name="connsiteX1624" fmla="*/ 1916425 w 4940931"/>
                <a:gd name="connsiteY1624" fmla="*/ 107950 h 138429"/>
                <a:gd name="connsiteX1625" fmla="*/ 1916425 w 4940931"/>
                <a:gd name="connsiteY1625" fmla="*/ 7620 h 138429"/>
                <a:gd name="connsiteX1626" fmla="*/ 1316991 w 4940931"/>
                <a:gd name="connsiteY1626" fmla="*/ 0 h 138429"/>
                <a:gd name="connsiteX1627" fmla="*/ 1316991 w 4940931"/>
                <a:gd name="connsiteY1627" fmla="*/ 30480 h 138429"/>
                <a:gd name="connsiteX1628" fmla="*/ 1336041 w 4940931"/>
                <a:gd name="connsiteY1628" fmla="*/ 30480 h 138429"/>
                <a:gd name="connsiteX1629" fmla="*/ 1336041 w 4940931"/>
                <a:gd name="connsiteY1629" fmla="*/ 44450 h 138429"/>
                <a:gd name="connsiteX1630" fmla="*/ 1316991 w 4940931"/>
                <a:gd name="connsiteY1630" fmla="*/ 44450 h 138429"/>
                <a:gd name="connsiteX1631" fmla="*/ 1316991 w 4940931"/>
                <a:gd name="connsiteY1631" fmla="*/ 86995 h 138429"/>
                <a:gd name="connsiteX1632" fmla="*/ 1316991 w 4940931"/>
                <a:gd name="connsiteY1632" fmla="*/ 91440 h 138429"/>
                <a:gd name="connsiteX1633" fmla="*/ 1318261 w 4940931"/>
                <a:gd name="connsiteY1633" fmla="*/ 94615 h 138429"/>
                <a:gd name="connsiteX1634" fmla="*/ 1320801 w 4940931"/>
                <a:gd name="connsiteY1634" fmla="*/ 95885 h 138429"/>
                <a:gd name="connsiteX1635" fmla="*/ 1324611 w 4940931"/>
                <a:gd name="connsiteY1635" fmla="*/ 95885 h 138429"/>
                <a:gd name="connsiteX1636" fmla="*/ 1330961 w 4940931"/>
                <a:gd name="connsiteY1636" fmla="*/ 95250 h 138429"/>
                <a:gd name="connsiteX1637" fmla="*/ 1336041 w 4940931"/>
                <a:gd name="connsiteY1637" fmla="*/ 93345 h 138429"/>
                <a:gd name="connsiteX1638" fmla="*/ 1334136 w 4940931"/>
                <a:gd name="connsiteY1638" fmla="*/ 106680 h 138429"/>
                <a:gd name="connsiteX1639" fmla="*/ 1327786 w 4940931"/>
                <a:gd name="connsiteY1639" fmla="*/ 109220 h 138429"/>
                <a:gd name="connsiteX1640" fmla="*/ 1319531 w 4940931"/>
                <a:gd name="connsiteY1640" fmla="*/ 110490 h 138429"/>
                <a:gd name="connsiteX1641" fmla="*/ 1312546 w 4940931"/>
                <a:gd name="connsiteY1641" fmla="*/ 109220 h 138429"/>
                <a:gd name="connsiteX1642" fmla="*/ 1306831 w 4940931"/>
                <a:gd name="connsiteY1642" fmla="*/ 105410 h 138429"/>
                <a:gd name="connsiteX1643" fmla="*/ 1303021 w 4940931"/>
                <a:gd name="connsiteY1643" fmla="*/ 99060 h 138429"/>
                <a:gd name="connsiteX1644" fmla="*/ 1301751 w 4940931"/>
                <a:gd name="connsiteY1644" fmla="*/ 89535 h 138429"/>
                <a:gd name="connsiteX1645" fmla="*/ 1301751 w 4940931"/>
                <a:gd name="connsiteY1645" fmla="*/ 44450 h 138429"/>
                <a:gd name="connsiteX1646" fmla="*/ 1290956 w 4940931"/>
                <a:gd name="connsiteY1646" fmla="*/ 44450 h 138429"/>
                <a:gd name="connsiteX1647" fmla="*/ 1290956 w 4940931"/>
                <a:gd name="connsiteY1647" fmla="*/ 30480 h 138429"/>
                <a:gd name="connsiteX1648" fmla="*/ 1301751 w 4940931"/>
                <a:gd name="connsiteY1648" fmla="*/ 30480 h 138429"/>
                <a:gd name="connsiteX1649" fmla="*/ 1301751 w 4940931"/>
                <a:gd name="connsiteY1649" fmla="*/ 8255 h 138429"/>
                <a:gd name="connsiteX1650" fmla="*/ 751206 w 4940931"/>
                <a:gd name="connsiteY1650" fmla="*/ 0 h 138429"/>
                <a:gd name="connsiteX1651" fmla="*/ 751206 w 4940931"/>
                <a:gd name="connsiteY1651" fmla="*/ 30480 h 138429"/>
                <a:gd name="connsiteX1652" fmla="*/ 770256 w 4940931"/>
                <a:gd name="connsiteY1652" fmla="*/ 30480 h 138429"/>
                <a:gd name="connsiteX1653" fmla="*/ 770256 w 4940931"/>
                <a:gd name="connsiteY1653" fmla="*/ 44450 h 138429"/>
                <a:gd name="connsiteX1654" fmla="*/ 751206 w 4940931"/>
                <a:gd name="connsiteY1654" fmla="*/ 44450 h 138429"/>
                <a:gd name="connsiteX1655" fmla="*/ 751206 w 4940931"/>
                <a:gd name="connsiteY1655" fmla="*/ 86995 h 138429"/>
                <a:gd name="connsiteX1656" fmla="*/ 751206 w 4940931"/>
                <a:gd name="connsiteY1656" fmla="*/ 91440 h 138429"/>
                <a:gd name="connsiteX1657" fmla="*/ 752476 w 4940931"/>
                <a:gd name="connsiteY1657" fmla="*/ 94615 h 138429"/>
                <a:gd name="connsiteX1658" fmla="*/ 755016 w 4940931"/>
                <a:gd name="connsiteY1658" fmla="*/ 95885 h 138429"/>
                <a:gd name="connsiteX1659" fmla="*/ 758826 w 4940931"/>
                <a:gd name="connsiteY1659" fmla="*/ 95885 h 138429"/>
                <a:gd name="connsiteX1660" fmla="*/ 765176 w 4940931"/>
                <a:gd name="connsiteY1660" fmla="*/ 95250 h 138429"/>
                <a:gd name="connsiteX1661" fmla="*/ 770256 w 4940931"/>
                <a:gd name="connsiteY1661" fmla="*/ 93345 h 138429"/>
                <a:gd name="connsiteX1662" fmla="*/ 768351 w 4940931"/>
                <a:gd name="connsiteY1662" fmla="*/ 106680 h 138429"/>
                <a:gd name="connsiteX1663" fmla="*/ 762001 w 4940931"/>
                <a:gd name="connsiteY1663" fmla="*/ 109220 h 138429"/>
                <a:gd name="connsiteX1664" fmla="*/ 753746 w 4940931"/>
                <a:gd name="connsiteY1664" fmla="*/ 110490 h 138429"/>
                <a:gd name="connsiteX1665" fmla="*/ 746761 w 4940931"/>
                <a:gd name="connsiteY1665" fmla="*/ 109220 h 138429"/>
                <a:gd name="connsiteX1666" fmla="*/ 741045 w 4940931"/>
                <a:gd name="connsiteY1666" fmla="*/ 105410 h 138429"/>
                <a:gd name="connsiteX1667" fmla="*/ 737236 w 4940931"/>
                <a:gd name="connsiteY1667" fmla="*/ 99060 h 138429"/>
                <a:gd name="connsiteX1668" fmla="*/ 735966 w 4940931"/>
                <a:gd name="connsiteY1668" fmla="*/ 89535 h 138429"/>
                <a:gd name="connsiteX1669" fmla="*/ 735966 w 4940931"/>
                <a:gd name="connsiteY1669" fmla="*/ 44450 h 138429"/>
                <a:gd name="connsiteX1670" fmla="*/ 725171 w 4940931"/>
                <a:gd name="connsiteY1670" fmla="*/ 44450 h 138429"/>
                <a:gd name="connsiteX1671" fmla="*/ 725171 w 4940931"/>
                <a:gd name="connsiteY1671" fmla="*/ 30480 h 138429"/>
                <a:gd name="connsiteX1672" fmla="*/ 735966 w 4940931"/>
                <a:gd name="connsiteY1672" fmla="*/ 30480 h 138429"/>
                <a:gd name="connsiteX1673" fmla="*/ 735966 w 4940931"/>
                <a:gd name="connsiteY1673" fmla="*/ 8255 h 138429"/>
                <a:gd name="connsiteX1674" fmla="*/ 521335 w 4940931"/>
                <a:gd name="connsiteY1674" fmla="*/ 0 h 138429"/>
                <a:gd name="connsiteX1675" fmla="*/ 521335 w 4940931"/>
                <a:gd name="connsiteY1675" fmla="*/ 30480 h 138429"/>
                <a:gd name="connsiteX1676" fmla="*/ 540385 w 4940931"/>
                <a:gd name="connsiteY1676" fmla="*/ 30480 h 138429"/>
                <a:gd name="connsiteX1677" fmla="*/ 540385 w 4940931"/>
                <a:gd name="connsiteY1677" fmla="*/ 44450 h 138429"/>
                <a:gd name="connsiteX1678" fmla="*/ 521335 w 4940931"/>
                <a:gd name="connsiteY1678" fmla="*/ 44450 h 138429"/>
                <a:gd name="connsiteX1679" fmla="*/ 521335 w 4940931"/>
                <a:gd name="connsiteY1679" fmla="*/ 86995 h 138429"/>
                <a:gd name="connsiteX1680" fmla="*/ 521335 w 4940931"/>
                <a:gd name="connsiteY1680" fmla="*/ 91440 h 138429"/>
                <a:gd name="connsiteX1681" fmla="*/ 522605 w 4940931"/>
                <a:gd name="connsiteY1681" fmla="*/ 94615 h 138429"/>
                <a:gd name="connsiteX1682" fmla="*/ 525145 w 4940931"/>
                <a:gd name="connsiteY1682" fmla="*/ 95885 h 138429"/>
                <a:gd name="connsiteX1683" fmla="*/ 528955 w 4940931"/>
                <a:gd name="connsiteY1683" fmla="*/ 95885 h 138429"/>
                <a:gd name="connsiteX1684" fmla="*/ 535305 w 4940931"/>
                <a:gd name="connsiteY1684" fmla="*/ 95250 h 138429"/>
                <a:gd name="connsiteX1685" fmla="*/ 540385 w 4940931"/>
                <a:gd name="connsiteY1685" fmla="*/ 93345 h 138429"/>
                <a:gd name="connsiteX1686" fmla="*/ 538480 w 4940931"/>
                <a:gd name="connsiteY1686" fmla="*/ 106680 h 138429"/>
                <a:gd name="connsiteX1687" fmla="*/ 532130 w 4940931"/>
                <a:gd name="connsiteY1687" fmla="*/ 109220 h 138429"/>
                <a:gd name="connsiteX1688" fmla="*/ 523875 w 4940931"/>
                <a:gd name="connsiteY1688" fmla="*/ 110490 h 138429"/>
                <a:gd name="connsiteX1689" fmla="*/ 516890 w 4940931"/>
                <a:gd name="connsiteY1689" fmla="*/ 109220 h 138429"/>
                <a:gd name="connsiteX1690" fmla="*/ 511175 w 4940931"/>
                <a:gd name="connsiteY1690" fmla="*/ 105410 h 138429"/>
                <a:gd name="connsiteX1691" fmla="*/ 507365 w 4940931"/>
                <a:gd name="connsiteY1691" fmla="*/ 99060 h 138429"/>
                <a:gd name="connsiteX1692" fmla="*/ 506095 w 4940931"/>
                <a:gd name="connsiteY1692" fmla="*/ 89535 h 138429"/>
                <a:gd name="connsiteX1693" fmla="*/ 506095 w 4940931"/>
                <a:gd name="connsiteY1693" fmla="*/ 44450 h 138429"/>
                <a:gd name="connsiteX1694" fmla="*/ 495300 w 4940931"/>
                <a:gd name="connsiteY1694" fmla="*/ 44450 h 138429"/>
                <a:gd name="connsiteX1695" fmla="*/ 495300 w 4940931"/>
                <a:gd name="connsiteY1695" fmla="*/ 30480 h 138429"/>
                <a:gd name="connsiteX1696" fmla="*/ 506095 w 4940931"/>
                <a:gd name="connsiteY1696" fmla="*/ 30480 h 138429"/>
                <a:gd name="connsiteX1697" fmla="*/ 506095 w 4940931"/>
                <a:gd name="connsiteY1697" fmla="*/ 8255 h 138429"/>
                <a:gd name="connsiteX1698" fmla="*/ 466724 w 4940931"/>
                <a:gd name="connsiteY1698" fmla="*/ 0 h 138429"/>
                <a:gd name="connsiteX1699" fmla="*/ 466724 w 4940931"/>
                <a:gd name="connsiteY1699" fmla="*/ 30480 h 138429"/>
                <a:gd name="connsiteX1700" fmla="*/ 485774 w 4940931"/>
                <a:gd name="connsiteY1700" fmla="*/ 30480 h 138429"/>
                <a:gd name="connsiteX1701" fmla="*/ 485774 w 4940931"/>
                <a:gd name="connsiteY1701" fmla="*/ 44450 h 138429"/>
                <a:gd name="connsiteX1702" fmla="*/ 466724 w 4940931"/>
                <a:gd name="connsiteY1702" fmla="*/ 44450 h 138429"/>
                <a:gd name="connsiteX1703" fmla="*/ 466724 w 4940931"/>
                <a:gd name="connsiteY1703" fmla="*/ 86995 h 138429"/>
                <a:gd name="connsiteX1704" fmla="*/ 466724 w 4940931"/>
                <a:gd name="connsiteY1704" fmla="*/ 91440 h 138429"/>
                <a:gd name="connsiteX1705" fmla="*/ 467994 w 4940931"/>
                <a:gd name="connsiteY1705" fmla="*/ 94615 h 138429"/>
                <a:gd name="connsiteX1706" fmla="*/ 470534 w 4940931"/>
                <a:gd name="connsiteY1706" fmla="*/ 95885 h 138429"/>
                <a:gd name="connsiteX1707" fmla="*/ 474344 w 4940931"/>
                <a:gd name="connsiteY1707" fmla="*/ 95885 h 138429"/>
                <a:gd name="connsiteX1708" fmla="*/ 480694 w 4940931"/>
                <a:gd name="connsiteY1708" fmla="*/ 95250 h 138429"/>
                <a:gd name="connsiteX1709" fmla="*/ 485774 w 4940931"/>
                <a:gd name="connsiteY1709" fmla="*/ 93345 h 138429"/>
                <a:gd name="connsiteX1710" fmla="*/ 483869 w 4940931"/>
                <a:gd name="connsiteY1710" fmla="*/ 106680 h 138429"/>
                <a:gd name="connsiteX1711" fmla="*/ 477519 w 4940931"/>
                <a:gd name="connsiteY1711" fmla="*/ 109220 h 138429"/>
                <a:gd name="connsiteX1712" fmla="*/ 469264 w 4940931"/>
                <a:gd name="connsiteY1712" fmla="*/ 110490 h 138429"/>
                <a:gd name="connsiteX1713" fmla="*/ 462279 w 4940931"/>
                <a:gd name="connsiteY1713" fmla="*/ 109220 h 138429"/>
                <a:gd name="connsiteX1714" fmla="*/ 456564 w 4940931"/>
                <a:gd name="connsiteY1714" fmla="*/ 105410 h 138429"/>
                <a:gd name="connsiteX1715" fmla="*/ 452754 w 4940931"/>
                <a:gd name="connsiteY1715" fmla="*/ 99060 h 138429"/>
                <a:gd name="connsiteX1716" fmla="*/ 451484 w 4940931"/>
                <a:gd name="connsiteY1716" fmla="*/ 89535 h 138429"/>
                <a:gd name="connsiteX1717" fmla="*/ 451484 w 4940931"/>
                <a:gd name="connsiteY1717" fmla="*/ 44450 h 138429"/>
                <a:gd name="connsiteX1718" fmla="*/ 440689 w 4940931"/>
                <a:gd name="connsiteY1718" fmla="*/ 44450 h 138429"/>
                <a:gd name="connsiteX1719" fmla="*/ 440689 w 4940931"/>
                <a:gd name="connsiteY1719" fmla="*/ 30480 h 138429"/>
                <a:gd name="connsiteX1720" fmla="*/ 451484 w 4940931"/>
                <a:gd name="connsiteY1720" fmla="*/ 30480 h 138429"/>
                <a:gd name="connsiteX1721" fmla="*/ 451484 w 4940931"/>
                <a:gd name="connsiteY1721" fmla="*/ 8255 h 138429"/>
                <a:gd name="connsiteX1722" fmla="*/ 302259 w 4940931"/>
                <a:gd name="connsiteY1722" fmla="*/ 0 h 138429"/>
                <a:gd name="connsiteX1723" fmla="*/ 302259 w 4940931"/>
                <a:gd name="connsiteY1723" fmla="*/ 37465 h 138429"/>
                <a:gd name="connsiteX1724" fmla="*/ 306704 w 4940931"/>
                <a:gd name="connsiteY1724" fmla="*/ 33655 h 138429"/>
                <a:gd name="connsiteX1725" fmla="*/ 310514 w 4940931"/>
                <a:gd name="connsiteY1725" fmla="*/ 31115 h 138429"/>
                <a:gd name="connsiteX1726" fmla="*/ 315594 w 4940931"/>
                <a:gd name="connsiteY1726" fmla="*/ 29210 h 138429"/>
                <a:gd name="connsiteX1727" fmla="*/ 322579 w 4940931"/>
                <a:gd name="connsiteY1727" fmla="*/ 28575 h 138429"/>
                <a:gd name="connsiteX1728" fmla="*/ 334644 w 4940931"/>
                <a:gd name="connsiteY1728" fmla="*/ 31115 h 138429"/>
                <a:gd name="connsiteX1729" fmla="*/ 344169 w 4940931"/>
                <a:gd name="connsiteY1729" fmla="*/ 38735 h 138429"/>
                <a:gd name="connsiteX1730" fmla="*/ 350519 w 4940931"/>
                <a:gd name="connsiteY1730" fmla="*/ 51435 h 138429"/>
                <a:gd name="connsiteX1731" fmla="*/ 353059 w 4940931"/>
                <a:gd name="connsiteY1731" fmla="*/ 70485 h 138429"/>
                <a:gd name="connsiteX1732" fmla="*/ 352424 w 4940931"/>
                <a:gd name="connsiteY1732" fmla="*/ 71120 h 138429"/>
                <a:gd name="connsiteX1733" fmla="*/ 349884 w 4940931"/>
                <a:gd name="connsiteY1733" fmla="*/ 88265 h 138429"/>
                <a:gd name="connsiteX1734" fmla="*/ 342899 w 4940931"/>
                <a:gd name="connsiteY1734" fmla="*/ 100330 h 138429"/>
                <a:gd name="connsiteX1735" fmla="*/ 333374 w 4940931"/>
                <a:gd name="connsiteY1735" fmla="*/ 107315 h 138429"/>
                <a:gd name="connsiteX1736" fmla="*/ 321944 w 4940931"/>
                <a:gd name="connsiteY1736" fmla="*/ 109855 h 138429"/>
                <a:gd name="connsiteX1737" fmla="*/ 311149 w 4940931"/>
                <a:gd name="connsiteY1737" fmla="*/ 107315 h 138429"/>
                <a:gd name="connsiteX1738" fmla="*/ 302259 w 4940931"/>
                <a:gd name="connsiteY1738" fmla="*/ 100965 h 138429"/>
                <a:gd name="connsiteX1739" fmla="*/ 302259 w 4940931"/>
                <a:gd name="connsiteY1739" fmla="*/ 107950 h 138429"/>
                <a:gd name="connsiteX1740" fmla="*/ 287019 w 4940931"/>
                <a:gd name="connsiteY1740" fmla="*/ 107950 h 138429"/>
                <a:gd name="connsiteX1741" fmla="*/ 287019 w 4940931"/>
                <a:gd name="connsiteY1741" fmla="*/ 7620 h 138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  <a:cxn ang="0">
                  <a:pos x="connsiteX1535" y="connsiteY1535"/>
                </a:cxn>
                <a:cxn ang="0">
                  <a:pos x="connsiteX1536" y="connsiteY1536"/>
                </a:cxn>
                <a:cxn ang="0">
                  <a:pos x="connsiteX1537" y="connsiteY1537"/>
                </a:cxn>
                <a:cxn ang="0">
                  <a:pos x="connsiteX1538" y="connsiteY1538"/>
                </a:cxn>
                <a:cxn ang="0">
                  <a:pos x="connsiteX1539" y="connsiteY1539"/>
                </a:cxn>
                <a:cxn ang="0">
                  <a:pos x="connsiteX1540" y="connsiteY1540"/>
                </a:cxn>
                <a:cxn ang="0">
                  <a:pos x="connsiteX1541" y="connsiteY1541"/>
                </a:cxn>
                <a:cxn ang="0">
                  <a:pos x="connsiteX1542" y="connsiteY1542"/>
                </a:cxn>
                <a:cxn ang="0">
                  <a:pos x="connsiteX1543" y="connsiteY1543"/>
                </a:cxn>
                <a:cxn ang="0">
                  <a:pos x="connsiteX1544" y="connsiteY1544"/>
                </a:cxn>
                <a:cxn ang="0">
                  <a:pos x="connsiteX1545" y="connsiteY1545"/>
                </a:cxn>
                <a:cxn ang="0">
                  <a:pos x="connsiteX1546" y="connsiteY1546"/>
                </a:cxn>
                <a:cxn ang="0">
                  <a:pos x="connsiteX1547" y="connsiteY1547"/>
                </a:cxn>
                <a:cxn ang="0">
                  <a:pos x="connsiteX1548" y="connsiteY1548"/>
                </a:cxn>
                <a:cxn ang="0">
                  <a:pos x="connsiteX1549" y="connsiteY1549"/>
                </a:cxn>
                <a:cxn ang="0">
                  <a:pos x="connsiteX1550" y="connsiteY1550"/>
                </a:cxn>
                <a:cxn ang="0">
                  <a:pos x="connsiteX1551" y="connsiteY1551"/>
                </a:cxn>
                <a:cxn ang="0">
                  <a:pos x="connsiteX1552" y="connsiteY1552"/>
                </a:cxn>
                <a:cxn ang="0">
                  <a:pos x="connsiteX1553" y="connsiteY1553"/>
                </a:cxn>
                <a:cxn ang="0">
                  <a:pos x="connsiteX1554" y="connsiteY1554"/>
                </a:cxn>
                <a:cxn ang="0">
                  <a:pos x="connsiteX1555" y="connsiteY1555"/>
                </a:cxn>
                <a:cxn ang="0">
                  <a:pos x="connsiteX1556" y="connsiteY1556"/>
                </a:cxn>
                <a:cxn ang="0">
                  <a:pos x="connsiteX1557" y="connsiteY1557"/>
                </a:cxn>
                <a:cxn ang="0">
                  <a:pos x="connsiteX1558" y="connsiteY1558"/>
                </a:cxn>
                <a:cxn ang="0">
                  <a:pos x="connsiteX1559" y="connsiteY1559"/>
                </a:cxn>
                <a:cxn ang="0">
                  <a:pos x="connsiteX1560" y="connsiteY1560"/>
                </a:cxn>
                <a:cxn ang="0">
                  <a:pos x="connsiteX1561" y="connsiteY1561"/>
                </a:cxn>
                <a:cxn ang="0">
                  <a:pos x="connsiteX1562" y="connsiteY1562"/>
                </a:cxn>
                <a:cxn ang="0">
                  <a:pos x="connsiteX1563" y="connsiteY1563"/>
                </a:cxn>
                <a:cxn ang="0">
                  <a:pos x="connsiteX1564" y="connsiteY1564"/>
                </a:cxn>
                <a:cxn ang="0">
                  <a:pos x="connsiteX1565" y="connsiteY1565"/>
                </a:cxn>
                <a:cxn ang="0">
                  <a:pos x="connsiteX1566" y="connsiteY1566"/>
                </a:cxn>
                <a:cxn ang="0">
                  <a:pos x="connsiteX1567" y="connsiteY1567"/>
                </a:cxn>
                <a:cxn ang="0">
                  <a:pos x="connsiteX1568" y="connsiteY1568"/>
                </a:cxn>
                <a:cxn ang="0">
                  <a:pos x="connsiteX1569" y="connsiteY1569"/>
                </a:cxn>
                <a:cxn ang="0">
                  <a:pos x="connsiteX1570" y="connsiteY1570"/>
                </a:cxn>
                <a:cxn ang="0">
                  <a:pos x="connsiteX1571" y="connsiteY1571"/>
                </a:cxn>
                <a:cxn ang="0">
                  <a:pos x="connsiteX1572" y="connsiteY1572"/>
                </a:cxn>
                <a:cxn ang="0">
                  <a:pos x="connsiteX1573" y="connsiteY1573"/>
                </a:cxn>
                <a:cxn ang="0">
                  <a:pos x="connsiteX1574" y="connsiteY1574"/>
                </a:cxn>
                <a:cxn ang="0">
                  <a:pos x="connsiteX1575" y="connsiteY1575"/>
                </a:cxn>
                <a:cxn ang="0">
                  <a:pos x="connsiteX1576" y="connsiteY1576"/>
                </a:cxn>
                <a:cxn ang="0">
                  <a:pos x="connsiteX1577" y="connsiteY1577"/>
                </a:cxn>
                <a:cxn ang="0">
                  <a:pos x="connsiteX1578" y="connsiteY1578"/>
                </a:cxn>
                <a:cxn ang="0">
                  <a:pos x="connsiteX1579" y="connsiteY1579"/>
                </a:cxn>
                <a:cxn ang="0">
                  <a:pos x="connsiteX1580" y="connsiteY1580"/>
                </a:cxn>
                <a:cxn ang="0">
                  <a:pos x="connsiteX1581" y="connsiteY1581"/>
                </a:cxn>
                <a:cxn ang="0">
                  <a:pos x="connsiteX1582" y="connsiteY1582"/>
                </a:cxn>
                <a:cxn ang="0">
                  <a:pos x="connsiteX1583" y="connsiteY1583"/>
                </a:cxn>
                <a:cxn ang="0">
                  <a:pos x="connsiteX1584" y="connsiteY1584"/>
                </a:cxn>
                <a:cxn ang="0">
                  <a:pos x="connsiteX1585" y="connsiteY1585"/>
                </a:cxn>
                <a:cxn ang="0">
                  <a:pos x="connsiteX1586" y="connsiteY1586"/>
                </a:cxn>
                <a:cxn ang="0">
                  <a:pos x="connsiteX1587" y="connsiteY1587"/>
                </a:cxn>
                <a:cxn ang="0">
                  <a:pos x="connsiteX1588" y="connsiteY1588"/>
                </a:cxn>
                <a:cxn ang="0">
                  <a:pos x="connsiteX1589" y="connsiteY1589"/>
                </a:cxn>
                <a:cxn ang="0">
                  <a:pos x="connsiteX1590" y="connsiteY1590"/>
                </a:cxn>
                <a:cxn ang="0">
                  <a:pos x="connsiteX1591" y="connsiteY1591"/>
                </a:cxn>
                <a:cxn ang="0">
                  <a:pos x="connsiteX1592" y="connsiteY1592"/>
                </a:cxn>
                <a:cxn ang="0">
                  <a:pos x="connsiteX1593" y="connsiteY1593"/>
                </a:cxn>
                <a:cxn ang="0">
                  <a:pos x="connsiteX1594" y="connsiteY1594"/>
                </a:cxn>
                <a:cxn ang="0">
                  <a:pos x="connsiteX1595" y="connsiteY1595"/>
                </a:cxn>
                <a:cxn ang="0">
                  <a:pos x="connsiteX1596" y="connsiteY1596"/>
                </a:cxn>
                <a:cxn ang="0">
                  <a:pos x="connsiteX1597" y="connsiteY1597"/>
                </a:cxn>
                <a:cxn ang="0">
                  <a:pos x="connsiteX1598" y="connsiteY1598"/>
                </a:cxn>
                <a:cxn ang="0">
                  <a:pos x="connsiteX1599" y="connsiteY1599"/>
                </a:cxn>
                <a:cxn ang="0">
                  <a:pos x="connsiteX1600" y="connsiteY1600"/>
                </a:cxn>
                <a:cxn ang="0">
                  <a:pos x="connsiteX1601" y="connsiteY1601"/>
                </a:cxn>
                <a:cxn ang="0">
                  <a:pos x="connsiteX1602" y="connsiteY1602"/>
                </a:cxn>
                <a:cxn ang="0">
                  <a:pos x="connsiteX1603" y="connsiteY1603"/>
                </a:cxn>
                <a:cxn ang="0">
                  <a:pos x="connsiteX1604" y="connsiteY1604"/>
                </a:cxn>
                <a:cxn ang="0">
                  <a:pos x="connsiteX1605" y="connsiteY1605"/>
                </a:cxn>
                <a:cxn ang="0">
                  <a:pos x="connsiteX1606" y="connsiteY1606"/>
                </a:cxn>
                <a:cxn ang="0">
                  <a:pos x="connsiteX1607" y="connsiteY1607"/>
                </a:cxn>
                <a:cxn ang="0">
                  <a:pos x="connsiteX1608" y="connsiteY1608"/>
                </a:cxn>
                <a:cxn ang="0">
                  <a:pos x="connsiteX1609" y="connsiteY1609"/>
                </a:cxn>
                <a:cxn ang="0">
                  <a:pos x="connsiteX1610" y="connsiteY1610"/>
                </a:cxn>
                <a:cxn ang="0">
                  <a:pos x="connsiteX1611" y="connsiteY1611"/>
                </a:cxn>
                <a:cxn ang="0">
                  <a:pos x="connsiteX1612" y="connsiteY1612"/>
                </a:cxn>
                <a:cxn ang="0">
                  <a:pos x="connsiteX1613" y="connsiteY1613"/>
                </a:cxn>
                <a:cxn ang="0">
                  <a:pos x="connsiteX1614" y="connsiteY1614"/>
                </a:cxn>
                <a:cxn ang="0">
                  <a:pos x="connsiteX1615" y="connsiteY1615"/>
                </a:cxn>
                <a:cxn ang="0">
                  <a:pos x="connsiteX1616" y="connsiteY1616"/>
                </a:cxn>
                <a:cxn ang="0">
                  <a:pos x="connsiteX1617" y="connsiteY1617"/>
                </a:cxn>
                <a:cxn ang="0">
                  <a:pos x="connsiteX1618" y="connsiteY1618"/>
                </a:cxn>
                <a:cxn ang="0">
                  <a:pos x="connsiteX1619" y="connsiteY1619"/>
                </a:cxn>
                <a:cxn ang="0">
                  <a:pos x="connsiteX1620" y="connsiteY1620"/>
                </a:cxn>
                <a:cxn ang="0">
                  <a:pos x="connsiteX1621" y="connsiteY1621"/>
                </a:cxn>
                <a:cxn ang="0">
                  <a:pos x="connsiteX1622" y="connsiteY1622"/>
                </a:cxn>
                <a:cxn ang="0">
                  <a:pos x="connsiteX1623" y="connsiteY1623"/>
                </a:cxn>
                <a:cxn ang="0">
                  <a:pos x="connsiteX1624" y="connsiteY1624"/>
                </a:cxn>
                <a:cxn ang="0">
                  <a:pos x="connsiteX1625" y="connsiteY1625"/>
                </a:cxn>
                <a:cxn ang="0">
                  <a:pos x="connsiteX1626" y="connsiteY1626"/>
                </a:cxn>
                <a:cxn ang="0">
                  <a:pos x="connsiteX1627" y="connsiteY1627"/>
                </a:cxn>
                <a:cxn ang="0">
                  <a:pos x="connsiteX1628" y="connsiteY1628"/>
                </a:cxn>
                <a:cxn ang="0">
                  <a:pos x="connsiteX1629" y="connsiteY1629"/>
                </a:cxn>
                <a:cxn ang="0">
                  <a:pos x="connsiteX1630" y="connsiteY1630"/>
                </a:cxn>
                <a:cxn ang="0">
                  <a:pos x="connsiteX1631" y="connsiteY1631"/>
                </a:cxn>
                <a:cxn ang="0">
                  <a:pos x="connsiteX1632" y="connsiteY1632"/>
                </a:cxn>
                <a:cxn ang="0">
                  <a:pos x="connsiteX1633" y="connsiteY1633"/>
                </a:cxn>
                <a:cxn ang="0">
                  <a:pos x="connsiteX1634" y="connsiteY1634"/>
                </a:cxn>
                <a:cxn ang="0">
                  <a:pos x="connsiteX1635" y="connsiteY1635"/>
                </a:cxn>
                <a:cxn ang="0">
                  <a:pos x="connsiteX1636" y="connsiteY1636"/>
                </a:cxn>
                <a:cxn ang="0">
                  <a:pos x="connsiteX1637" y="connsiteY1637"/>
                </a:cxn>
                <a:cxn ang="0">
                  <a:pos x="connsiteX1638" y="connsiteY1638"/>
                </a:cxn>
                <a:cxn ang="0">
                  <a:pos x="connsiteX1639" y="connsiteY1639"/>
                </a:cxn>
                <a:cxn ang="0">
                  <a:pos x="connsiteX1640" y="connsiteY1640"/>
                </a:cxn>
                <a:cxn ang="0">
                  <a:pos x="connsiteX1641" y="connsiteY1641"/>
                </a:cxn>
                <a:cxn ang="0">
                  <a:pos x="connsiteX1642" y="connsiteY1642"/>
                </a:cxn>
                <a:cxn ang="0">
                  <a:pos x="connsiteX1643" y="connsiteY1643"/>
                </a:cxn>
                <a:cxn ang="0">
                  <a:pos x="connsiteX1644" y="connsiteY1644"/>
                </a:cxn>
                <a:cxn ang="0">
                  <a:pos x="connsiteX1645" y="connsiteY1645"/>
                </a:cxn>
                <a:cxn ang="0">
                  <a:pos x="connsiteX1646" y="connsiteY1646"/>
                </a:cxn>
                <a:cxn ang="0">
                  <a:pos x="connsiteX1647" y="connsiteY1647"/>
                </a:cxn>
                <a:cxn ang="0">
                  <a:pos x="connsiteX1648" y="connsiteY1648"/>
                </a:cxn>
                <a:cxn ang="0">
                  <a:pos x="connsiteX1649" y="connsiteY1649"/>
                </a:cxn>
                <a:cxn ang="0">
                  <a:pos x="connsiteX1650" y="connsiteY1650"/>
                </a:cxn>
                <a:cxn ang="0">
                  <a:pos x="connsiteX1651" y="connsiteY1651"/>
                </a:cxn>
                <a:cxn ang="0">
                  <a:pos x="connsiteX1652" y="connsiteY1652"/>
                </a:cxn>
                <a:cxn ang="0">
                  <a:pos x="connsiteX1653" y="connsiteY1653"/>
                </a:cxn>
                <a:cxn ang="0">
                  <a:pos x="connsiteX1654" y="connsiteY1654"/>
                </a:cxn>
                <a:cxn ang="0">
                  <a:pos x="connsiteX1655" y="connsiteY1655"/>
                </a:cxn>
                <a:cxn ang="0">
                  <a:pos x="connsiteX1656" y="connsiteY1656"/>
                </a:cxn>
                <a:cxn ang="0">
                  <a:pos x="connsiteX1657" y="connsiteY1657"/>
                </a:cxn>
                <a:cxn ang="0">
                  <a:pos x="connsiteX1658" y="connsiteY1658"/>
                </a:cxn>
                <a:cxn ang="0">
                  <a:pos x="connsiteX1659" y="connsiteY1659"/>
                </a:cxn>
                <a:cxn ang="0">
                  <a:pos x="connsiteX1660" y="connsiteY1660"/>
                </a:cxn>
                <a:cxn ang="0">
                  <a:pos x="connsiteX1661" y="connsiteY1661"/>
                </a:cxn>
                <a:cxn ang="0">
                  <a:pos x="connsiteX1662" y="connsiteY1662"/>
                </a:cxn>
                <a:cxn ang="0">
                  <a:pos x="connsiteX1663" y="connsiteY1663"/>
                </a:cxn>
                <a:cxn ang="0">
                  <a:pos x="connsiteX1664" y="connsiteY1664"/>
                </a:cxn>
                <a:cxn ang="0">
                  <a:pos x="connsiteX1665" y="connsiteY1665"/>
                </a:cxn>
                <a:cxn ang="0">
                  <a:pos x="connsiteX1666" y="connsiteY1666"/>
                </a:cxn>
                <a:cxn ang="0">
                  <a:pos x="connsiteX1667" y="connsiteY1667"/>
                </a:cxn>
                <a:cxn ang="0">
                  <a:pos x="connsiteX1668" y="connsiteY1668"/>
                </a:cxn>
                <a:cxn ang="0">
                  <a:pos x="connsiteX1669" y="connsiteY1669"/>
                </a:cxn>
                <a:cxn ang="0">
                  <a:pos x="connsiteX1670" y="connsiteY1670"/>
                </a:cxn>
                <a:cxn ang="0">
                  <a:pos x="connsiteX1671" y="connsiteY1671"/>
                </a:cxn>
                <a:cxn ang="0">
                  <a:pos x="connsiteX1672" y="connsiteY1672"/>
                </a:cxn>
                <a:cxn ang="0">
                  <a:pos x="connsiteX1673" y="connsiteY1673"/>
                </a:cxn>
                <a:cxn ang="0">
                  <a:pos x="connsiteX1674" y="connsiteY1674"/>
                </a:cxn>
                <a:cxn ang="0">
                  <a:pos x="connsiteX1675" y="connsiteY1675"/>
                </a:cxn>
                <a:cxn ang="0">
                  <a:pos x="connsiteX1676" y="connsiteY1676"/>
                </a:cxn>
                <a:cxn ang="0">
                  <a:pos x="connsiteX1677" y="connsiteY1677"/>
                </a:cxn>
                <a:cxn ang="0">
                  <a:pos x="connsiteX1678" y="connsiteY1678"/>
                </a:cxn>
                <a:cxn ang="0">
                  <a:pos x="connsiteX1679" y="connsiteY1679"/>
                </a:cxn>
                <a:cxn ang="0">
                  <a:pos x="connsiteX1680" y="connsiteY1680"/>
                </a:cxn>
                <a:cxn ang="0">
                  <a:pos x="connsiteX1681" y="connsiteY1681"/>
                </a:cxn>
                <a:cxn ang="0">
                  <a:pos x="connsiteX1682" y="connsiteY1682"/>
                </a:cxn>
                <a:cxn ang="0">
                  <a:pos x="connsiteX1683" y="connsiteY1683"/>
                </a:cxn>
                <a:cxn ang="0">
                  <a:pos x="connsiteX1684" y="connsiteY1684"/>
                </a:cxn>
                <a:cxn ang="0">
                  <a:pos x="connsiteX1685" y="connsiteY1685"/>
                </a:cxn>
                <a:cxn ang="0">
                  <a:pos x="connsiteX1686" y="connsiteY1686"/>
                </a:cxn>
                <a:cxn ang="0">
                  <a:pos x="connsiteX1687" y="connsiteY1687"/>
                </a:cxn>
                <a:cxn ang="0">
                  <a:pos x="connsiteX1688" y="connsiteY1688"/>
                </a:cxn>
                <a:cxn ang="0">
                  <a:pos x="connsiteX1689" y="connsiteY1689"/>
                </a:cxn>
                <a:cxn ang="0">
                  <a:pos x="connsiteX1690" y="connsiteY1690"/>
                </a:cxn>
                <a:cxn ang="0">
                  <a:pos x="connsiteX1691" y="connsiteY1691"/>
                </a:cxn>
                <a:cxn ang="0">
                  <a:pos x="connsiteX1692" y="connsiteY1692"/>
                </a:cxn>
                <a:cxn ang="0">
                  <a:pos x="connsiteX1693" y="connsiteY1693"/>
                </a:cxn>
                <a:cxn ang="0">
                  <a:pos x="connsiteX1694" y="connsiteY1694"/>
                </a:cxn>
                <a:cxn ang="0">
                  <a:pos x="connsiteX1695" y="connsiteY1695"/>
                </a:cxn>
                <a:cxn ang="0">
                  <a:pos x="connsiteX1696" y="connsiteY1696"/>
                </a:cxn>
                <a:cxn ang="0">
                  <a:pos x="connsiteX1697" y="connsiteY1697"/>
                </a:cxn>
                <a:cxn ang="0">
                  <a:pos x="connsiteX1698" y="connsiteY1698"/>
                </a:cxn>
                <a:cxn ang="0">
                  <a:pos x="connsiteX1699" y="connsiteY1699"/>
                </a:cxn>
                <a:cxn ang="0">
                  <a:pos x="connsiteX1700" y="connsiteY1700"/>
                </a:cxn>
                <a:cxn ang="0">
                  <a:pos x="connsiteX1701" y="connsiteY1701"/>
                </a:cxn>
                <a:cxn ang="0">
                  <a:pos x="connsiteX1702" y="connsiteY1702"/>
                </a:cxn>
                <a:cxn ang="0">
                  <a:pos x="connsiteX1703" y="connsiteY1703"/>
                </a:cxn>
                <a:cxn ang="0">
                  <a:pos x="connsiteX1704" y="connsiteY1704"/>
                </a:cxn>
                <a:cxn ang="0">
                  <a:pos x="connsiteX1705" y="connsiteY1705"/>
                </a:cxn>
                <a:cxn ang="0">
                  <a:pos x="connsiteX1706" y="connsiteY1706"/>
                </a:cxn>
                <a:cxn ang="0">
                  <a:pos x="connsiteX1707" y="connsiteY1707"/>
                </a:cxn>
                <a:cxn ang="0">
                  <a:pos x="connsiteX1708" y="connsiteY1708"/>
                </a:cxn>
                <a:cxn ang="0">
                  <a:pos x="connsiteX1709" y="connsiteY1709"/>
                </a:cxn>
                <a:cxn ang="0">
                  <a:pos x="connsiteX1710" y="connsiteY1710"/>
                </a:cxn>
                <a:cxn ang="0">
                  <a:pos x="connsiteX1711" y="connsiteY1711"/>
                </a:cxn>
                <a:cxn ang="0">
                  <a:pos x="connsiteX1712" y="connsiteY1712"/>
                </a:cxn>
                <a:cxn ang="0">
                  <a:pos x="connsiteX1713" y="connsiteY1713"/>
                </a:cxn>
                <a:cxn ang="0">
                  <a:pos x="connsiteX1714" y="connsiteY1714"/>
                </a:cxn>
                <a:cxn ang="0">
                  <a:pos x="connsiteX1715" y="connsiteY1715"/>
                </a:cxn>
                <a:cxn ang="0">
                  <a:pos x="connsiteX1716" y="connsiteY1716"/>
                </a:cxn>
                <a:cxn ang="0">
                  <a:pos x="connsiteX1717" y="connsiteY1717"/>
                </a:cxn>
                <a:cxn ang="0">
                  <a:pos x="connsiteX1718" y="connsiteY1718"/>
                </a:cxn>
                <a:cxn ang="0">
                  <a:pos x="connsiteX1719" y="connsiteY1719"/>
                </a:cxn>
                <a:cxn ang="0">
                  <a:pos x="connsiteX1720" y="connsiteY1720"/>
                </a:cxn>
                <a:cxn ang="0">
                  <a:pos x="connsiteX1721" y="connsiteY1721"/>
                </a:cxn>
                <a:cxn ang="0">
                  <a:pos x="connsiteX1722" y="connsiteY1722"/>
                </a:cxn>
                <a:cxn ang="0">
                  <a:pos x="connsiteX1723" y="connsiteY1723"/>
                </a:cxn>
                <a:cxn ang="0">
                  <a:pos x="connsiteX1724" y="connsiteY1724"/>
                </a:cxn>
                <a:cxn ang="0">
                  <a:pos x="connsiteX1725" y="connsiteY1725"/>
                </a:cxn>
                <a:cxn ang="0">
                  <a:pos x="connsiteX1726" y="connsiteY1726"/>
                </a:cxn>
                <a:cxn ang="0">
                  <a:pos x="connsiteX1727" y="connsiteY1727"/>
                </a:cxn>
                <a:cxn ang="0">
                  <a:pos x="connsiteX1728" y="connsiteY1728"/>
                </a:cxn>
                <a:cxn ang="0">
                  <a:pos x="connsiteX1729" y="connsiteY1729"/>
                </a:cxn>
                <a:cxn ang="0">
                  <a:pos x="connsiteX1730" y="connsiteY1730"/>
                </a:cxn>
                <a:cxn ang="0">
                  <a:pos x="connsiteX1731" y="connsiteY1731"/>
                </a:cxn>
                <a:cxn ang="0">
                  <a:pos x="connsiteX1732" y="connsiteY1732"/>
                </a:cxn>
                <a:cxn ang="0">
                  <a:pos x="connsiteX1733" y="connsiteY1733"/>
                </a:cxn>
                <a:cxn ang="0">
                  <a:pos x="connsiteX1734" y="connsiteY1734"/>
                </a:cxn>
                <a:cxn ang="0">
                  <a:pos x="connsiteX1735" y="connsiteY1735"/>
                </a:cxn>
                <a:cxn ang="0">
                  <a:pos x="connsiteX1736" y="connsiteY1736"/>
                </a:cxn>
                <a:cxn ang="0">
                  <a:pos x="connsiteX1737" y="connsiteY1737"/>
                </a:cxn>
                <a:cxn ang="0">
                  <a:pos x="connsiteX1738" y="connsiteY1738"/>
                </a:cxn>
                <a:cxn ang="0">
                  <a:pos x="connsiteX1739" y="connsiteY1739"/>
                </a:cxn>
                <a:cxn ang="0">
                  <a:pos x="connsiteX1740" y="connsiteY1740"/>
                </a:cxn>
                <a:cxn ang="0">
                  <a:pos x="connsiteX1741" y="connsiteY1741"/>
                </a:cxn>
              </a:cxnLst>
              <a:rect l="l" t="t" r="r" b="b"/>
              <a:pathLst>
                <a:path w="4940931" h="138429">
                  <a:moveTo>
                    <a:pt x="1032512" y="137477"/>
                  </a:moveTo>
                  <a:lnTo>
                    <a:pt x="1032512" y="137794"/>
                  </a:lnTo>
                  <a:lnTo>
                    <a:pt x="1030607" y="138429"/>
                  </a:lnTo>
                  <a:close/>
                  <a:moveTo>
                    <a:pt x="4929501" y="87629"/>
                  </a:moveTo>
                  <a:cubicBezTo>
                    <a:pt x="4930771" y="87629"/>
                    <a:pt x="4932676" y="87629"/>
                    <a:pt x="4933946" y="88264"/>
                  </a:cubicBezTo>
                  <a:cubicBezTo>
                    <a:pt x="4935216" y="88264"/>
                    <a:pt x="4936486" y="89534"/>
                    <a:pt x="4937756" y="90804"/>
                  </a:cubicBezTo>
                  <a:cubicBezTo>
                    <a:pt x="4939026" y="92074"/>
                    <a:pt x="4939661" y="93344"/>
                    <a:pt x="4940296" y="94614"/>
                  </a:cubicBezTo>
                  <a:cubicBezTo>
                    <a:pt x="4940296" y="95884"/>
                    <a:pt x="4940931" y="97789"/>
                    <a:pt x="4940931" y="99059"/>
                  </a:cubicBezTo>
                  <a:cubicBezTo>
                    <a:pt x="4940931" y="99059"/>
                    <a:pt x="4940931" y="102234"/>
                    <a:pt x="4940296" y="103504"/>
                  </a:cubicBezTo>
                  <a:cubicBezTo>
                    <a:pt x="4940296" y="104774"/>
                    <a:pt x="4939026" y="106044"/>
                    <a:pt x="4937756" y="107314"/>
                  </a:cubicBezTo>
                  <a:cubicBezTo>
                    <a:pt x="4936486" y="108584"/>
                    <a:pt x="4935216" y="109219"/>
                    <a:pt x="4933946" y="109854"/>
                  </a:cubicBezTo>
                  <a:cubicBezTo>
                    <a:pt x="4932676" y="109854"/>
                    <a:pt x="4930771" y="110489"/>
                    <a:pt x="4929501" y="110489"/>
                  </a:cubicBezTo>
                  <a:cubicBezTo>
                    <a:pt x="4928231" y="110489"/>
                    <a:pt x="4926326" y="110489"/>
                    <a:pt x="4925056" y="109854"/>
                  </a:cubicBezTo>
                  <a:cubicBezTo>
                    <a:pt x="4923786" y="109854"/>
                    <a:pt x="4922516" y="108584"/>
                    <a:pt x="4921246" y="107314"/>
                  </a:cubicBezTo>
                  <a:cubicBezTo>
                    <a:pt x="4919976" y="106044"/>
                    <a:pt x="4919341" y="104774"/>
                    <a:pt x="4918706" y="103504"/>
                  </a:cubicBezTo>
                  <a:cubicBezTo>
                    <a:pt x="4918706" y="102234"/>
                    <a:pt x="4918071" y="100329"/>
                    <a:pt x="4918071" y="99059"/>
                  </a:cubicBezTo>
                  <a:cubicBezTo>
                    <a:pt x="4918071" y="97789"/>
                    <a:pt x="4918071" y="95884"/>
                    <a:pt x="4918706" y="94614"/>
                  </a:cubicBezTo>
                  <a:cubicBezTo>
                    <a:pt x="4918706" y="93344"/>
                    <a:pt x="4919976" y="92074"/>
                    <a:pt x="4921246" y="90804"/>
                  </a:cubicBezTo>
                  <a:cubicBezTo>
                    <a:pt x="4922516" y="89534"/>
                    <a:pt x="4923786" y="88899"/>
                    <a:pt x="4925056" y="88264"/>
                  </a:cubicBezTo>
                  <a:cubicBezTo>
                    <a:pt x="4926326" y="88264"/>
                    <a:pt x="4928231" y="87629"/>
                    <a:pt x="4929501" y="87629"/>
                  </a:cubicBezTo>
                  <a:close/>
                  <a:moveTo>
                    <a:pt x="3079110" y="87629"/>
                  </a:moveTo>
                  <a:cubicBezTo>
                    <a:pt x="3080380" y="87629"/>
                    <a:pt x="3082285" y="87629"/>
                    <a:pt x="3083555" y="88264"/>
                  </a:cubicBezTo>
                  <a:cubicBezTo>
                    <a:pt x="3084825" y="88264"/>
                    <a:pt x="3086095" y="89534"/>
                    <a:pt x="3087365" y="90804"/>
                  </a:cubicBezTo>
                  <a:cubicBezTo>
                    <a:pt x="3088635" y="92074"/>
                    <a:pt x="3089270" y="93344"/>
                    <a:pt x="3089905" y="94614"/>
                  </a:cubicBezTo>
                  <a:cubicBezTo>
                    <a:pt x="3089905" y="95884"/>
                    <a:pt x="3090540" y="97789"/>
                    <a:pt x="3090540" y="99059"/>
                  </a:cubicBezTo>
                  <a:cubicBezTo>
                    <a:pt x="3090540" y="99059"/>
                    <a:pt x="3090540" y="102234"/>
                    <a:pt x="3089905" y="103504"/>
                  </a:cubicBezTo>
                  <a:cubicBezTo>
                    <a:pt x="3089905" y="104774"/>
                    <a:pt x="3088635" y="106044"/>
                    <a:pt x="3087365" y="107314"/>
                  </a:cubicBezTo>
                  <a:cubicBezTo>
                    <a:pt x="3086095" y="108584"/>
                    <a:pt x="3084825" y="109219"/>
                    <a:pt x="3083555" y="109854"/>
                  </a:cubicBezTo>
                  <a:cubicBezTo>
                    <a:pt x="3082285" y="109854"/>
                    <a:pt x="3080380" y="110489"/>
                    <a:pt x="3079110" y="110489"/>
                  </a:cubicBezTo>
                  <a:cubicBezTo>
                    <a:pt x="3077840" y="110489"/>
                    <a:pt x="3075935" y="110489"/>
                    <a:pt x="3074665" y="109854"/>
                  </a:cubicBezTo>
                  <a:cubicBezTo>
                    <a:pt x="3073395" y="109854"/>
                    <a:pt x="3072125" y="108584"/>
                    <a:pt x="3070855" y="107314"/>
                  </a:cubicBezTo>
                  <a:cubicBezTo>
                    <a:pt x="3069585" y="106044"/>
                    <a:pt x="3068950" y="104774"/>
                    <a:pt x="3068315" y="103504"/>
                  </a:cubicBezTo>
                  <a:cubicBezTo>
                    <a:pt x="3068315" y="102234"/>
                    <a:pt x="3067680" y="100329"/>
                    <a:pt x="3067680" y="99059"/>
                  </a:cubicBezTo>
                  <a:cubicBezTo>
                    <a:pt x="3067680" y="97789"/>
                    <a:pt x="3067680" y="95884"/>
                    <a:pt x="3068315" y="94614"/>
                  </a:cubicBezTo>
                  <a:cubicBezTo>
                    <a:pt x="3068315" y="93344"/>
                    <a:pt x="3069585" y="92074"/>
                    <a:pt x="3070855" y="90804"/>
                  </a:cubicBezTo>
                  <a:cubicBezTo>
                    <a:pt x="3072125" y="89534"/>
                    <a:pt x="3073395" y="88899"/>
                    <a:pt x="3074665" y="88264"/>
                  </a:cubicBezTo>
                  <a:cubicBezTo>
                    <a:pt x="3075935" y="88264"/>
                    <a:pt x="3077840" y="87629"/>
                    <a:pt x="3079110" y="87629"/>
                  </a:cubicBezTo>
                  <a:close/>
                  <a:moveTo>
                    <a:pt x="1565275" y="87629"/>
                  </a:moveTo>
                  <a:cubicBezTo>
                    <a:pt x="1566545" y="87629"/>
                    <a:pt x="1568450" y="87629"/>
                    <a:pt x="1569720" y="88264"/>
                  </a:cubicBezTo>
                  <a:cubicBezTo>
                    <a:pt x="1570990" y="88264"/>
                    <a:pt x="1572260" y="89534"/>
                    <a:pt x="1573529" y="90804"/>
                  </a:cubicBezTo>
                  <a:cubicBezTo>
                    <a:pt x="1574800" y="92074"/>
                    <a:pt x="1575435" y="93344"/>
                    <a:pt x="1576069" y="94614"/>
                  </a:cubicBezTo>
                  <a:cubicBezTo>
                    <a:pt x="1576069" y="95884"/>
                    <a:pt x="1576705" y="97789"/>
                    <a:pt x="1576705" y="99059"/>
                  </a:cubicBezTo>
                  <a:cubicBezTo>
                    <a:pt x="1576705" y="99059"/>
                    <a:pt x="1576705" y="102234"/>
                    <a:pt x="1576069" y="103504"/>
                  </a:cubicBezTo>
                  <a:cubicBezTo>
                    <a:pt x="1576069" y="104774"/>
                    <a:pt x="1574800" y="106044"/>
                    <a:pt x="1573529" y="107314"/>
                  </a:cubicBezTo>
                  <a:cubicBezTo>
                    <a:pt x="1572260" y="108584"/>
                    <a:pt x="1570990" y="109219"/>
                    <a:pt x="1569720" y="109854"/>
                  </a:cubicBezTo>
                  <a:cubicBezTo>
                    <a:pt x="1568450" y="109854"/>
                    <a:pt x="1566545" y="110489"/>
                    <a:pt x="1565275" y="110489"/>
                  </a:cubicBezTo>
                  <a:cubicBezTo>
                    <a:pt x="1564005" y="110489"/>
                    <a:pt x="1562099" y="110489"/>
                    <a:pt x="1560830" y="109854"/>
                  </a:cubicBezTo>
                  <a:cubicBezTo>
                    <a:pt x="1559559" y="109854"/>
                    <a:pt x="1558289" y="108584"/>
                    <a:pt x="1557020" y="107314"/>
                  </a:cubicBezTo>
                  <a:cubicBezTo>
                    <a:pt x="1555750" y="106044"/>
                    <a:pt x="1555114" y="104774"/>
                    <a:pt x="1554479" y="103504"/>
                  </a:cubicBezTo>
                  <a:cubicBezTo>
                    <a:pt x="1554479" y="102234"/>
                    <a:pt x="1553844" y="100329"/>
                    <a:pt x="1553844" y="99059"/>
                  </a:cubicBezTo>
                  <a:cubicBezTo>
                    <a:pt x="1553844" y="97789"/>
                    <a:pt x="1553844" y="95884"/>
                    <a:pt x="1554479" y="94614"/>
                  </a:cubicBezTo>
                  <a:cubicBezTo>
                    <a:pt x="1554479" y="93344"/>
                    <a:pt x="1555750" y="92074"/>
                    <a:pt x="1557020" y="90804"/>
                  </a:cubicBezTo>
                  <a:cubicBezTo>
                    <a:pt x="1558289" y="89534"/>
                    <a:pt x="1559559" y="88899"/>
                    <a:pt x="1560830" y="88264"/>
                  </a:cubicBezTo>
                  <a:cubicBezTo>
                    <a:pt x="1562099" y="88264"/>
                    <a:pt x="1564005" y="87629"/>
                    <a:pt x="1565275" y="87629"/>
                  </a:cubicBezTo>
                  <a:close/>
                  <a:moveTo>
                    <a:pt x="2642230" y="73024"/>
                  </a:moveTo>
                  <a:cubicBezTo>
                    <a:pt x="2637150" y="73024"/>
                    <a:pt x="2633340" y="74294"/>
                    <a:pt x="2630800" y="76199"/>
                  </a:cubicBezTo>
                  <a:cubicBezTo>
                    <a:pt x="2627625" y="78104"/>
                    <a:pt x="2626355" y="81279"/>
                    <a:pt x="2626355" y="84454"/>
                  </a:cubicBezTo>
                  <a:cubicBezTo>
                    <a:pt x="2626355" y="86994"/>
                    <a:pt x="2626355" y="88899"/>
                    <a:pt x="2627625" y="90169"/>
                  </a:cubicBezTo>
                  <a:cubicBezTo>
                    <a:pt x="2628260" y="92074"/>
                    <a:pt x="2629530" y="93344"/>
                    <a:pt x="2630800" y="93979"/>
                  </a:cubicBezTo>
                  <a:cubicBezTo>
                    <a:pt x="2632070" y="95249"/>
                    <a:pt x="2633340" y="95884"/>
                    <a:pt x="2635245" y="96519"/>
                  </a:cubicBezTo>
                  <a:cubicBezTo>
                    <a:pt x="2637150" y="96519"/>
                    <a:pt x="2639055" y="97154"/>
                    <a:pt x="2641595" y="97154"/>
                  </a:cubicBezTo>
                  <a:cubicBezTo>
                    <a:pt x="2643500" y="97154"/>
                    <a:pt x="2645405" y="97154"/>
                    <a:pt x="2647310" y="96519"/>
                  </a:cubicBezTo>
                  <a:cubicBezTo>
                    <a:pt x="2649215" y="96519"/>
                    <a:pt x="2651120" y="95249"/>
                    <a:pt x="2652390" y="93979"/>
                  </a:cubicBezTo>
                  <a:cubicBezTo>
                    <a:pt x="2654295" y="93344"/>
                    <a:pt x="2655565" y="92074"/>
                    <a:pt x="2656835" y="90804"/>
                  </a:cubicBezTo>
                  <a:cubicBezTo>
                    <a:pt x="2658105" y="89534"/>
                    <a:pt x="2659375" y="88264"/>
                    <a:pt x="2660010" y="86994"/>
                  </a:cubicBezTo>
                  <a:lnTo>
                    <a:pt x="2660010" y="75564"/>
                  </a:lnTo>
                  <a:cubicBezTo>
                    <a:pt x="2660010" y="75564"/>
                    <a:pt x="2657470" y="74294"/>
                    <a:pt x="2656200" y="74294"/>
                  </a:cubicBezTo>
                  <a:cubicBezTo>
                    <a:pt x="2654930" y="74294"/>
                    <a:pt x="2653660" y="73659"/>
                    <a:pt x="2652390" y="73659"/>
                  </a:cubicBezTo>
                  <a:cubicBezTo>
                    <a:pt x="2651120" y="73659"/>
                    <a:pt x="2649850" y="73659"/>
                    <a:pt x="2647945" y="73024"/>
                  </a:cubicBezTo>
                  <a:cubicBezTo>
                    <a:pt x="2646040" y="73024"/>
                    <a:pt x="2644135" y="73024"/>
                    <a:pt x="2642230" y="73024"/>
                  </a:cubicBezTo>
                  <a:close/>
                  <a:moveTo>
                    <a:pt x="4664706" y="43814"/>
                  </a:moveTo>
                  <a:cubicBezTo>
                    <a:pt x="4661531" y="43814"/>
                    <a:pt x="4658991" y="43814"/>
                    <a:pt x="4657086" y="45719"/>
                  </a:cubicBezTo>
                  <a:cubicBezTo>
                    <a:pt x="4654546" y="46989"/>
                    <a:pt x="4652641" y="48894"/>
                    <a:pt x="4651371" y="50799"/>
                  </a:cubicBezTo>
                  <a:cubicBezTo>
                    <a:pt x="4649466" y="53339"/>
                    <a:pt x="4648831" y="55879"/>
                    <a:pt x="4647561" y="59054"/>
                  </a:cubicBezTo>
                  <a:cubicBezTo>
                    <a:pt x="4646926" y="62229"/>
                    <a:pt x="4646291" y="65404"/>
                    <a:pt x="4646291" y="69849"/>
                  </a:cubicBezTo>
                  <a:cubicBezTo>
                    <a:pt x="4646291" y="74294"/>
                    <a:pt x="4646291" y="78104"/>
                    <a:pt x="4647561" y="81279"/>
                  </a:cubicBezTo>
                  <a:cubicBezTo>
                    <a:pt x="4648196" y="84454"/>
                    <a:pt x="4650101" y="87629"/>
                    <a:pt x="4651371" y="89534"/>
                  </a:cubicBezTo>
                  <a:cubicBezTo>
                    <a:pt x="4653276" y="92074"/>
                    <a:pt x="4655181" y="93344"/>
                    <a:pt x="4657721" y="94614"/>
                  </a:cubicBezTo>
                  <a:cubicBezTo>
                    <a:pt x="4660261" y="95884"/>
                    <a:pt x="4662801" y="96519"/>
                    <a:pt x="4665341" y="96519"/>
                  </a:cubicBezTo>
                  <a:cubicBezTo>
                    <a:pt x="4667881" y="96519"/>
                    <a:pt x="4671056" y="95884"/>
                    <a:pt x="4672961" y="94614"/>
                  </a:cubicBezTo>
                  <a:cubicBezTo>
                    <a:pt x="4675501" y="93344"/>
                    <a:pt x="4677406" y="91439"/>
                    <a:pt x="4678676" y="88899"/>
                  </a:cubicBezTo>
                  <a:cubicBezTo>
                    <a:pt x="4680581" y="86359"/>
                    <a:pt x="4681851" y="83819"/>
                    <a:pt x="4682486" y="80644"/>
                  </a:cubicBezTo>
                  <a:cubicBezTo>
                    <a:pt x="4683121" y="77469"/>
                    <a:pt x="4683756" y="74294"/>
                    <a:pt x="4683756" y="70484"/>
                  </a:cubicBezTo>
                  <a:lnTo>
                    <a:pt x="4684391" y="69849"/>
                  </a:lnTo>
                  <a:cubicBezTo>
                    <a:pt x="4684391" y="66039"/>
                    <a:pt x="4684391" y="62229"/>
                    <a:pt x="4683121" y="59054"/>
                  </a:cubicBezTo>
                  <a:cubicBezTo>
                    <a:pt x="4682486" y="55879"/>
                    <a:pt x="4680581" y="53339"/>
                    <a:pt x="4679311" y="50799"/>
                  </a:cubicBezTo>
                  <a:cubicBezTo>
                    <a:pt x="4677406" y="48259"/>
                    <a:pt x="4675501" y="46989"/>
                    <a:pt x="4672961" y="45719"/>
                  </a:cubicBezTo>
                  <a:cubicBezTo>
                    <a:pt x="4670421" y="44449"/>
                    <a:pt x="4667881" y="43814"/>
                    <a:pt x="4664706" y="43814"/>
                  </a:cubicBezTo>
                  <a:close/>
                  <a:moveTo>
                    <a:pt x="4264020" y="43814"/>
                  </a:moveTo>
                  <a:cubicBezTo>
                    <a:pt x="4260845" y="43814"/>
                    <a:pt x="4258305" y="43814"/>
                    <a:pt x="4256400" y="45719"/>
                  </a:cubicBezTo>
                  <a:cubicBezTo>
                    <a:pt x="4253860" y="46989"/>
                    <a:pt x="4251955" y="48894"/>
                    <a:pt x="4250685" y="50799"/>
                  </a:cubicBezTo>
                  <a:cubicBezTo>
                    <a:pt x="4248780" y="53339"/>
                    <a:pt x="4247510" y="55879"/>
                    <a:pt x="4246875" y="59054"/>
                  </a:cubicBezTo>
                  <a:cubicBezTo>
                    <a:pt x="4246240" y="62229"/>
                    <a:pt x="4245605" y="65404"/>
                    <a:pt x="4245605" y="69849"/>
                  </a:cubicBezTo>
                  <a:cubicBezTo>
                    <a:pt x="4245605" y="74294"/>
                    <a:pt x="4245605" y="78104"/>
                    <a:pt x="4246875" y="81279"/>
                  </a:cubicBezTo>
                  <a:cubicBezTo>
                    <a:pt x="4247510" y="84454"/>
                    <a:pt x="4249415" y="87629"/>
                    <a:pt x="4250685" y="89534"/>
                  </a:cubicBezTo>
                  <a:cubicBezTo>
                    <a:pt x="4252590" y="92074"/>
                    <a:pt x="4254495" y="93344"/>
                    <a:pt x="4257035" y="94614"/>
                  </a:cubicBezTo>
                  <a:cubicBezTo>
                    <a:pt x="4259575" y="95884"/>
                    <a:pt x="4262115" y="96519"/>
                    <a:pt x="4264655" y="96519"/>
                  </a:cubicBezTo>
                  <a:cubicBezTo>
                    <a:pt x="4267195" y="96519"/>
                    <a:pt x="4270370" y="95884"/>
                    <a:pt x="4272275" y="94614"/>
                  </a:cubicBezTo>
                  <a:cubicBezTo>
                    <a:pt x="4274815" y="93344"/>
                    <a:pt x="4276720" y="91439"/>
                    <a:pt x="4277990" y="88899"/>
                  </a:cubicBezTo>
                  <a:cubicBezTo>
                    <a:pt x="4279895" y="86359"/>
                    <a:pt x="4281165" y="83819"/>
                    <a:pt x="4281800" y="80644"/>
                  </a:cubicBezTo>
                  <a:cubicBezTo>
                    <a:pt x="4282435" y="77469"/>
                    <a:pt x="4283070" y="74294"/>
                    <a:pt x="4283070" y="70484"/>
                  </a:cubicBezTo>
                  <a:lnTo>
                    <a:pt x="4283705" y="69849"/>
                  </a:lnTo>
                  <a:cubicBezTo>
                    <a:pt x="4283705" y="66039"/>
                    <a:pt x="4283705" y="62229"/>
                    <a:pt x="4282435" y="59054"/>
                  </a:cubicBezTo>
                  <a:cubicBezTo>
                    <a:pt x="4281800" y="55879"/>
                    <a:pt x="4279895" y="53339"/>
                    <a:pt x="4278625" y="50799"/>
                  </a:cubicBezTo>
                  <a:cubicBezTo>
                    <a:pt x="4276720" y="48259"/>
                    <a:pt x="4274815" y="46989"/>
                    <a:pt x="4272275" y="45719"/>
                  </a:cubicBezTo>
                  <a:cubicBezTo>
                    <a:pt x="4269735" y="44449"/>
                    <a:pt x="4267195" y="43814"/>
                    <a:pt x="4264020" y="43814"/>
                  </a:cubicBezTo>
                  <a:close/>
                  <a:moveTo>
                    <a:pt x="1420495" y="43814"/>
                  </a:moveTo>
                  <a:cubicBezTo>
                    <a:pt x="1417320" y="43814"/>
                    <a:pt x="1414780" y="43814"/>
                    <a:pt x="1412875" y="45719"/>
                  </a:cubicBezTo>
                  <a:cubicBezTo>
                    <a:pt x="1410335" y="46989"/>
                    <a:pt x="1408430" y="48894"/>
                    <a:pt x="1407160" y="50799"/>
                  </a:cubicBezTo>
                  <a:cubicBezTo>
                    <a:pt x="1405255" y="53339"/>
                    <a:pt x="1403985" y="55879"/>
                    <a:pt x="1403350" y="59054"/>
                  </a:cubicBezTo>
                  <a:cubicBezTo>
                    <a:pt x="1402715" y="62229"/>
                    <a:pt x="1402080" y="65404"/>
                    <a:pt x="1402080" y="69849"/>
                  </a:cubicBezTo>
                  <a:cubicBezTo>
                    <a:pt x="1402080" y="74294"/>
                    <a:pt x="1402080" y="78104"/>
                    <a:pt x="1403350" y="81279"/>
                  </a:cubicBezTo>
                  <a:cubicBezTo>
                    <a:pt x="1403985" y="84454"/>
                    <a:pt x="1405890" y="87629"/>
                    <a:pt x="1407160" y="89534"/>
                  </a:cubicBezTo>
                  <a:cubicBezTo>
                    <a:pt x="1409065" y="92074"/>
                    <a:pt x="1410970" y="93344"/>
                    <a:pt x="1413510" y="94614"/>
                  </a:cubicBezTo>
                  <a:cubicBezTo>
                    <a:pt x="1416050" y="95884"/>
                    <a:pt x="1418590" y="96519"/>
                    <a:pt x="1421130" y="96519"/>
                  </a:cubicBezTo>
                  <a:cubicBezTo>
                    <a:pt x="1423670" y="96519"/>
                    <a:pt x="1426845" y="95884"/>
                    <a:pt x="1428750" y="94614"/>
                  </a:cubicBezTo>
                  <a:cubicBezTo>
                    <a:pt x="1431290" y="93344"/>
                    <a:pt x="1433195" y="91439"/>
                    <a:pt x="1434465" y="88899"/>
                  </a:cubicBezTo>
                  <a:cubicBezTo>
                    <a:pt x="1436370" y="86359"/>
                    <a:pt x="1437640" y="83819"/>
                    <a:pt x="1438275" y="80644"/>
                  </a:cubicBezTo>
                  <a:cubicBezTo>
                    <a:pt x="1438910" y="77469"/>
                    <a:pt x="1439545" y="74294"/>
                    <a:pt x="1439545" y="70484"/>
                  </a:cubicBezTo>
                  <a:lnTo>
                    <a:pt x="1440180" y="69849"/>
                  </a:lnTo>
                  <a:cubicBezTo>
                    <a:pt x="1440180" y="66039"/>
                    <a:pt x="1440180" y="62229"/>
                    <a:pt x="1438910" y="59054"/>
                  </a:cubicBezTo>
                  <a:cubicBezTo>
                    <a:pt x="1438275" y="55879"/>
                    <a:pt x="1436370" y="53339"/>
                    <a:pt x="1435100" y="50799"/>
                  </a:cubicBezTo>
                  <a:cubicBezTo>
                    <a:pt x="1433195" y="48259"/>
                    <a:pt x="1431290" y="46989"/>
                    <a:pt x="1428750" y="45719"/>
                  </a:cubicBezTo>
                  <a:cubicBezTo>
                    <a:pt x="1426210" y="44449"/>
                    <a:pt x="1423670" y="43814"/>
                    <a:pt x="1420495" y="43814"/>
                  </a:cubicBezTo>
                  <a:close/>
                  <a:moveTo>
                    <a:pt x="4041770" y="43180"/>
                  </a:moveTo>
                  <a:cubicBezTo>
                    <a:pt x="4039230" y="43180"/>
                    <a:pt x="4036690" y="43180"/>
                    <a:pt x="4034785" y="44450"/>
                  </a:cubicBezTo>
                  <a:cubicBezTo>
                    <a:pt x="4032880" y="45085"/>
                    <a:pt x="4030975" y="46355"/>
                    <a:pt x="4029705" y="48260"/>
                  </a:cubicBezTo>
                  <a:cubicBezTo>
                    <a:pt x="4028435" y="50165"/>
                    <a:pt x="4027165" y="52070"/>
                    <a:pt x="4025895" y="54610"/>
                  </a:cubicBezTo>
                  <a:cubicBezTo>
                    <a:pt x="4025260" y="57150"/>
                    <a:pt x="4023990" y="59690"/>
                    <a:pt x="4023990" y="62865"/>
                  </a:cubicBezTo>
                  <a:lnTo>
                    <a:pt x="4060185" y="62865"/>
                  </a:lnTo>
                  <a:cubicBezTo>
                    <a:pt x="4060185" y="62865"/>
                    <a:pt x="4059550" y="57785"/>
                    <a:pt x="4058915" y="55245"/>
                  </a:cubicBezTo>
                  <a:cubicBezTo>
                    <a:pt x="4058280" y="52705"/>
                    <a:pt x="4057010" y="50800"/>
                    <a:pt x="4055740" y="48895"/>
                  </a:cubicBezTo>
                  <a:cubicBezTo>
                    <a:pt x="4054470" y="46990"/>
                    <a:pt x="4052565" y="45720"/>
                    <a:pt x="4050025" y="44450"/>
                  </a:cubicBezTo>
                  <a:cubicBezTo>
                    <a:pt x="4047485" y="43180"/>
                    <a:pt x="4044945" y="43180"/>
                    <a:pt x="4041770" y="43180"/>
                  </a:cubicBezTo>
                  <a:close/>
                  <a:moveTo>
                    <a:pt x="3728081" y="43180"/>
                  </a:moveTo>
                  <a:cubicBezTo>
                    <a:pt x="3725541" y="43180"/>
                    <a:pt x="3723001" y="43180"/>
                    <a:pt x="3721096" y="44450"/>
                  </a:cubicBezTo>
                  <a:cubicBezTo>
                    <a:pt x="3719191" y="45085"/>
                    <a:pt x="3717286" y="46355"/>
                    <a:pt x="3716016" y="48260"/>
                  </a:cubicBezTo>
                  <a:cubicBezTo>
                    <a:pt x="3714746" y="50165"/>
                    <a:pt x="3713476" y="52070"/>
                    <a:pt x="3712206" y="54610"/>
                  </a:cubicBezTo>
                  <a:cubicBezTo>
                    <a:pt x="3711571" y="57150"/>
                    <a:pt x="3710301" y="59690"/>
                    <a:pt x="3710301" y="62865"/>
                  </a:cubicBezTo>
                  <a:lnTo>
                    <a:pt x="3746496" y="62865"/>
                  </a:lnTo>
                  <a:cubicBezTo>
                    <a:pt x="3746496" y="62865"/>
                    <a:pt x="3745861" y="57785"/>
                    <a:pt x="3745226" y="55245"/>
                  </a:cubicBezTo>
                  <a:cubicBezTo>
                    <a:pt x="3744591" y="52705"/>
                    <a:pt x="3743321" y="50800"/>
                    <a:pt x="3742051" y="48895"/>
                  </a:cubicBezTo>
                  <a:cubicBezTo>
                    <a:pt x="3740781" y="46990"/>
                    <a:pt x="3738876" y="45720"/>
                    <a:pt x="3736336" y="44450"/>
                  </a:cubicBezTo>
                  <a:cubicBezTo>
                    <a:pt x="3733796" y="43180"/>
                    <a:pt x="3731256" y="43180"/>
                    <a:pt x="3728081" y="43180"/>
                  </a:cubicBezTo>
                  <a:close/>
                  <a:moveTo>
                    <a:pt x="3541391" y="43180"/>
                  </a:moveTo>
                  <a:cubicBezTo>
                    <a:pt x="3538851" y="43180"/>
                    <a:pt x="3536311" y="43180"/>
                    <a:pt x="3534406" y="44450"/>
                  </a:cubicBezTo>
                  <a:cubicBezTo>
                    <a:pt x="3532501" y="45085"/>
                    <a:pt x="3530596" y="46355"/>
                    <a:pt x="3529326" y="48260"/>
                  </a:cubicBezTo>
                  <a:cubicBezTo>
                    <a:pt x="3528056" y="50165"/>
                    <a:pt x="3526786" y="52070"/>
                    <a:pt x="3525516" y="54610"/>
                  </a:cubicBezTo>
                  <a:cubicBezTo>
                    <a:pt x="3524881" y="57150"/>
                    <a:pt x="3524246" y="59690"/>
                    <a:pt x="3523611" y="62865"/>
                  </a:cubicBezTo>
                  <a:lnTo>
                    <a:pt x="3559806" y="62865"/>
                  </a:lnTo>
                  <a:cubicBezTo>
                    <a:pt x="3559806" y="62865"/>
                    <a:pt x="3559171" y="57785"/>
                    <a:pt x="3558536" y="55245"/>
                  </a:cubicBezTo>
                  <a:cubicBezTo>
                    <a:pt x="3557901" y="52705"/>
                    <a:pt x="3556631" y="50800"/>
                    <a:pt x="3555361" y="48895"/>
                  </a:cubicBezTo>
                  <a:cubicBezTo>
                    <a:pt x="3554091" y="46990"/>
                    <a:pt x="3552186" y="45720"/>
                    <a:pt x="3549646" y="44450"/>
                  </a:cubicBezTo>
                  <a:cubicBezTo>
                    <a:pt x="3547106" y="43180"/>
                    <a:pt x="3544566" y="43180"/>
                    <a:pt x="3541391" y="43180"/>
                  </a:cubicBezTo>
                  <a:close/>
                  <a:moveTo>
                    <a:pt x="3463285" y="43180"/>
                  </a:moveTo>
                  <a:cubicBezTo>
                    <a:pt x="3461380" y="43180"/>
                    <a:pt x="3459475" y="43180"/>
                    <a:pt x="3458205" y="43815"/>
                  </a:cubicBezTo>
                  <a:cubicBezTo>
                    <a:pt x="3456300" y="43815"/>
                    <a:pt x="3455030" y="45085"/>
                    <a:pt x="3453125" y="45720"/>
                  </a:cubicBezTo>
                  <a:cubicBezTo>
                    <a:pt x="3451855" y="46355"/>
                    <a:pt x="3449950" y="47625"/>
                    <a:pt x="3448680" y="48895"/>
                  </a:cubicBezTo>
                  <a:cubicBezTo>
                    <a:pt x="3447410" y="50165"/>
                    <a:pt x="3446140" y="51435"/>
                    <a:pt x="3445505" y="52705"/>
                  </a:cubicBezTo>
                  <a:lnTo>
                    <a:pt x="3445505" y="85725"/>
                  </a:lnTo>
                  <a:cubicBezTo>
                    <a:pt x="3445505" y="85725"/>
                    <a:pt x="3447410" y="88265"/>
                    <a:pt x="3448680" y="89535"/>
                  </a:cubicBezTo>
                  <a:cubicBezTo>
                    <a:pt x="3449950" y="90805"/>
                    <a:pt x="3451220" y="92075"/>
                    <a:pt x="3453125" y="92710"/>
                  </a:cubicBezTo>
                  <a:cubicBezTo>
                    <a:pt x="3455030" y="93980"/>
                    <a:pt x="3456300" y="94615"/>
                    <a:pt x="3458205" y="95250"/>
                  </a:cubicBezTo>
                  <a:cubicBezTo>
                    <a:pt x="3460110" y="95250"/>
                    <a:pt x="3462015" y="95885"/>
                    <a:pt x="3463920" y="95885"/>
                  </a:cubicBezTo>
                  <a:cubicBezTo>
                    <a:pt x="3469635" y="95885"/>
                    <a:pt x="3473445" y="93980"/>
                    <a:pt x="3476620" y="89535"/>
                  </a:cubicBezTo>
                  <a:cubicBezTo>
                    <a:pt x="3479795" y="85090"/>
                    <a:pt x="3481065" y="79375"/>
                    <a:pt x="3481065" y="71120"/>
                  </a:cubicBezTo>
                  <a:lnTo>
                    <a:pt x="3480430" y="71755"/>
                  </a:lnTo>
                  <a:cubicBezTo>
                    <a:pt x="3480430" y="62230"/>
                    <a:pt x="3479160" y="54610"/>
                    <a:pt x="3475985" y="50165"/>
                  </a:cubicBezTo>
                  <a:cubicBezTo>
                    <a:pt x="3472810" y="45720"/>
                    <a:pt x="3468365" y="43180"/>
                    <a:pt x="3463285" y="43180"/>
                  </a:cubicBezTo>
                  <a:close/>
                  <a:moveTo>
                    <a:pt x="3343271" y="43180"/>
                  </a:moveTo>
                  <a:cubicBezTo>
                    <a:pt x="3340731" y="43180"/>
                    <a:pt x="3338191" y="43180"/>
                    <a:pt x="3336286" y="44450"/>
                  </a:cubicBezTo>
                  <a:cubicBezTo>
                    <a:pt x="3334381" y="45085"/>
                    <a:pt x="3332476" y="46355"/>
                    <a:pt x="3331206" y="48260"/>
                  </a:cubicBezTo>
                  <a:cubicBezTo>
                    <a:pt x="3329936" y="50165"/>
                    <a:pt x="3328666" y="52070"/>
                    <a:pt x="3327396" y="54610"/>
                  </a:cubicBezTo>
                  <a:cubicBezTo>
                    <a:pt x="3326761" y="57150"/>
                    <a:pt x="3326126" y="59690"/>
                    <a:pt x="3325491" y="62865"/>
                  </a:cubicBezTo>
                  <a:lnTo>
                    <a:pt x="3361686" y="62865"/>
                  </a:lnTo>
                  <a:cubicBezTo>
                    <a:pt x="3361686" y="62865"/>
                    <a:pt x="3361051" y="57785"/>
                    <a:pt x="3360416" y="55245"/>
                  </a:cubicBezTo>
                  <a:cubicBezTo>
                    <a:pt x="3359781" y="52705"/>
                    <a:pt x="3358511" y="50800"/>
                    <a:pt x="3357241" y="48895"/>
                  </a:cubicBezTo>
                  <a:cubicBezTo>
                    <a:pt x="3355971" y="46990"/>
                    <a:pt x="3354066" y="45720"/>
                    <a:pt x="3351526" y="44450"/>
                  </a:cubicBezTo>
                  <a:cubicBezTo>
                    <a:pt x="3348986" y="43180"/>
                    <a:pt x="3346446" y="43180"/>
                    <a:pt x="3343271" y="43180"/>
                  </a:cubicBezTo>
                  <a:close/>
                  <a:moveTo>
                    <a:pt x="2976876" y="43180"/>
                  </a:moveTo>
                  <a:cubicBezTo>
                    <a:pt x="2974336" y="43180"/>
                    <a:pt x="2971796" y="43180"/>
                    <a:pt x="2969891" y="44450"/>
                  </a:cubicBezTo>
                  <a:cubicBezTo>
                    <a:pt x="2967986" y="45085"/>
                    <a:pt x="2966081" y="46355"/>
                    <a:pt x="2964811" y="48260"/>
                  </a:cubicBezTo>
                  <a:cubicBezTo>
                    <a:pt x="2963541" y="50165"/>
                    <a:pt x="2962271" y="52070"/>
                    <a:pt x="2961001" y="54610"/>
                  </a:cubicBezTo>
                  <a:cubicBezTo>
                    <a:pt x="2960366" y="57150"/>
                    <a:pt x="2959731" y="59690"/>
                    <a:pt x="2959096" y="62865"/>
                  </a:cubicBezTo>
                  <a:lnTo>
                    <a:pt x="2995291" y="62865"/>
                  </a:lnTo>
                  <a:cubicBezTo>
                    <a:pt x="2995291" y="62865"/>
                    <a:pt x="2994656" y="57785"/>
                    <a:pt x="2994021" y="55245"/>
                  </a:cubicBezTo>
                  <a:cubicBezTo>
                    <a:pt x="2993386" y="52705"/>
                    <a:pt x="2992116" y="50800"/>
                    <a:pt x="2990846" y="48895"/>
                  </a:cubicBezTo>
                  <a:cubicBezTo>
                    <a:pt x="2989576" y="46990"/>
                    <a:pt x="2987671" y="45720"/>
                    <a:pt x="2985131" y="44450"/>
                  </a:cubicBezTo>
                  <a:cubicBezTo>
                    <a:pt x="2982591" y="43180"/>
                    <a:pt x="2980051" y="43180"/>
                    <a:pt x="2976876" y="43180"/>
                  </a:cubicBezTo>
                  <a:close/>
                  <a:moveTo>
                    <a:pt x="2527930" y="43180"/>
                  </a:moveTo>
                  <a:cubicBezTo>
                    <a:pt x="2525390" y="43180"/>
                    <a:pt x="2522850" y="43180"/>
                    <a:pt x="2520945" y="44450"/>
                  </a:cubicBezTo>
                  <a:cubicBezTo>
                    <a:pt x="2519040" y="45085"/>
                    <a:pt x="2517135" y="46355"/>
                    <a:pt x="2515865" y="48260"/>
                  </a:cubicBezTo>
                  <a:cubicBezTo>
                    <a:pt x="2514595" y="50165"/>
                    <a:pt x="2513325" y="52070"/>
                    <a:pt x="2512055" y="54610"/>
                  </a:cubicBezTo>
                  <a:cubicBezTo>
                    <a:pt x="2511420" y="57150"/>
                    <a:pt x="2510150" y="59690"/>
                    <a:pt x="2510150" y="62865"/>
                  </a:cubicBezTo>
                  <a:lnTo>
                    <a:pt x="2546345" y="62865"/>
                  </a:lnTo>
                  <a:cubicBezTo>
                    <a:pt x="2546345" y="62865"/>
                    <a:pt x="2545710" y="57785"/>
                    <a:pt x="2545075" y="55245"/>
                  </a:cubicBezTo>
                  <a:cubicBezTo>
                    <a:pt x="2544440" y="52705"/>
                    <a:pt x="2543170" y="50800"/>
                    <a:pt x="2541900" y="48895"/>
                  </a:cubicBezTo>
                  <a:cubicBezTo>
                    <a:pt x="2540630" y="46990"/>
                    <a:pt x="2538725" y="45720"/>
                    <a:pt x="2536185" y="44450"/>
                  </a:cubicBezTo>
                  <a:cubicBezTo>
                    <a:pt x="2533645" y="43180"/>
                    <a:pt x="2531105" y="43180"/>
                    <a:pt x="2527930" y="43180"/>
                  </a:cubicBezTo>
                  <a:close/>
                  <a:moveTo>
                    <a:pt x="2214240" y="43180"/>
                  </a:moveTo>
                  <a:cubicBezTo>
                    <a:pt x="2211700" y="43180"/>
                    <a:pt x="2209160" y="43180"/>
                    <a:pt x="2207255" y="44450"/>
                  </a:cubicBezTo>
                  <a:cubicBezTo>
                    <a:pt x="2205350" y="45085"/>
                    <a:pt x="2203445" y="46355"/>
                    <a:pt x="2202175" y="48260"/>
                  </a:cubicBezTo>
                  <a:cubicBezTo>
                    <a:pt x="2200905" y="50165"/>
                    <a:pt x="2199635" y="52070"/>
                    <a:pt x="2198365" y="54610"/>
                  </a:cubicBezTo>
                  <a:cubicBezTo>
                    <a:pt x="2197730" y="57150"/>
                    <a:pt x="2196460" y="59690"/>
                    <a:pt x="2196460" y="62865"/>
                  </a:cubicBezTo>
                  <a:lnTo>
                    <a:pt x="2232655" y="62865"/>
                  </a:lnTo>
                  <a:cubicBezTo>
                    <a:pt x="2232655" y="62865"/>
                    <a:pt x="2232020" y="57785"/>
                    <a:pt x="2231385" y="55245"/>
                  </a:cubicBezTo>
                  <a:cubicBezTo>
                    <a:pt x="2230750" y="52705"/>
                    <a:pt x="2229480" y="50800"/>
                    <a:pt x="2228210" y="48895"/>
                  </a:cubicBezTo>
                  <a:cubicBezTo>
                    <a:pt x="2226940" y="46990"/>
                    <a:pt x="2225035" y="45720"/>
                    <a:pt x="2222495" y="44450"/>
                  </a:cubicBezTo>
                  <a:cubicBezTo>
                    <a:pt x="2219955" y="43180"/>
                    <a:pt x="2217415" y="43180"/>
                    <a:pt x="2214240" y="43180"/>
                  </a:cubicBezTo>
                  <a:close/>
                  <a:moveTo>
                    <a:pt x="2027551" y="43180"/>
                  </a:moveTo>
                  <a:cubicBezTo>
                    <a:pt x="2025011" y="43180"/>
                    <a:pt x="2022471" y="43180"/>
                    <a:pt x="2020566" y="44450"/>
                  </a:cubicBezTo>
                  <a:cubicBezTo>
                    <a:pt x="2018661" y="45085"/>
                    <a:pt x="2016756" y="46355"/>
                    <a:pt x="2015486" y="48260"/>
                  </a:cubicBezTo>
                  <a:cubicBezTo>
                    <a:pt x="2014216" y="50165"/>
                    <a:pt x="2012946" y="52070"/>
                    <a:pt x="2011676" y="54610"/>
                  </a:cubicBezTo>
                  <a:cubicBezTo>
                    <a:pt x="2011041" y="57150"/>
                    <a:pt x="2010406" y="59690"/>
                    <a:pt x="2009771" y="62865"/>
                  </a:cubicBezTo>
                  <a:lnTo>
                    <a:pt x="2045966" y="62865"/>
                  </a:lnTo>
                  <a:cubicBezTo>
                    <a:pt x="2045966" y="62865"/>
                    <a:pt x="2045331" y="57785"/>
                    <a:pt x="2044696" y="55245"/>
                  </a:cubicBezTo>
                  <a:cubicBezTo>
                    <a:pt x="2044061" y="52705"/>
                    <a:pt x="2042791" y="50800"/>
                    <a:pt x="2041521" y="48895"/>
                  </a:cubicBezTo>
                  <a:cubicBezTo>
                    <a:pt x="2040251" y="46990"/>
                    <a:pt x="2038346" y="45720"/>
                    <a:pt x="2035806" y="44450"/>
                  </a:cubicBezTo>
                  <a:cubicBezTo>
                    <a:pt x="2033266" y="43180"/>
                    <a:pt x="2030726" y="43180"/>
                    <a:pt x="2027551" y="43180"/>
                  </a:cubicBezTo>
                  <a:close/>
                  <a:moveTo>
                    <a:pt x="1949445" y="43180"/>
                  </a:moveTo>
                  <a:cubicBezTo>
                    <a:pt x="1947540" y="43180"/>
                    <a:pt x="1945635" y="43180"/>
                    <a:pt x="1944365" y="43815"/>
                  </a:cubicBezTo>
                  <a:cubicBezTo>
                    <a:pt x="1942460" y="43815"/>
                    <a:pt x="1941190" y="45085"/>
                    <a:pt x="1939285" y="45720"/>
                  </a:cubicBezTo>
                  <a:cubicBezTo>
                    <a:pt x="1938015" y="46355"/>
                    <a:pt x="1936110" y="47625"/>
                    <a:pt x="1934840" y="48895"/>
                  </a:cubicBezTo>
                  <a:cubicBezTo>
                    <a:pt x="1933570" y="50165"/>
                    <a:pt x="1932300" y="51435"/>
                    <a:pt x="1931665" y="52705"/>
                  </a:cubicBezTo>
                  <a:lnTo>
                    <a:pt x="1931665" y="85725"/>
                  </a:lnTo>
                  <a:cubicBezTo>
                    <a:pt x="1931665" y="85725"/>
                    <a:pt x="1933570" y="88265"/>
                    <a:pt x="1934840" y="89535"/>
                  </a:cubicBezTo>
                  <a:cubicBezTo>
                    <a:pt x="1936110" y="90805"/>
                    <a:pt x="1937380" y="92075"/>
                    <a:pt x="1939285" y="92710"/>
                  </a:cubicBezTo>
                  <a:cubicBezTo>
                    <a:pt x="1941190" y="93980"/>
                    <a:pt x="1942460" y="94615"/>
                    <a:pt x="1944365" y="95250"/>
                  </a:cubicBezTo>
                  <a:cubicBezTo>
                    <a:pt x="1946270" y="95250"/>
                    <a:pt x="1948175" y="95885"/>
                    <a:pt x="1950080" y="95885"/>
                  </a:cubicBezTo>
                  <a:cubicBezTo>
                    <a:pt x="1955795" y="95885"/>
                    <a:pt x="1959605" y="93980"/>
                    <a:pt x="1962780" y="89535"/>
                  </a:cubicBezTo>
                  <a:cubicBezTo>
                    <a:pt x="1965955" y="85090"/>
                    <a:pt x="1967225" y="79375"/>
                    <a:pt x="1967225" y="71120"/>
                  </a:cubicBezTo>
                  <a:lnTo>
                    <a:pt x="1966590" y="71755"/>
                  </a:lnTo>
                  <a:cubicBezTo>
                    <a:pt x="1966590" y="62230"/>
                    <a:pt x="1965320" y="54610"/>
                    <a:pt x="1962145" y="50165"/>
                  </a:cubicBezTo>
                  <a:cubicBezTo>
                    <a:pt x="1958970" y="45720"/>
                    <a:pt x="1954525" y="43180"/>
                    <a:pt x="1949445" y="43180"/>
                  </a:cubicBezTo>
                  <a:close/>
                  <a:moveTo>
                    <a:pt x="1829431" y="43180"/>
                  </a:moveTo>
                  <a:cubicBezTo>
                    <a:pt x="1826891" y="43180"/>
                    <a:pt x="1824351" y="43180"/>
                    <a:pt x="1822446" y="44450"/>
                  </a:cubicBezTo>
                  <a:cubicBezTo>
                    <a:pt x="1820541" y="45085"/>
                    <a:pt x="1818636" y="46355"/>
                    <a:pt x="1817366" y="48260"/>
                  </a:cubicBezTo>
                  <a:cubicBezTo>
                    <a:pt x="1816096" y="50165"/>
                    <a:pt x="1814826" y="52070"/>
                    <a:pt x="1813556" y="54610"/>
                  </a:cubicBezTo>
                  <a:cubicBezTo>
                    <a:pt x="1812921" y="57150"/>
                    <a:pt x="1811651" y="59690"/>
                    <a:pt x="1811651" y="62865"/>
                  </a:cubicBezTo>
                  <a:lnTo>
                    <a:pt x="1847846" y="62865"/>
                  </a:lnTo>
                  <a:cubicBezTo>
                    <a:pt x="1847846" y="62865"/>
                    <a:pt x="1847211" y="57785"/>
                    <a:pt x="1846576" y="55245"/>
                  </a:cubicBezTo>
                  <a:cubicBezTo>
                    <a:pt x="1845941" y="52705"/>
                    <a:pt x="1844671" y="50800"/>
                    <a:pt x="1843401" y="48895"/>
                  </a:cubicBezTo>
                  <a:cubicBezTo>
                    <a:pt x="1842131" y="46990"/>
                    <a:pt x="1840226" y="45720"/>
                    <a:pt x="1837686" y="44450"/>
                  </a:cubicBezTo>
                  <a:cubicBezTo>
                    <a:pt x="1835146" y="43180"/>
                    <a:pt x="1832606" y="43180"/>
                    <a:pt x="1829431" y="43180"/>
                  </a:cubicBezTo>
                  <a:close/>
                  <a:moveTo>
                    <a:pt x="1178561" y="43180"/>
                  </a:moveTo>
                  <a:cubicBezTo>
                    <a:pt x="1176021" y="43180"/>
                    <a:pt x="1173481" y="43180"/>
                    <a:pt x="1171576" y="44450"/>
                  </a:cubicBezTo>
                  <a:cubicBezTo>
                    <a:pt x="1169671" y="45085"/>
                    <a:pt x="1167766" y="46355"/>
                    <a:pt x="1166496" y="48260"/>
                  </a:cubicBezTo>
                  <a:cubicBezTo>
                    <a:pt x="1165226" y="50165"/>
                    <a:pt x="1163956" y="52070"/>
                    <a:pt x="1162686" y="54610"/>
                  </a:cubicBezTo>
                  <a:cubicBezTo>
                    <a:pt x="1162051" y="57150"/>
                    <a:pt x="1160781" y="59690"/>
                    <a:pt x="1160781" y="62865"/>
                  </a:cubicBezTo>
                  <a:lnTo>
                    <a:pt x="1196976" y="62865"/>
                  </a:lnTo>
                  <a:cubicBezTo>
                    <a:pt x="1196976" y="62865"/>
                    <a:pt x="1196341" y="57785"/>
                    <a:pt x="1195706" y="55245"/>
                  </a:cubicBezTo>
                  <a:cubicBezTo>
                    <a:pt x="1195071" y="52705"/>
                    <a:pt x="1193801" y="50800"/>
                    <a:pt x="1192531" y="48895"/>
                  </a:cubicBezTo>
                  <a:cubicBezTo>
                    <a:pt x="1191261" y="46990"/>
                    <a:pt x="1189356" y="45720"/>
                    <a:pt x="1186816" y="44450"/>
                  </a:cubicBezTo>
                  <a:cubicBezTo>
                    <a:pt x="1184276" y="43180"/>
                    <a:pt x="1181736" y="43180"/>
                    <a:pt x="1178561" y="43180"/>
                  </a:cubicBezTo>
                  <a:close/>
                  <a:moveTo>
                    <a:pt x="898525" y="43180"/>
                  </a:moveTo>
                  <a:cubicBezTo>
                    <a:pt x="895985" y="43180"/>
                    <a:pt x="893445" y="43180"/>
                    <a:pt x="891540" y="44450"/>
                  </a:cubicBezTo>
                  <a:cubicBezTo>
                    <a:pt x="889635" y="45085"/>
                    <a:pt x="887730" y="46355"/>
                    <a:pt x="886460" y="48260"/>
                  </a:cubicBezTo>
                  <a:cubicBezTo>
                    <a:pt x="885190" y="50165"/>
                    <a:pt x="883920" y="52070"/>
                    <a:pt x="882650" y="54610"/>
                  </a:cubicBezTo>
                  <a:cubicBezTo>
                    <a:pt x="882015" y="57150"/>
                    <a:pt x="881380" y="59690"/>
                    <a:pt x="880745" y="62865"/>
                  </a:cubicBezTo>
                  <a:lnTo>
                    <a:pt x="916940" y="62865"/>
                  </a:lnTo>
                  <a:cubicBezTo>
                    <a:pt x="916940" y="62865"/>
                    <a:pt x="916305" y="57785"/>
                    <a:pt x="915670" y="55245"/>
                  </a:cubicBezTo>
                  <a:cubicBezTo>
                    <a:pt x="915035" y="52705"/>
                    <a:pt x="913765" y="50800"/>
                    <a:pt x="912495" y="48895"/>
                  </a:cubicBezTo>
                  <a:cubicBezTo>
                    <a:pt x="911225" y="46990"/>
                    <a:pt x="909320" y="45720"/>
                    <a:pt x="906780" y="44450"/>
                  </a:cubicBezTo>
                  <a:cubicBezTo>
                    <a:pt x="904240" y="43180"/>
                    <a:pt x="901700" y="43180"/>
                    <a:pt x="898525" y="43180"/>
                  </a:cubicBezTo>
                  <a:close/>
                  <a:moveTo>
                    <a:pt x="584834" y="43180"/>
                  </a:moveTo>
                  <a:cubicBezTo>
                    <a:pt x="582294" y="43180"/>
                    <a:pt x="579754" y="43180"/>
                    <a:pt x="577849" y="44450"/>
                  </a:cubicBezTo>
                  <a:cubicBezTo>
                    <a:pt x="575944" y="45085"/>
                    <a:pt x="574039" y="46355"/>
                    <a:pt x="572769" y="48260"/>
                  </a:cubicBezTo>
                  <a:cubicBezTo>
                    <a:pt x="571499" y="50165"/>
                    <a:pt x="570229" y="52070"/>
                    <a:pt x="568959" y="54610"/>
                  </a:cubicBezTo>
                  <a:cubicBezTo>
                    <a:pt x="568324" y="57150"/>
                    <a:pt x="567689" y="59690"/>
                    <a:pt x="567054" y="62865"/>
                  </a:cubicBezTo>
                  <a:lnTo>
                    <a:pt x="603249" y="62865"/>
                  </a:lnTo>
                  <a:cubicBezTo>
                    <a:pt x="603249" y="62865"/>
                    <a:pt x="602614" y="57785"/>
                    <a:pt x="601979" y="55245"/>
                  </a:cubicBezTo>
                  <a:cubicBezTo>
                    <a:pt x="601344" y="52705"/>
                    <a:pt x="600074" y="50800"/>
                    <a:pt x="598804" y="48895"/>
                  </a:cubicBezTo>
                  <a:cubicBezTo>
                    <a:pt x="597534" y="46990"/>
                    <a:pt x="595629" y="45720"/>
                    <a:pt x="593089" y="44450"/>
                  </a:cubicBezTo>
                  <a:cubicBezTo>
                    <a:pt x="590549" y="43180"/>
                    <a:pt x="588009" y="43180"/>
                    <a:pt x="584834" y="43180"/>
                  </a:cubicBezTo>
                  <a:close/>
                  <a:moveTo>
                    <a:pt x="398145" y="43180"/>
                  </a:moveTo>
                  <a:cubicBezTo>
                    <a:pt x="395605" y="43180"/>
                    <a:pt x="393065" y="43180"/>
                    <a:pt x="391160" y="44450"/>
                  </a:cubicBezTo>
                  <a:cubicBezTo>
                    <a:pt x="389255" y="45085"/>
                    <a:pt x="387350" y="46355"/>
                    <a:pt x="386080" y="48260"/>
                  </a:cubicBezTo>
                  <a:cubicBezTo>
                    <a:pt x="384810" y="50165"/>
                    <a:pt x="383540" y="52070"/>
                    <a:pt x="382270" y="54610"/>
                  </a:cubicBezTo>
                  <a:cubicBezTo>
                    <a:pt x="381635" y="57150"/>
                    <a:pt x="380365" y="59690"/>
                    <a:pt x="380365" y="62865"/>
                  </a:cubicBezTo>
                  <a:lnTo>
                    <a:pt x="416560" y="62865"/>
                  </a:lnTo>
                  <a:cubicBezTo>
                    <a:pt x="416560" y="62865"/>
                    <a:pt x="415925" y="57785"/>
                    <a:pt x="415290" y="55245"/>
                  </a:cubicBezTo>
                  <a:cubicBezTo>
                    <a:pt x="414655" y="52705"/>
                    <a:pt x="413385" y="50800"/>
                    <a:pt x="412115" y="48895"/>
                  </a:cubicBezTo>
                  <a:cubicBezTo>
                    <a:pt x="410845" y="46990"/>
                    <a:pt x="408940" y="45720"/>
                    <a:pt x="406400" y="44450"/>
                  </a:cubicBezTo>
                  <a:cubicBezTo>
                    <a:pt x="403860" y="43180"/>
                    <a:pt x="401320" y="43180"/>
                    <a:pt x="398145" y="43180"/>
                  </a:cubicBezTo>
                  <a:close/>
                  <a:moveTo>
                    <a:pt x="320039" y="43180"/>
                  </a:moveTo>
                  <a:cubicBezTo>
                    <a:pt x="318134" y="43180"/>
                    <a:pt x="316229" y="43180"/>
                    <a:pt x="314959" y="43815"/>
                  </a:cubicBezTo>
                  <a:cubicBezTo>
                    <a:pt x="313054" y="43815"/>
                    <a:pt x="311784" y="45085"/>
                    <a:pt x="309879" y="45720"/>
                  </a:cubicBezTo>
                  <a:cubicBezTo>
                    <a:pt x="308609" y="46355"/>
                    <a:pt x="306704" y="47625"/>
                    <a:pt x="305434" y="48895"/>
                  </a:cubicBezTo>
                  <a:cubicBezTo>
                    <a:pt x="304164" y="50165"/>
                    <a:pt x="302894" y="51435"/>
                    <a:pt x="302259" y="52705"/>
                  </a:cubicBezTo>
                  <a:lnTo>
                    <a:pt x="302259" y="85725"/>
                  </a:lnTo>
                  <a:cubicBezTo>
                    <a:pt x="302259" y="85725"/>
                    <a:pt x="304164" y="88265"/>
                    <a:pt x="305434" y="89535"/>
                  </a:cubicBezTo>
                  <a:cubicBezTo>
                    <a:pt x="306704" y="90805"/>
                    <a:pt x="307974" y="92075"/>
                    <a:pt x="309879" y="92710"/>
                  </a:cubicBezTo>
                  <a:cubicBezTo>
                    <a:pt x="311784" y="93980"/>
                    <a:pt x="313054" y="94615"/>
                    <a:pt x="314959" y="95250"/>
                  </a:cubicBezTo>
                  <a:cubicBezTo>
                    <a:pt x="316864" y="95250"/>
                    <a:pt x="318769" y="95885"/>
                    <a:pt x="320674" y="95885"/>
                  </a:cubicBezTo>
                  <a:cubicBezTo>
                    <a:pt x="326389" y="95885"/>
                    <a:pt x="330199" y="93980"/>
                    <a:pt x="333374" y="89535"/>
                  </a:cubicBezTo>
                  <a:cubicBezTo>
                    <a:pt x="336549" y="85090"/>
                    <a:pt x="337819" y="79375"/>
                    <a:pt x="337819" y="71120"/>
                  </a:cubicBezTo>
                  <a:lnTo>
                    <a:pt x="337184" y="71755"/>
                  </a:lnTo>
                  <a:cubicBezTo>
                    <a:pt x="337184" y="62230"/>
                    <a:pt x="335914" y="54610"/>
                    <a:pt x="332739" y="50165"/>
                  </a:cubicBezTo>
                  <a:cubicBezTo>
                    <a:pt x="329564" y="45720"/>
                    <a:pt x="325119" y="43180"/>
                    <a:pt x="320039" y="43180"/>
                  </a:cubicBezTo>
                  <a:close/>
                  <a:moveTo>
                    <a:pt x="200025" y="43180"/>
                  </a:moveTo>
                  <a:cubicBezTo>
                    <a:pt x="197485" y="43180"/>
                    <a:pt x="194945" y="43180"/>
                    <a:pt x="193040" y="44450"/>
                  </a:cubicBezTo>
                  <a:cubicBezTo>
                    <a:pt x="191135" y="45085"/>
                    <a:pt x="189230" y="46355"/>
                    <a:pt x="187960" y="48260"/>
                  </a:cubicBezTo>
                  <a:cubicBezTo>
                    <a:pt x="186690" y="50165"/>
                    <a:pt x="185420" y="52070"/>
                    <a:pt x="184150" y="54610"/>
                  </a:cubicBezTo>
                  <a:cubicBezTo>
                    <a:pt x="183515" y="57150"/>
                    <a:pt x="182880" y="59690"/>
                    <a:pt x="182245" y="62865"/>
                  </a:cubicBezTo>
                  <a:lnTo>
                    <a:pt x="218440" y="62865"/>
                  </a:lnTo>
                  <a:cubicBezTo>
                    <a:pt x="218440" y="62865"/>
                    <a:pt x="217805" y="57785"/>
                    <a:pt x="217170" y="55245"/>
                  </a:cubicBezTo>
                  <a:cubicBezTo>
                    <a:pt x="216535" y="52705"/>
                    <a:pt x="215265" y="50800"/>
                    <a:pt x="213995" y="48895"/>
                  </a:cubicBezTo>
                  <a:cubicBezTo>
                    <a:pt x="212725" y="46990"/>
                    <a:pt x="210820" y="45720"/>
                    <a:pt x="208280" y="44450"/>
                  </a:cubicBezTo>
                  <a:cubicBezTo>
                    <a:pt x="205740" y="43180"/>
                    <a:pt x="203200" y="43180"/>
                    <a:pt x="200025" y="43180"/>
                  </a:cubicBezTo>
                  <a:close/>
                  <a:moveTo>
                    <a:pt x="4439281" y="43179"/>
                  </a:moveTo>
                  <a:cubicBezTo>
                    <a:pt x="4433566" y="43179"/>
                    <a:pt x="4429756" y="45084"/>
                    <a:pt x="4426581" y="49529"/>
                  </a:cubicBezTo>
                  <a:cubicBezTo>
                    <a:pt x="4423406" y="53974"/>
                    <a:pt x="4422136" y="59689"/>
                    <a:pt x="4422136" y="67944"/>
                  </a:cubicBezTo>
                  <a:cubicBezTo>
                    <a:pt x="4422136" y="73024"/>
                    <a:pt x="4422136" y="76834"/>
                    <a:pt x="4423406" y="80644"/>
                  </a:cubicBezTo>
                  <a:cubicBezTo>
                    <a:pt x="4424041" y="84454"/>
                    <a:pt x="4425311" y="86994"/>
                    <a:pt x="4426581" y="89534"/>
                  </a:cubicBezTo>
                  <a:cubicBezTo>
                    <a:pt x="4427851" y="92074"/>
                    <a:pt x="4429756" y="93344"/>
                    <a:pt x="4432296" y="94614"/>
                  </a:cubicBezTo>
                  <a:cubicBezTo>
                    <a:pt x="4434201" y="95884"/>
                    <a:pt x="4436741" y="96519"/>
                    <a:pt x="4439916" y="96519"/>
                  </a:cubicBezTo>
                  <a:cubicBezTo>
                    <a:pt x="4441821" y="96519"/>
                    <a:pt x="4443726" y="96519"/>
                    <a:pt x="4444996" y="95884"/>
                  </a:cubicBezTo>
                  <a:cubicBezTo>
                    <a:pt x="4446901" y="95884"/>
                    <a:pt x="4448171" y="94614"/>
                    <a:pt x="4450076" y="93344"/>
                  </a:cubicBezTo>
                  <a:cubicBezTo>
                    <a:pt x="4451346" y="92709"/>
                    <a:pt x="4453251" y="91439"/>
                    <a:pt x="4454521" y="90169"/>
                  </a:cubicBezTo>
                  <a:cubicBezTo>
                    <a:pt x="4455791" y="88899"/>
                    <a:pt x="4457061" y="87629"/>
                    <a:pt x="4457696" y="86359"/>
                  </a:cubicBezTo>
                  <a:lnTo>
                    <a:pt x="4457696" y="53339"/>
                  </a:lnTo>
                  <a:cubicBezTo>
                    <a:pt x="4457696" y="53339"/>
                    <a:pt x="4455791" y="50799"/>
                    <a:pt x="4454521" y="49529"/>
                  </a:cubicBezTo>
                  <a:cubicBezTo>
                    <a:pt x="4453251" y="48259"/>
                    <a:pt x="4451981" y="46989"/>
                    <a:pt x="4450076" y="46354"/>
                  </a:cubicBezTo>
                  <a:cubicBezTo>
                    <a:pt x="4448806" y="45084"/>
                    <a:pt x="4446901" y="44449"/>
                    <a:pt x="4444996" y="43814"/>
                  </a:cubicBezTo>
                  <a:cubicBezTo>
                    <a:pt x="4443091" y="43814"/>
                    <a:pt x="4441186" y="43179"/>
                    <a:pt x="4439281" y="43179"/>
                  </a:cubicBezTo>
                  <a:close/>
                  <a:moveTo>
                    <a:pt x="1014731" y="43179"/>
                  </a:moveTo>
                  <a:cubicBezTo>
                    <a:pt x="1009016" y="43179"/>
                    <a:pt x="1005206" y="45084"/>
                    <a:pt x="1002032" y="49529"/>
                  </a:cubicBezTo>
                  <a:cubicBezTo>
                    <a:pt x="998856" y="53974"/>
                    <a:pt x="997587" y="59689"/>
                    <a:pt x="997587" y="67944"/>
                  </a:cubicBezTo>
                  <a:cubicBezTo>
                    <a:pt x="997587" y="77469"/>
                    <a:pt x="998856" y="84454"/>
                    <a:pt x="1002032" y="88899"/>
                  </a:cubicBezTo>
                  <a:cubicBezTo>
                    <a:pt x="1005206" y="93979"/>
                    <a:pt x="1009016" y="95884"/>
                    <a:pt x="1015367" y="95884"/>
                  </a:cubicBezTo>
                  <a:cubicBezTo>
                    <a:pt x="1018541" y="95884"/>
                    <a:pt x="1022352" y="95249"/>
                    <a:pt x="1024891" y="93344"/>
                  </a:cubicBezTo>
                  <a:cubicBezTo>
                    <a:pt x="1028067" y="91439"/>
                    <a:pt x="1030607" y="88899"/>
                    <a:pt x="1033147" y="86359"/>
                  </a:cubicBezTo>
                  <a:lnTo>
                    <a:pt x="1033147" y="53339"/>
                  </a:lnTo>
                  <a:cubicBezTo>
                    <a:pt x="1033147" y="53339"/>
                    <a:pt x="1031242" y="50799"/>
                    <a:pt x="1029971" y="49529"/>
                  </a:cubicBezTo>
                  <a:cubicBezTo>
                    <a:pt x="1028702" y="48259"/>
                    <a:pt x="1027431" y="46989"/>
                    <a:pt x="1025526" y="46354"/>
                  </a:cubicBezTo>
                  <a:cubicBezTo>
                    <a:pt x="1023621" y="45084"/>
                    <a:pt x="1022352" y="44449"/>
                    <a:pt x="1020446" y="43814"/>
                  </a:cubicBezTo>
                  <a:cubicBezTo>
                    <a:pt x="1018541" y="43179"/>
                    <a:pt x="1016636" y="43179"/>
                    <a:pt x="1014731" y="43179"/>
                  </a:cubicBezTo>
                  <a:close/>
                  <a:moveTo>
                    <a:pt x="4524370" y="31114"/>
                  </a:moveTo>
                  <a:lnTo>
                    <a:pt x="4538975" y="31114"/>
                  </a:lnTo>
                  <a:lnTo>
                    <a:pt x="4552310" y="84454"/>
                  </a:lnTo>
                  <a:lnTo>
                    <a:pt x="4566915" y="31114"/>
                  </a:lnTo>
                  <a:lnTo>
                    <a:pt x="4579615" y="31114"/>
                  </a:lnTo>
                  <a:lnTo>
                    <a:pt x="4594220" y="84454"/>
                  </a:lnTo>
                  <a:lnTo>
                    <a:pt x="4606920" y="31114"/>
                  </a:lnTo>
                  <a:lnTo>
                    <a:pt x="4622160" y="31114"/>
                  </a:lnTo>
                  <a:lnTo>
                    <a:pt x="4600570" y="108584"/>
                  </a:lnTo>
                  <a:lnTo>
                    <a:pt x="4587235" y="108584"/>
                  </a:lnTo>
                  <a:lnTo>
                    <a:pt x="4572630" y="54609"/>
                  </a:lnTo>
                  <a:lnTo>
                    <a:pt x="4558660" y="108584"/>
                  </a:lnTo>
                  <a:lnTo>
                    <a:pt x="4545325" y="108584"/>
                  </a:lnTo>
                  <a:close/>
                  <a:moveTo>
                    <a:pt x="4123686" y="31114"/>
                  </a:moveTo>
                  <a:lnTo>
                    <a:pt x="4138926" y="31114"/>
                  </a:lnTo>
                  <a:lnTo>
                    <a:pt x="4152261" y="84454"/>
                  </a:lnTo>
                  <a:lnTo>
                    <a:pt x="4166866" y="31114"/>
                  </a:lnTo>
                  <a:lnTo>
                    <a:pt x="4178931" y="31114"/>
                  </a:lnTo>
                  <a:lnTo>
                    <a:pt x="4193536" y="84454"/>
                  </a:lnTo>
                  <a:lnTo>
                    <a:pt x="4206871" y="31114"/>
                  </a:lnTo>
                  <a:lnTo>
                    <a:pt x="4222111" y="31114"/>
                  </a:lnTo>
                  <a:lnTo>
                    <a:pt x="4200521" y="108584"/>
                  </a:lnTo>
                  <a:lnTo>
                    <a:pt x="4187186" y="108584"/>
                  </a:lnTo>
                  <a:lnTo>
                    <a:pt x="4172581" y="54609"/>
                  </a:lnTo>
                  <a:lnTo>
                    <a:pt x="4157976" y="108584"/>
                  </a:lnTo>
                  <a:lnTo>
                    <a:pt x="4145276" y="108584"/>
                  </a:lnTo>
                  <a:close/>
                  <a:moveTo>
                    <a:pt x="2837811" y="31114"/>
                  </a:moveTo>
                  <a:lnTo>
                    <a:pt x="2852416" y="31114"/>
                  </a:lnTo>
                  <a:lnTo>
                    <a:pt x="2865751" y="84454"/>
                  </a:lnTo>
                  <a:lnTo>
                    <a:pt x="2880356" y="31114"/>
                  </a:lnTo>
                  <a:lnTo>
                    <a:pt x="2893056" y="31114"/>
                  </a:lnTo>
                  <a:lnTo>
                    <a:pt x="2907661" y="84454"/>
                  </a:lnTo>
                  <a:lnTo>
                    <a:pt x="2920361" y="31114"/>
                  </a:lnTo>
                  <a:lnTo>
                    <a:pt x="2935601" y="31114"/>
                  </a:lnTo>
                  <a:lnTo>
                    <a:pt x="2914011" y="108584"/>
                  </a:lnTo>
                  <a:lnTo>
                    <a:pt x="2900676" y="108584"/>
                  </a:lnTo>
                  <a:lnTo>
                    <a:pt x="2886706" y="54609"/>
                  </a:lnTo>
                  <a:lnTo>
                    <a:pt x="2872101" y="108584"/>
                  </a:lnTo>
                  <a:lnTo>
                    <a:pt x="2858766" y="108584"/>
                  </a:lnTo>
                  <a:close/>
                  <a:moveTo>
                    <a:pt x="1354455" y="31114"/>
                  </a:moveTo>
                  <a:lnTo>
                    <a:pt x="1369695" y="31114"/>
                  </a:lnTo>
                  <a:lnTo>
                    <a:pt x="1369695" y="109219"/>
                  </a:lnTo>
                  <a:lnTo>
                    <a:pt x="1354455" y="109219"/>
                  </a:lnTo>
                  <a:close/>
                  <a:moveTo>
                    <a:pt x="2646040" y="29844"/>
                  </a:moveTo>
                  <a:cubicBezTo>
                    <a:pt x="2650485" y="29844"/>
                    <a:pt x="2654295" y="29844"/>
                    <a:pt x="2658105" y="31749"/>
                  </a:cubicBezTo>
                  <a:cubicBezTo>
                    <a:pt x="2661915" y="33019"/>
                    <a:pt x="2665090" y="34289"/>
                    <a:pt x="2667630" y="36829"/>
                  </a:cubicBezTo>
                  <a:cubicBezTo>
                    <a:pt x="2670170" y="38734"/>
                    <a:pt x="2672075" y="41909"/>
                    <a:pt x="2673345" y="45084"/>
                  </a:cubicBezTo>
                  <a:cubicBezTo>
                    <a:pt x="2674615" y="48259"/>
                    <a:pt x="2675250" y="52069"/>
                    <a:pt x="2675250" y="56514"/>
                  </a:cubicBezTo>
                  <a:lnTo>
                    <a:pt x="2675250" y="109854"/>
                  </a:lnTo>
                  <a:lnTo>
                    <a:pt x="2660010" y="109854"/>
                  </a:lnTo>
                  <a:lnTo>
                    <a:pt x="2660010" y="108584"/>
                  </a:lnTo>
                  <a:lnTo>
                    <a:pt x="2660010" y="100964"/>
                  </a:lnTo>
                  <a:cubicBezTo>
                    <a:pt x="2660010" y="100964"/>
                    <a:pt x="2656200" y="104139"/>
                    <a:pt x="2654930" y="104774"/>
                  </a:cubicBezTo>
                  <a:cubicBezTo>
                    <a:pt x="2653660" y="105409"/>
                    <a:pt x="2652390" y="106679"/>
                    <a:pt x="2651120" y="107314"/>
                  </a:cubicBezTo>
                  <a:cubicBezTo>
                    <a:pt x="2649850" y="107949"/>
                    <a:pt x="2647945" y="108584"/>
                    <a:pt x="2646040" y="109219"/>
                  </a:cubicBezTo>
                  <a:cubicBezTo>
                    <a:pt x="2644135" y="109219"/>
                    <a:pt x="2641595" y="109854"/>
                    <a:pt x="2639055" y="109854"/>
                  </a:cubicBezTo>
                  <a:cubicBezTo>
                    <a:pt x="2635880" y="109854"/>
                    <a:pt x="2632705" y="109854"/>
                    <a:pt x="2629530" y="108584"/>
                  </a:cubicBezTo>
                  <a:cubicBezTo>
                    <a:pt x="2626355" y="107949"/>
                    <a:pt x="2623180" y="106044"/>
                    <a:pt x="2620640" y="104139"/>
                  </a:cubicBezTo>
                  <a:cubicBezTo>
                    <a:pt x="2618100" y="102234"/>
                    <a:pt x="2616195" y="99059"/>
                    <a:pt x="2614290" y="95884"/>
                  </a:cubicBezTo>
                  <a:cubicBezTo>
                    <a:pt x="2612385" y="92709"/>
                    <a:pt x="2611750" y="88264"/>
                    <a:pt x="2611750" y="83819"/>
                  </a:cubicBezTo>
                  <a:cubicBezTo>
                    <a:pt x="2611750" y="79374"/>
                    <a:pt x="2612385" y="75564"/>
                    <a:pt x="2614290" y="72389"/>
                  </a:cubicBezTo>
                  <a:cubicBezTo>
                    <a:pt x="2615560" y="69214"/>
                    <a:pt x="2618100" y="66674"/>
                    <a:pt x="2620640" y="64769"/>
                  </a:cubicBezTo>
                  <a:cubicBezTo>
                    <a:pt x="2623180" y="62864"/>
                    <a:pt x="2626990" y="60959"/>
                    <a:pt x="2630800" y="60324"/>
                  </a:cubicBezTo>
                  <a:cubicBezTo>
                    <a:pt x="2634610" y="59054"/>
                    <a:pt x="2638420" y="59054"/>
                    <a:pt x="2642865" y="59054"/>
                  </a:cubicBezTo>
                  <a:cubicBezTo>
                    <a:pt x="2646675" y="59054"/>
                    <a:pt x="2650485" y="59054"/>
                    <a:pt x="2653025" y="59689"/>
                  </a:cubicBezTo>
                  <a:cubicBezTo>
                    <a:pt x="2655565" y="59689"/>
                    <a:pt x="2658105" y="60959"/>
                    <a:pt x="2660010" y="61594"/>
                  </a:cubicBezTo>
                  <a:lnTo>
                    <a:pt x="2660010" y="55879"/>
                  </a:lnTo>
                  <a:cubicBezTo>
                    <a:pt x="2660010" y="51434"/>
                    <a:pt x="2658740" y="48259"/>
                    <a:pt x="2656200" y="46354"/>
                  </a:cubicBezTo>
                  <a:cubicBezTo>
                    <a:pt x="2653660" y="43814"/>
                    <a:pt x="2649850" y="43179"/>
                    <a:pt x="2645405" y="43179"/>
                  </a:cubicBezTo>
                  <a:cubicBezTo>
                    <a:pt x="2641595" y="43179"/>
                    <a:pt x="2637785" y="43179"/>
                    <a:pt x="2634610" y="44449"/>
                  </a:cubicBezTo>
                  <a:cubicBezTo>
                    <a:pt x="2631435" y="45084"/>
                    <a:pt x="2628260" y="46354"/>
                    <a:pt x="2625085" y="48259"/>
                  </a:cubicBezTo>
                  <a:lnTo>
                    <a:pt x="2619370" y="36829"/>
                  </a:lnTo>
                  <a:cubicBezTo>
                    <a:pt x="2623180" y="34289"/>
                    <a:pt x="2626990" y="33019"/>
                    <a:pt x="2631435" y="31749"/>
                  </a:cubicBezTo>
                  <a:cubicBezTo>
                    <a:pt x="2635880" y="30479"/>
                    <a:pt x="2640325" y="29844"/>
                    <a:pt x="2646040" y="29844"/>
                  </a:cubicBezTo>
                  <a:close/>
                  <a:moveTo>
                    <a:pt x="1114426" y="29844"/>
                  </a:moveTo>
                  <a:lnTo>
                    <a:pt x="1129666" y="29844"/>
                  </a:lnTo>
                  <a:lnTo>
                    <a:pt x="1129666" y="107949"/>
                  </a:lnTo>
                  <a:lnTo>
                    <a:pt x="1114426" y="107949"/>
                  </a:lnTo>
                  <a:lnTo>
                    <a:pt x="1114426" y="100964"/>
                  </a:lnTo>
                  <a:cubicBezTo>
                    <a:pt x="1114426" y="100964"/>
                    <a:pt x="1109981" y="106044"/>
                    <a:pt x="1106171" y="107314"/>
                  </a:cubicBezTo>
                  <a:cubicBezTo>
                    <a:pt x="1102996" y="109219"/>
                    <a:pt x="1098551" y="109854"/>
                    <a:pt x="1094741" y="109854"/>
                  </a:cubicBezTo>
                  <a:cubicBezTo>
                    <a:pt x="1085851" y="109854"/>
                    <a:pt x="1078866" y="106679"/>
                    <a:pt x="1073786" y="100964"/>
                  </a:cubicBezTo>
                  <a:cubicBezTo>
                    <a:pt x="1069341" y="95249"/>
                    <a:pt x="1066800" y="86359"/>
                    <a:pt x="1066800" y="74929"/>
                  </a:cubicBezTo>
                  <a:lnTo>
                    <a:pt x="1066800" y="30479"/>
                  </a:lnTo>
                  <a:lnTo>
                    <a:pt x="1082040" y="30479"/>
                  </a:lnTo>
                  <a:lnTo>
                    <a:pt x="1082040" y="74294"/>
                  </a:lnTo>
                  <a:cubicBezTo>
                    <a:pt x="1082040" y="81279"/>
                    <a:pt x="1083311" y="86994"/>
                    <a:pt x="1085851" y="90169"/>
                  </a:cubicBezTo>
                  <a:cubicBezTo>
                    <a:pt x="1088390" y="93979"/>
                    <a:pt x="1092201" y="95249"/>
                    <a:pt x="1097916" y="95249"/>
                  </a:cubicBezTo>
                  <a:cubicBezTo>
                    <a:pt x="1102996" y="95249"/>
                    <a:pt x="1106806" y="93344"/>
                    <a:pt x="1109981" y="90169"/>
                  </a:cubicBezTo>
                  <a:cubicBezTo>
                    <a:pt x="1112521" y="86994"/>
                    <a:pt x="1114426" y="81914"/>
                    <a:pt x="1114426" y="75564"/>
                  </a:cubicBezTo>
                  <a:close/>
                  <a:moveTo>
                    <a:pt x="1011556" y="29844"/>
                  </a:moveTo>
                  <a:cubicBezTo>
                    <a:pt x="1013461" y="29844"/>
                    <a:pt x="1015367" y="29844"/>
                    <a:pt x="1017272" y="30479"/>
                  </a:cubicBezTo>
                  <a:cubicBezTo>
                    <a:pt x="1019176" y="30479"/>
                    <a:pt x="1021081" y="31749"/>
                    <a:pt x="1022352" y="32384"/>
                  </a:cubicBezTo>
                  <a:cubicBezTo>
                    <a:pt x="1024257" y="33019"/>
                    <a:pt x="1025526" y="34289"/>
                    <a:pt x="1026797" y="35559"/>
                  </a:cubicBezTo>
                  <a:cubicBezTo>
                    <a:pt x="1028067" y="36829"/>
                    <a:pt x="1029336" y="37464"/>
                    <a:pt x="1030607" y="38734"/>
                  </a:cubicBezTo>
                  <a:lnTo>
                    <a:pt x="1030607" y="31749"/>
                  </a:lnTo>
                  <a:lnTo>
                    <a:pt x="1045847" y="31749"/>
                  </a:lnTo>
                  <a:lnTo>
                    <a:pt x="1045847" y="130809"/>
                  </a:lnTo>
                  <a:lnTo>
                    <a:pt x="1032512" y="137477"/>
                  </a:lnTo>
                  <a:lnTo>
                    <a:pt x="1032512" y="101599"/>
                  </a:lnTo>
                  <a:cubicBezTo>
                    <a:pt x="1032512" y="101599"/>
                    <a:pt x="1026797" y="106679"/>
                    <a:pt x="1022986" y="107949"/>
                  </a:cubicBezTo>
                  <a:cubicBezTo>
                    <a:pt x="1019812" y="109854"/>
                    <a:pt x="1016001" y="110489"/>
                    <a:pt x="1011556" y="110489"/>
                  </a:cubicBezTo>
                  <a:cubicBezTo>
                    <a:pt x="1007111" y="110489"/>
                    <a:pt x="1003301" y="109854"/>
                    <a:pt x="999491" y="107949"/>
                  </a:cubicBezTo>
                  <a:cubicBezTo>
                    <a:pt x="995681" y="106679"/>
                    <a:pt x="992506" y="104139"/>
                    <a:pt x="989966" y="100329"/>
                  </a:cubicBezTo>
                  <a:cubicBezTo>
                    <a:pt x="987426" y="97154"/>
                    <a:pt x="984886" y="92709"/>
                    <a:pt x="983616" y="87629"/>
                  </a:cubicBezTo>
                  <a:cubicBezTo>
                    <a:pt x="982346" y="82549"/>
                    <a:pt x="981076" y="76199"/>
                    <a:pt x="981076" y="68579"/>
                  </a:cubicBezTo>
                  <a:cubicBezTo>
                    <a:pt x="981076" y="61594"/>
                    <a:pt x="981711" y="55879"/>
                    <a:pt x="983616" y="51434"/>
                  </a:cubicBezTo>
                  <a:cubicBezTo>
                    <a:pt x="985521" y="46354"/>
                    <a:pt x="987426" y="42544"/>
                    <a:pt x="990601" y="39369"/>
                  </a:cubicBezTo>
                  <a:cubicBezTo>
                    <a:pt x="993142" y="36194"/>
                    <a:pt x="996951" y="33654"/>
                    <a:pt x="1000126" y="32384"/>
                  </a:cubicBezTo>
                  <a:cubicBezTo>
                    <a:pt x="1003937" y="31114"/>
                    <a:pt x="1007746" y="29844"/>
                    <a:pt x="1011556" y="29844"/>
                  </a:cubicBezTo>
                  <a:close/>
                  <a:moveTo>
                    <a:pt x="4871716" y="29210"/>
                  </a:moveTo>
                  <a:cubicBezTo>
                    <a:pt x="4876796" y="29210"/>
                    <a:pt x="4881241" y="29845"/>
                    <a:pt x="4885686" y="31750"/>
                  </a:cubicBezTo>
                  <a:cubicBezTo>
                    <a:pt x="4890131" y="33655"/>
                    <a:pt x="4894576" y="35560"/>
                    <a:pt x="4897751" y="38100"/>
                  </a:cubicBezTo>
                  <a:lnTo>
                    <a:pt x="4899021" y="38100"/>
                  </a:lnTo>
                  <a:lnTo>
                    <a:pt x="4892036" y="50165"/>
                  </a:lnTo>
                  <a:cubicBezTo>
                    <a:pt x="4888861" y="47625"/>
                    <a:pt x="4885686" y="46355"/>
                    <a:pt x="4882511" y="45085"/>
                  </a:cubicBezTo>
                  <a:cubicBezTo>
                    <a:pt x="4879336" y="43815"/>
                    <a:pt x="4875526" y="43180"/>
                    <a:pt x="4872351" y="43180"/>
                  </a:cubicBezTo>
                  <a:cubicBezTo>
                    <a:pt x="4869176" y="43180"/>
                    <a:pt x="4866001" y="43815"/>
                    <a:pt x="4864096" y="45085"/>
                  </a:cubicBezTo>
                  <a:cubicBezTo>
                    <a:pt x="4862191" y="46355"/>
                    <a:pt x="4861556" y="48260"/>
                    <a:pt x="4861556" y="50165"/>
                  </a:cubicBezTo>
                  <a:cubicBezTo>
                    <a:pt x="4861556" y="51435"/>
                    <a:pt x="4861556" y="52070"/>
                    <a:pt x="4861556" y="52705"/>
                  </a:cubicBezTo>
                  <a:cubicBezTo>
                    <a:pt x="4861556" y="53340"/>
                    <a:pt x="4862826" y="54610"/>
                    <a:pt x="4863461" y="55245"/>
                  </a:cubicBezTo>
                  <a:cubicBezTo>
                    <a:pt x="4864731" y="55880"/>
                    <a:pt x="4866001" y="57150"/>
                    <a:pt x="4867906" y="57785"/>
                  </a:cubicBezTo>
                  <a:cubicBezTo>
                    <a:pt x="4869811" y="59055"/>
                    <a:pt x="4872351" y="59690"/>
                    <a:pt x="4874891" y="60960"/>
                  </a:cubicBezTo>
                  <a:cubicBezTo>
                    <a:pt x="4879336" y="62865"/>
                    <a:pt x="4883146" y="64135"/>
                    <a:pt x="4886321" y="66040"/>
                  </a:cubicBezTo>
                  <a:cubicBezTo>
                    <a:pt x="4889496" y="67310"/>
                    <a:pt x="4892036" y="69215"/>
                    <a:pt x="4894576" y="71120"/>
                  </a:cubicBezTo>
                  <a:cubicBezTo>
                    <a:pt x="4896481" y="73025"/>
                    <a:pt x="4898386" y="75565"/>
                    <a:pt x="4899656" y="78105"/>
                  </a:cubicBezTo>
                  <a:cubicBezTo>
                    <a:pt x="4900926" y="80645"/>
                    <a:pt x="4901561" y="83820"/>
                    <a:pt x="4901561" y="87630"/>
                  </a:cubicBezTo>
                  <a:cubicBezTo>
                    <a:pt x="4901561" y="92075"/>
                    <a:pt x="4900926" y="95250"/>
                    <a:pt x="4899021" y="98425"/>
                  </a:cubicBezTo>
                  <a:cubicBezTo>
                    <a:pt x="4897116" y="101600"/>
                    <a:pt x="4895211" y="103505"/>
                    <a:pt x="4892671" y="105410"/>
                  </a:cubicBezTo>
                  <a:cubicBezTo>
                    <a:pt x="4890131" y="107315"/>
                    <a:pt x="4886956" y="108585"/>
                    <a:pt x="4883146" y="109220"/>
                  </a:cubicBezTo>
                  <a:cubicBezTo>
                    <a:pt x="4879336" y="109855"/>
                    <a:pt x="4876161" y="110490"/>
                    <a:pt x="4872351" y="110490"/>
                  </a:cubicBezTo>
                  <a:cubicBezTo>
                    <a:pt x="4867271" y="110490"/>
                    <a:pt x="4862191" y="109855"/>
                    <a:pt x="4857111" y="107950"/>
                  </a:cubicBezTo>
                  <a:cubicBezTo>
                    <a:pt x="4851396" y="106045"/>
                    <a:pt x="4846951" y="103505"/>
                    <a:pt x="4842506" y="100965"/>
                  </a:cubicBezTo>
                  <a:lnTo>
                    <a:pt x="4849491" y="89535"/>
                  </a:lnTo>
                  <a:cubicBezTo>
                    <a:pt x="4853301" y="92075"/>
                    <a:pt x="4857111" y="93980"/>
                    <a:pt x="4860921" y="95250"/>
                  </a:cubicBezTo>
                  <a:cubicBezTo>
                    <a:pt x="4864731" y="96520"/>
                    <a:pt x="4868541" y="97155"/>
                    <a:pt x="4872351" y="97155"/>
                  </a:cubicBezTo>
                  <a:cubicBezTo>
                    <a:pt x="4877431" y="97155"/>
                    <a:pt x="4880606" y="96520"/>
                    <a:pt x="4883146" y="94615"/>
                  </a:cubicBezTo>
                  <a:cubicBezTo>
                    <a:pt x="4885686" y="93345"/>
                    <a:pt x="4886321" y="90805"/>
                    <a:pt x="4886321" y="88265"/>
                  </a:cubicBezTo>
                  <a:cubicBezTo>
                    <a:pt x="4886321" y="86995"/>
                    <a:pt x="4886321" y="85725"/>
                    <a:pt x="4885051" y="84455"/>
                  </a:cubicBezTo>
                  <a:cubicBezTo>
                    <a:pt x="4884416" y="83185"/>
                    <a:pt x="4883146" y="82550"/>
                    <a:pt x="4881241" y="81280"/>
                  </a:cubicBezTo>
                  <a:cubicBezTo>
                    <a:pt x="4879971" y="80010"/>
                    <a:pt x="4878066" y="79375"/>
                    <a:pt x="4875526" y="78105"/>
                  </a:cubicBezTo>
                  <a:cubicBezTo>
                    <a:pt x="4872986" y="77470"/>
                    <a:pt x="4871081" y="76200"/>
                    <a:pt x="4867906" y="74930"/>
                  </a:cubicBezTo>
                  <a:cubicBezTo>
                    <a:pt x="4863461" y="73025"/>
                    <a:pt x="4860286" y="71755"/>
                    <a:pt x="4857111" y="69850"/>
                  </a:cubicBezTo>
                  <a:cubicBezTo>
                    <a:pt x="4853936" y="67945"/>
                    <a:pt x="4852031" y="66675"/>
                    <a:pt x="4850126" y="64770"/>
                  </a:cubicBezTo>
                  <a:cubicBezTo>
                    <a:pt x="4848221" y="62865"/>
                    <a:pt x="4846951" y="60960"/>
                    <a:pt x="4846316" y="58420"/>
                  </a:cubicBezTo>
                  <a:cubicBezTo>
                    <a:pt x="4845681" y="55880"/>
                    <a:pt x="4845046" y="53340"/>
                    <a:pt x="4845046" y="50165"/>
                  </a:cubicBezTo>
                  <a:cubicBezTo>
                    <a:pt x="4845046" y="46990"/>
                    <a:pt x="4845681" y="43815"/>
                    <a:pt x="4846951" y="40640"/>
                  </a:cubicBezTo>
                  <a:cubicBezTo>
                    <a:pt x="4848221" y="38100"/>
                    <a:pt x="4850126" y="35560"/>
                    <a:pt x="4852666" y="34290"/>
                  </a:cubicBezTo>
                  <a:cubicBezTo>
                    <a:pt x="4855206" y="32385"/>
                    <a:pt x="4857746" y="31115"/>
                    <a:pt x="4860921" y="30480"/>
                  </a:cubicBezTo>
                  <a:cubicBezTo>
                    <a:pt x="4864096" y="29845"/>
                    <a:pt x="4867906" y="29210"/>
                    <a:pt x="4871716" y="29210"/>
                  </a:cubicBezTo>
                  <a:close/>
                  <a:moveTo>
                    <a:pt x="4749796" y="29210"/>
                  </a:moveTo>
                  <a:cubicBezTo>
                    <a:pt x="4752971" y="29210"/>
                    <a:pt x="4755511" y="29210"/>
                    <a:pt x="4757416" y="29845"/>
                  </a:cubicBezTo>
                  <a:cubicBezTo>
                    <a:pt x="4759321" y="30480"/>
                    <a:pt x="4761226" y="31115"/>
                    <a:pt x="4763131" y="32385"/>
                  </a:cubicBezTo>
                  <a:lnTo>
                    <a:pt x="4759321" y="46990"/>
                  </a:lnTo>
                  <a:lnTo>
                    <a:pt x="4758051" y="46990"/>
                  </a:lnTo>
                  <a:cubicBezTo>
                    <a:pt x="4758051" y="46990"/>
                    <a:pt x="4754876" y="45085"/>
                    <a:pt x="4752971" y="45085"/>
                  </a:cubicBezTo>
                  <a:cubicBezTo>
                    <a:pt x="4751066" y="45085"/>
                    <a:pt x="4749161" y="44450"/>
                    <a:pt x="4746621" y="44450"/>
                  </a:cubicBezTo>
                  <a:cubicBezTo>
                    <a:pt x="4741541" y="44450"/>
                    <a:pt x="4737731" y="46355"/>
                    <a:pt x="4735191" y="49530"/>
                  </a:cubicBezTo>
                  <a:cubicBezTo>
                    <a:pt x="4732651" y="52705"/>
                    <a:pt x="4731381" y="57785"/>
                    <a:pt x="4731381" y="64770"/>
                  </a:cubicBezTo>
                  <a:lnTo>
                    <a:pt x="4731381" y="109220"/>
                  </a:lnTo>
                  <a:lnTo>
                    <a:pt x="4716141" y="109220"/>
                  </a:lnTo>
                  <a:lnTo>
                    <a:pt x="4716141" y="31115"/>
                  </a:lnTo>
                  <a:lnTo>
                    <a:pt x="4731381" y="31115"/>
                  </a:lnTo>
                  <a:lnTo>
                    <a:pt x="4731381" y="38735"/>
                  </a:lnTo>
                  <a:cubicBezTo>
                    <a:pt x="4731381" y="38735"/>
                    <a:pt x="4733286" y="36195"/>
                    <a:pt x="4734556" y="34925"/>
                  </a:cubicBezTo>
                  <a:cubicBezTo>
                    <a:pt x="4735826" y="33655"/>
                    <a:pt x="4737096" y="33020"/>
                    <a:pt x="4739001" y="31750"/>
                  </a:cubicBezTo>
                  <a:cubicBezTo>
                    <a:pt x="4740271" y="31115"/>
                    <a:pt x="4742176" y="30480"/>
                    <a:pt x="4744081" y="29845"/>
                  </a:cubicBezTo>
                  <a:cubicBezTo>
                    <a:pt x="4745986" y="29845"/>
                    <a:pt x="4747891" y="29210"/>
                    <a:pt x="4749796" y="29210"/>
                  </a:cubicBezTo>
                  <a:close/>
                  <a:moveTo>
                    <a:pt x="4349110" y="29210"/>
                  </a:moveTo>
                  <a:cubicBezTo>
                    <a:pt x="4352285" y="29210"/>
                    <a:pt x="4354825" y="29210"/>
                    <a:pt x="4356730" y="29845"/>
                  </a:cubicBezTo>
                  <a:cubicBezTo>
                    <a:pt x="4358635" y="29845"/>
                    <a:pt x="4360540" y="31115"/>
                    <a:pt x="4362445" y="32385"/>
                  </a:cubicBezTo>
                  <a:lnTo>
                    <a:pt x="4358635" y="46990"/>
                  </a:lnTo>
                  <a:lnTo>
                    <a:pt x="4357365" y="46990"/>
                  </a:lnTo>
                  <a:cubicBezTo>
                    <a:pt x="4357365" y="46990"/>
                    <a:pt x="4354190" y="45085"/>
                    <a:pt x="4352285" y="45085"/>
                  </a:cubicBezTo>
                  <a:cubicBezTo>
                    <a:pt x="4350380" y="45085"/>
                    <a:pt x="4348475" y="44450"/>
                    <a:pt x="4345935" y="44450"/>
                  </a:cubicBezTo>
                  <a:cubicBezTo>
                    <a:pt x="4340855" y="44450"/>
                    <a:pt x="4337045" y="46355"/>
                    <a:pt x="4334505" y="49530"/>
                  </a:cubicBezTo>
                  <a:cubicBezTo>
                    <a:pt x="4331965" y="52705"/>
                    <a:pt x="4330695" y="57785"/>
                    <a:pt x="4330695" y="64770"/>
                  </a:cubicBezTo>
                  <a:lnTo>
                    <a:pt x="4330695" y="109220"/>
                  </a:lnTo>
                  <a:lnTo>
                    <a:pt x="4315455" y="109220"/>
                  </a:lnTo>
                  <a:lnTo>
                    <a:pt x="4315455" y="31115"/>
                  </a:lnTo>
                  <a:lnTo>
                    <a:pt x="4330695" y="31115"/>
                  </a:lnTo>
                  <a:lnTo>
                    <a:pt x="4330695" y="38735"/>
                  </a:lnTo>
                  <a:cubicBezTo>
                    <a:pt x="4330695" y="38735"/>
                    <a:pt x="4332600" y="36195"/>
                    <a:pt x="4333870" y="34925"/>
                  </a:cubicBezTo>
                  <a:cubicBezTo>
                    <a:pt x="4335140" y="33655"/>
                    <a:pt x="4336410" y="33020"/>
                    <a:pt x="4338315" y="31750"/>
                  </a:cubicBezTo>
                  <a:cubicBezTo>
                    <a:pt x="4339585" y="31115"/>
                    <a:pt x="4341490" y="30480"/>
                    <a:pt x="4343395" y="29845"/>
                  </a:cubicBezTo>
                  <a:cubicBezTo>
                    <a:pt x="4345300" y="29845"/>
                    <a:pt x="4347205" y="29210"/>
                    <a:pt x="4349110" y="29210"/>
                  </a:cubicBezTo>
                  <a:close/>
                  <a:moveTo>
                    <a:pt x="4044310" y="29210"/>
                  </a:moveTo>
                  <a:cubicBezTo>
                    <a:pt x="4050025" y="29210"/>
                    <a:pt x="4054470" y="30480"/>
                    <a:pt x="4058915" y="32385"/>
                  </a:cubicBezTo>
                  <a:cubicBezTo>
                    <a:pt x="4062725" y="34290"/>
                    <a:pt x="4066535" y="37465"/>
                    <a:pt x="4069075" y="40640"/>
                  </a:cubicBezTo>
                  <a:cubicBezTo>
                    <a:pt x="4071615" y="44450"/>
                    <a:pt x="4073520" y="48260"/>
                    <a:pt x="4075425" y="53340"/>
                  </a:cubicBezTo>
                  <a:cubicBezTo>
                    <a:pt x="4076695" y="57785"/>
                    <a:pt x="4077330" y="62865"/>
                    <a:pt x="4077330" y="68580"/>
                  </a:cubicBezTo>
                  <a:lnTo>
                    <a:pt x="4076060" y="68580"/>
                  </a:lnTo>
                  <a:cubicBezTo>
                    <a:pt x="4076060" y="68580"/>
                    <a:pt x="4076060" y="71120"/>
                    <a:pt x="4076060" y="72390"/>
                  </a:cubicBezTo>
                  <a:cubicBezTo>
                    <a:pt x="4076060" y="73660"/>
                    <a:pt x="4076060" y="74295"/>
                    <a:pt x="4076060" y="75565"/>
                  </a:cubicBezTo>
                  <a:lnTo>
                    <a:pt x="4024625" y="75565"/>
                  </a:lnTo>
                  <a:cubicBezTo>
                    <a:pt x="4024625" y="79375"/>
                    <a:pt x="4025895" y="82550"/>
                    <a:pt x="4027165" y="85090"/>
                  </a:cubicBezTo>
                  <a:cubicBezTo>
                    <a:pt x="4028435" y="87630"/>
                    <a:pt x="4029705" y="90170"/>
                    <a:pt x="4031610" y="91440"/>
                  </a:cubicBezTo>
                  <a:cubicBezTo>
                    <a:pt x="4033515" y="93345"/>
                    <a:pt x="4035420" y="94615"/>
                    <a:pt x="4037325" y="95250"/>
                  </a:cubicBezTo>
                  <a:cubicBezTo>
                    <a:pt x="4039230" y="95885"/>
                    <a:pt x="4041770" y="96520"/>
                    <a:pt x="4044310" y="96520"/>
                  </a:cubicBezTo>
                  <a:cubicBezTo>
                    <a:pt x="4046215" y="96520"/>
                    <a:pt x="4047485" y="96520"/>
                    <a:pt x="4049390" y="96520"/>
                  </a:cubicBezTo>
                  <a:cubicBezTo>
                    <a:pt x="4050660" y="96520"/>
                    <a:pt x="4052565" y="95885"/>
                    <a:pt x="4053835" y="95250"/>
                  </a:cubicBezTo>
                  <a:cubicBezTo>
                    <a:pt x="4055105" y="95250"/>
                    <a:pt x="4056375" y="93980"/>
                    <a:pt x="4057645" y="93345"/>
                  </a:cubicBezTo>
                  <a:cubicBezTo>
                    <a:pt x="4058915" y="93345"/>
                    <a:pt x="4060185" y="92075"/>
                    <a:pt x="4062090" y="90805"/>
                  </a:cubicBezTo>
                  <a:lnTo>
                    <a:pt x="4070980" y="100330"/>
                  </a:lnTo>
                  <a:cubicBezTo>
                    <a:pt x="4070980" y="100330"/>
                    <a:pt x="4067170" y="103505"/>
                    <a:pt x="4065265" y="104775"/>
                  </a:cubicBezTo>
                  <a:cubicBezTo>
                    <a:pt x="4063360" y="106045"/>
                    <a:pt x="4061455" y="106680"/>
                    <a:pt x="4059550" y="107950"/>
                  </a:cubicBezTo>
                  <a:cubicBezTo>
                    <a:pt x="4057645" y="108585"/>
                    <a:pt x="4055105" y="109855"/>
                    <a:pt x="4052565" y="109855"/>
                  </a:cubicBezTo>
                  <a:cubicBezTo>
                    <a:pt x="4050025" y="109855"/>
                    <a:pt x="4046850" y="110490"/>
                    <a:pt x="4043675" y="110490"/>
                  </a:cubicBezTo>
                  <a:cubicBezTo>
                    <a:pt x="4040500" y="110490"/>
                    <a:pt x="4037325" y="110490"/>
                    <a:pt x="4034150" y="109220"/>
                  </a:cubicBezTo>
                  <a:cubicBezTo>
                    <a:pt x="4030975" y="108585"/>
                    <a:pt x="4028435" y="107315"/>
                    <a:pt x="4026530" y="105410"/>
                  </a:cubicBezTo>
                  <a:cubicBezTo>
                    <a:pt x="4023990" y="104140"/>
                    <a:pt x="4022085" y="102235"/>
                    <a:pt x="4020180" y="100330"/>
                  </a:cubicBezTo>
                  <a:cubicBezTo>
                    <a:pt x="4018275" y="98425"/>
                    <a:pt x="4016370" y="95885"/>
                    <a:pt x="4015100" y="92710"/>
                  </a:cubicBezTo>
                  <a:cubicBezTo>
                    <a:pt x="4013195" y="89535"/>
                    <a:pt x="4011925" y="86360"/>
                    <a:pt x="4011290" y="82550"/>
                  </a:cubicBezTo>
                  <a:cubicBezTo>
                    <a:pt x="4010655" y="78740"/>
                    <a:pt x="4010020" y="74295"/>
                    <a:pt x="4010020" y="69850"/>
                  </a:cubicBezTo>
                  <a:cubicBezTo>
                    <a:pt x="4010020" y="63500"/>
                    <a:pt x="4010655" y="57150"/>
                    <a:pt x="4012560" y="52070"/>
                  </a:cubicBezTo>
                  <a:cubicBezTo>
                    <a:pt x="4014465" y="46990"/>
                    <a:pt x="4016370" y="42545"/>
                    <a:pt x="4019545" y="39370"/>
                  </a:cubicBezTo>
                  <a:cubicBezTo>
                    <a:pt x="4022720" y="36195"/>
                    <a:pt x="4025895" y="33020"/>
                    <a:pt x="4030340" y="31750"/>
                  </a:cubicBezTo>
                  <a:cubicBezTo>
                    <a:pt x="4034785" y="29845"/>
                    <a:pt x="4039230" y="29210"/>
                    <a:pt x="4044310" y="29210"/>
                  </a:cubicBezTo>
                  <a:close/>
                  <a:moveTo>
                    <a:pt x="3811900" y="29210"/>
                  </a:moveTo>
                  <a:cubicBezTo>
                    <a:pt x="3815075" y="29210"/>
                    <a:pt x="3817615" y="29210"/>
                    <a:pt x="3819520" y="29845"/>
                  </a:cubicBezTo>
                  <a:cubicBezTo>
                    <a:pt x="3821425" y="29845"/>
                    <a:pt x="3823330" y="31115"/>
                    <a:pt x="3825235" y="32385"/>
                  </a:cubicBezTo>
                  <a:lnTo>
                    <a:pt x="3821425" y="46990"/>
                  </a:lnTo>
                  <a:lnTo>
                    <a:pt x="3820155" y="46990"/>
                  </a:lnTo>
                  <a:cubicBezTo>
                    <a:pt x="3820155" y="46990"/>
                    <a:pt x="3816980" y="45085"/>
                    <a:pt x="3815075" y="45085"/>
                  </a:cubicBezTo>
                  <a:cubicBezTo>
                    <a:pt x="3813170" y="45085"/>
                    <a:pt x="3811265" y="44450"/>
                    <a:pt x="3808725" y="44450"/>
                  </a:cubicBezTo>
                  <a:cubicBezTo>
                    <a:pt x="3803645" y="44450"/>
                    <a:pt x="3799835" y="46355"/>
                    <a:pt x="3797295" y="49530"/>
                  </a:cubicBezTo>
                  <a:cubicBezTo>
                    <a:pt x="3794755" y="52705"/>
                    <a:pt x="3793485" y="57785"/>
                    <a:pt x="3793485" y="64770"/>
                  </a:cubicBezTo>
                  <a:lnTo>
                    <a:pt x="3793485" y="109220"/>
                  </a:lnTo>
                  <a:lnTo>
                    <a:pt x="3778245" y="109220"/>
                  </a:lnTo>
                  <a:lnTo>
                    <a:pt x="3778245" y="31115"/>
                  </a:lnTo>
                  <a:lnTo>
                    <a:pt x="3793485" y="31115"/>
                  </a:lnTo>
                  <a:lnTo>
                    <a:pt x="3793485" y="38735"/>
                  </a:lnTo>
                  <a:cubicBezTo>
                    <a:pt x="3793485" y="38735"/>
                    <a:pt x="3795390" y="36195"/>
                    <a:pt x="3796660" y="34925"/>
                  </a:cubicBezTo>
                  <a:cubicBezTo>
                    <a:pt x="3797930" y="33655"/>
                    <a:pt x="3799200" y="33020"/>
                    <a:pt x="3801105" y="31750"/>
                  </a:cubicBezTo>
                  <a:cubicBezTo>
                    <a:pt x="3802375" y="31115"/>
                    <a:pt x="3804280" y="30480"/>
                    <a:pt x="3806185" y="29845"/>
                  </a:cubicBezTo>
                  <a:cubicBezTo>
                    <a:pt x="3808090" y="29845"/>
                    <a:pt x="3809995" y="29210"/>
                    <a:pt x="3811900" y="29210"/>
                  </a:cubicBezTo>
                  <a:close/>
                  <a:moveTo>
                    <a:pt x="3729986" y="29210"/>
                  </a:moveTo>
                  <a:cubicBezTo>
                    <a:pt x="3735701" y="29210"/>
                    <a:pt x="3740146" y="30480"/>
                    <a:pt x="3744591" y="32385"/>
                  </a:cubicBezTo>
                  <a:cubicBezTo>
                    <a:pt x="3748401" y="34290"/>
                    <a:pt x="3752211" y="37465"/>
                    <a:pt x="3754751" y="40640"/>
                  </a:cubicBezTo>
                  <a:cubicBezTo>
                    <a:pt x="3757291" y="44450"/>
                    <a:pt x="3759196" y="48260"/>
                    <a:pt x="3761101" y="53340"/>
                  </a:cubicBezTo>
                  <a:cubicBezTo>
                    <a:pt x="3762371" y="57785"/>
                    <a:pt x="3763006" y="62865"/>
                    <a:pt x="3763006" y="68580"/>
                  </a:cubicBezTo>
                  <a:lnTo>
                    <a:pt x="3761736" y="68580"/>
                  </a:lnTo>
                  <a:cubicBezTo>
                    <a:pt x="3761736" y="68580"/>
                    <a:pt x="3761736" y="71120"/>
                    <a:pt x="3761736" y="72390"/>
                  </a:cubicBezTo>
                  <a:cubicBezTo>
                    <a:pt x="3761736" y="73660"/>
                    <a:pt x="3761736" y="74295"/>
                    <a:pt x="3761736" y="75565"/>
                  </a:cubicBezTo>
                  <a:lnTo>
                    <a:pt x="3710301" y="75565"/>
                  </a:lnTo>
                  <a:cubicBezTo>
                    <a:pt x="3710301" y="79375"/>
                    <a:pt x="3711571" y="82550"/>
                    <a:pt x="3712841" y="85090"/>
                  </a:cubicBezTo>
                  <a:cubicBezTo>
                    <a:pt x="3714111" y="87630"/>
                    <a:pt x="3715381" y="90170"/>
                    <a:pt x="3717286" y="91440"/>
                  </a:cubicBezTo>
                  <a:cubicBezTo>
                    <a:pt x="3719191" y="93345"/>
                    <a:pt x="3721096" y="94615"/>
                    <a:pt x="3723001" y="95250"/>
                  </a:cubicBezTo>
                  <a:cubicBezTo>
                    <a:pt x="3724906" y="95885"/>
                    <a:pt x="3727446" y="96520"/>
                    <a:pt x="3729986" y="96520"/>
                  </a:cubicBezTo>
                  <a:cubicBezTo>
                    <a:pt x="3731891" y="96520"/>
                    <a:pt x="3733161" y="96520"/>
                    <a:pt x="3735066" y="96520"/>
                  </a:cubicBezTo>
                  <a:cubicBezTo>
                    <a:pt x="3736336" y="96520"/>
                    <a:pt x="3738241" y="95885"/>
                    <a:pt x="3739511" y="95250"/>
                  </a:cubicBezTo>
                  <a:cubicBezTo>
                    <a:pt x="3740781" y="95250"/>
                    <a:pt x="3742051" y="93980"/>
                    <a:pt x="3743321" y="93345"/>
                  </a:cubicBezTo>
                  <a:cubicBezTo>
                    <a:pt x="3744591" y="93345"/>
                    <a:pt x="3745861" y="92075"/>
                    <a:pt x="3747766" y="90805"/>
                  </a:cubicBezTo>
                  <a:lnTo>
                    <a:pt x="3756656" y="100330"/>
                  </a:lnTo>
                  <a:cubicBezTo>
                    <a:pt x="3756656" y="100330"/>
                    <a:pt x="3752846" y="103505"/>
                    <a:pt x="3750941" y="104775"/>
                  </a:cubicBezTo>
                  <a:cubicBezTo>
                    <a:pt x="3749036" y="106045"/>
                    <a:pt x="3747131" y="106680"/>
                    <a:pt x="3745226" y="107950"/>
                  </a:cubicBezTo>
                  <a:cubicBezTo>
                    <a:pt x="3743321" y="108585"/>
                    <a:pt x="3740781" y="109855"/>
                    <a:pt x="3738241" y="109855"/>
                  </a:cubicBezTo>
                  <a:cubicBezTo>
                    <a:pt x="3735701" y="109855"/>
                    <a:pt x="3732526" y="110490"/>
                    <a:pt x="3729351" y="110490"/>
                  </a:cubicBezTo>
                  <a:cubicBezTo>
                    <a:pt x="3726176" y="110490"/>
                    <a:pt x="3723001" y="110490"/>
                    <a:pt x="3719826" y="109220"/>
                  </a:cubicBezTo>
                  <a:cubicBezTo>
                    <a:pt x="3716651" y="108585"/>
                    <a:pt x="3714111" y="107315"/>
                    <a:pt x="3712206" y="105410"/>
                  </a:cubicBezTo>
                  <a:cubicBezTo>
                    <a:pt x="3709666" y="104140"/>
                    <a:pt x="3707761" y="102235"/>
                    <a:pt x="3705856" y="100330"/>
                  </a:cubicBezTo>
                  <a:cubicBezTo>
                    <a:pt x="3703951" y="98425"/>
                    <a:pt x="3702046" y="95885"/>
                    <a:pt x="3700776" y="92710"/>
                  </a:cubicBezTo>
                  <a:cubicBezTo>
                    <a:pt x="3698871" y="89535"/>
                    <a:pt x="3697601" y="86360"/>
                    <a:pt x="3696966" y="82550"/>
                  </a:cubicBezTo>
                  <a:cubicBezTo>
                    <a:pt x="3696331" y="78740"/>
                    <a:pt x="3695696" y="74295"/>
                    <a:pt x="3695696" y="69850"/>
                  </a:cubicBezTo>
                  <a:cubicBezTo>
                    <a:pt x="3695696" y="63500"/>
                    <a:pt x="3696331" y="57150"/>
                    <a:pt x="3698236" y="52070"/>
                  </a:cubicBezTo>
                  <a:cubicBezTo>
                    <a:pt x="3700141" y="46990"/>
                    <a:pt x="3702046" y="42545"/>
                    <a:pt x="3705221" y="39370"/>
                  </a:cubicBezTo>
                  <a:cubicBezTo>
                    <a:pt x="3708396" y="36195"/>
                    <a:pt x="3711571" y="33020"/>
                    <a:pt x="3716016" y="31750"/>
                  </a:cubicBezTo>
                  <a:cubicBezTo>
                    <a:pt x="3720461" y="29845"/>
                    <a:pt x="3724906" y="29210"/>
                    <a:pt x="3729986" y="29210"/>
                  </a:cubicBezTo>
                  <a:close/>
                  <a:moveTo>
                    <a:pt x="3543296" y="29210"/>
                  </a:moveTo>
                  <a:cubicBezTo>
                    <a:pt x="3549011" y="29210"/>
                    <a:pt x="3553456" y="30480"/>
                    <a:pt x="3557901" y="32385"/>
                  </a:cubicBezTo>
                  <a:cubicBezTo>
                    <a:pt x="3561711" y="34290"/>
                    <a:pt x="3565521" y="37465"/>
                    <a:pt x="3568061" y="40640"/>
                  </a:cubicBezTo>
                  <a:cubicBezTo>
                    <a:pt x="3570601" y="44450"/>
                    <a:pt x="3572506" y="48260"/>
                    <a:pt x="3574411" y="53340"/>
                  </a:cubicBezTo>
                  <a:cubicBezTo>
                    <a:pt x="3575681" y="57785"/>
                    <a:pt x="3576316" y="62865"/>
                    <a:pt x="3576316" y="68580"/>
                  </a:cubicBezTo>
                  <a:lnTo>
                    <a:pt x="3575046" y="68580"/>
                  </a:lnTo>
                  <a:cubicBezTo>
                    <a:pt x="3575046" y="68580"/>
                    <a:pt x="3575046" y="71120"/>
                    <a:pt x="3575046" y="72390"/>
                  </a:cubicBezTo>
                  <a:cubicBezTo>
                    <a:pt x="3575046" y="73660"/>
                    <a:pt x="3575046" y="74295"/>
                    <a:pt x="3575046" y="75565"/>
                  </a:cubicBezTo>
                  <a:lnTo>
                    <a:pt x="3523611" y="75565"/>
                  </a:lnTo>
                  <a:cubicBezTo>
                    <a:pt x="3523611" y="79375"/>
                    <a:pt x="3524881" y="82550"/>
                    <a:pt x="3526151" y="85090"/>
                  </a:cubicBezTo>
                  <a:cubicBezTo>
                    <a:pt x="3527421" y="87630"/>
                    <a:pt x="3528691" y="90170"/>
                    <a:pt x="3530596" y="91440"/>
                  </a:cubicBezTo>
                  <a:cubicBezTo>
                    <a:pt x="3532501" y="93345"/>
                    <a:pt x="3534406" y="94615"/>
                    <a:pt x="3536311" y="95250"/>
                  </a:cubicBezTo>
                  <a:cubicBezTo>
                    <a:pt x="3538216" y="95885"/>
                    <a:pt x="3540756" y="96520"/>
                    <a:pt x="3543296" y="96520"/>
                  </a:cubicBezTo>
                  <a:cubicBezTo>
                    <a:pt x="3545201" y="96520"/>
                    <a:pt x="3546471" y="96520"/>
                    <a:pt x="3548376" y="96520"/>
                  </a:cubicBezTo>
                  <a:cubicBezTo>
                    <a:pt x="3549646" y="96520"/>
                    <a:pt x="3551551" y="95885"/>
                    <a:pt x="3552821" y="95250"/>
                  </a:cubicBezTo>
                  <a:cubicBezTo>
                    <a:pt x="3554091" y="95250"/>
                    <a:pt x="3555361" y="93980"/>
                    <a:pt x="3556631" y="93345"/>
                  </a:cubicBezTo>
                  <a:cubicBezTo>
                    <a:pt x="3557901" y="93345"/>
                    <a:pt x="3559171" y="92075"/>
                    <a:pt x="3561076" y="90805"/>
                  </a:cubicBezTo>
                  <a:lnTo>
                    <a:pt x="3569966" y="100330"/>
                  </a:lnTo>
                  <a:cubicBezTo>
                    <a:pt x="3569966" y="100330"/>
                    <a:pt x="3566156" y="103505"/>
                    <a:pt x="3564251" y="104775"/>
                  </a:cubicBezTo>
                  <a:cubicBezTo>
                    <a:pt x="3562346" y="106045"/>
                    <a:pt x="3560441" y="106680"/>
                    <a:pt x="3558536" y="107950"/>
                  </a:cubicBezTo>
                  <a:cubicBezTo>
                    <a:pt x="3556631" y="108585"/>
                    <a:pt x="3554091" y="109855"/>
                    <a:pt x="3551551" y="109855"/>
                  </a:cubicBezTo>
                  <a:cubicBezTo>
                    <a:pt x="3549011" y="109855"/>
                    <a:pt x="3545836" y="110490"/>
                    <a:pt x="3542661" y="110490"/>
                  </a:cubicBezTo>
                  <a:cubicBezTo>
                    <a:pt x="3539486" y="110490"/>
                    <a:pt x="3536311" y="110490"/>
                    <a:pt x="3533136" y="109220"/>
                  </a:cubicBezTo>
                  <a:cubicBezTo>
                    <a:pt x="3529961" y="108585"/>
                    <a:pt x="3527421" y="107315"/>
                    <a:pt x="3525516" y="105410"/>
                  </a:cubicBezTo>
                  <a:cubicBezTo>
                    <a:pt x="3522976" y="104140"/>
                    <a:pt x="3521071" y="102235"/>
                    <a:pt x="3519166" y="100330"/>
                  </a:cubicBezTo>
                  <a:cubicBezTo>
                    <a:pt x="3517261" y="98425"/>
                    <a:pt x="3515356" y="95885"/>
                    <a:pt x="3514086" y="92710"/>
                  </a:cubicBezTo>
                  <a:cubicBezTo>
                    <a:pt x="3512181" y="89535"/>
                    <a:pt x="3510911" y="86360"/>
                    <a:pt x="3510276" y="82550"/>
                  </a:cubicBezTo>
                  <a:cubicBezTo>
                    <a:pt x="3509641" y="78740"/>
                    <a:pt x="3509006" y="74295"/>
                    <a:pt x="3509006" y="69850"/>
                  </a:cubicBezTo>
                  <a:cubicBezTo>
                    <a:pt x="3509006" y="63500"/>
                    <a:pt x="3509641" y="57150"/>
                    <a:pt x="3511546" y="52070"/>
                  </a:cubicBezTo>
                  <a:cubicBezTo>
                    <a:pt x="3513451" y="46990"/>
                    <a:pt x="3515356" y="42545"/>
                    <a:pt x="3518531" y="39370"/>
                  </a:cubicBezTo>
                  <a:cubicBezTo>
                    <a:pt x="3521706" y="36195"/>
                    <a:pt x="3524881" y="33020"/>
                    <a:pt x="3529326" y="31750"/>
                  </a:cubicBezTo>
                  <a:cubicBezTo>
                    <a:pt x="3533771" y="29845"/>
                    <a:pt x="3538216" y="29210"/>
                    <a:pt x="3543296" y="29210"/>
                  </a:cubicBezTo>
                  <a:close/>
                  <a:moveTo>
                    <a:pt x="3345176" y="29210"/>
                  </a:moveTo>
                  <a:cubicBezTo>
                    <a:pt x="3350891" y="29210"/>
                    <a:pt x="3355336" y="30480"/>
                    <a:pt x="3359781" y="32385"/>
                  </a:cubicBezTo>
                  <a:cubicBezTo>
                    <a:pt x="3363591" y="34290"/>
                    <a:pt x="3367401" y="37465"/>
                    <a:pt x="3369941" y="40640"/>
                  </a:cubicBezTo>
                  <a:cubicBezTo>
                    <a:pt x="3372481" y="44450"/>
                    <a:pt x="3374386" y="48260"/>
                    <a:pt x="3376291" y="53340"/>
                  </a:cubicBezTo>
                  <a:cubicBezTo>
                    <a:pt x="3377561" y="57785"/>
                    <a:pt x="3378196" y="62865"/>
                    <a:pt x="3378196" y="68580"/>
                  </a:cubicBezTo>
                  <a:lnTo>
                    <a:pt x="3376926" y="68580"/>
                  </a:lnTo>
                  <a:cubicBezTo>
                    <a:pt x="3376926" y="68580"/>
                    <a:pt x="3376926" y="71120"/>
                    <a:pt x="3376926" y="72390"/>
                  </a:cubicBezTo>
                  <a:cubicBezTo>
                    <a:pt x="3376926" y="73660"/>
                    <a:pt x="3376926" y="74295"/>
                    <a:pt x="3376926" y="75565"/>
                  </a:cubicBezTo>
                  <a:lnTo>
                    <a:pt x="3325491" y="75565"/>
                  </a:lnTo>
                  <a:cubicBezTo>
                    <a:pt x="3325491" y="79375"/>
                    <a:pt x="3326761" y="82550"/>
                    <a:pt x="3328031" y="85090"/>
                  </a:cubicBezTo>
                  <a:cubicBezTo>
                    <a:pt x="3329301" y="87630"/>
                    <a:pt x="3330571" y="90170"/>
                    <a:pt x="3332476" y="91440"/>
                  </a:cubicBezTo>
                  <a:cubicBezTo>
                    <a:pt x="3334381" y="93345"/>
                    <a:pt x="3336286" y="94615"/>
                    <a:pt x="3338191" y="95250"/>
                  </a:cubicBezTo>
                  <a:cubicBezTo>
                    <a:pt x="3340096" y="95885"/>
                    <a:pt x="3342636" y="96520"/>
                    <a:pt x="3345176" y="96520"/>
                  </a:cubicBezTo>
                  <a:cubicBezTo>
                    <a:pt x="3347081" y="96520"/>
                    <a:pt x="3348351" y="96520"/>
                    <a:pt x="3350256" y="96520"/>
                  </a:cubicBezTo>
                  <a:cubicBezTo>
                    <a:pt x="3351526" y="96520"/>
                    <a:pt x="3353431" y="95885"/>
                    <a:pt x="3354701" y="95250"/>
                  </a:cubicBezTo>
                  <a:cubicBezTo>
                    <a:pt x="3355971" y="95250"/>
                    <a:pt x="3357241" y="93980"/>
                    <a:pt x="3358511" y="93345"/>
                  </a:cubicBezTo>
                  <a:cubicBezTo>
                    <a:pt x="3359781" y="93345"/>
                    <a:pt x="3361051" y="92075"/>
                    <a:pt x="3362956" y="90805"/>
                  </a:cubicBezTo>
                  <a:lnTo>
                    <a:pt x="3371846" y="100330"/>
                  </a:lnTo>
                  <a:cubicBezTo>
                    <a:pt x="3371846" y="100330"/>
                    <a:pt x="3368036" y="103505"/>
                    <a:pt x="3366131" y="104775"/>
                  </a:cubicBezTo>
                  <a:cubicBezTo>
                    <a:pt x="3364226" y="106045"/>
                    <a:pt x="3362321" y="106680"/>
                    <a:pt x="3360416" y="107950"/>
                  </a:cubicBezTo>
                  <a:cubicBezTo>
                    <a:pt x="3358511" y="108585"/>
                    <a:pt x="3355971" y="109855"/>
                    <a:pt x="3353431" y="109855"/>
                  </a:cubicBezTo>
                  <a:cubicBezTo>
                    <a:pt x="3350891" y="109855"/>
                    <a:pt x="3347716" y="110490"/>
                    <a:pt x="3344541" y="110490"/>
                  </a:cubicBezTo>
                  <a:cubicBezTo>
                    <a:pt x="3341366" y="110490"/>
                    <a:pt x="3338191" y="110490"/>
                    <a:pt x="3335016" y="109220"/>
                  </a:cubicBezTo>
                  <a:cubicBezTo>
                    <a:pt x="3331841" y="108585"/>
                    <a:pt x="3329301" y="107315"/>
                    <a:pt x="3327396" y="105410"/>
                  </a:cubicBezTo>
                  <a:cubicBezTo>
                    <a:pt x="3324856" y="104140"/>
                    <a:pt x="3322951" y="102235"/>
                    <a:pt x="3321046" y="100330"/>
                  </a:cubicBezTo>
                  <a:cubicBezTo>
                    <a:pt x="3319141" y="98425"/>
                    <a:pt x="3317236" y="95885"/>
                    <a:pt x="3315966" y="92710"/>
                  </a:cubicBezTo>
                  <a:cubicBezTo>
                    <a:pt x="3314061" y="89535"/>
                    <a:pt x="3312791" y="86360"/>
                    <a:pt x="3312156" y="82550"/>
                  </a:cubicBezTo>
                  <a:cubicBezTo>
                    <a:pt x="3311521" y="78740"/>
                    <a:pt x="3310886" y="74295"/>
                    <a:pt x="3310886" y="69850"/>
                  </a:cubicBezTo>
                  <a:cubicBezTo>
                    <a:pt x="3310886" y="63500"/>
                    <a:pt x="3311521" y="57150"/>
                    <a:pt x="3313426" y="52070"/>
                  </a:cubicBezTo>
                  <a:cubicBezTo>
                    <a:pt x="3315331" y="46990"/>
                    <a:pt x="3317236" y="42545"/>
                    <a:pt x="3320411" y="39370"/>
                  </a:cubicBezTo>
                  <a:cubicBezTo>
                    <a:pt x="3323586" y="36195"/>
                    <a:pt x="3326761" y="33020"/>
                    <a:pt x="3331206" y="31750"/>
                  </a:cubicBezTo>
                  <a:cubicBezTo>
                    <a:pt x="3335651" y="29845"/>
                    <a:pt x="3340096" y="29210"/>
                    <a:pt x="3345176" y="29210"/>
                  </a:cubicBezTo>
                  <a:close/>
                  <a:moveTo>
                    <a:pt x="3060696" y="29210"/>
                  </a:moveTo>
                  <a:cubicBezTo>
                    <a:pt x="3063871" y="29210"/>
                    <a:pt x="3066411" y="29210"/>
                    <a:pt x="3068316" y="29845"/>
                  </a:cubicBezTo>
                  <a:cubicBezTo>
                    <a:pt x="3070221" y="29845"/>
                    <a:pt x="3072126" y="31115"/>
                    <a:pt x="3074031" y="32385"/>
                  </a:cubicBezTo>
                  <a:lnTo>
                    <a:pt x="3070221" y="46990"/>
                  </a:lnTo>
                  <a:lnTo>
                    <a:pt x="3068951" y="46990"/>
                  </a:lnTo>
                  <a:cubicBezTo>
                    <a:pt x="3068951" y="46990"/>
                    <a:pt x="3065776" y="45085"/>
                    <a:pt x="3063871" y="45085"/>
                  </a:cubicBezTo>
                  <a:cubicBezTo>
                    <a:pt x="3061966" y="45085"/>
                    <a:pt x="3060061" y="44450"/>
                    <a:pt x="3057521" y="44450"/>
                  </a:cubicBezTo>
                  <a:cubicBezTo>
                    <a:pt x="3052441" y="44450"/>
                    <a:pt x="3048631" y="46355"/>
                    <a:pt x="3046091" y="49530"/>
                  </a:cubicBezTo>
                  <a:cubicBezTo>
                    <a:pt x="3043551" y="52705"/>
                    <a:pt x="3042281" y="57785"/>
                    <a:pt x="3042281" y="64770"/>
                  </a:cubicBezTo>
                  <a:lnTo>
                    <a:pt x="3042281" y="109220"/>
                  </a:lnTo>
                  <a:lnTo>
                    <a:pt x="3027041" y="109220"/>
                  </a:lnTo>
                  <a:lnTo>
                    <a:pt x="3027041" y="31115"/>
                  </a:lnTo>
                  <a:lnTo>
                    <a:pt x="3042281" y="31115"/>
                  </a:lnTo>
                  <a:lnTo>
                    <a:pt x="3042281" y="38735"/>
                  </a:lnTo>
                  <a:cubicBezTo>
                    <a:pt x="3042281" y="38735"/>
                    <a:pt x="3044186" y="36195"/>
                    <a:pt x="3045456" y="34925"/>
                  </a:cubicBezTo>
                  <a:cubicBezTo>
                    <a:pt x="3046726" y="33655"/>
                    <a:pt x="3047996" y="33020"/>
                    <a:pt x="3049901" y="31750"/>
                  </a:cubicBezTo>
                  <a:cubicBezTo>
                    <a:pt x="3051171" y="31115"/>
                    <a:pt x="3053076" y="30480"/>
                    <a:pt x="3054981" y="29845"/>
                  </a:cubicBezTo>
                  <a:cubicBezTo>
                    <a:pt x="3056886" y="29845"/>
                    <a:pt x="3058791" y="29210"/>
                    <a:pt x="3060696" y="29210"/>
                  </a:cubicBezTo>
                  <a:close/>
                  <a:moveTo>
                    <a:pt x="2978781" y="29210"/>
                  </a:moveTo>
                  <a:cubicBezTo>
                    <a:pt x="2984496" y="29210"/>
                    <a:pt x="2988941" y="30480"/>
                    <a:pt x="2993386" y="32385"/>
                  </a:cubicBezTo>
                  <a:cubicBezTo>
                    <a:pt x="2997196" y="34290"/>
                    <a:pt x="3001006" y="37465"/>
                    <a:pt x="3003546" y="40640"/>
                  </a:cubicBezTo>
                  <a:cubicBezTo>
                    <a:pt x="3006086" y="44450"/>
                    <a:pt x="3007991" y="48260"/>
                    <a:pt x="3009896" y="53340"/>
                  </a:cubicBezTo>
                  <a:cubicBezTo>
                    <a:pt x="3011166" y="57785"/>
                    <a:pt x="3011801" y="62865"/>
                    <a:pt x="3011801" y="68580"/>
                  </a:cubicBezTo>
                  <a:lnTo>
                    <a:pt x="3010531" y="68580"/>
                  </a:lnTo>
                  <a:cubicBezTo>
                    <a:pt x="3010531" y="68580"/>
                    <a:pt x="3010531" y="71120"/>
                    <a:pt x="3010531" y="72390"/>
                  </a:cubicBezTo>
                  <a:cubicBezTo>
                    <a:pt x="3010531" y="73660"/>
                    <a:pt x="3010531" y="74295"/>
                    <a:pt x="3010531" y="75565"/>
                  </a:cubicBezTo>
                  <a:lnTo>
                    <a:pt x="2959096" y="75565"/>
                  </a:lnTo>
                  <a:cubicBezTo>
                    <a:pt x="2959096" y="79375"/>
                    <a:pt x="2960366" y="82550"/>
                    <a:pt x="2961636" y="85090"/>
                  </a:cubicBezTo>
                  <a:cubicBezTo>
                    <a:pt x="2962906" y="87630"/>
                    <a:pt x="2964176" y="90170"/>
                    <a:pt x="2966081" y="91440"/>
                  </a:cubicBezTo>
                  <a:cubicBezTo>
                    <a:pt x="2967986" y="93345"/>
                    <a:pt x="2969891" y="94615"/>
                    <a:pt x="2971796" y="95250"/>
                  </a:cubicBezTo>
                  <a:cubicBezTo>
                    <a:pt x="2974336" y="95885"/>
                    <a:pt x="2976241" y="96520"/>
                    <a:pt x="2978781" y="96520"/>
                  </a:cubicBezTo>
                  <a:cubicBezTo>
                    <a:pt x="2980686" y="96520"/>
                    <a:pt x="2981956" y="96520"/>
                    <a:pt x="2983861" y="96520"/>
                  </a:cubicBezTo>
                  <a:cubicBezTo>
                    <a:pt x="2985131" y="96520"/>
                    <a:pt x="2987036" y="95885"/>
                    <a:pt x="2988306" y="95250"/>
                  </a:cubicBezTo>
                  <a:cubicBezTo>
                    <a:pt x="2989576" y="95250"/>
                    <a:pt x="2990846" y="93980"/>
                    <a:pt x="2992116" y="93345"/>
                  </a:cubicBezTo>
                  <a:cubicBezTo>
                    <a:pt x="2993386" y="93345"/>
                    <a:pt x="2994656" y="92075"/>
                    <a:pt x="2996561" y="90805"/>
                  </a:cubicBezTo>
                  <a:lnTo>
                    <a:pt x="3005451" y="100330"/>
                  </a:lnTo>
                  <a:cubicBezTo>
                    <a:pt x="3005451" y="100330"/>
                    <a:pt x="3001641" y="103505"/>
                    <a:pt x="2999736" y="104775"/>
                  </a:cubicBezTo>
                  <a:cubicBezTo>
                    <a:pt x="2997831" y="106045"/>
                    <a:pt x="2995926" y="106680"/>
                    <a:pt x="2994021" y="107950"/>
                  </a:cubicBezTo>
                  <a:cubicBezTo>
                    <a:pt x="2992116" y="108585"/>
                    <a:pt x="2989576" y="109855"/>
                    <a:pt x="2987036" y="109855"/>
                  </a:cubicBezTo>
                  <a:cubicBezTo>
                    <a:pt x="2984496" y="109855"/>
                    <a:pt x="2981321" y="110490"/>
                    <a:pt x="2978146" y="110490"/>
                  </a:cubicBezTo>
                  <a:cubicBezTo>
                    <a:pt x="2974971" y="110490"/>
                    <a:pt x="2971796" y="110490"/>
                    <a:pt x="2968621" y="109220"/>
                  </a:cubicBezTo>
                  <a:cubicBezTo>
                    <a:pt x="2965446" y="108585"/>
                    <a:pt x="2962906" y="107315"/>
                    <a:pt x="2961001" y="105410"/>
                  </a:cubicBezTo>
                  <a:cubicBezTo>
                    <a:pt x="2958461" y="104140"/>
                    <a:pt x="2956556" y="102235"/>
                    <a:pt x="2954651" y="100330"/>
                  </a:cubicBezTo>
                  <a:cubicBezTo>
                    <a:pt x="2952746" y="98425"/>
                    <a:pt x="2950841" y="95885"/>
                    <a:pt x="2949571" y="92710"/>
                  </a:cubicBezTo>
                  <a:cubicBezTo>
                    <a:pt x="2947666" y="89535"/>
                    <a:pt x="2946396" y="86360"/>
                    <a:pt x="2945761" y="82550"/>
                  </a:cubicBezTo>
                  <a:cubicBezTo>
                    <a:pt x="2945126" y="78740"/>
                    <a:pt x="2944491" y="74295"/>
                    <a:pt x="2944491" y="69850"/>
                  </a:cubicBezTo>
                  <a:cubicBezTo>
                    <a:pt x="2944491" y="63500"/>
                    <a:pt x="2945126" y="57150"/>
                    <a:pt x="2947031" y="52070"/>
                  </a:cubicBezTo>
                  <a:cubicBezTo>
                    <a:pt x="2948936" y="46990"/>
                    <a:pt x="2950841" y="42545"/>
                    <a:pt x="2954016" y="39370"/>
                  </a:cubicBezTo>
                  <a:cubicBezTo>
                    <a:pt x="2957191" y="36195"/>
                    <a:pt x="2960366" y="33020"/>
                    <a:pt x="2964811" y="31750"/>
                  </a:cubicBezTo>
                  <a:cubicBezTo>
                    <a:pt x="2969256" y="29845"/>
                    <a:pt x="2973701" y="29210"/>
                    <a:pt x="2978781" y="29210"/>
                  </a:cubicBezTo>
                  <a:close/>
                  <a:moveTo>
                    <a:pt x="2798440" y="29210"/>
                  </a:moveTo>
                  <a:cubicBezTo>
                    <a:pt x="2803520" y="29210"/>
                    <a:pt x="2807965" y="29845"/>
                    <a:pt x="2813045" y="31750"/>
                  </a:cubicBezTo>
                  <a:cubicBezTo>
                    <a:pt x="2817490" y="33655"/>
                    <a:pt x="2821935" y="35560"/>
                    <a:pt x="2825110" y="38100"/>
                  </a:cubicBezTo>
                  <a:lnTo>
                    <a:pt x="2827015" y="38100"/>
                  </a:lnTo>
                  <a:lnTo>
                    <a:pt x="2820030" y="50165"/>
                  </a:lnTo>
                  <a:cubicBezTo>
                    <a:pt x="2816855" y="47625"/>
                    <a:pt x="2813680" y="46355"/>
                    <a:pt x="2810505" y="45085"/>
                  </a:cubicBezTo>
                  <a:cubicBezTo>
                    <a:pt x="2807330" y="43815"/>
                    <a:pt x="2803520" y="43180"/>
                    <a:pt x="2799710" y="43180"/>
                  </a:cubicBezTo>
                  <a:cubicBezTo>
                    <a:pt x="2795900" y="43180"/>
                    <a:pt x="2793360" y="43815"/>
                    <a:pt x="2791455" y="45085"/>
                  </a:cubicBezTo>
                  <a:cubicBezTo>
                    <a:pt x="2789550" y="46355"/>
                    <a:pt x="2788915" y="48260"/>
                    <a:pt x="2788915" y="50165"/>
                  </a:cubicBezTo>
                  <a:cubicBezTo>
                    <a:pt x="2788915" y="51435"/>
                    <a:pt x="2788915" y="52070"/>
                    <a:pt x="2788915" y="52705"/>
                  </a:cubicBezTo>
                  <a:cubicBezTo>
                    <a:pt x="2788915" y="53340"/>
                    <a:pt x="2790185" y="54610"/>
                    <a:pt x="2790820" y="55245"/>
                  </a:cubicBezTo>
                  <a:cubicBezTo>
                    <a:pt x="2792090" y="55880"/>
                    <a:pt x="2793360" y="57150"/>
                    <a:pt x="2795265" y="57785"/>
                  </a:cubicBezTo>
                  <a:cubicBezTo>
                    <a:pt x="2797170" y="59055"/>
                    <a:pt x="2799710" y="59690"/>
                    <a:pt x="2802250" y="60960"/>
                  </a:cubicBezTo>
                  <a:cubicBezTo>
                    <a:pt x="2806695" y="62865"/>
                    <a:pt x="2810505" y="64135"/>
                    <a:pt x="2813680" y="66040"/>
                  </a:cubicBezTo>
                  <a:cubicBezTo>
                    <a:pt x="2816855" y="67310"/>
                    <a:pt x="2819395" y="69215"/>
                    <a:pt x="2821935" y="71120"/>
                  </a:cubicBezTo>
                  <a:cubicBezTo>
                    <a:pt x="2823840" y="73025"/>
                    <a:pt x="2825745" y="75565"/>
                    <a:pt x="2827015" y="78105"/>
                  </a:cubicBezTo>
                  <a:cubicBezTo>
                    <a:pt x="2828285" y="80645"/>
                    <a:pt x="2828920" y="83820"/>
                    <a:pt x="2828920" y="87630"/>
                  </a:cubicBezTo>
                  <a:cubicBezTo>
                    <a:pt x="2828920" y="92075"/>
                    <a:pt x="2828285" y="95250"/>
                    <a:pt x="2826380" y="98425"/>
                  </a:cubicBezTo>
                  <a:cubicBezTo>
                    <a:pt x="2824475" y="101600"/>
                    <a:pt x="2822570" y="103505"/>
                    <a:pt x="2820030" y="105410"/>
                  </a:cubicBezTo>
                  <a:cubicBezTo>
                    <a:pt x="2817490" y="107315"/>
                    <a:pt x="2814315" y="108585"/>
                    <a:pt x="2810505" y="109220"/>
                  </a:cubicBezTo>
                  <a:cubicBezTo>
                    <a:pt x="2806695" y="109855"/>
                    <a:pt x="2803520" y="110490"/>
                    <a:pt x="2799710" y="110490"/>
                  </a:cubicBezTo>
                  <a:cubicBezTo>
                    <a:pt x="2794630" y="110490"/>
                    <a:pt x="2789550" y="109855"/>
                    <a:pt x="2783835" y="107950"/>
                  </a:cubicBezTo>
                  <a:cubicBezTo>
                    <a:pt x="2778120" y="106045"/>
                    <a:pt x="2773675" y="103505"/>
                    <a:pt x="2769230" y="100965"/>
                  </a:cubicBezTo>
                  <a:lnTo>
                    <a:pt x="2776215" y="89535"/>
                  </a:lnTo>
                  <a:cubicBezTo>
                    <a:pt x="2780025" y="92075"/>
                    <a:pt x="2783835" y="93980"/>
                    <a:pt x="2787645" y="95250"/>
                  </a:cubicBezTo>
                  <a:cubicBezTo>
                    <a:pt x="2791455" y="96520"/>
                    <a:pt x="2795265" y="97155"/>
                    <a:pt x="2799075" y="97155"/>
                  </a:cubicBezTo>
                  <a:cubicBezTo>
                    <a:pt x="2804155" y="97155"/>
                    <a:pt x="2807330" y="96520"/>
                    <a:pt x="2809870" y="94615"/>
                  </a:cubicBezTo>
                  <a:cubicBezTo>
                    <a:pt x="2812410" y="93345"/>
                    <a:pt x="2813045" y="90805"/>
                    <a:pt x="2813045" y="88265"/>
                  </a:cubicBezTo>
                  <a:cubicBezTo>
                    <a:pt x="2813045" y="86995"/>
                    <a:pt x="2813045" y="85725"/>
                    <a:pt x="2811775" y="84455"/>
                  </a:cubicBezTo>
                  <a:cubicBezTo>
                    <a:pt x="2811140" y="83185"/>
                    <a:pt x="2809870" y="82550"/>
                    <a:pt x="2807965" y="81280"/>
                  </a:cubicBezTo>
                  <a:cubicBezTo>
                    <a:pt x="2806695" y="80010"/>
                    <a:pt x="2804790" y="79375"/>
                    <a:pt x="2802250" y="78105"/>
                  </a:cubicBezTo>
                  <a:cubicBezTo>
                    <a:pt x="2800345" y="77470"/>
                    <a:pt x="2797805" y="76200"/>
                    <a:pt x="2794630" y="74930"/>
                  </a:cubicBezTo>
                  <a:cubicBezTo>
                    <a:pt x="2790185" y="73025"/>
                    <a:pt x="2787010" y="71755"/>
                    <a:pt x="2783835" y="69850"/>
                  </a:cubicBezTo>
                  <a:cubicBezTo>
                    <a:pt x="2780660" y="67945"/>
                    <a:pt x="2778755" y="66675"/>
                    <a:pt x="2776850" y="64770"/>
                  </a:cubicBezTo>
                  <a:cubicBezTo>
                    <a:pt x="2774945" y="62865"/>
                    <a:pt x="2773675" y="60960"/>
                    <a:pt x="2773040" y="58420"/>
                  </a:cubicBezTo>
                  <a:cubicBezTo>
                    <a:pt x="2772405" y="55880"/>
                    <a:pt x="2771770" y="53340"/>
                    <a:pt x="2771770" y="50165"/>
                  </a:cubicBezTo>
                  <a:cubicBezTo>
                    <a:pt x="2771770" y="46990"/>
                    <a:pt x="2772405" y="43815"/>
                    <a:pt x="2773675" y="40640"/>
                  </a:cubicBezTo>
                  <a:cubicBezTo>
                    <a:pt x="2774945" y="38100"/>
                    <a:pt x="2776850" y="35560"/>
                    <a:pt x="2779390" y="34290"/>
                  </a:cubicBezTo>
                  <a:cubicBezTo>
                    <a:pt x="2781930" y="32385"/>
                    <a:pt x="2784470" y="31115"/>
                    <a:pt x="2787645" y="30480"/>
                  </a:cubicBezTo>
                  <a:cubicBezTo>
                    <a:pt x="2790820" y="29845"/>
                    <a:pt x="2794630" y="29210"/>
                    <a:pt x="2798440" y="29210"/>
                  </a:cubicBezTo>
                  <a:close/>
                  <a:moveTo>
                    <a:pt x="2723510" y="29210"/>
                  </a:moveTo>
                  <a:cubicBezTo>
                    <a:pt x="2725415" y="29210"/>
                    <a:pt x="2727320" y="29210"/>
                    <a:pt x="2729225" y="29210"/>
                  </a:cubicBezTo>
                  <a:cubicBezTo>
                    <a:pt x="2733670" y="29210"/>
                    <a:pt x="2738115" y="29845"/>
                    <a:pt x="2741290" y="31750"/>
                  </a:cubicBezTo>
                  <a:cubicBezTo>
                    <a:pt x="2744465" y="33020"/>
                    <a:pt x="2747640" y="35560"/>
                    <a:pt x="2750180" y="38100"/>
                  </a:cubicBezTo>
                  <a:cubicBezTo>
                    <a:pt x="2752720" y="41275"/>
                    <a:pt x="2753990" y="44450"/>
                    <a:pt x="2755260" y="48895"/>
                  </a:cubicBezTo>
                  <a:cubicBezTo>
                    <a:pt x="2756530" y="53340"/>
                    <a:pt x="2757165" y="58420"/>
                    <a:pt x="2757165" y="64135"/>
                  </a:cubicBezTo>
                  <a:lnTo>
                    <a:pt x="2757165" y="108585"/>
                  </a:lnTo>
                  <a:lnTo>
                    <a:pt x="2741925" y="108585"/>
                  </a:lnTo>
                  <a:lnTo>
                    <a:pt x="2741290" y="108585"/>
                  </a:lnTo>
                  <a:lnTo>
                    <a:pt x="2741290" y="64770"/>
                  </a:lnTo>
                  <a:cubicBezTo>
                    <a:pt x="2741290" y="57785"/>
                    <a:pt x="2740020" y="52070"/>
                    <a:pt x="2737480" y="48895"/>
                  </a:cubicBezTo>
                  <a:cubicBezTo>
                    <a:pt x="2734940" y="45085"/>
                    <a:pt x="2731130" y="43180"/>
                    <a:pt x="2725415" y="43180"/>
                  </a:cubicBezTo>
                  <a:cubicBezTo>
                    <a:pt x="2722875" y="43180"/>
                    <a:pt x="2720970" y="43180"/>
                    <a:pt x="2718430" y="44450"/>
                  </a:cubicBezTo>
                  <a:cubicBezTo>
                    <a:pt x="2716525" y="45085"/>
                    <a:pt x="2714620" y="46990"/>
                    <a:pt x="2713350" y="48260"/>
                  </a:cubicBezTo>
                  <a:cubicBezTo>
                    <a:pt x="2712080" y="50165"/>
                    <a:pt x="2710810" y="52070"/>
                    <a:pt x="2710175" y="54610"/>
                  </a:cubicBezTo>
                  <a:cubicBezTo>
                    <a:pt x="2710175" y="57150"/>
                    <a:pt x="2709540" y="59690"/>
                    <a:pt x="2709540" y="62865"/>
                  </a:cubicBezTo>
                  <a:lnTo>
                    <a:pt x="2709540" y="108585"/>
                  </a:lnTo>
                  <a:lnTo>
                    <a:pt x="2694300" y="108585"/>
                  </a:lnTo>
                  <a:lnTo>
                    <a:pt x="2694300" y="30480"/>
                  </a:lnTo>
                  <a:lnTo>
                    <a:pt x="2709540" y="30480"/>
                  </a:lnTo>
                  <a:lnTo>
                    <a:pt x="2709540" y="38100"/>
                  </a:lnTo>
                  <a:cubicBezTo>
                    <a:pt x="2709540" y="38100"/>
                    <a:pt x="2711445" y="35560"/>
                    <a:pt x="2713350" y="34290"/>
                  </a:cubicBezTo>
                  <a:cubicBezTo>
                    <a:pt x="2714620" y="33020"/>
                    <a:pt x="2716525" y="32385"/>
                    <a:pt x="2717795" y="31115"/>
                  </a:cubicBezTo>
                  <a:cubicBezTo>
                    <a:pt x="2719700" y="30480"/>
                    <a:pt x="2721605" y="29845"/>
                    <a:pt x="2723510" y="29210"/>
                  </a:cubicBezTo>
                  <a:close/>
                  <a:moveTo>
                    <a:pt x="2530470" y="29210"/>
                  </a:moveTo>
                  <a:cubicBezTo>
                    <a:pt x="2536185" y="29210"/>
                    <a:pt x="2540630" y="30480"/>
                    <a:pt x="2545075" y="32385"/>
                  </a:cubicBezTo>
                  <a:cubicBezTo>
                    <a:pt x="2548885" y="34290"/>
                    <a:pt x="2552695" y="37465"/>
                    <a:pt x="2555235" y="40640"/>
                  </a:cubicBezTo>
                  <a:cubicBezTo>
                    <a:pt x="2557775" y="44450"/>
                    <a:pt x="2559680" y="48260"/>
                    <a:pt x="2561585" y="53340"/>
                  </a:cubicBezTo>
                  <a:cubicBezTo>
                    <a:pt x="2562855" y="57785"/>
                    <a:pt x="2563490" y="62865"/>
                    <a:pt x="2563490" y="68580"/>
                  </a:cubicBezTo>
                  <a:lnTo>
                    <a:pt x="2562220" y="68580"/>
                  </a:lnTo>
                  <a:cubicBezTo>
                    <a:pt x="2562220" y="68580"/>
                    <a:pt x="2562220" y="71120"/>
                    <a:pt x="2562220" y="72390"/>
                  </a:cubicBezTo>
                  <a:cubicBezTo>
                    <a:pt x="2562220" y="73660"/>
                    <a:pt x="2562220" y="74295"/>
                    <a:pt x="2562220" y="75565"/>
                  </a:cubicBezTo>
                  <a:lnTo>
                    <a:pt x="2510785" y="75565"/>
                  </a:lnTo>
                  <a:cubicBezTo>
                    <a:pt x="2510785" y="79375"/>
                    <a:pt x="2512055" y="82550"/>
                    <a:pt x="2513325" y="85090"/>
                  </a:cubicBezTo>
                  <a:cubicBezTo>
                    <a:pt x="2514595" y="87630"/>
                    <a:pt x="2515865" y="90170"/>
                    <a:pt x="2517770" y="91440"/>
                  </a:cubicBezTo>
                  <a:cubicBezTo>
                    <a:pt x="2519675" y="93345"/>
                    <a:pt x="2521580" y="94615"/>
                    <a:pt x="2523485" y="95250"/>
                  </a:cubicBezTo>
                  <a:cubicBezTo>
                    <a:pt x="2525390" y="95885"/>
                    <a:pt x="2527930" y="96520"/>
                    <a:pt x="2530470" y="96520"/>
                  </a:cubicBezTo>
                  <a:cubicBezTo>
                    <a:pt x="2532375" y="96520"/>
                    <a:pt x="2533645" y="96520"/>
                    <a:pt x="2535550" y="96520"/>
                  </a:cubicBezTo>
                  <a:cubicBezTo>
                    <a:pt x="2536820" y="96520"/>
                    <a:pt x="2538725" y="95885"/>
                    <a:pt x="2539995" y="95250"/>
                  </a:cubicBezTo>
                  <a:cubicBezTo>
                    <a:pt x="2541265" y="95250"/>
                    <a:pt x="2542535" y="93980"/>
                    <a:pt x="2543805" y="93345"/>
                  </a:cubicBezTo>
                  <a:cubicBezTo>
                    <a:pt x="2545075" y="93345"/>
                    <a:pt x="2546345" y="92075"/>
                    <a:pt x="2548250" y="90805"/>
                  </a:cubicBezTo>
                  <a:lnTo>
                    <a:pt x="2557140" y="100330"/>
                  </a:lnTo>
                  <a:cubicBezTo>
                    <a:pt x="2557140" y="100330"/>
                    <a:pt x="2553330" y="103505"/>
                    <a:pt x="2551425" y="104775"/>
                  </a:cubicBezTo>
                  <a:cubicBezTo>
                    <a:pt x="2549520" y="106045"/>
                    <a:pt x="2547615" y="106680"/>
                    <a:pt x="2545710" y="107950"/>
                  </a:cubicBezTo>
                  <a:cubicBezTo>
                    <a:pt x="2543805" y="108585"/>
                    <a:pt x="2541265" y="109855"/>
                    <a:pt x="2538725" y="109855"/>
                  </a:cubicBezTo>
                  <a:cubicBezTo>
                    <a:pt x="2536185" y="109855"/>
                    <a:pt x="2533010" y="110490"/>
                    <a:pt x="2529835" y="110490"/>
                  </a:cubicBezTo>
                  <a:cubicBezTo>
                    <a:pt x="2526660" y="110490"/>
                    <a:pt x="2523485" y="110490"/>
                    <a:pt x="2520310" y="109220"/>
                  </a:cubicBezTo>
                  <a:cubicBezTo>
                    <a:pt x="2517135" y="108585"/>
                    <a:pt x="2514595" y="107315"/>
                    <a:pt x="2512690" y="105410"/>
                  </a:cubicBezTo>
                  <a:cubicBezTo>
                    <a:pt x="2510785" y="103505"/>
                    <a:pt x="2508245" y="102235"/>
                    <a:pt x="2506340" y="100330"/>
                  </a:cubicBezTo>
                  <a:cubicBezTo>
                    <a:pt x="2504435" y="98425"/>
                    <a:pt x="2502530" y="95885"/>
                    <a:pt x="2501260" y="92710"/>
                  </a:cubicBezTo>
                  <a:cubicBezTo>
                    <a:pt x="2499355" y="89535"/>
                    <a:pt x="2498085" y="86360"/>
                    <a:pt x="2497450" y="82550"/>
                  </a:cubicBezTo>
                  <a:cubicBezTo>
                    <a:pt x="2496815" y="78740"/>
                    <a:pt x="2496180" y="74295"/>
                    <a:pt x="2496180" y="69850"/>
                  </a:cubicBezTo>
                  <a:cubicBezTo>
                    <a:pt x="2496180" y="63500"/>
                    <a:pt x="2496815" y="57150"/>
                    <a:pt x="2498720" y="52070"/>
                  </a:cubicBezTo>
                  <a:cubicBezTo>
                    <a:pt x="2500625" y="46990"/>
                    <a:pt x="2502530" y="42545"/>
                    <a:pt x="2505705" y="39370"/>
                  </a:cubicBezTo>
                  <a:cubicBezTo>
                    <a:pt x="2508880" y="36195"/>
                    <a:pt x="2512055" y="33020"/>
                    <a:pt x="2516500" y="31750"/>
                  </a:cubicBezTo>
                  <a:cubicBezTo>
                    <a:pt x="2520945" y="29845"/>
                    <a:pt x="2525390" y="29210"/>
                    <a:pt x="2530470" y="29210"/>
                  </a:cubicBezTo>
                  <a:close/>
                  <a:moveTo>
                    <a:pt x="2298061" y="29210"/>
                  </a:moveTo>
                  <a:cubicBezTo>
                    <a:pt x="2301236" y="29210"/>
                    <a:pt x="2303776" y="29210"/>
                    <a:pt x="2305681" y="29845"/>
                  </a:cubicBezTo>
                  <a:cubicBezTo>
                    <a:pt x="2307586" y="29845"/>
                    <a:pt x="2309491" y="31115"/>
                    <a:pt x="2311396" y="32385"/>
                  </a:cubicBezTo>
                  <a:lnTo>
                    <a:pt x="2307586" y="46990"/>
                  </a:lnTo>
                  <a:lnTo>
                    <a:pt x="2306316" y="46990"/>
                  </a:lnTo>
                  <a:cubicBezTo>
                    <a:pt x="2306316" y="46990"/>
                    <a:pt x="2303141" y="45085"/>
                    <a:pt x="2301236" y="45085"/>
                  </a:cubicBezTo>
                  <a:cubicBezTo>
                    <a:pt x="2299331" y="45085"/>
                    <a:pt x="2297426" y="44450"/>
                    <a:pt x="2294886" y="44450"/>
                  </a:cubicBezTo>
                  <a:cubicBezTo>
                    <a:pt x="2289806" y="44450"/>
                    <a:pt x="2285996" y="46355"/>
                    <a:pt x="2283456" y="49530"/>
                  </a:cubicBezTo>
                  <a:cubicBezTo>
                    <a:pt x="2280916" y="52705"/>
                    <a:pt x="2279646" y="57785"/>
                    <a:pt x="2279646" y="64770"/>
                  </a:cubicBezTo>
                  <a:lnTo>
                    <a:pt x="2279646" y="109220"/>
                  </a:lnTo>
                  <a:lnTo>
                    <a:pt x="2264406" y="109220"/>
                  </a:lnTo>
                  <a:lnTo>
                    <a:pt x="2264406" y="31115"/>
                  </a:lnTo>
                  <a:lnTo>
                    <a:pt x="2279646" y="31115"/>
                  </a:lnTo>
                  <a:lnTo>
                    <a:pt x="2279646" y="38735"/>
                  </a:lnTo>
                  <a:cubicBezTo>
                    <a:pt x="2279646" y="38735"/>
                    <a:pt x="2281551" y="36195"/>
                    <a:pt x="2282821" y="34925"/>
                  </a:cubicBezTo>
                  <a:cubicBezTo>
                    <a:pt x="2284091" y="33655"/>
                    <a:pt x="2285361" y="33020"/>
                    <a:pt x="2287266" y="31750"/>
                  </a:cubicBezTo>
                  <a:cubicBezTo>
                    <a:pt x="2288536" y="31115"/>
                    <a:pt x="2290441" y="30480"/>
                    <a:pt x="2292346" y="29845"/>
                  </a:cubicBezTo>
                  <a:cubicBezTo>
                    <a:pt x="2294251" y="29845"/>
                    <a:pt x="2296156" y="29210"/>
                    <a:pt x="2298061" y="29210"/>
                  </a:cubicBezTo>
                  <a:close/>
                  <a:moveTo>
                    <a:pt x="2216145" y="29210"/>
                  </a:moveTo>
                  <a:cubicBezTo>
                    <a:pt x="2221860" y="29210"/>
                    <a:pt x="2226305" y="30480"/>
                    <a:pt x="2230750" y="32385"/>
                  </a:cubicBezTo>
                  <a:cubicBezTo>
                    <a:pt x="2234560" y="34290"/>
                    <a:pt x="2238370" y="37465"/>
                    <a:pt x="2240910" y="40640"/>
                  </a:cubicBezTo>
                  <a:cubicBezTo>
                    <a:pt x="2243450" y="44450"/>
                    <a:pt x="2245355" y="48260"/>
                    <a:pt x="2247260" y="53340"/>
                  </a:cubicBezTo>
                  <a:cubicBezTo>
                    <a:pt x="2248530" y="57785"/>
                    <a:pt x="2249165" y="62865"/>
                    <a:pt x="2249165" y="68580"/>
                  </a:cubicBezTo>
                  <a:lnTo>
                    <a:pt x="2247895" y="68580"/>
                  </a:lnTo>
                  <a:cubicBezTo>
                    <a:pt x="2247895" y="68580"/>
                    <a:pt x="2247895" y="71120"/>
                    <a:pt x="2247895" y="72390"/>
                  </a:cubicBezTo>
                  <a:cubicBezTo>
                    <a:pt x="2247895" y="73660"/>
                    <a:pt x="2247895" y="74295"/>
                    <a:pt x="2247895" y="75565"/>
                  </a:cubicBezTo>
                  <a:lnTo>
                    <a:pt x="2196460" y="75565"/>
                  </a:lnTo>
                  <a:cubicBezTo>
                    <a:pt x="2196460" y="79375"/>
                    <a:pt x="2197730" y="82550"/>
                    <a:pt x="2199000" y="85090"/>
                  </a:cubicBezTo>
                  <a:cubicBezTo>
                    <a:pt x="2200270" y="87630"/>
                    <a:pt x="2201540" y="90170"/>
                    <a:pt x="2203445" y="91440"/>
                  </a:cubicBezTo>
                  <a:cubicBezTo>
                    <a:pt x="2205350" y="93345"/>
                    <a:pt x="2207255" y="94615"/>
                    <a:pt x="2209160" y="95250"/>
                  </a:cubicBezTo>
                  <a:cubicBezTo>
                    <a:pt x="2211065" y="95885"/>
                    <a:pt x="2213605" y="96520"/>
                    <a:pt x="2216145" y="96520"/>
                  </a:cubicBezTo>
                  <a:cubicBezTo>
                    <a:pt x="2218050" y="96520"/>
                    <a:pt x="2219320" y="96520"/>
                    <a:pt x="2221225" y="96520"/>
                  </a:cubicBezTo>
                  <a:cubicBezTo>
                    <a:pt x="2222495" y="96520"/>
                    <a:pt x="2224400" y="95885"/>
                    <a:pt x="2225670" y="95250"/>
                  </a:cubicBezTo>
                  <a:cubicBezTo>
                    <a:pt x="2226940" y="95250"/>
                    <a:pt x="2228210" y="93980"/>
                    <a:pt x="2229480" y="93345"/>
                  </a:cubicBezTo>
                  <a:cubicBezTo>
                    <a:pt x="2230750" y="93345"/>
                    <a:pt x="2232020" y="92075"/>
                    <a:pt x="2233925" y="90805"/>
                  </a:cubicBezTo>
                  <a:lnTo>
                    <a:pt x="2242815" y="100330"/>
                  </a:lnTo>
                  <a:cubicBezTo>
                    <a:pt x="2242815" y="100330"/>
                    <a:pt x="2239005" y="103505"/>
                    <a:pt x="2237100" y="104775"/>
                  </a:cubicBezTo>
                  <a:cubicBezTo>
                    <a:pt x="2235195" y="106045"/>
                    <a:pt x="2233290" y="106680"/>
                    <a:pt x="2231385" y="107950"/>
                  </a:cubicBezTo>
                  <a:cubicBezTo>
                    <a:pt x="2229480" y="108585"/>
                    <a:pt x="2226940" y="109855"/>
                    <a:pt x="2224400" y="109855"/>
                  </a:cubicBezTo>
                  <a:cubicBezTo>
                    <a:pt x="2221860" y="109855"/>
                    <a:pt x="2218685" y="110490"/>
                    <a:pt x="2215510" y="110490"/>
                  </a:cubicBezTo>
                  <a:cubicBezTo>
                    <a:pt x="2212335" y="110490"/>
                    <a:pt x="2209160" y="110490"/>
                    <a:pt x="2205985" y="109220"/>
                  </a:cubicBezTo>
                  <a:cubicBezTo>
                    <a:pt x="2202810" y="108585"/>
                    <a:pt x="2200270" y="107315"/>
                    <a:pt x="2198365" y="105410"/>
                  </a:cubicBezTo>
                  <a:cubicBezTo>
                    <a:pt x="2195825" y="104140"/>
                    <a:pt x="2193920" y="102235"/>
                    <a:pt x="2192015" y="100330"/>
                  </a:cubicBezTo>
                  <a:cubicBezTo>
                    <a:pt x="2190110" y="98425"/>
                    <a:pt x="2188205" y="95885"/>
                    <a:pt x="2186935" y="92710"/>
                  </a:cubicBezTo>
                  <a:cubicBezTo>
                    <a:pt x="2185030" y="89535"/>
                    <a:pt x="2183760" y="86360"/>
                    <a:pt x="2183125" y="82550"/>
                  </a:cubicBezTo>
                  <a:cubicBezTo>
                    <a:pt x="2182490" y="78740"/>
                    <a:pt x="2181855" y="74295"/>
                    <a:pt x="2181855" y="69850"/>
                  </a:cubicBezTo>
                  <a:cubicBezTo>
                    <a:pt x="2181855" y="63500"/>
                    <a:pt x="2182490" y="57150"/>
                    <a:pt x="2184395" y="52070"/>
                  </a:cubicBezTo>
                  <a:cubicBezTo>
                    <a:pt x="2186300" y="46990"/>
                    <a:pt x="2188205" y="42545"/>
                    <a:pt x="2191380" y="39370"/>
                  </a:cubicBezTo>
                  <a:cubicBezTo>
                    <a:pt x="2194555" y="36195"/>
                    <a:pt x="2197730" y="33020"/>
                    <a:pt x="2202175" y="31750"/>
                  </a:cubicBezTo>
                  <a:cubicBezTo>
                    <a:pt x="2206620" y="29845"/>
                    <a:pt x="2211065" y="29210"/>
                    <a:pt x="2216145" y="29210"/>
                  </a:cubicBezTo>
                  <a:close/>
                  <a:moveTo>
                    <a:pt x="2029456" y="29210"/>
                  </a:moveTo>
                  <a:cubicBezTo>
                    <a:pt x="2035171" y="29210"/>
                    <a:pt x="2039616" y="30480"/>
                    <a:pt x="2044061" y="32385"/>
                  </a:cubicBezTo>
                  <a:cubicBezTo>
                    <a:pt x="2047871" y="34290"/>
                    <a:pt x="2051681" y="37465"/>
                    <a:pt x="2054221" y="40640"/>
                  </a:cubicBezTo>
                  <a:cubicBezTo>
                    <a:pt x="2056761" y="44450"/>
                    <a:pt x="2058666" y="48260"/>
                    <a:pt x="2060571" y="53340"/>
                  </a:cubicBezTo>
                  <a:cubicBezTo>
                    <a:pt x="2061841" y="57785"/>
                    <a:pt x="2062476" y="62865"/>
                    <a:pt x="2062476" y="68580"/>
                  </a:cubicBezTo>
                  <a:lnTo>
                    <a:pt x="2061206" y="68580"/>
                  </a:lnTo>
                  <a:cubicBezTo>
                    <a:pt x="2061206" y="68580"/>
                    <a:pt x="2061206" y="71120"/>
                    <a:pt x="2061206" y="72390"/>
                  </a:cubicBezTo>
                  <a:cubicBezTo>
                    <a:pt x="2061206" y="73660"/>
                    <a:pt x="2061206" y="74295"/>
                    <a:pt x="2061206" y="75565"/>
                  </a:cubicBezTo>
                  <a:lnTo>
                    <a:pt x="2009771" y="75565"/>
                  </a:lnTo>
                  <a:cubicBezTo>
                    <a:pt x="2009771" y="79375"/>
                    <a:pt x="2011041" y="82550"/>
                    <a:pt x="2012311" y="85090"/>
                  </a:cubicBezTo>
                  <a:cubicBezTo>
                    <a:pt x="2013581" y="87630"/>
                    <a:pt x="2014851" y="90170"/>
                    <a:pt x="2016756" y="91440"/>
                  </a:cubicBezTo>
                  <a:cubicBezTo>
                    <a:pt x="2018661" y="93345"/>
                    <a:pt x="2020566" y="94615"/>
                    <a:pt x="2022471" y="95250"/>
                  </a:cubicBezTo>
                  <a:cubicBezTo>
                    <a:pt x="2024376" y="95885"/>
                    <a:pt x="2026916" y="96520"/>
                    <a:pt x="2029456" y="96520"/>
                  </a:cubicBezTo>
                  <a:cubicBezTo>
                    <a:pt x="2031361" y="96520"/>
                    <a:pt x="2032631" y="96520"/>
                    <a:pt x="2034536" y="96520"/>
                  </a:cubicBezTo>
                  <a:cubicBezTo>
                    <a:pt x="2035806" y="96520"/>
                    <a:pt x="2037711" y="95885"/>
                    <a:pt x="2038981" y="95250"/>
                  </a:cubicBezTo>
                  <a:cubicBezTo>
                    <a:pt x="2040251" y="95250"/>
                    <a:pt x="2041521" y="93980"/>
                    <a:pt x="2042791" y="93345"/>
                  </a:cubicBezTo>
                  <a:cubicBezTo>
                    <a:pt x="2044061" y="93345"/>
                    <a:pt x="2045331" y="92075"/>
                    <a:pt x="2047236" y="90805"/>
                  </a:cubicBezTo>
                  <a:lnTo>
                    <a:pt x="2056126" y="100330"/>
                  </a:lnTo>
                  <a:cubicBezTo>
                    <a:pt x="2056126" y="100330"/>
                    <a:pt x="2052316" y="103505"/>
                    <a:pt x="2050411" y="104775"/>
                  </a:cubicBezTo>
                  <a:cubicBezTo>
                    <a:pt x="2048506" y="106045"/>
                    <a:pt x="2046601" y="106680"/>
                    <a:pt x="2044696" y="107950"/>
                  </a:cubicBezTo>
                  <a:cubicBezTo>
                    <a:pt x="2042791" y="108585"/>
                    <a:pt x="2040251" y="109855"/>
                    <a:pt x="2037711" y="109855"/>
                  </a:cubicBezTo>
                  <a:cubicBezTo>
                    <a:pt x="2035171" y="109855"/>
                    <a:pt x="2031996" y="110490"/>
                    <a:pt x="2028821" y="110490"/>
                  </a:cubicBezTo>
                  <a:cubicBezTo>
                    <a:pt x="2025646" y="110490"/>
                    <a:pt x="2022471" y="110490"/>
                    <a:pt x="2019296" y="109220"/>
                  </a:cubicBezTo>
                  <a:cubicBezTo>
                    <a:pt x="2016121" y="108585"/>
                    <a:pt x="2013581" y="107315"/>
                    <a:pt x="2011676" y="105410"/>
                  </a:cubicBezTo>
                  <a:cubicBezTo>
                    <a:pt x="2009136" y="104140"/>
                    <a:pt x="2007231" y="102235"/>
                    <a:pt x="2005326" y="100330"/>
                  </a:cubicBezTo>
                  <a:cubicBezTo>
                    <a:pt x="2003421" y="98425"/>
                    <a:pt x="2001516" y="95885"/>
                    <a:pt x="2000246" y="92710"/>
                  </a:cubicBezTo>
                  <a:cubicBezTo>
                    <a:pt x="1998341" y="89535"/>
                    <a:pt x="1997071" y="86360"/>
                    <a:pt x="1996436" y="82550"/>
                  </a:cubicBezTo>
                  <a:cubicBezTo>
                    <a:pt x="1995801" y="78740"/>
                    <a:pt x="1995166" y="74295"/>
                    <a:pt x="1995166" y="69850"/>
                  </a:cubicBezTo>
                  <a:cubicBezTo>
                    <a:pt x="1995166" y="63500"/>
                    <a:pt x="1995801" y="57150"/>
                    <a:pt x="1997706" y="52070"/>
                  </a:cubicBezTo>
                  <a:cubicBezTo>
                    <a:pt x="1999611" y="46990"/>
                    <a:pt x="2001516" y="42545"/>
                    <a:pt x="2004691" y="39370"/>
                  </a:cubicBezTo>
                  <a:cubicBezTo>
                    <a:pt x="2007866" y="36195"/>
                    <a:pt x="2011041" y="33020"/>
                    <a:pt x="2015486" y="31750"/>
                  </a:cubicBezTo>
                  <a:cubicBezTo>
                    <a:pt x="2019931" y="29845"/>
                    <a:pt x="2024376" y="29210"/>
                    <a:pt x="2029456" y="29210"/>
                  </a:cubicBezTo>
                  <a:close/>
                  <a:moveTo>
                    <a:pt x="1831336" y="29210"/>
                  </a:moveTo>
                  <a:cubicBezTo>
                    <a:pt x="1837051" y="29210"/>
                    <a:pt x="1841496" y="30480"/>
                    <a:pt x="1845941" y="32385"/>
                  </a:cubicBezTo>
                  <a:cubicBezTo>
                    <a:pt x="1849751" y="34290"/>
                    <a:pt x="1853561" y="37465"/>
                    <a:pt x="1856101" y="40640"/>
                  </a:cubicBezTo>
                  <a:cubicBezTo>
                    <a:pt x="1858641" y="44450"/>
                    <a:pt x="1860546" y="48260"/>
                    <a:pt x="1862451" y="53340"/>
                  </a:cubicBezTo>
                  <a:cubicBezTo>
                    <a:pt x="1863721" y="57785"/>
                    <a:pt x="1864356" y="62865"/>
                    <a:pt x="1864356" y="68580"/>
                  </a:cubicBezTo>
                  <a:lnTo>
                    <a:pt x="1863086" y="68580"/>
                  </a:lnTo>
                  <a:cubicBezTo>
                    <a:pt x="1863086" y="68580"/>
                    <a:pt x="1863086" y="71120"/>
                    <a:pt x="1863086" y="72390"/>
                  </a:cubicBezTo>
                  <a:cubicBezTo>
                    <a:pt x="1863086" y="73660"/>
                    <a:pt x="1863086" y="74295"/>
                    <a:pt x="1863086" y="75565"/>
                  </a:cubicBezTo>
                  <a:lnTo>
                    <a:pt x="1811651" y="75565"/>
                  </a:lnTo>
                  <a:cubicBezTo>
                    <a:pt x="1811651" y="79375"/>
                    <a:pt x="1812921" y="82550"/>
                    <a:pt x="1814191" y="85090"/>
                  </a:cubicBezTo>
                  <a:cubicBezTo>
                    <a:pt x="1815461" y="87630"/>
                    <a:pt x="1816731" y="90170"/>
                    <a:pt x="1818636" y="91440"/>
                  </a:cubicBezTo>
                  <a:cubicBezTo>
                    <a:pt x="1820541" y="93345"/>
                    <a:pt x="1822446" y="94615"/>
                    <a:pt x="1824351" y="95250"/>
                  </a:cubicBezTo>
                  <a:cubicBezTo>
                    <a:pt x="1826256" y="95885"/>
                    <a:pt x="1828796" y="96520"/>
                    <a:pt x="1831336" y="96520"/>
                  </a:cubicBezTo>
                  <a:cubicBezTo>
                    <a:pt x="1833241" y="96520"/>
                    <a:pt x="1834511" y="96520"/>
                    <a:pt x="1836416" y="96520"/>
                  </a:cubicBezTo>
                  <a:cubicBezTo>
                    <a:pt x="1837686" y="96520"/>
                    <a:pt x="1839591" y="95885"/>
                    <a:pt x="1840861" y="95250"/>
                  </a:cubicBezTo>
                  <a:cubicBezTo>
                    <a:pt x="1842131" y="95250"/>
                    <a:pt x="1843401" y="93980"/>
                    <a:pt x="1844671" y="93345"/>
                  </a:cubicBezTo>
                  <a:cubicBezTo>
                    <a:pt x="1845941" y="93345"/>
                    <a:pt x="1847211" y="92075"/>
                    <a:pt x="1849116" y="90805"/>
                  </a:cubicBezTo>
                  <a:lnTo>
                    <a:pt x="1858006" y="100330"/>
                  </a:lnTo>
                  <a:cubicBezTo>
                    <a:pt x="1858006" y="100330"/>
                    <a:pt x="1854196" y="103505"/>
                    <a:pt x="1852291" y="104775"/>
                  </a:cubicBezTo>
                  <a:cubicBezTo>
                    <a:pt x="1850386" y="106045"/>
                    <a:pt x="1848481" y="106680"/>
                    <a:pt x="1846576" y="107950"/>
                  </a:cubicBezTo>
                  <a:cubicBezTo>
                    <a:pt x="1844671" y="108585"/>
                    <a:pt x="1842131" y="109855"/>
                    <a:pt x="1839591" y="109855"/>
                  </a:cubicBezTo>
                  <a:cubicBezTo>
                    <a:pt x="1837051" y="109855"/>
                    <a:pt x="1833876" y="110490"/>
                    <a:pt x="1830701" y="110490"/>
                  </a:cubicBezTo>
                  <a:cubicBezTo>
                    <a:pt x="1827526" y="110490"/>
                    <a:pt x="1824351" y="110490"/>
                    <a:pt x="1821176" y="109220"/>
                  </a:cubicBezTo>
                  <a:cubicBezTo>
                    <a:pt x="1818001" y="108585"/>
                    <a:pt x="1815461" y="107315"/>
                    <a:pt x="1813556" y="105410"/>
                  </a:cubicBezTo>
                  <a:cubicBezTo>
                    <a:pt x="1811016" y="104140"/>
                    <a:pt x="1809111" y="102235"/>
                    <a:pt x="1807206" y="100330"/>
                  </a:cubicBezTo>
                  <a:cubicBezTo>
                    <a:pt x="1805301" y="98425"/>
                    <a:pt x="1803396" y="95885"/>
                    <a:pt x="1802126" y="92710"/>
                  </a:cubicBezTo>
                  <a:cubicBezTo>
                    <a:pt x="1800221" y="89535"/>
                    <a:pt x="1798951" y="86360"/>
                    <a:pt x="1798316" y="82550"/>
                  </a:cubicBezTo>
                  <a:cubicBezTo>
                    <a:pt x="1797681" y="78740"/>
                    <a:pt x="1797046" y="74295"/>
                    <a:pt x="1797046" y="69850"/>
                  </a:cubicBezTo>
                  <a:cubicBezTo>
                    <a:pt x="1797046" y="63500"/>
                    <a:pt x="1797681" y="57150"/>
                    <a:pt x="1799586" y="52070"/>
                  </a:cubicBezTo>
                  <a:cubicBezTo>
                    <a:pt x="1801491" y="46990"/>
                    <a:pt x="1803396" y="42545"/>
                    <a:pt x="1806571" y="39370"/>
                  </a:cubicBezTo>
                  <a:cubicBezTo>
                    <a:pt x="1809746" y="36195"/>
                    <a:pt x="1812921" y="33020"/>
                    <a:pt x="1817366" y="31750"/>
                  </a:cubicBezTo>
                  <a:cubicBezTo>
                    <a:pt x="1821811" y="29845"/>
                    <a:pt x="1826256" y="29210"/>
                    <a:pt x="1831336" y="29210"/>
                  </a:cubicBezTo>
                  <a:close/>
                  <a:moveTo>
                    <a:pt x="1501140" y="29210"/>
                  </a:moveTo>
                  <a:cubicBezTo>
                    <a:pt x="1503046" y="29210"/>
                    <a:pt x="1504951" y="29210"/>
                    <a:pt x="1506856" y="29210"/>
                  </a:cubicBezTo>
                  <a:cubicBezTo>
                    <a:pt x="1511301" y="29210"/>
                    <a:pt x="1515746" y="29845"/>
                    <a:pt x="1518920" y="31750"/>
                  </a:cubicBezTo>
                  <a:cubicBezTo>
                    <a:pt x="1522096" y="33020"/>
                    <a:pt x="1525271" y="35560"/>
                    <a:pt x="1527811" y="38100"/>
                  </a:cubicBezTo>
                  <a:cubicBezTo>
                    <a:pt x="1530351" y="41275"/>
                    <a:pt x="1531621" y="44450"/>
                    <a:pt x="1532891" y="48895"/>
                  </a:cubicBezTo>
                  <a:cubicBezTo>
                    <a:pt x="1534161" y="53340"/>
                    <a:pt x="1534796" y="58420"/>
                    <a:pt x="1534796" y="64135"/>
                  </a:cubicBezTo>
                  <a:lnTo>
                    <a:pt x="1534796" y="108585"/>
                  </a:lnTo>
                  <a:lnTo>
                    <a:pt x="1519556" y="108585"/>
                  </a:lnTo>
                  <a:lnTo>
                    <a:pt x="1518920" y="108585"/>
                  </a:lnTo>
                  <a:lnTo>
                    <a:pt x="1518920" y="64770"/>
                  </a:lnTo>
                  <a:cubicBezTo>
                    <a:pt x="1518920" y="57785"/>
                    <a:pt x="1517651" y="52070"/>
                    <a:pt x="1515111" y="48895"/>
                  </a:cubicBezTo>
                  <a:cubicBezTo>
                    <a:pt x="1512571" y="45085"/>
                    <a:pt x="1508761" y="43180"/>
                    <a:pt x="1503046" y="43180"/>
                  </a:cubicBezTo>
                  <a:cubicBezTo>
                    <a:pt x="1500506" y="43180"/>
                    <a:pt x="1498601" y="43180"/>
                    <a:pt x="1496061" y="44450"/>
                  </a:cubicBezTo>
                  <a:cubicBezTo>
                    <a:pt x="1494156" y="45085"/>
                    <a:pt x="1492250" y="46990"/>
                    <a:pt x="1490981" y="48260"/>
                  </a:cubicBezTo>
                  <a:cubicBezTo>
                    <a:pt x="1489711" y="50165"/>
                    <a:pt x="1488441" y="52070"/>
                    <a:pt x="1487806" y="54610"/>
                  </a:cubicBezTo>
                  <a:cubicBezTo>
                    <a:pt x="1487806" y="57150"/>
                    <a:pt x="1487170" y="59690"/>
                    <a:pt x="1487170" y="62865"/>
                  </a:cubicBezTo>
                  <a:lnTo>
                    <a:pt x="1487170" y="108585"/>
                  </a:lnTo>
                  <a:lnTo>
                    <a:pt x="1471931" y="108585"/>
                  </a:lnTo>
                  <a:lnTo>
                    <a:pt x="1471931" y="30480"/>
                  </a:lnTo>
                  <a:lnTo>
                    <a:pt x="1487170" y="30480"/>
                  </a:lnTo>
                  <a:lnTo>
                    <a:pt x="1487170" y="38100"/>
                  </a:lnTo>
                  <a:cubicBezTo>
                    <a:pt x="1487170" y="38100"/>
                    <a:pt x="1489076" y="35560"/>
                    <a:pt x="1490981" y="34290"/>
                  </a:cubicBezTo>
                  <a:cubicBezTo>
                    <a:pt x="1492250" y="33020"/>
                    <a:pt x="1494156" y="32385"/>
                    <a:pt x="1495426" y="31115"/>
                  </a:cubicBezTo>
                  <a:cubicBezTo>
                    <a:pt x="1497331" y="30480"/>
                    <a:pt x="1499236" y="29845"/>
                    <a:pt x="1501140" y="29210"/>
                  </a:cubicBezTo>
                  <a:close/>
                  <a:moveTo>
                    <a:pt x="1250316" y="29210"/>
                  </a:moveTo>
                  <a:cubicBezTo>
                    <a:pt x="1255396" y="29210"/>
                    <a:pt x="1259841" y="29845"/>
                    <a:pt x="1264286" y="31750"/>
                  </a:cubicBezTo>
                  <a:cubicBezTo>
                    <a:pt x="1268731" y="33655"/>
                    <a:pt x="1273176" y="35560"/>
                    <a:pt x="1276350" y="38100"/>
                  </a:cubicBezTo>
                  <a:lnTo>
                    <a:pt x="1278256" y="38100"/>
                  </a:lnTo>
                  <a:lnTo>
                    <a:pt x="1271271" y="50165"/>
                  </a:lnTo>
                  <a:cubicBezTo>
                    <a:pt x="1268095" y="47625"/>
                    <a:pt x="1264921" y="46355"/>
                    <a:pt x="1261746" y="45085"/>
                  </a:cubicBezTo>
                  <a:cubicBezTo>
                    <a:pt x="1258570" y="43815"/>
                    <a:pt x="1254761" y="43180"/>
                    <a:pt x="1250951" y="43180"/>
                  </a:cubicBezTo>
                  <a:cubicBezTo>
                    <a:pt x="1247141" y="43180"/>
                    <a:pt x="1244601" y="43815"/>
                    <a:pt x="1242696" y="45085"/>
                  </a:cubicBezTo>
                  <a:cubicBezTo>
                    <a:pt x="1240791" y="46355"/>
                    <a:pt x="1240156" y="48260"/>
                    <a:pt x="1240156" y="50165"/>
                  </a:cubicBezTo>
                  <a:cubicBezTo>
                    <a:pt x="1240156" y="51435"/>
                    <a:pt x="1240156" y="52070"/>
                    <a:pt x="1240156" y="52705"/>
                  </a:cubicBezTo>
                  <a:cubicBezTo>
                    <a:pt x="1240156" y="53340"/>
                    <a:pt x="1241426" y="54610"/>
                    <a:pt x="1242061" y="55245"/>
                  </a:cubicBezTo>
                  <a:cubicBezTo>
                    <a:pt x="1243331" y="55880"/>
                    <a:pt x="1244601" y="57150"/>
                    <a:pt x="1246506" y="57785"/>
                  </a:cubicBezTo>
                  <a:cubicBezTo>
                    <a:pt x="1248411" y="59055"/>
                    <a:pt x="1250951" y="59690"/>
                    <a:pt x="1253491" y="60960"/>
                  </a:cubicBezTo>
                  <a:cubicBezTo>
                    <a:pt x="1257936" y="62865"/>
                    <a:pt x="1261746" y="64135"/>
                    <a:pt x="1264921" y="66040"/>
                  </a:cubicBezTo>
                  <a:cubicBezTo>
                    <a:pt x="1268095" y="67310"/>
                    <a:pt x="1270635" y="69215"/>
                    <a:pt x="1273176" y="71120"/>
                  </a:cubicBezTo>
                  <a:cubicBezTo>
                    <a:pt x="1275080" y="73025"/>
                    <a:pt x="1276985" y="75565"/>
                    <a:pt x="1278256" y="78105"/>
                  </a:cubicBezTo>
                  <a:cubicBezTo>
                    <a:pt x="1279525" y="80645"/>
                    <a:pt x="1280161" y="83820"/>
                    <a:pt x="1280161" y="87630"/>
                  </a:cubicBezTo>
                  <a:cubicBezTo>
                    <a:pt x="1280161" y="92075"/>
                    <a:pt x="1279525" y="95250"/>
                    <a:pt x="1277621" y="98425"/>
                  </a:cubicBezTo>
                  <a:cubicBezTo>
                    <a:pt x="1275716" y="101600"/>
                    <a:pt x="1273811" y="103505"/>
                    <a:pt x="1271271" y="105410"/>
                  </a:cubicBezTo>
                  <a:cubicBezTo>
                    <a:pt x="1268731" y="107315"/>
                    <a:pt x="1265556" y="108585"/>
                    <a:pt x="1261746" y="109220"/>
                  </a:cubicBezTo>
                  <a:cubicBezTo>
                    <a:pt x="1257936" y="109855"/>
                    <a:pt x="1254761" y="110490"/>
                    <a:pt x="1250951" y="110490"/>
                  </a:cubicBezTo>
                  <a:cubicBezTo>
                    <a:pt x="1245871" y="110490"/>
                    <a:pt x="1240791" y="109855"/>
                    <a:pt x="1235711" y="107950"/>
                  </a:cubicBezTo>
                  <a:cubicBezTo>
                    <a:pt x="1229996" y="106045"/>
                    <a:pt x="1225551" y="103505"/>
                    <a:pt x="1221106" y="100965"/>
                  </a:cubicBezTo>
                  <a:lnTo>
                    <a:pt x="1228091" y="89535"/>
                  </a:lnTo>
                  <a:cubicBezTo>
                    <a:pt x="1231901" y="92075"/>
                    <a:pt x="1235711" y="93980"/>
                    <a:pt x="1239521" y="95250"/>
                  </a:cubicBezTo>
                  <a:cubicBezTo>
                    <a:pt x="1243331" y="96520"/>
                    <a:pt x="1247141" y="97155"/>
                    <a:pt x="1250951" y="97155"/>
                  </a:cubicBezTo>
                  <a:cubicBezTo>
                    <a:pt x="1256031" y="97155"/>
                    <a:pt x="1259205" y="96520"/>
                    <a:pt x="1261746" y="94615"/>
                  </a:cubicBezTo>
                  <a:cubicBezTo>
                    <a:pt x="1264286" y="93345"/>
                    <a:pt x="1264921" y="90805"/>
                    <a:pt x="1264921" y="88265"/>
                  </a:cubicBezTo>
                  <a:cubicBezTo>
                    <a:pt x="1264921" y="86995"/>
                    <a:pt x="1264921" y="85725"/>
                    <a:pt x="1263650" y="84455"/>
                  </a:cubicBezTo>
                  <a:cubicBezTo>
                    <a:pt x="1263015" y="83185"/>
                    <a:pt x="1261746" y="82550"/>
                    <a:pt x="1259841" y="81280"/>
                  </a:cubicBezTo>
                  <a:cubicBezTo>
                    <a:pt x="1258570" y="80010"/>
                    <a:pt x="1256666" y="79375"/>
                    <a:pt x="1254125" y="78105"/>
                  </a:cubicBezTo>
                  <a:cubicBezTo>
                    <a:pt x="1252221" y="77470"/>
                    <a:pt x="1249681" y="76200"/>
                    <a:pt x="1246506" y="74930"/>
                  </a:cubicBezTo>
                  <a:cubicBezTo>
                    <a:pt x="1242061" y="73025"/>
                    <a:pt x="1238886" y="71755"/>
                    <a:pt x="1235711" y="69850"/>
                  </a:cubicBezTo>
                  <a:cubicBezTo>
                    <a:pt x="1232536" y="67945"/>
                    <a:pt x="1230631" y="66675"/>
                    <a:pt x="1228726" y="64770"/>
                  </a:cubicBezTo>
                  <a:cubicBezTo>
                    <a:pt x="1226821" y="62865"/>
                    <a:pt x="1225551" y="60960"/>
                    <a:pt x="1224916" y="58420"/>
                  </a:cubicBezTo>
                  <a:cubicBezTo>
                    <a:pt x="1224281" y="55880"/>
                    <a:pt x="1223646" y="53340"/>
                    <a:pt x="1223646" y="50165"/>
                  </a:cubicBezTo>
                  <a:cubicBezTo>
                    <a:pt x="1223646" y="46990"/>
                    <a:pt x="1224281" y="43815"/>
                    <a:pt x="1225551" y="40640"/>
                  </a:cubicBezTo>
                  <a:cubicBezTo>
                    <a:pt x="1226821" y="38100"/>
                    <a:pt x="1228726" y="35560"/>
                    <a:pt x="1231266" y="34290"/>
                  </a:cubicBezTo>
                  <a:cubicBezTo>
                    <a:pt x="1233806" y="32385"/>
                    <a:pt x="1236346" y="31115"/>
                    <a:pt x="1239521" y="30480"/>
                  </a:cubicBezTo>
                  <a:cubicBezTo>
                    <a:pt x="1242696" y="29845"/>
                    <a:pt x="1246506" y="29210"/>
                    <a:pt x="1250316" y="29210"/>
                  </a:cubicBezTo>
                  <a:close/>
                  <a:moveTo>
                    <a:pt x="1180466" y="29210"/>
                  </a:moveTo>
                  <a:cubicBezTo>
                    <a:pt x="1186181" y="29210"/>
                    <a:pt x="1190626" y="30480"/>
                    <a:pt x="1195071" y="32385"/>
                  </a:cubicBezTo>
                  <a:cubicBezTo>
                    <a:pt x="1198881" y="34290"/>
                    <a:pt x="1202691" y="37465"/>
                    <a:pt x="1205231" y="40640"/>
                  </a:cubicBezTo>
                  <a:cubicBezTo>
                    <a:pt x="1207771" y="44450"/>
                    <a:pt x="1209676" y="48260"/>
                    <a:pt x="1211581" y="53340"/>
                  </a:cubicBezTo>
                  <a:cubicBezTo>
                    <a:pt x="1212851" y="57785"/>
                    <a:pt x="1213486" y="62865"/>
                    <a:pt x="1213486" y="68580"/>
                  </a:cubicBezTo>
                  <a:lnTo>
                    <a:pt x="1212216" y="68580"/>
                  </a:lnTo>
                  <a:cubicBezTo>
                    <a:pt x="1212216" y="68580"/>
                    <a:pt x="1212216" y="71120"/>
                    <a:pt x="1212216" y="72390"/>
                  </a:cubicBezTo>
                  <a:cubicBezTo>
                    <a:pt x="1212216" y="73660"/>
                    <a:pt x="1212216" y="74295"/>
                    <a:pt x="1212216" y="75565"/>
                  </a:cubicBezTo>
                  <a:lnTo>
                    <a:pt x="1160781" y="75565"/>
                  </a:lnTo>
                  <a:cubicBezTo>
                    <a:pt x="1160781" y="79375"/>
                    <a:pt x="1162051" y="82550"/>
                    <a:pt x="1163321" y="85090"/>
                  </a:cubicBezTo>
                  <a:cubicBezTo>
                    <a:pt x="1164591" y="87630"/>
                    <a:pt x="1165861" y="90170"/>
                    <a:pt x="1167766" y="91440"/>
                  </a:cubicBezTo>
                  <a:cubicBezTo>
                    <a:pt x="1169671" y="93345"/>
                    <a:pt x="1171576" y="94615"/>
                    <a:pt x="1173481" y="95250"/>
                  </a:cubicBezTo>
                  <a:cubicBezTo>
                    <a:pt x="1175386" y="95885"/>
                    <a:pt x="1177926" y="96520"/>
                    <a:pt x="1180466" y="96520"/>
                  </a:cubicBezTo>
                  <a:cubicBezTo>
                    <a:pt x="1182371" y="96520"/>
                    <a:pt x="1183641" y="96520"/>
                    <a:pt x="1185546" y="96520"/>
                  </a:cubicBezTo>
                  <a:cubicBezTo>
                    <a:pt x="1186816" y="96520"/>
                    <a:pt x="1188721" y="95885"/>
                    <a:pt x="1189991" y="95250"/>
                  </a:cubicBezTo>
                  <a:cubicBezTo>
                    <a:pt x="1191261" y="95250"/>
                    <a:pt x="1192531" y="93980"/>
                    <a:pt x="1193801" y="93345"/>
                  </a:cubicBezTo>
                  <a:cubicBezTo>
                    <a:pt x="1195071" y="93345"/>
                    <a:pt x="1196341" y="92075"/>
                    <a:pt x="1198246" y="90805"/>
                  </a:cubicBezTo>
                  <a:lnTo>
                    <a:pt x="1207136" y="100330"/>
                  </a:lnTo>
                  <a:cubicBezTo>
                    <a:pt x="1207136" y="100330"/>
                    <a:pt x="1203326" y="103505"/>
                    <a:pt x="1201421" y="104775"/>
                  </a:cubicBezTo>
                  <a:cubicBezTo>
                    <a:pt x="1199516" y="106045"/>
                    <a:pt x="1197611" y="106680"/>
                    <a:pt x="1195706" y="107950"/>
                  </a:cubicBezTo>
                  <a:cubicBezTo>
                    <a:pt x="1193801" y="108585"/>
                    <a:pt x="1191261" y="109855"/>
                    <a:pt x="1188721" y="109855"/>
                  </a:cubicBezTo>
                  <a:cubicBezTo>
                    <a:pt x="1186181" y="109855"/>
                    <a:pt x="1183006" y="110490"/>
                    <a:pt x="1179831" y="110490"/>
                  </a:cubicBezTo>
                  <a:cubicBezTo>
                    <a:pt x="1176656" y="110490"/>
                    <a:pt x="1173481" y="110490"/>
                    <a:pt x="1170306" y="109220"/>
                  </a:cubicBezTo>
                  <a:cubicBezTo>
                    <a:pt x="1167131" y="108585"/>
                    <a:pt x="1164591" y="107315"/>
                    <a:pt x="1162686" y="105410"/>
                  </a:cubicBezTo>
                  <a:cubicBezTo>
                    <a:pt x="1160781" y="103505"/>
                    <a:pt x="1158241" y="102235"/>
                    <a:pt x="1156336" y="100330"/>
                  </a:cubicBezTo>
                  <a:cubicBezTo>
                    <a:pt x="1154431" y="98425"/>
                    <a:pt x="1152526" y="95885"/>
                    <a:pt x="1151256" y="92710"/>
                  </a:cubicBezTo>
                  <a:cubicBezTo>
                    <a:pt x="1149351" y="89535"/>
                    <a:pt x="1148081" y="86360"/>
                    <a:pt x="1147446" y="82550"/>
                  </a:cubicBezTo>
                  <a:cubicBezTo>
                    <a:pt x="1146811" y="78740"/>
                    <a:pt x="1146176" y="74295"/>
                    <a:pt x="1146176" y="69850"/>
                  </a:cubicBezTo>
                  <a:cubicBezTo>
                    <a:pt x="1146176" y="63500"/>
                    <a:pt x="1146811" y="57150"/>
                    <a:pt x="1148716" y="52070"/>
                  </a:cubicBezTo>
                  <a:cubicBezTo>
                    <a:pt x="1150621" y="46990"/>
                    <a:pt x="1152526" y="42545"/>
                    <a:pt x="1155701" y="39370"/>
                  </a:cubicBezTo>
                  <a:cubicBezTo>
                    <a:pt x="1158876" y="36195"/>
                    <a:pt x="1162051" y="33020"/>
                    <a:pt x="1166496" y="31750"/>
                  </a:cubicBezTo>
                  <a:cubicBezTo>
                    <a:pt x="1170941" y="29845"/>
                    <a:pt x="1175386" y="29210"/>
                    <a:pt x="1180466" y="29210"/>
                  </a:cubicBezTo>
                  <a:close/>
                  <a:moveTo>
                    <a:pt x="901065" y="29210"/>
                  </a:moveTo>
                  <a:cubicBezTo>
                    <a:pt x="906780" y="29210"/>
                    <a:pt x="911225" y="30480"/>
                    <a:pt x="915670" y="32385"/>
                  </a:cubicBezTo>
                  <a:cubicBezTo>
                    <a:pt x="919480" y="34290"/>
                    <a:pt x="923290" y="37465"/>
                    <a:pt x="925830" y="40640"/>
                  </a:cubicBezTo>
                  <a:cubicBezTo>
                    <a:pt x="928370" y="44450"/>
                    <a:pt x="930275" y="48260"/>
                    <a:pt x="932180" y="53340"/>
                  </a:cubicBezTo>
                  <a:cubicBezTo>
                    <a:pt x="933450" y="57785"/>
                    <a:pt x="934085" y="62865"/>
                    <a:pt x="934085" y="68580"/>
                  </a:cubicBezTo>
                  <a:lnTo>
                    <a:pt x="932815" y="68580"/>
                  </a:lnTo>
                  <a:cubicBezTo>
                    <a:pt x="932815" y="68580"/>
                    <a:pt x="932815" y="71120"/>
                    <a:pt x="932815" y="72390"/>
                  </a:cubicBezTo>
                  <a:cubicBezTo>
                    <a:pt x="932815" y="73660"/>
                    <a:pt x="932815" y="74295"/>
                    <a:pt x="932815" y="75565"/>
                  </a:cubicBezTo>
                  <a:lnTo>
                    <a:pt x="881380" y="75565"/>
                  </a:lnTo>
                  <a:cubicBezTo>
                    <a:pt x="881380" y="79375"/>
                    <a:pt x="882650" y="82550"/>
                    <a:pt x="883920" y="85090"/>
                  </a:cubicBezTo>
                  <a:cubicBezTo>
                    <a:pt x="885190" y="87630"/>
                    <a:pt x="886460" y="90170"/>
                    <a:pt x="888365" y="91440"/>
                  </a:cubicBezTo>
                  <a:cubicBezTo>
                    <a:pt x="890270" y="93345"/>
                    <a:pt x="892175" y="94615"/>
                    <a:pt x="894080" y="95250"/>
                  </a:cubicBezTo>
                  <a:cubicBezTo>
                    <a:pt x="895985" y="95885"/>
                    <a:pt x="898525" y="96520"/>
                    <a:pt x="901065" y="96520"/>
                  </a:cubicBezTo>
                  <a:cubicBezTo>
                    <a:pt x="902970" y="96520"/>
                    <a:pt x="904240" y="96520"/>
                    <a:pt x="906145" y="96520"/>
                  </a:cubicBezTo>
                  <a:cubicBezTo>
                    <a:pt x="907415" y="96520"/>
                    <a:pt x="909320" y="95885"/>
                    <a:pt x="910590" y="95250"/>
                  </a:cubicBezTo>
                  <a:cubicBezTo>
                    <a:pt x="911860" y="95250"/>
                    <a:pt x="913130" y="93980"/>
                    <a:pt x="914400" y="93345"/>
                  </a:cubicBezTo>
                  <a:cubicBezTo>
                    <a:pt x="915670" y="93345"/>
                    <a:pt x="916940" y="92075"/>
                    <a:pt x="918845" y="90805"/>
                  </a:cubicBezTo>
                  <a:lnTo>
                    <a:pt x="927735" y="100330"/>
                  </a:lnTo>
                  <a:cubicBezTo>
                    <a:pt x="927735" y="100330"/>
                    <a:pt x="923925" y="103505"/>
                    <a:pt x="922020" y="104775"/>
                  </a:cubicBezTo>
                  <a:cubicBezTo>
                    <a:pt x="920115" y="106045"/>
                    <a:pt x="918210" y="106680"/>
                    <a:pt x="916305" y="107950"/>
                  </a:cubicBezTo>
                  <a:cubicBezTo>
                    <a:pt x="914400" y="108585"/>
                    <a:pt x="911860" y="109855"/>
                    <a:pt x="909320" y="109855"/>
                  </a:cubicBezTo>
                  <a:cubicBezTo>
                    <a:pt x="906780" y="109855"/>
                    <a:pt x="903605" y="110490"/>
                    <a:pt x="900430" y="110490"/>
                  </a:cubicBezTo>
                  <a:cubicBezTo>
                    <a:pt x="897255" y="110490"/>
                    <a:pt x="894080" y="110490"/>
                    <a:pt x="890905" y="109220"/>
                  </a:cubicBezTo>
                  <a:cubicBezTo>
                    <a:pt x="887730" y="108585"/>
                    <a:pt x="885190" y="107315"/>
                    <a:pt x="883285" y="105410"/>
                  </a:cubicBezTo>
                  <a:cubicBezTo>
                    <a:pt x="881380" y="103505"/>
                    <a:pt x="878840" y="102235"/>
                    <a:pt x="876935" y="100330"/>
                  </a:cubicBezTo>
                  <a:cubicBezTo>
                    <a:pt x="875030" y="98425"/>
                    <a:pt x="873125" y="95885"/>
                    <a:pt x="871855" y="92710"/>
                  </a:cubicBezTo>
                  <a:cubicBezTo>
                    <a:pt x="869950" y="89535"/>
                    <a:pt x="868680" y="86360"/>
                    <a:pt x="868045" y="82550"/>
                  </a:cubicBezTo>
                  <a:cubicBezTo>
                    <a:pt x="867410" y="78740"/>
                    <a:pt x="866775" y="74295"/>
                    <a:pt x="866775" y="69850"/>
                  </a:cubicBezTo>
                  <a:cubicBezTo>
                    <a:pt x="866775" y="63500"/>
                    <a:pt x="867410" y="57150"/>
                    <a:pt x="869315" y="52070"/>
                  </a:cubicBezTo>
                  <a:cubicBezTo>
                    <a:pt x="871220" y="46990"/>
                    <a:pt x="873125" y="42545"/>
                    <a:pt x="876300" y="39370"/>
                  </a:cubicBezTo>
                  <a:cubicBezTo>
                    <a:pt x="879475" y="36195"/>
                    <a:pt x="882650" y="33020"/>
                    <a:pt x="887095" y="31750"/>
                  </a:cubicBezTo>
                  <a:cubicBezTo>
                    <a:pt x="891540" y="29845"/>
                    <a:pt x="895985" y="29210"/>
                    <a:pt x="901065" y="29210"/>
                  </a:cubicBezTo>
                  <a:close/>
                  <a:moveTo>
                    <a:pt x="668656" y="29210"/>
                  </a:moveTo>
                  <a:cubicBezTo>
                    <a:pt x="671830" y="29210"/>
                    <a:pt x="674370" y="29210"/>
                    <a:pt x="676275" y="29845"/>
                  </a:cubicBezTo>
                  <a:cubicBezTo>
                    <a:pt x="678181" y="29845"/>
                    <a:pt x="680086" y="31115"/>
                    <a:pt x="681991" y="32385"/>
                  </a:cubicBezTo>
                  <a:lnTo>
                    <a:pt x="678181" y="46990"/>
                  </a:lnTo>
                  <a:lnTo>
                    <a:pt x="676910" y="46990"/>
                  </a:lnTo>
                  <a:cubicBezTo>
                    <a:pt x="676910" y="46990"/>
                    <a:pt x="673736" y="45085"/>
                    <a:pt x="671830" y="45085"/>
                  </a:cubicBezTo>
                  <a:cubicBezTo>
                    <a:pt x="669925" y="45085"/>
                    <a:pt x="668020" y="44450"/>
                    <a:pt x="665480" y="44450"/>
                  </a:cubicBezTo>
                  <a:cubicBezTo>
                    <a:pt x="660400" y="44450"/>
                    <a:pt x="656590" y="46355"/>
                    <a:pt x="654050" y="49530"/>
                  </a:cubicBezTo>
                  <a:cubicBezTo>
                    <a:pt x="651510" y="52705"/>
                    <a:pt x="650240" y="57785"/>
                    <a:pt x="650240" y="64770"/>
                  </a:cubicBezTo>
                  <a:lnTo>
                    <a:pt x="650240" y="109220"/>
                  </a:lnTo>
                  <a:lnTo>
                    <a:pt x="635000" y="109220"/>
                  </a:lnTo>
                  <a:lnTo>
                    <a:pt x="635000" y="31115"/>
                  </a:lnTo>
                  <a:lnTo>
                    <a:pt x="650240" y="31115"/>
                  </a:lnTo>
                  <a:lnTo>
                    <a:pt x="650240" y="38735"/>
                  </a:lnTo>
                  <a:cubicBezTo>
                    <a:pt x="650240" y="38735"/>
                    <a:pt x="652145" y="36195"/>
                    <a:pt x="653416" y="34925"/>
                  </a:cubicBezTo>
                  <a:cubicBezTo>
                    <a:pt x="654685" y="33655"/>
                    <a:pt x="655955" y="33020"/>
                    <a:pt x="657861" y="31750"/>
                  </a:cubicBezTo>
                  <a:cubicBezTo>
                    <a:pt x="659130" y="31115"/>
                    <a:pt x="661035" y="30480"/>
                    <a:pt x="662940" y="29845"/>
                  </a:cubicBezTo>
                  <a:cubicBezTo>
                    <a:pt x="664845" y="29845"/>
                    <a:pt x="666751" y="29210"/>
                    <a:pt x="668656" y="29210"/>
                  </a:cubicBezTo>
                  <a:close/>
                  <a:moveTo>
                    <a:pt x="586739" y="29210"/>
                  </a:moveTo>
                  <a:cubicBezTo>
                    <a:pt x="592454" y="29210"/>
                    <a:pt x="596899" y="30480"/>
                    <a:pt x="601344" y="32385"/>
                  </a:cubicBezTo>
                  <a:cubicBezTo>
                    <a:pt x="605154" y="34290"/>
                    <a:pt x="608964" y="37465"/>
                    <a:pt x="611504" y="40640"/>
                  </a:cubicBezTo>
                  <a:cubicBezTo>
                    <a:pt x="614044" y="44450"/>
                    <a:pt x="615949" y="48260"/>
                    <a:pt x="617854" y="53340"/>
                  </a:cubicBezTo>
                  <a:cubicBezTo>
                    <a:pt x="619124" y="57785"/>
                    <a:pt x="619759" y="62865"/>
                    <a:pt x="619759" y="68580"/>
                  </a:cubicBezTo>
                  <a:lnTo>
                    <a:pt x="618489" y="68580"/>
                  </a:lnTo>
                  <a:cubicBezTo>
                    <a:pt x="618489" y="68580"/>
                    <a:pt x="618489" y="71120"/>
                    <a:pt x="618489" y="72390"/>
                  </a:cubicBezTo>
                  <a:cubicBezTo>
                    <a:pt x="618489" y="73660"/>
                    <a:pt x="618489" y="74295"/>
                    <a:pt x="618489" y="75565"/>
                  </a:cubicBezTo>
                  <a:lnTo>
                    <a:pt x="567054" y="75565"/>
                  </a:lnTo>
                  <a:cubicBezTo>
                    <a:pt x="567054" y="79375"/>
                    <a:pt x="568324" y="82550"/>
                    <a:pt x="569594" y="85090"/>
                  </a:cubicBezTo>
                  <a:cubicBezTo>
                    <a:pt x="570864" y="87630"/>
                    <a:pt x="572134" y="90170"/>
                    <a:pt x="574039" y="91440"/>
                  </a:cubicBezTo>
                  <a:cubicBezTo>
                    <a:pt x="575944" y="93345"/>
                    <a:pt x="577849" y="94615"/>
                    <a:pt x="579754" y="95250"/>
                  </a:cubicBezTo>
                  <a:cubicBezTo>
                    <a:pt x="581659" y="95885"/>
                    <a:pt x="584199" y="96520"/>
                    <a:pt x="586739" y="96520"/>
                  </a:cubicBezTo>
                  <a:cubicBezTo>
                    <a:pt x="588644" y="96520"/>
                    <a:pt x="589914" y="96520"/>
                    <a:pt x="591819" y="96520"/>
                  </a:cubicBezTo>
                  <a:cubicBezTo>
                    <a:pt x="593089" y="96520"/>
                    <a:pt x="594994" y="95885"/>
                    <a:pt x="596264" y="95250"/>
                  </a:cubicBezTo>
                  <a:cubicBezTo>
                    <a:pt x="597534" y="95250"/>
                    <a:pt x="598804" y="93980"/>
                    <a:pt x="600074" y="93345"/>
                  </a:cubicBezTo>
                  <a:cubicBezTo>
                    <a:pt x="601344" y="93345"/>
                    <a:pt x="602614" y="92075"/>
                    <a:pt x="604519" y="90805"/>
                  </a:cubicBezTo>
                  <a:lnTo>
                    <a:pt x="613409" y="100330"/>
                  </a:lnTo>
                  <a:cubicBezTo>
                    <a:pt x="613409" y="100330"/>
                    <a:pt x="609599" y="103505"/>
                    <a:pt x="607694" y="104775"/>
                  </a:cubicBezTo>
                  <a:cubicBezTo>
                    <a:pt x="605789" y="106045"/>
                    <a:pt x="603884" y="106680"/>
                    <a:pt x="601979" y="107950"/>
                  </a:cubicBezTo>
                  <a:cubicBezTo>
                    <a:pt x="600074" y="108585"/>
                    <a:pt x="597534" y="109855"/>
                    <a:pt x="594994" y="109855"/>
                  </a:cubicBezTo>
                  <a:cubicBezTo>
                    <a:pt x="592454" y="109855"/>
                    <a:pt x="589279" y="110490"/>
                    <a:pt x="586104" y="110490"/>
                  </a:cubicBezTo>
                  <a:cubicBezTo>
                    <a:pt x="582929" y="110490"/>
                    <a:pt x="579754" y="110490"/>
                    <a:pt x="576579" y="109220"/>
                  </a:cubicBezTo>
                  <a:cubicBezTo>
                    <a:pt x="573404" y="108585"/>
                    <a:pt x="570864" y="107315"/>
                    <a:pt x="568959" y="105410"/>
                  </a:cubicBezTo>
                  <a:cubicBezTo>
                    <a:pt x="566419" y="104140"/>
                    <a:pt x="564514" y="102235"/>
                    <a:pt x="562609" y="100330"/>
                  </a:cubicBezTo>
                  <a:cubicBezTo>
                    <a:pt x="560704" y="98425"/>
                    <a:pt x="558799" y="95885"/>
                    <a:pt x="557529" y="92710"/>
                  </a:cubicBezTo>
                  <a:cubicBezTo>
                    <a:pt x="555624" y="89535"/>
                    <a:pt x="554354" y="86360"/>
                    <a:pt x="553719" y="82550"/>
                  </a:cubicBezTo>
                  <a:cubicBezTo>
                    <a:pt x="553084" y="78740"/>
                    <a:pt x="552449" y="74295"/>
                    <a:pt x="552449" y="69850"/>
                  </a:cubicBezTo>
                  <a:cubicBezTo>
                    <a:pt x="552449" y="63500"/>
                    <a:pt x="553084" y="57150"/>
                    <a:pt x="554989" y="52070"/>
                  </a:cubicBezTo>
                  <a:cubicBezTo>
                    <a:pt x="556894" y="46990"/>
                    <a:pt x="558799" y="42545"/>
                    <a:pt x="561974" y="39370"/>
                  </a:cubicBezTo>
                  <a:cubicBezTo>
                    <a:pt x="565149" y="36195"/>
                    <a:pt x="568324" y="33020"/>
                    <a:pt x="572769" y="31750"/>
                  </a:cubicBezTo>
                  <a:cubicBezTo>
                    <a:pt x="577214" y="29845"/>
                    <a:pt x="581659" y="29210"/>
                    <a:pt x="586739" y="29210"/>
                  </a:cubicBezTo>
                  <a:close/>
                  <a:moveTo>
                    <a:pt x="400050" y="29210"/>
                  </a:moveTo>
                  <a:cubicBezTo>
                    <a:pt x="405765" y="29210"/>
                    <a:pt x="410210" y="30480"/>
                    <a:pt x="414655" y="32385"/>
                  </a:cubicBezTo>
                  <a:cubicBezTo>
                    <a:pt x="418465" y="34290"/>
                    <a:pt x="422275" y="37465"/>
                    <a:pt x="424815" y="40640"/>
                  </a:cubicBezTo>
                  <a:cubicBezTo>
                    <a:pt x="427355" y="44450"/>
                    <a:pt x="429260" y="48260"/>
                    <a:pt x="431165" y="53340"/>
                  </a:cubicBezTo>
                  <a:cubicBezTo>
                    <a:pt x="432435" y="57785"/>
                    <a:pt x="433070" y="62865"/>
                    <a:pt x="433070" y="68580"/>
                  </a:cubicBezTo>
                  <a:lnTo>
                    <a:pt x="431800" y="68580"/>
                  </a:lnTo>
                  <a:cubicBezTo>
                    <a:pt x="431800" y="68580"/>
                    <a:pt x="431800" y="71120"/>
                    <a:pt x="431800" y="72390"/>
                  </a:cubicBezTo>
                  <a:cubicBezTo>
                    <a:pt x="431800" y="73660"/>
                    <a:pt x="431800" y="74295"/>
                    <a:pt x="431800" y="75565"/>
                  </a:cubicBezTo>
                  <a:lnTo>
                    <a:pt x="380365" y="75565"/>
                  </a:lnTo>
                  <a:cubicBezTo>
                    <a:pt x="380365" y="79375"/>
                    <a:pt x="381635" y="82550"/>
                    <a:pt x="382905" y="85090"/>
                  </a:cubicBezTo>
                  <a:cubicBezTo>
                    <a:pt x="384175" y="87630"/>
                    <a:pt x="385445" y="90170"/>
                    <a:pt x="387350" y="91440"/>
                  </a:cubicBezTo>
                  <a:cubicBezTo>
                    <a:pt x="389255" y="93345"/>
                    <a:pt x="391160" y="94615"/>
                    <a:pt x="393065" y="95250"/>
                  </a:cubicBezTo>
                  <a:cubicBezTo>
                    <a:pt x="394970" y="95885"/>
                    <a:pt x="397510" y="96520"/>
                    <a:pt x="400050" y="96520"/>
                  </a:cubicBezTo>
                  <a:cubicBezTo>
                    <a:pt x="401955" y="96520"/>
                    <a:pt x="403225" y="96520"/>
                    <a:pt x="405130" y="96520"/>
                  </a:cubicBezTo>
                  <a:cubicBezTo>
                    <a:pt x="406400" y="96520"/>
                    <a:pt x="408305" y="95885"/>
                    <a:pt x="409575" y="95250"/>
                  </a:cubicBezTo>
                  <a:cubicBezTo>
                    <a:pt x="410845" y="95250"/>
                    <a:pt x="412115" y="93980"/>
                    <a:pt x="413385" y="93345"/>
                  </a:cubicBezTo>
                  <a:cubicBezTo>
                    <a:pt x="414655" y="93345"/>
                    <a:pt x="415925" y="92075"/>
                    <a:pt x="417830" y="90805"/>
                  </a:cubicBezTo>
                  <a:lnTo>
                    <a:pt x="426720" y="100330"/>
                  </a:lnTo>
                  <a:cubicBezTo>
                    <a:pt x="426720" y="100330"/>
                    <a:pt x="422910" y="103505"/>
                    <a:pt x="421005" y="104775"/>
                  </a:cubicBezTo>
                  <a:cubicBezTo>
                    <a:pt x="419100" y="106045"/>
                    <a:pt x="417195" y="106680"/>
                    <a:pt x="415290" y="107950"/>
                  </a:cubicBezTo>
                  <a:cubicBezTo>
                    <a:pt x="413385" y="108585"/>
                    <a:pt x="410845" y="109855"/>
                    <a:pt x="408305" y="109855"/>
                  </a:cubicBezTo>
                  <a:cubicBezTo>
                    <a:pt x="405765" y="109855"/>
                    <a:pt x="402590" y="110490"/>
                    <a:pt x="399415" y="110490"/>
                  </a:cubicBezTo>
                  <a:cubicBezTo>
                    <a:pt x="396240" y="110490"/>
                    <a:pt x="393065" y="110490"/>
                    <a:pt x="389890" y="109220"/>
                  </a:cubicBezTo>
                  <a:cubicBezTo>
                    <a:pt x="386715" y="108585"/>
                    <a:pt x="384175" y="107315"/>
                    <a:pt x="382270" y="105410"/>
                  </a:cubicBezTo>
                  <a:cubicBezTo>
                    <a:pt x="380365" y="103505"/>
                    <a:pt x="377825" y="102235"/>
                    <a:pt x="375920" y="100330"/>
                  </a:cubicBezTo>
                  <a:cubicBezTo>
                    <a:pt x="374015" y="98425"/>
                    <a:pt x="372110" y="95885"/>
                    <a:pt x="370840" y="92710"/>
                  </a:cubicBezTo>
                  <a:cubicBezTo>
                    <a:pt x="368935" y="89535"/>
                    <a:pt x="367665" y="86360"/>
                    <a:pt x="367030" y="82550"/>
                  </a:cubicBezTo>
                  <a:cubicBezTo>
                    <a:pt x="366395" y="78740"/>
                    <a:pt x="365760" y="74295"/>
                    <a:pt x="365760" y="69850"/>
                  </a:cubicBezTo>
                  <a:cubicBezTo>
                    <a:pt x="365760" y="63500"/>
                    <a:pt x="366395" y="57150"/>
                    <a:pt x="368300" y="52070"/>
                  </a:cubicBezTo>
                  <a:cubicBezTo>
                    <a:pt x="370205" y="46990"/>
                    <a:pt x="372110" y="42545"/>
                    <a:pt x="375285" y="39370"/>
                  </a:cubicBezTo>
                  <a:cubicBezTo>
                    <a:pt x="378460" y="36195"/>
                    <a:pt x="381635" y="33020"/>
                    <a:pt x="386080" y="31750"/>
                  </a:cubicBezTo>
                  <a:cubicBezTo>
                    <a:pt x="390525" y="29845"/>
                    <a:pt x="394970" y="29210"/>
                    <a:pt x="400050" y="29210"/>
                  </a:cubicBezTo>
                  <a:close/>
                  <a:moveTo>
                    <a:pt x="201930" y="29210"/>
                  </a:moveTo>
                  <a:cubicBezTo>
                    <a:pt x="207645" y="29210"/>
                    <a:pt x="212090" y="30480"/>
                    <a:pt x="216535" y="32385"/>
                  </a:cubicBezTo>
                  <a:cubicBezTo>
                    <a:pt x="220345" y="34290"/>
                    <a:pt x="224155" y="37465"/>
                    <a:pt x="226695" y="40640"/>
                  </a:cubicBezTo>
                  <a:cubicBezTo>
                    <a:pt x="229235" y="44450"/>
                    <a:pt x="231140" y="48260"/>
                    <a:pt x="233045" y="53340"/>
                  </a:cubicBezTo>
                  <a:cubicBezTo>
                    <a:pt x="234315" y="57785"/>
                    <a:pt x="234950" y="62865"/>
                    <a:pt x="234950" y="68580"/>
                  </a:cubicBezTo>
                  <a:lnTo>
                    <a:pt x="233680" y="68580"/>
                  </a:lnTo>
                  <a:cubicBezTo>
                    <a:pt x="233680" y="68580"/>
                    <a:pt x="233680" y="71120"/>
                    <a:pt x="233680" y="72390"/>
                  </a:cubicBezTo>
                  <a:cubicBezTo>
                    <a:pt x="233680" y="73660"/>
                    <a:pt x="233680" y="74295"/>
                    <a:pt x="233680" y="75565"/>
                  </a:cubicBezTo>
                  <a:lnTo>
                    <a:pt x="182245" y="75565"/>
                  </a:lnTo>
                  <a:cubicBezTo>
                    <a:pt x="182245" y="79375"/>
                    <a:pt x="183515" y="82550"/>
                    <a:pt x="184785" y="85090"/>
                  </a:cubicBezTo>
                  <a:cubicBezTo>
                    <a:pt x="186055" y="87630"/>
                    <a:pt x="187325" y="90170"/>
                    <a:pt x="189230" y="91440"/>
                  </a:cubicBezTo>
                  <a:cubicBezTo>
                    <a:pt x="191135" y="93345"/>
                    <a:pt x="193040" y="94615"/>
                    <a:pt x="194945" y="95250"/>
                  </a:cubicBezTo>
                  <a:cubicBezTo>
                    <a:pt x="196850" y="95885"/>
                    <a:pt x="199390" y="96520"/>
                    <a:pt x="201930" y="96520"/>
                  </a:cubicBezTo>
                  <a:cubicBezTo>
                    <a:pt x="203835" y="96520"/>
                    <a:pt x="205105" y="96520"/>
                    <a:pt x="207010" y="96520"/>
                  </a:cubicBezTo>
                  <a:cubicBezTo>
                    <a:pt x="208280" y="96520"/>
                    <a:pt x="210185" y="95885"/>
                    <a:pt x="211455" y="95250"/>
                  </a:cubicBezTo>
                  <a:cubicBezTo>
                    <a:pt x="212725" y="95250"/>
                    <a:pt x="213995" y="93980"/>
                    <a:pt x="215265" y="93345"/>
                  </a:cubicBezTo>
                  <a:cubicBezTo>
                    <a:pt x="216535" y="93345"/>
                    <a:pt x="217805" y="92075"/>
                    <a:pt x="219710" y="90805"/>
                  </a:cubicBezTo>
                  <a:lnTo>
                    <a:pt x="228600" y="100330"/>
                  </a:lnTo>
                  <a:cubicBezTo>
                    <a:pt x="228600" y="100330"/>
                    <a:pt x="224790" y="103505"/>
                    <a:pt x="222885" y="104775"/>
                  </a:cubicBezTo>
                  <a:cubicBezTo>
                    <a:pt x="220980" y="106045"/>
                    <a:pt x="219075" y="106680"/>
                    <a:pt x="217170" y="107950"/>
                  </a:cubicBezTo>
                  <a:cubicBezTo>
                    <a:pt x="215265" y="108585"/>
                    <a:pt x="212725" y="109855"/>
                    <a:pt x="210185" y="109855"/>
                  </a:cubicBezTo>
                  <a:cubicBezTo>
                    <a:pt x="207645" y="109855"/>
                    <a:pt x="204470" y="110490"/>
                    <a:pt x="201295" y="110490"/>
                  </a:cubicBezTo>
                  <a:cubicBezTo>
                    <a:pt x="198120" y="110490"/>
                    <a:pt x="194945" y="110490"/>
                    <a:pt x="191770" y="109220"/>
                  </a:cubicBezTo>
                  <a:cubicBezTo>
                    <a:pt x="188595" y="108585"/>
                    <a:pt x="186055" y="107315"/>
                    <a:pt x="184150" y="105410"/>
                  </a:cubicBezTo>
                  <a:cubicBezTo>
                    <a:pt x="181610" y="104140"/>
                    <a:pt x="179705" y="102235"/>
                    <a:pt x="177800" y="100330"/>
                  </a:cubicBezTo>
                  <a:cubicBezTo>
                    <a:pt x="175895" y="98425"/>
                    <a:pt x="173990" y="95885"/>
                    <a:pt x="172720" y="92710"/>
                  </a:cubicBezTo>
                  <a:cubicBezTo>
                    <a:pt x="170815" y="89535"/>
                    <a:pt x="169545" y="86360"/>
                    <a:pt x="168910" y="82550"/>
                  </a:cubicBezTo>
                  <a:cubicBezTo>
                    <a:pt x="168275" y="78740"/>
                    <a:pt x="167640" y="74295"/>
                    <a:pt x="167640" y="69850"/>
                  </a:cubicBezTo>
                  <a:cubicBezTo>
                    <a:pt x="167640" y="63500"/>
                    <a:pt x="168275" y="57150"/>
                    <a:pt x="170180" y="52070"/>
                  </a:cubicBezTo>
                  <a:cubicBezTo>
                    <a:pt x="172085" y="46990"/>
                    <a:pt x="173990" y="42545"/>
                    <a:pt x="177165" y="39370"/>
                  </a:cubicBezTo>
                  <a:cubicBezTo>
                    <a:pt x="180340" y="36195"/>
                    <a:pt x="183515" y="33020"/>
                    <a:pt x="187960" y="31750"/>
                  </a:cubicBezTo>
                  <a:cubicBezTo>
                    <a:pt x="192405" y="29845"/>
                    <a:pt x="196850" y="29210"/>
                    <a:pt x="201930" y="29210"/>
                  </a:cubicBezTo>
                  <a:close/>
                  <a:moveTo>
                    <a:pt x="4664706" y="28574"/>
                  </a:moveTo>
                  <a:cubicBezTo>
                    <a:pt x="4669786" y="28574"/>
                    <a:pt x="4674231" y="29209"/>
                    <a:pt x="4678676" y="31749"/>
                  </a:cubicBezTo>
                  <a:cubicBezTo>
                    <a:pt x="4683121" y="33654"/>
                    <a:pt x="4686296" y="36194"/>
                    <a:pt x="4689471" y="40004"/>
                  </a:cubicBezTo>
                  <a:cubicBezTo>
                    <a:pt x="4692646" y="43814"/>
                    <a:pt x="4695186" y="47624"/>
                    <a:pt x="4696456" y="52704"/>
                  </a:cubicBezTo>
                  <a:cubicBezTo>
                    <a:pt x="4698361" y="57784"/>
                    <a:pt x="4698996" y="63499"/>
                    <a:pt x="4698996" y="69214"/>
                  </a:cubicBezTo>
                  <a:lnTo>
                    <a:pt x="4699631" y="69214"/>
                  </a:lnTo>
                  <a:cubicBezTo>
                    <a:pt x="4699631" y="75564"/>
                    <a:pt x="4698996" y="81279"/>
                    <a:pt x="4697091" y="86359"/>
                  </a:cubicBezTo>
                  <a:cubicBezTo>
                    <a:pt x="4695186" y="91439"/>
                    <a:pt x="4692646" y="95884"/>
                    <a:pt x="4689471" y="99059"/>
                  </a:cubicBezTo>
                  <a:cubicBezTo>
                    <a:pt x="4686296" y="102869"/>
                    <a:pt x="4682486" y="105409"/>
                    <a:pt x="4678041" y="107314"/>
                  </a:cubicBezTo>
                  <a:cubicBezTo>
                    <a:pt x="4673596" y="109219"/>
                    <a:pt x="4669151" y="109854"/>
                    <a:pt x="4664071" y="109854"/>
                  </a:cubicBezTo>
                  <a:cubicBezTo>
                    <a:pt x="4658991" y="109854"/>
                    <a:pt x="4654546" y="108584"/>
                    <a:pt x="4650101" y="106679"/>
                  </a:cubicBezTo>
                  <a:cubicBezTo>
                    <a:pt x="4645656" y="104774"/>
                    <a:pt x="4642481" y="102234"/>
                    <a:pt x="4639306" y="98424"/>
                  </a:cubicBezTo>
                  <a:cubicBezTo>
                    <a:pt x="4636131" y="94614"/>
                    <a:pt x="4633591" y="90804"/>
                    <a:pt x="4632321" y="85724"/>
                  </a:cubicBezTo>
                  <a:cubicBezTo>
                    <a:pt x="4630416" y="80644"/>
                    <a:pt x="4629781" y="74929"/>
                    <a:pt x="4629781" y="69214"/>
                  </a:cubicBezTo>
                  <a:cubicBezTo>
                    <a:pt x="4629781" y="63499"/>
                    <a:pt x="4630416" y="57149"/>
                    <a:pt x="4632321" y="52069"/>
                  </a:cubicBezTo>
                  <a:cubicBezTo>
                    <a:pt x="4634226" y="46989"/>
                    <a:pt x="4636766" y="42544"/>
                    <a:pt x="4639941" y="39369"/>
                  </a:cubicBezTo>
                  <a:cubicBezTo>
                    <a:pt x="4643116" y="35559"/>
                    <a:pt x="4646926" y="33019"/>
                    <a:pt x="4650736" y="31114"/>
                  </a:cubicBezTo>
                  <a:cubicBezTo>
                    <a:pt x="4655181" y="29209"/>
                    <a:pt x="4659626" y="28574"/>
                    <a:pt x="4664706" y="28574"/>
                  </a:cubicBezTo>
                  <a:close/>
                  <a:moveTo>
                    <a:pt x="4264655" y="28574"/>
                  </a:moveTo>
                  <a:cubicBezTo>
                    <a:pt x="4269735" y="28574"/>
                    <a:pt x="4274180" y="29209"/>
                    <a:pt x="4278625" y="31749"/>
                  </a:cubicBezTo>
                  <a:cubicBezTo>
                    <a:pt x="4283070" y="33654"/>
                    <a:pt x="4286245" y="36194"/>
                    <a:pt x="4289420" y="40004"/>
                  </a:cubicBezTo>
                  <a:cubicBezTo>
                    <a:pt x="4292595" y="43814"/>
                    <a:pt x="4295135" y="47624"/>
                    <a:pt x="4296405" y="52704"/>
                  </a:cubicBezTo>
                  <a:cubicBezTo>
                    <a:pt x="4298310" y="57784"/>
                    <a:pt x="4298945" y="63499"/>
                    <a:pt x="4298945" y="69214"/>
                  </a:cubicBezTo>
                  <a:lnTo>
                    <a:pt x="4299580" y="69214"/>
                  </a:lnTo>
                  <a:cubicBezTo>
                    <a:pt x="4299580" y="75564"/>
                    <a:pt x="4298945" y="81279"/>
                    <a:pt x="4297040" y="86359"/>
                  </a:cubicBezTo>
                  <a:cubicBezTo>
                    <a:pt x="4295135" y="91439"/>
                    <a:pt x="4292595" y="95884"/>
                    <a:pt x="4289420" y="99059"/>
                  </a:cubicBezTo>
                  <a:cubicBezTo>
                    <a:pt x="4286245" y="102869"/>
                    <a:pt x="4282435" y="105409"/>
                    <a:pt x="4277990" y="107314"/>
                  </a:cubicBezTo>
                  <a:cubicBezTo>
                    <a:pt x="4273545" y="109219"/>
                    <a:pt x="4269100" y="109854"/>
                    <a:pt x="4264020" y="109854"/>
                  </a:cubicBezTo>
                  <a:cubicBezTo>
                    <a:pt x="4258940" y="109854"/>
                    <a:pt x="4254495" y="108584"/>
                    <a:pt x="4250050" y="106679"/>
                  </a:cubicBezTo>
                  <a:cubicBezTo>
                    <a:pt x="4245605" y="104774"/>
                    <a:pt x="4242430" y="102234"/>
                    <a:pt x="4239255" y="98424"/>
                  </a:cubicBezTo>
                  <a:cubicBezTo>
                    <a:pt x="4236080" y="94614"/>
                    <a:pt x="4233540" y="90804"/>
                    <a:pt x="4232270" y="85724"/>
                  </a:cubicBezTo>
                  <a:cubicBezTo>
                    <a:pt x="4230365" y="80644"/>
                    <a:pt x="4229730" y="74929"/>
                    <a:pt x="4229730" y="69214"/>
                  </a:cubicBezTo>
                  <a:cubicBezTo>
                    <a:pt x="4229730" y="63499"/>
                    <a:pt x="4230365" y="57149"/>
                    <a:pt x="4232270" y="52069"/>
                  </a:cubicBezTo>
                  <a:cubicBezTo>
                    <a:pt x="4234175" y="46989"/>
                    <a:pt x="4236715" y="42544"/>
                    <a:pt x="4239890" y="39369"/>
                  </a:cubicBezTo>
                  <a:cubicBezTo>
                    <a:pt x="4243065" y="35559"/>
                    <a:pt x="4246875" y="33019"/>
                    <a:pt x="4250685" y="31114"/>
                  </a:cubicBezTo>
                  <a:cubicBezTo>
                    <a:pt x="4255130" y="29209"/>
                    <a:pt x="4259575" y="28574"/>
                    <a:pt x="4264655" y="28574"/>
                  </a:cubicBezTo>
                  <a:close/>
                  <a:moveTo>
                    <a:pt x="1420495" y="28574"/>
                  </a:moveTo>
                  <a:cubicBezTo>
                    <a:pt x="1425575" y="28574"/>
                    <a:pt x="1430020" y="29209"/>
                    <a:pt x="1434465" y="31749"/>
                  </a:cubicBezTo>
                  <a:cubicBezTo>
                    <a:pt x="1438910" y="33654"/>
                    <a:pt x="1442085" y="36194"/>
                    <a:pt x="1445260" y="40004"/>
                  </a:cubicBezTo>
                  <a:cubicBezTo>
                    <a:pt x="1448435" y="43814"/>
                    <a:pt x="1450975" y="47624"/>
                    <a:pt x="1452245" y="52704"/>
                  </a:cubicBezTo>
                  <a:cubicBezTo>
                    <a:pt x="1454150" y="57784"/>
                    <a:pt x="1454785" y="63499"/>
                    <a:pt x="1454785" y="69214"/>
                  </a:cubicBezTo>
                  <a:lnTo>
                    <a:pt x="1455420" y="69214"/>
                  </a:lnTo>
                  <a:cubicBezTo>
                    <a:pt x="1455420" y="75564"/>
                    <a:pt x="1454785" y="81279"/>
                    <a:pt x="1452880" y="86359"/>
                  </a:cubicBezTo>
                  <a:cubicBezTo>
                    <a:pt x="1450975" y="91439"/>
                    <a:pt x="1448435" y="95884"/>
                    <a:pt x="1445260" y="99059"/>
                  </a:cubicBezTo>
                  <a:cubicBezTo>
                    <a:pt x="1442085" y="102869"/>
                    <a:pt x="1438275" y="105409"/>
                    <a:pt x="1433830" y="107314"/>
                  </a:cubicBezTo>
                  <a:cubicBezTo>
                    <a:pt x="1429385" y="109219"/>
                    <a:pt x="1424940" y="109854"/>
                    <a:pt x="1419860" y="109854"/>
                  </a:cubicBezTo>
                  <a:cubicBezTo>
                    <a:pt x="1414780" y="109854"/>
                    <a:pt x="1410335" y="108584"/>
                    <a:pt x="1405890" y="106679"/>
                  </a:cubicBezTo>
                  <a:cubicBezTo>
                    <a:pt x="1401444" y="104774"/>
                    <a:pt x="1398270" y="102234"/>
                    <a:pt x="1395095" y="98424"/>
                  </a:cubicBezTo>
                  <a:cubicBezTo>
                    <a:pt x="1391920" y="94614"/>
                    <a:pt x="1389380" y="90804"/>
                    <a:pt x="1388110" y="85724"/>
                  </a:cubicBezTo>
                  <a:cubicBezTo>
                    <a:pt x="1386205" y="80644"/>
                    <a:pt x="1385570" y="74929"/>
                    <a:pt x="1385570" y="69214"/>
                  </a:cubicBezTo>
                  <a:cubicBezTo>
                    <a:pt x="1385570" y="63499"/>
                    <a:pt x="1386205" y="57149"/>
                    <a:pt x="1388110" y="52069"/>
                  </a:cubicBezTo>
                  <a:cubicBezTo>
                    <a:pt x="1390015" y="46989"/>
                    <a:pt x="1392555" y="42544"/>
                    <a:pt x="1395730" y="39369"/>
                  </a:cubicBezTo>
                  <a:cubicBezTo>
                    <a:pt x="1398905" y="35559"/>
                    <a:pt x="1402715" y="33019"/>
                    <a:pt x="1406525" y="31114"/>
                  </a:cubicBezTo>
                  <a:cubicBezTo>
                    <a:pt x="1410970" y="29209"/>
                    <a:pt x="1415415" y="28574"/>
                    <a:pt x="1420495" y="28574"/>
                  </a:cubicBezTo>
                  <a:close/>
                  <a:moveTo>
                    <a:pt x="3143245" y="5079"/>
                  </a:moveTo>
                  <a:lnTo>
                    <a:pt x="3219445" y="5079"/>
                  </a:lnTo>
                  <a:lnTo>
                    <a:pt x="3219445" y="20319"/>
                  </a:lnTo>
                  <a:lnTo>
                    <a:pt x="3188965" y="20319"/>
                  </a:lnTo>
                  <a:lnTo>
                    <a:pt x="3188965" y="108584"/>
                  </a:lnTo>
                  <a:lnTo>
                    <a:pt x="3173090" y="108584"/>
                  </a:lnTo>
                  <a:lnTo>
                    <a:pt x="3173090" y="20319"/>
                  </a:lnTo>
                  <a:lnTo>
                    <a:pt x="3143245" y="20319"/>
                  </a:lnTo>
                  <a:close/>
                  <a:moveTo>
                    <a:pt x="1628774" y="5079"/>
                  </a:moveTo>
                  <a:lnTo>
                    <a:pt x="1704970" y="5079"/>
                  </a:lnTo>
                  <a:lnTo>
                    <a:pt x="1704970" y="20319"/>
                  </a:lnTo>
                  <a:lnTo>
                    <a:pt x="1675129" y="20319"/>
                  </a:lnTo>
                  <a:lnTo>
                    <a:pt x="1675129" y="108584"/>
                  </a:lnTo>
                  <a:lnTo>
                    <a:pt x="1659255" y="108584"/>
                  </a:lnTo>
                  <a:lnTo>
                    <a:pt x="1659255" y="20319"/>
                  </a:lnTo>
                  <a:lnTo>
                    <a:pt x="1628774" y="20319"/>
                  </a:lnTo>
                  <a:close/>
                  <a:moveTo>
                    <a:pt x="0" y="5079"/>
                  </a:moveTo>
                  <a:lnTo>
                    <a:pt x="76200" y="5079"/>
                  </a:lnTo>
                  <a:lnTo>
                    <a:pt x="76200" y="20319"/>
                  </a:lnTo>
                  <a:lnTo>
                    <a:pt x="45720" y="20319"/>
                  </a:lnTo>
                  <a:lnTo>
                    <a:pt x="45720" y="108584"/>
                  </a:lnTo>
                  <a:lnTo>
                    <a:pt x="29845" y="108584"/>
                  </a:lnTo>
                  <a:lnTo>
                    <a:pt x="29845" y="20319"/>
                  </a:lnTo>
                  <a:lnTo>
                    <a:pt x="0" y="20319"/>
                  </a:lnTo>
                  <a:close/>
                  <a:moveTo>
                    <a:pt x="1362075" y="1269"/>
                  </a:moveTo>
                  <a:cubicBezTo>
                    <a:pt x="1363345" y="1269"/>
                    <a:pt x="1364615" y="1269"/>
                    <a:pt x="1365885" y="1904"/>
                  </a:cubicBezTo>
                  <a:cubicBezTo>
                    <a:pt x="1367155" y="1904"/>
                    <a:pt x="1367790" y="3174"/>
                    <a:pt x="1369060" y="3809"/>
                  </a:cubicBezTo>
                  <a:cubicBezTo>
                    <a:pt x="1369695" y="4444"/>
                    <a:pt x="1370965" y="5714"/>
                    <a:pt x="1370965" y="6984"/>
                  </a:cubicBezTo>
                  <a:cubicBezTo>
                    <a:pt x="1370965" y="8254"/>
                    <a:pt x="1371600" y="9524"/>
                    <a:pt x="1371600" y="10794"/>
                  </a:cubicBezTo>
                  <a:cubicBezTo>
                    <a:pt x="1371600" y="10794"/>
                    <a:pt x="1371600" y="13334"/>
                    <a:pt x="1370965" y="14604"/>
                  </a:cubicBezTo>
                  <a:cubicBezTo>
                    <a:pt x="1370965" y="15874"/>
                    <a:pt x="1369695" y="17144"/>
                    <a:pt x="1369060" y="17779"/>
                  </a:cubicBezTo>
                  <a:cubicBezTo>
                    <a:pt x="1368425" y="18414"/>
                    <a:pt x="1367155" y="19684"/>
                    <a:pt x="1365885" y="19684"/>
                  </a:cubicBezTo>
                  <a:cubicBezTo>
                    <a:pt x="1364615" y="19684"/>
                    <a:pt x="1363345" y="20319"/>
                    <a:pt x="1362075" y="20319"/>
                  </a:cubicBezTo>
                  <a:cubicBezTo>
                    <a:pt x="1360805" y="20319"/>
                    <a:pt x="1359535" y="20319"/>
                    <a:pt x="1358265" y="19684"/>
                  </a:cubicBezTo>
                  <a:cubicBezTo>
                    <a:pt x="1356995" y="19684"/>
                    <a:pt x="1355725" y="18414"/>
                    <a:pt x="1355090" y="17779"/>
                  </a:cubicBezTo>
                  <a:cubicBezTo>
                    <a:pt x="1354455" y="17144"/>
                    <a:pt x="1353185" y="15874"/>
                    <a:pt x="1353185" y="14604"/>
                  </a:cubicBezTo>
                  <a:cubicBezTo>
                    <a:pt x="1353185" y="13334"/>
                    <a:pt x="1352550" y="12064"/>
                    <a:pt x="1352550" y="10794"/>
                  </a:cubicBezTo>
                  <a:cubicBezTo>
                    <a:pt x="1352550" y="9524"/>
                    <a:pt x="1352550" y="8254"/>
                    <a:pt x="1353185" y="6984"/>
                  </a:cubicBezTo>
                  <a:cubicBezTo>
                    <a:pt x="1353185" y="5714"/>
                    <a:pt x="1354455" y="4444"/>
                    <a:pt x="1355090" y="3809"/>
                  </a:cubicBezTo>
                  <a:cubicBezTo>
                    <a:pt x="1355725" y="3174"/>
                    <a:pt x="1356995" y="1904"/>
                    <a:pt x="1358265" y="1904"/>
                  </a:cubicBezTo>
                  <a:cubicBezTo>
                    <a:pt x="1359535" y="1904"/>
                    <a:pt x="1360805" y="1269"/>
                    <a:pt x="1362075" y="1269"/>
                  </a:cubicBezTo>
                  <a:close/>
                  <a:moveTo>
                    <a:pt x="4789801" y="634"/>
                  </a:moveTo>
                  <a:lnTo>
                    <a:pt x="4789801" y="65404"/>
                  </a:lnTo>
                  <a:lnTo>
                    <a:pt x="4814566" y="31114"/>
                  </a:lnTo>
                  <a:lnTo>
                    <a:pt x="4831711" y="31114"/>
                  </a:lnTo>
                  <a:lnTo>
                    <a:pt x="4812026" y="57149"/>
                  </a:lnTo>
                  <a:lnTo>
                    <a:pt x="4835521" y="108584"/>
                  </a:lnTo>
                  <a:lnTo>
                    <a:pt x="4819011" y="108584"/>
                  </a:lnTo>
                  <a:lnTo>
                    <a:pt x="4801866" y="69849"/>
                  </a:lnTo>
                  <a:lnTo>
                    <a:pt x="4789801" y="85724"/>
                  </a:lnTo>
                  <a:lnTo>
                    <a:pt x="4789801" y="108584"/>
                  </a:lnTo>
                  <a:lnTo>
                    <a:pt x="4774561" y="108584"/>
                  </a:lnTo>
                  <a:lnTo>
                    <a:pt x="4774561" y="8889"/>
                  </a:lnTo>
                  <a:close/>
                  <a:moveTo>
                    <a:pt x="4472301" y="634"/>
                  </a:moveTo>
                  <a:lnTo>
                    <a:pt x="4472301" y="109219"/>
                  </a:lnTo>
                  <a:lnTo>
                    <a:pt x="4457061" y="109219"/>
                  </a:lnTo>
                  <a:lnTo>
                    <a:pt x="4457696" y="108584"/>
                  </a:lnTo>
                  <a:lnTo>
                    <a:pt x="4457696" y="100964"/>
                  </a:lnTo>
                  <a:cubicBezTo>
                    <a:pt x="4457696" y="100964"/>
                    <a:pt x="4454521" y="103504"/>
                    <a:pt x="4453251" y="104774"/>
                  </a:cubicBezTo>
                  <a:cubicBezTo>
                    <a:pt x="4451981" y="106044"/>
                    <a:pt x="4450076" y="106679"/>
                    <a:pt x="4448171" y="107949"/>
                  </a:cubicBezTo>
                  <a:cubicBezTo>
                    <a:pt x="4446266" y="108584"/>
                    <a:pt x="4444361" y="109219"/>
                    <a:pt x="4443091" y="109854"/>
                  </a:cubicBezTo>
                  <a:cubicBezTo>
                    <a:pt x="4441186" y="109854"/>
                    <a:pt x="4439281" y="109854"/>
                    <a:pt x="4437376" y="109854"/>
                  </a:cubicBezTo>
                  <a:cubicBezTo>
                    <a:pt x="4432931" y="109854"/>
                    <a:pt x="4429121" y="109219"/>
                    <a:pt x="4425946" y="107314"/>
                  </a:cubicBezTo>
                  <a:cubicBezTo>
                    <a:pt x="4422136" y="106044"/>
                    <a:pt x="4418961" y="103504"/>
                    <a:pt x="4416421" y="99694"/>
                  </a:cubicBezTo>
                  <a:cubicBezTo>
                    <a:pt x="4413881" y="96519"/>
                    <a:pt x="4411341" y="92074"/>
                    <a:pt x="4410071" y="86994"/>
                  </a:cubicBezTo>
                  <a:cubicBezTo>
                    <a:pt x="4408801" y="81914"/>
                    <a:pt x="4407531" y="75564"/>
                    <a:pt x="4407531" y="67944"/>
                  </a:cubicBezTo>
                  <a:cubicBezTo>
                    <a:pt x="4407531" y="61594"/>
                    <a:pt x="4408166" y="55244"/>
                    <a:pt x="4410071" y="50799"/>
                  </a:cubicBezTo>
                  <a:cubicBezTo>
                    <a:pt x="4411976" y="45719"/>
                    <a:pt x="4413881" y="41909"/>
                    <a:pt x="4417056" y="38734"/>
                  </a:cubicBezTo>
                  <a:cubicBezTo>
                    <a:pt x="4419596" y="35559"/>
                    <a:pt x="4423406" y="33019"/>
                    <a:pt x="4426581" y="31749"/>
                  </a:cubicBezTo>
                  <a:cubicBezTo>
                    <a:pt x="4430391" y="29844"/>
                    <a:pt x="4434201" y="29209"/>
                    <a:pt x="4438011" y="29209"/>
                  </a:cubicBezTo>
                  <a:cubicBezTo>
                    <a:pt x="4439916" y="29209"/>
                    <a:pt x="4441821" y="29209"/>
                    <a:pt x="4443726" y="29844"/>
                  </a:cubicBezTo>
                  <a:cubicBezTo>
                    <a:pt x="4445631" y="29844"/>
                    <a:pt x="4447536" y="31114"/>
                    <a:pt x="4448806" y="31749"/>
                  </a:cubicBezTo>
                  <a:cubicBezTo>
                    <a:pt x="4450711" y="32384"/>
                    <a:pt x="4451981" y="33654"/>
                    <a:pt x="4453251" y="34924"/>
                  </a:cubicBezTo>
                  <a:cubicBezTo>
                    <a:pt x="4454521" y="36194"/>
                    <a:pt x="4455791" y="36829"/>
                    <a:pt x="4457061" y="38099"/>
                  </a:cubicBezTo>
                  <a:lnTo>
                    <a:pt x="4457061" y="8254"/>
                  </a:lnTo>
                  <a:close/>
                  <a:moveTo>
                    <a:pt x="4390385" y="634"/>
                  </a:moveTo>
                  <a:lnTo>
                    <a:pt x="4390385" y="108584"/>
                  </a:lnTo>
                  <a:lnTo>
                    <a:pt x="4375145" y="108584"/>
                  </a:lnTo>
                  <a:lnTo>
                    <a:pt x="4375145" y="8889"/>
                  </a:lnTo>
                  <a:close/>
                  <a:moveTo>
                    <a:pt x="3946521" y="634"/>
                  </a:moveTo>
                  <a:lnTo>
                    <a:pt x="3946521" y="38099"/>
                  </a:lnTo>
                  <a:cubicBezTo>
                    <a:pt x="3946521" y="38099"/>
                    <a:pt x="3948426" y="35559"/>
                    <a:pt x="3950331" y="34289"/>
                  </a:cubicBezTo>
                  <a:cubicBezTo>
                    <a:pt x="3951601" y="33019"/>
                    <a:pt x="3953506" y="32384"/>
                    <a:pt x="3954776" y="31114"/>
                  </a:cubicBezTo>
                  <a:cubicBezTo>
                    <a:pt x="3956681" y="30479"/>
                    <a:pt x="3958586" y="29844"/>
                    <a:pt x="3960491" y="29209"/>
                  </a:cubicBezTo>
                  <a:cubicBezTo>
                    <a:pt x="3962396" y="29209"/>
                    <a:pt x="3964301" y="29209"/>
                    <a:pt x="3966206" y="29209"/>
                  </a:cubicBezTo>
                  <a:cubicBezTo>
                    <a:pt x="3970651" y="29209"/>
                    <a:pt x="3975096" y="29844"/>
                    <a:pt x="3978271" y="31749"/>
                  </a:cubicBezTo>
                  <a:cubicBezTo>
                    <a:pt x="3981446" y="33019"/>
                    <a:pt x="3984621" y="35559"/>
                    <a:pt x="3987161" y="38099"/>
                  </a:cubicBezTo>
                  <a:cubicBezTo>
                    <a:pt x="3989701" y="41274"/>
                    <a:pt x="3990971" y="44449"/>
                    <a:pt x="3992241" y="49529"/>
                  </a:cubicBezTo>
                  <a:cubicBezTo>
                    <a:pt x="3993511" y="53974"/>
                    <a:pt x="3994146" y="59054"/>
                    <a:pt x="3994146" y="64134"/>
                  </a:cubicBezTo>
                  <a:lnTo>
                    <a:pt x="3994146" y="108584"/>
                  </a:lnTo>
                  <a:lnTo>
                    <a:pt x="3978906" y="108584"/>
                  </a:lnTo>
                  <a:lnTo>
                    <a:pt x="3978271" y="108584"/>
                  </a:lnTo>
                  <a:lnTo>
                    <a:pt x="3978271" y="64769"/>
                  </a:lnTo>
                  <a:cubicBezTo>
                    <a:pt x="3978271" y="57784"/>
                    <a:pt x="3977001" y="52069"/>
                    <a:pt x="3974461" y="48894"/>
                  </a:cubicBezTo>
                  <a:cubicBezTo>
                    <a:pt x="3971921" y="45084"/>
                    <a:pt x="3968111" y="43814"/>
                    <a:pt x="3962396" y="43814"/>
                  </a:cubicBezTo>
                  <a:cubicBezTo>
                    <a:pt x="3959856" y="43814"/>
                    <a:pt x="3957951" y="43814"/>
                    <a:pt x="3956046" y="45084"/>
                  </a:cubicBezTo>
                  <a:cubicBezTo>
                    <a:pt x="3954141" y="45719"/>
                    <a:pt x="3952236" y="46989"/>
                    <a:pt x="3950966" y="48894"/>
                  </a:cubicBezTo>
                  <a:cubicBezTo>
                    <a:pt x="3949696" y="50799"/>
                    <a:pt x="3948426" y="52704"/>
                    <a:pt x="3947791" y="55244"/>
                  </a:cubicBezTo>
                  <a:cubicBezTo>
                    <a:pt x="3947156" y="57784"/>
                    <a:pt x="3946521" y="60324"/>
                    <a:pt x="3946521" y="63499"/>
                  </a:cubicBezTo>
                  <a:lnTo>
                    <a:pt x="3946521" y="109219"/>
                  </a:lnTo>
                  <a:lnTo>
                    <a:pt x="3931281" y="109219"/>
                  </a:lnTo>
                  <a:lnTo>
                    <a:pt x="3931281" y="8889"/>
                  </a:lnTo>
                  <a:close/>
                  <a:moveTo>
                    <a:pt x="3248021" y="634"/>
                  </a:moveTo>
                  <a:lnTo>
                    <a:pt x="3248021" y="38099"/>
                  </a:lnTo>
                  <a:cubicBezTo>
                    <a:pt x="3248021" y="38099"/>
                    <a:pt x="3249926" y="35559"/>
                    <a:pt x="3251831" y="34289"/>
                  </a:cubicBezTo>
                  <a:cubicBezTo>
                    <a:pt x="3253101" y="33019"/>
                    <a:pt x="3255006" y="32384"/>
                    <a:pt x="3256276" y="31114"/>
                  </a:cubicBezTo>
                  <a:cubicBezTo>
                    <a:pt x="3258181" y="30479"/>
                    <a:pt x="3260086" y="29844"/>
                    <a:pt x="3261991" y="29209"/>
                  </a:cubicBezTo>
                  <a:cubicBezTo>
                    <a:pt x="3263896" y="29209"/>
                    <a:pt x="3265801" y="29209"/>
                    <a:pt x="3267706" y="29209"/>
                  </a:cubicBezTo>
                  <a:cubicBezTo>
                    <a:pt x="3272151" y="29209"/>
                    <a:pt x="3276596" y="29844"/>
                    <a:pt x="3279771" y="31749"/>
                  </a:cubicBezTo>
                  <a:cubicBezTo>
                    <a:pt x="3282946" y="33019"/>
                    <a:pt x="3286121" y="35559"/>
                    <a:pt x="3288661" y="38099"/>
                  </a:cubicBezTo>
                  <a:cubicBezTo>
                    <a:pt x="3291201" y="41274"/>
                    <a:pt x="3292471" y="44449"/>
                    <a:pt x="3293741" y="49529"/>
                  </a:cubicBezTo>
                  <a:cubicBezTo>
                    <a:pt x="3295011" y="53974"/>
                    <a:pt x="3295646" y="59054"/>
                    <a:pt x="3295646" y="64134"/>
                  </a:cubicBezTo>
                  <a:lnTo>
                    <a:pt x="3295646" y="108584"/>
                  </a:lnTo>
                  <a:lnTo>
                    <a:pt x="3280406" y="108584"/>
                  </a:lnTo>
                  <a:lnTo>
                    <a:pt x="3279771" y="108584"/>
                  </a:lnTo>
                  <a:lnTo>
                    <a:pt x="3279771" y="64769"/>
                  </a:lnTo>
                  <a:cubicBezTo>
                    <a:pt x="3279771" y="57784"/>
                    <a:pt x="3278501" y="52069"/>
                    <a:pt x="3275961" y="48894"/>
                  </a:cubicBezTo>
                  <a:cubicBezTo>
                    <a:pt x="3273421" y="45084"/>
                    <a:pt x="3269611" y="43814"/>
                    <a:pt x="3263896" y="43814"/>
                  </a:cubicBezTo>
                  <a:cubicBezTo>
                    <a:pt x="3261356" y="43814"/>
                    <a:pt x="3259451" y="43814"/>
                    <a:pt x="3257546" y="45084"/>
                  </a:cubicBezTo>
                  <a:cubicBezTo>
                    <a:pt x="3255641" y="45719"/>
                    <a:pt x="3253736" y="46989"/>
                    <a:pt x="3252466" y="48894"/>
                  </a:cubicBezTo>
                  <a:cubicBezTo>
                    <a:pt x="3251196" y="50799"/>
                    <a:pt x="3249926" y="52704"/>
                    <a:pt x="3249291" y="55244"/>
                  </a:cubicBezTo>
                  <a:cubicBezTo>
                    <a:pt x="3248656" y="57784"/>
                    <a:pt x="3248021" y="60324"/>
                    <a:pt x="3248021" y="63499"/>
                  </a:cubicBezTo>
                  <a:lnTo>
                    <a:pt x="3248021" y="109219"/>
                  </a:lnTo>
                  <a:lnTo>
                    <a:pt x="3232781" y="109219"/>
                  </a:lnTo>
                  <a:lnTo>
                    <a:pt x="3232781" y="8889"/>
                  </a:lnTo>
                  <a:close/>
                  <a:moveTo>
                    <a:pt x="2432681" y="634"/>
                  </a:moveTo>
                  <a:lnTo>
                    <a:pt x="2432681" y="38099"/>
                  </a:lnTo>
                  <a:cubicBezTo>
                    <a:pt x="2432681" y="38099"/>
                    <a:pt x="2434586" y="35559"/>
                    <a:pt x="2436491" y="34289"/>
                  </a:cubicBezTo>
                  <a:cubicBezTo>
                    <a:pt x="2437761" y="33019"/>
                    <a:pt x="2439666" y="32384"/>
                    <a:pt x="2440936" y="31114"/>
                  </a:cubicBezTo>
                  <a:cubicBezTo>
                    <a:pt x="2442841" y="30479"/>
                    <a:pt x="2444746" y="29844"/>
                    <a:pt x="2446651" y="29209"/>
                  </a:cubicBezTo>
                  <a:cubicBezTo>
                    <a:pt x="2448556" y="29209"/>
                    <a:pt x="2450461" y="29209"/>
                    <a:pt x="2452366" y="29209"/>
                  </a:cubicBezTo>
                  <a:cubicBezTo>
                    <a:pt x="2456811" y="29209"/>
                    <a:pt x="2461256" y="29844"/>
                    <a:pt x="2464431" y="31749"/>
                  </a:cubicBezTo>
                  <a:cubicBezTo>
                    <a:pt x="2467606" y="33019"/>
                    <a:pt x="2470781" y="35559"/>
                    <a:pt x="2473321" y="38099"/>
                  </a:cubicBezTo>
                  <a:cubicBezTo>
                    <a:pt x="2475861" y="41274"/>
                    <a:pt x="2477131" y="44449"/>
                    <a:pt x="2478401" y="49529"/>
                  </a:cubicBezTo>
                  <a:cubicBezTo>
                    <a:pt x="2479671" y="53974"/>
                    <a:pt x="2480306" y="59054"/>
                    <a:pt x="2480306" y="64134"/>
                  </a:cubicBezTo>
                  <a:lnTo>
                    <a:pt x="2480306" y="108584"/>
                  </a:lnTo>
                  <a:lnTo>
                    <a:pt x="2465066" y="108584"/>
                  </a:lnTo>
                  <a:lnTo>
                    <a:pt x="2464431" y="108584"/>
                  </a:lnTo>
                  <a:lnTo>
                    <a:pt x="2464431" y="64769"/>
                  </a:lnTo>
                  <a:cubicBezTo>
                    <a:pt x="2464431" y="57784"/>
                    <a:pt x="2463161" y="52069"/>
                    <a:pt x="2460621" y="48894"/>
                  </a:cubicBezTo>
                  <a:cubicBezTo>
                    <a:pt x="2458081" y="45084"/>
                    <a:pt x="2454271" y="43814"/>
                    <a:pt x="2448556" y="43814"/>
                  </a:cubicBezTo>
                  <a:cubicBezTo>
                    <a:pt x="2446016" y="43814"/>
                    <a:pt x="2444111" y="43814"/>
                    <a:pt x="2442206" y="45084"/>
                  </a:cubicBezTo>
                  <a:cubicBezTo>
                    <a:pt x="2440301" y="45719"/>
                    <a:pt x="2438396" y="46989"/>
                    <a:pt x="2437126" y="48894"/>
                  </a:cubicBezTo>
                  <a:cubicBezTo>
                    <a:pt x="2435856" y="50799"/>
                    <a:pt x="2434586" y="52704"/>
                    <a:pt x="2433951" y="55244"/>
                  </a:cubicBezTo>
                  <a:cubicBezTo>
                    <a:pt x="2433316" y="57784"/>
                    <a:pt x="2432681" y="60324"/>
                    <a:pt x="2432681" y="63499"/>
                  </a:cubicBezTo>
                  <a:lnTo>
                    <a:pt x="2432681" y="109219"/>
                  </a:lnTo>
                  <a:lnTo>
                    <a:pt x="2417441" y="109219"/>
                  </a:lnTo>
                  <a:lnTo>
                    <a:pt x="2417441" y="8889"/>
                  </a:lnTo>
                  <a:close/>
                  <a:moveTo>
                    <a:pt x="1734181" y="634"/>
                  </a:moveTo>
                  <a:lnTo>
                    <a:pt x="1734181" y="38099"/>
                  </a:lnTo>
                  <a:cubicBezTo>
                    <a:pt x="1734181" y="38099"/>
                    <a:pt x="1736086" y="35559"/>
                    <a:pt x="1737991" y="34289"/>
                  </a:cubicBezTo>
                  <a:cubicBezTo>
                    <a:pt x="1739261" y="33019"/>
                    <a:pt x="1741166" y="32384"/>
                    <a:pt x="1742436" y="31114"/>
                  </a:cubicBezTo>
                  <a:cubicBezTo>
                    <a:pt x="1744341" y="30479"/>
                    <a:pt x="1746246" y="29844"/>
                    <a:pt x="1748151" y="29209"/>
                  </a:cubicBezTo>
                  <a:cubicBezTo>
                    <a:pt x="1750056" y="29209"/>
                    <a:pt x="1751961" y="29209"/>
                    <a:pt x="1753866" y="29209"/>
                  </a:cubicBezTo>
                  <a:cubicBezTo>
                    <a:pt x="1758311" y="29209"/>
                    <a:pt x="1762756" y="29844"/>
                    <a:pt x="1765931" y="31749"/>
                  </a:cubicBezTo>
                  <a:cubicBezTo>
                    <a:pt x="1769106" y="33019"/>
                    <a:pt x="1772281" y="35559"/>
                    <a:pt x="1774821" y="38099"/>
                  </a:cubicBezTo>
                  <a:cubicBezTo>
                    <a:pt x="1777361" y="41274"/>
                    <a:pt x="1778631" y="44449"/>
                    <a:pt x="1779901" y="49529"/>
                  </a:cubicBezTo>
                  <a:cubicBezTo>
                    <a:pt x="1781171" y="53974"/>
                    <a:pt x="1781806" y="59054"/>
                    <a:pt x="1781806" y="64134"/>
                  </a:cubicBezTo>
                  <a:lnTo>
                    <a:pt x="1781806" y="108584"/>
                  </a:lnTo>
                  <a:lnTo>
                    <a:pt x="1766566" y="108584"/>
                  </a:lnTo>
                  <a:lnTo>
                    <a:pt x="1765931" y="108584"/>
                  </a:lnTo>
                  <a:lnTo>
                    <a:pt x="1765931" y="64769"/>
                  </a:lnTo>
                  <a:cubicBezTo>
                    <a:pt x="1765931" y="57784"/>
                    <a:pt x="1764661" y="52069"/>
                    <a:pt x="1762121" y="48894"/>
                  </a:cubicBezTo>
                  <a:cubicBezTo>
                    <a:pt x="1759581" y="45084"/>
                    <a:pt x="1755771" y="43814"/>
                    <a:pt x="1750056" y="43814"/>
                  </a:cubicBezTo>
                  <a:cubicBezTo>
                    <a:pt x="1747516" y="43814"/>
                    <a:pt x="1745611" y="43814"/>
                    <a:pt x="1743706" y="45084"/>
                  </a:cubicBezTo>
                  <a:cubicBezTo>
                    <a:pt x="1741801" y="45719"/>
                    <a:pt x="1739896" y="46989"/>
                    <a:pt x="1738626" y="48894"/>
                  </a:cubicBezTo>
                  <a:cubicBezTo>
                    <a:pt x="1737356" y="50799"/>
                    <a:pt x="1736086" y="52704"/>
                    <a:pt x="1735451" y="55244"/>
                  </a:cubicBezTo>
                  <a:cubicBezTo>
                    <a:pt x="1734816" y="57784"/>
                    <a:pt x="1734181" y="60324"/>
                    <a:pt x="1734181" y="63499"/>
                  </a:cubicBezTo>
                  <a:lnTo>
                    <a:pt x="1734181" y="109219"/>
                  </a:lnTo>
                  <a:lnTo>
                    <a:pt x="1718941" y="109219"/>
                  </a:lnTo>
                  <a:lnTo>
                    <a:pt x="1718941" y="8889"/>
                  </a:lnTo>
                  <a:close/>
                  <a:moveTo>
                    <a:pt x="803275" y="634"/>
                  </a:moveTo>
                  <a:lnTo>
                    <a:pt x="803275" y="38099"/>
                  </a:lnTo>
                  <a:cubicBezTo>
                    <a:pt x="803275" y="38099"/>
                    <a:pt x="805180" y="35559"/>
                    <a:pt x="807085" y="34289"/>
                  </a:cubicBezTo>
                  <a:cubicBezTo>
                    <a:pt x="808355" y="33019"/>
                    <a:pt x="810260" y="32384"/>
                    <a:pt x="811530" y="31114"/>
                  </a:cubicBezTo>
                  <a:cubicBezTo>
                    <a:pt x="813435" y="30479"/>
                    <a:pt x="815340" y="29844"/>
                    <a:pt x="817245" y="29209"/>
                  </a:cubicBezTo>
                  <a:cubicBezTo>
                    <a:pt x="819150" y="29209"/>
                    <a:pt x="821055" y="29209"/>
                    <a:pt x="822960" y="29209"/>
                  </a:cubicBezTo>
                  <a:cubicBezTo>
                    <a:pt x="827405" y="29209"/>
                    <a:pt x="831850" y="29844"/>
                    <a:pt x="835025" y="31749"/>
                  </a:cubicBezTo>
                  <a:cubicBezTo>
                    <a:pt x="838200" y="33019"/>
                    <a:pt x="841375" y="35559"/>
                    <a:pt x="843915" y="38099"/>
                  </a:cubicBezTo>
                  <a:cubicBezTo>
                    <a:pt x="846455" y="41274"/>
                    <a:pt x="847725" y="44449"/>
                    <a:pt x="848995" y="49529"/>
                  </a:cubicBezTo>
                  <a:cubicBezTo>
                    <a:pt x="850265" y="53974"/>
                    <a:pt x="850900" y="59054"/>
                    <a:pt x="850900" y="64134"/>
                  </a:cubicBezTo>
                  <a:lnTo>
                    <a:pt x="850900" y="108584"/>
                  </a:lnTo>
                  <a:lnTo>
                    <a:pt x="835660" y="108584"/>
                  </a:lnTo>
                  <a:lnTo>
                    <a:pt x="835025" y="108584"/>
                  </a:lnTo>
                  <a:lnTo>
                    <a:pt x="835025" y="64769"/>
                  </a:lnTo>
                  <a:cubicBezTo>
                    <a:pt x="835025" y="57784"/>
                    <a:pt x="833755" y="52069"/>
                    <a:pt x="831215" y="48894"/>
                  </a:cubicBezTo>
                  <a:cubicBezTo>
                    <a:pt x="828675" y="45084"/>
                    <a:pt x="824865" y="43814"/>
                    <a:pt x="819150" y="43814"/>
                  </a:cubicBezTo>
                  <a:cubicBezTo>
                    <a:pt x="816610" y="43814"/>
                    <a:pt x="814705" y="43814"/>
                    <a:pt x="812800" y="45084"/>
                  </a:cubicBezTo>
                  <a:cubicBezTo>
                    <a:pt x="810895" y="45719"/>
                    <a:pt x="808990" y="46989"/>
                    <a:pt x="807720" y="48894"/>
                  </a:cubicBezTo>
                  <a:cubicBezTo>
                    <a:pt x="806450" y="50799"/>
                    <a:pt x="805180" y="52704"/>
                    <a:pt x="804545" y="55244"/>
                  </a:cubicBezTo>
                  <a:cubicBezTo>
                    <a:pt x="803910" y="57784"/>
                    <a:pt x="803275" y="60324"/>
                    <a:pt x="803275" y="63499"/>
                  </a:cubicBezTo>
                  <a:lnTo>
                    <a:pt x="803275" y="109219"/>
                  </a:lnTo>
                  <a:lnTo>
                    <a:pt x="788035" y="109219"/>
                  </a:lnTo>
                  <a:lnTo>
                    <a:pt x="788035" y="8889"/>
                  </a:lnTo>
                  <a:close/>
                  <a:moveTo>
                    <a:pt x="104774" y="634"/>
                  </a:moveTo>
                  <a:lnTo>
                    <a:pt x="104774" y="38099"/>
                  </a:lnTo>
                  <a:cubicBezTo>
                    <a:pt x="104774" y="38099"/>
                    <a:pt x="106679" y="35559"/>
                    <a:pt x="108584" y="34289"/>
                  </a:cubicBezTo>
                  <a:cubicBezTo>
                    <a:pt x="109854" y="33019"/>
                    <a:pt x="111759" y="32384"/>
                    <a:pt x="113029" y="31114"/>
                  </a:cubicBezTo>
                  <a:cubicBezTo>
                    <a:pt x="114934" y="30479"/>
                    <a:pt x="116839" y="29844"/>
                    <a:pt x="118744" y="29209"/>
                  </a:cubicBezTo>
                  <a:cubicBezTo>
                    <a:pt x="120649" y="29209"/>
                    <a:pt x="122554" y="29209"/>
                    <a:pt x="124459" y="29209"/>
                  </a:cubicBezTo>
                  <a:cubicBezTo>
                    <a:pt x="128904" y="29209"/>
                    <a:pt x="133349" y="29844"/>
                    <a:pt x="136524" y="31749"/>
                  </a:cubicBezTo>
                  <a:cubicBezTo>
                    <a:pt x="139699" y="33019"/>
                    <a:pt x="142874" y="35559"/>
                    <a:pt x="145414" y="38099"/>
                  </a:cubicBezTo>
                  <a:cubicBezTo>
                    <a:pt x="147954" y="41274"/>
                    <a:pt x="149224" y="44449"/>
                    <a:pt x="150494" y="49529"/>
                  </a:cubicBezTo>
                  <a:cubicBezTo>
                    <a:pt x="151764" y="53974"/>
                    <a:pt x="152399" y="59054"/>
                    <a:pt x="152399" y="64134"/>
                  </a:cubicBezTo>
                  <a:lnTo>
                    <a:pt x="152399" y="108584"/>
                  </a:lnTo>
                  <a:lnTo>
                    <a:pt x="137159" y="108584"/>
                  </a:lnTo>
                  <a:lnTo>
                    <a:pt x="136524" y="108584"/>
                  </a:lnTo>
                  <a:lnTo>
                    <a:pt x="136524" y="64769"/>
                  </a:lnTo>
                  <a:cubicBezTo>
                    <a:pt x="136524" y="57784"/>
                    <a:pt x="135254" y="52069"/>
                    <a:pt x="132714" y="48894"/>
                  </a:cubicBezTo>
                  <a:cubicBezTo>
                    <a:pt x="130174" y="45084"/>
                    <a:pt x="126364" y="43814"/>
                    <a:pt x="120649" y="43814"/>
                  </a:cubicBezTo>
                  <a:cubicBezTo>
                    <a:pt x="118109" y="43814"/>
                    <a:pt x="116204" y="43814"/>
                    <a:pt x="114299" y="45084"/>
                  </a:cubicBezTo>
                  <a:cubicBezTo>
                    <a:pt x="112394" y="45719"/>
                    <a:pt x="110489" y="46989"/>
                    <a:pt x="109219" y="48894"/>
                  </a:cubicBezTo>
                  <a:cubicBezTo>
                    <a:pt x="107949" y="50799"/>
                    <a:pt x="106679" y="52704"/>
                    <a:pt x="106044" y="55244"/>
                  </a:cubicBezTo>
                  <a:cubicBezTo>
                    <a:pt x="105409" y="57784"/>
                    <a:pt x="104774" y="60324"/>
                    <a:pt x="104774" y="63499"/>
                  </a:cubicBezTo>
                  <a:lnTo>
                    <a:pt x="104774" y="109219"/>
                  </a:lnTo>
                  <a:lnTo>
                    <a:pt x="89534" y="109219"/>
                  </a:lnTo>
                  <a:lnTo>
                    <a:pt x="89534" y="8889"/>
                  </a:lnTo>
                  <a:close/>
                  <a:moveTo>
                    <a:pt x="3894450" y="0"/>
                  </a:moveTo>
                  <a:lnTo>
                    <a:pt x="3894450" y="30480"/>
                  </a:lnTo>
                  <a:lnTo>
                    <a:pt x="3913500" y="30480"/>
                  </a:lnTo>
                  <a:lnTo>
                    <a:pt x="3913500" y="44450"/>
                  </a:lnTo>
                  <a:lnTo>
                    <a:pt x="3894450" y="44450"/>
                  </a:lnTo>
                  <a:lnTo>
                    <a:pt x="3894450" y="86995"/>
                  </a:lnTo>
                  <a:cubicBezTo>
                    <a:pt x="3894450" y="86995"/>
                    <a:pt x="3894450" y="90170"/>
                    <a:pt x="3894450" y="91440"/>
                  </a:cubicBezTo>
                  <a:cubicBezTo>
                    <a:pt x="3894450" y="92710"/>
                    <a:pt x="3895085" y="93345"/>
                    <a:pt x="3895720" y="94615"/>
                  </a:cubicBezTo>
                  <a:cubicBezTo>
                    <a:pt x="3896355" y="95250"/>
                    <a:pt x="3896990" y="95885"/>
                    <a:pt x="3898260" y="95885"/>
                  </a:cubicBezTo>
                  <a:cubicBezTo>
                    <a:pt x="3899530" y="95885"/>
                    <a:pt x="3900800" y="95885"/>
                    <a:pt x="3902070" y="95885"/>
                  </a:cubicBezTo>
                  <a:cubicBezTo>
                    <a:pt x="3903975" y="95885"/>
                    <a:pt x="3905880" y="95885"/>
                    <a:pt x="3908420" y="95250"/>
                  </a:cubicBezTo>
                  <a:cubicBezTo>
                    <a:pt x="3910325" y="94615"/>
                    <a:pt x="3912230" y="93980"/>
                    <a:pt x="3913500" y="93345"/>
                  </a:cubicBezTo>
                  <a:lnTo>
                    <a:pt x="3911595" y="106680"/>
                  </a:lnTo>
                  <a:cubicBezTo>
                    <a:pt x="3911595" y="106680"/>
                    <a:pt x="3907785" y="108585"/>
                    <a:pt x="3905245" y="109220"/>
                  </a:cubicBezTo>
                  <a:cubicBezTo>
                    <a:pt x="3902705" y="109855"/>
                    <a:pt x="3900165" y="110490"/>
                    <a:pt x="3896990" y="110490"/>
                  </a:cubicBezTo>
                  <a:cubicBezTo>
                    <a:pt x="3894450" y="110490"/>
                    <a:pt x="3891910" y="110490"/>
                    <a:pt x="3890005" y="109220"/>
                  </a:cubicBezTo>
                  <a:cubicBezTo>
                    <a:pt x="3888100" y="108585"/>
                    <a:pt x="3886195" y="107315"/>
                    <a:pt x="3884290" y="105410"/>
                  </a:cubicBezTo>
                  <a:cubicBezTo>
                    <a:pt x="3882385" y="103505"/>
                    <a:pt x="3881115" y="101600"/>
                    <a:pt x="3880480" y="99060"/>
                  </a:cubicBezTo>
                  <a:cubicBezTo>
                    <a:pt x="3879845" y="96520"/>
                    <a:pt x="3879210" y="93345"/>
                    <a:pt x="3879210" y="89535"/>
                  </a:cubicBezTo>
                  <a:lnTo>
                    <a:pt x="3879210" y="44450"/>
                  </a:lnTo>
                  <a:lnTo>
                    <a:pt x="3868415" y="44450"/>
                  </a:lnTo>
                  <a:lnTo>
                    <a:pt x="3868415" y="30480"/>
                  </a:lnTo>
                  <a:lnTo>
                    <a:pt x="3879210" y="30480"/>
                  </a:lnTo>
                  <a:lnTo>
                    <a:pt x="3879210" y="8255"/>
                  </a:lnTo>
                  <a:close/>
                  <a:moveTo>
                    <a:pt x="3664581" y="0"/>
                  </a:moveTo>
                  <a:lnTo>
                    <a:pt x="3664581" y="30480"/>
                  </a:lnTo>
                  <a:lnTo>
                    <a:pt x="3683631" y="30480"/>
                  </a:lnTo>
                  <a:lnTo>
                    <a:pt x="3683631" y="44450"/>
                  </a:lnTo>
                  <a:lnTo>
                    <a:pt x="3664581" y="44450"/>
                  </a:lnTo>
                  <a:lnTo>
                    <a:pt x="3664581" y="86995"/>
                  </a:lnTo>
                  <a:cubicBezTo>
                    <a:pt x="3664581" y="86995"/>
                    <a:pt x="3664581" y="90170"/>
                    <a:pt x="3664581" y="91440"/>
                  </a:cubicBezTo>
                  <a:cubicBezTo>
                    <a:pt x="3664581" y="92710"/>
                    <a:pt x="3665216" y="93345"/>
                    <a:pt x="3665851" y="94615"/>
                  </a:cubicBezTo>
                  <a:cubicBezTo>
                    <a:pt x="3666486" y="95250"/>
                    <a:pt x="3667121" y="95885"/>
                    <a:pt x="3668391" y="95885"/>
                  </a:cubicBezTo>
                  <a:cubicBezTo>
                    <a:pt x="3669661" y="95885"/>
                    <a:pt x="3670931" y="95885"/>
                    <a:pt x="3672201" y="95885"/>
                  </a:cubicBezTo>
                  <a:cubicBezTo>
                    <a:pt x="3674106" y="95885"/>
                    <a:pt x="3676011" y="95885"/>
                    <a:pt x="3678551" y="95250"/>
                  </a:cubicBezTo>
                  <a:cubicBezTo>
                    <a:pt x="3680456" y="94615"/>
                    <a:pt x="3682361" y="93980"/>
                    <a:pt x="3683631" y="93345"/>
                  </a:cubicBezTo>
                  <a:lnTo>
                    <a:pt x="3681726" y="106680"/>
                  </a:lnTo>
                  <a:cubicBezTo>
                    <a:pt x="3681726" y="106680"/>
                    <a:pt x="3677916" y="108585"/>
                    <a:pt x="3675376" y="109220"/>
                  </a:cubicBezTo>
                  <a:cubicBezTo>
                    <a:pt x="3672836" y="109855"/>
                    <a:pt x="3670296" y="110490"/>
                    <a:pt x="3667121" y="110490"/>
                  </a:cubicBezTo>
                  <a:cubicBezTo>
                    <a:pt x="3664581" y="110490"/>
                    <a:pt x="3662041" y="110490"/>
                    <a:pt x="3660136" y="109220"/>
                  </a:cubicBezTo>
                  <a:cubicBezTo>
                    <a:pt x="3658231" y="108585"/>
                    <a:pt x="3656326" y="107315"/>
                    <a:pt x="3654421" y="105410"/>
                  </a:cubicBezTo>
                  <a:cubicBezTo>
                    <a:pt x="3652516" y="103505"/>
                    <a:pt x="3651246" y="101600"/>
                    <a:pt x="3650611" y="99060"/>
                  </a:cubicBezTo>
                  <a:cubicBezTo>
                    <a:pt x="3649976" y="96520"/>
                    <a:pt x="3649341" y="93345"/>
                    <a:pt x="3649341" y="89535"/>
                  </a:cubicBezTo>
                  <a:lnTo>
                    <a:pt x="3649341" y="44450"/>
                  </a:lnTo>
                  <a:lnTo>
                    <a:pt x="3638546" y="44450"/>
                  </a:lnTo>
                  <a:lnTo>
                    <a:pt x="3638546" y="30480"/>
                  </a:lnTo>
                  <a:lnTo>
                    <a:pt x="3649341" y="30480"/>
                  </a:lnTo>
                  <a:lnTo>
                    <a:pt x="3649341" y="8255"/>
                  </a:lnTo>
                  <a:close/>
                  <a:moveTo>
                    <a:pt x="3610605" y="0"/>
                  </a:moveTo>
                  <a:lnTo>
                    <a:pt x="3610605" y="30480"/>
                  </a:lnTo>
                  <a:lnTo>
                    <a:pt x="3629655" y="30480"/>
                  </a:lnTo>
                  <a:lnTo>
                    <a:pt x="3629655" y="44450"/>
                  </a:lnTo>
                  <a:lnTo>
                    <a:pt x="3610605" y="44450"/>
                  </a:lnTo>
                  <a:lnTo>
                    <a:pt x="3610605" y="86995"/>
                  </a:lnTo>
                  <a:cubicBezTo>
                    <a:pt x="3610605" y="86995"/>
                    <a:pt x="3610605" y="90170"/>
                    <a:pt x="3610605" y="91440"/>
                  </a:cubicBezTo>
                  <a:cubicBezTo>
                    <a:pt x="3610605" y="92710"/>
                    <a:pt x="3611240" y="93345"/>
                    <a:pt x="3611875" y="94615"/>
                  </a:cubicBezTo>
                  <a:cubicBezTo>
                    <a:pt x="3612510" y="95250"/>
                    <a:pt x="3613145" y="95885"/>
                    <a:pt x="3614415" y="95885"/>
                  </a:cubicBezTo>
                  <a:cubicBezTo>
                    <a:pt x="3615685" y="95885"/>
                    <a:pt x="3616955" y="95885"/>
                    <a:pt x="3618225" y="95885"/>
                  </a:cubicBezTo>
                  <a:cubicBezTo>
                    <a:pt x="3620130" y="95885"/>
                    <a:pt x="3622035" y="95885"/>
                    <a:pt x="3624575" y="95250"/>
                  </a:cubicBezTo>
                  <a:cubicBezTo>
                    <a:pt x="3626480" y="94615"/>
                    <a:pt x="3628385" y="93980"/>
                    <a:pt x="3629655" y="93345"/>
                  </a:cubicBezTo>
                  <a:lnTo>
                    <a:pt x="3627750" y="106680"/>
                  </a:lnTo>
                  <a:cubicBezTo>
                    <a:pt x="3627750" y="106680"/>
                    <a:pt x="3623940" y="108585"/>
                    <a:pt x="3621400" y="109220"/>
                  </a:cubicBezTo>
                  <a:cubicBezTo>
                    <a:pt x="3618860" y="109855"/>
                    <a:pt x="3616320" y="110490"/>
                    <a:pt x="3613145" y="110490"/>
                  </a:cubicBezTo>
                  <a:cubicBezTo>
                    <a:pt x="3610605" y="110490"/>
                    <a:pt x="3608065" y="110490"/>
                    <a:pt x="3606160" y="109220"/>
                  </a:cubicBezTo>
                  <a:cubicBezTo>
                    <a:pt x="3604255" y="108585"/>
                    <a:pt x="3602350" y="107315"/>
                    <a:pt x="3600445" y="105410"/>
                  </a:cubicBezTo>
                  <a:cubicBezTo>
                    <a:pt x="3598540" y="103505"/>
                    <a:pt x="3597270" y="101600"/>
                    <a:pt x="3596635" y="99060"/>
                  </a:cubicBezTo>
                  <a:cubicBezTo>
                    <a:pt x="3596000" y="96520"/>
                    <a:pt x="3595365" y="93345"/>
                    <a:pt x="3595365" y="89535"/>
                  </a:cubicBezTo>
                  <a:lnTo>
                    <a:pt x="3595365" y="44450"/>
                  </a:lnTo>
                  <a:lnTo>
                    <a:pt x="3584570" y="44450"/>
                  </a:lnTo>
                  <a:lnTo>
                    <a:pt x="3584570" y="30480"/>
                  </a:lnTo>
                  <a:lnTo>
                    <a:pt x="3595365" y="30480"/>
                  </a:lnTo>
                  <a:lnTo>
                    <a:pt x="3595365" y="8255"/>
                  </a:lnTo>
                  <a:close/>
                  <a:moveTo>
                    <a:pt x="3445505" y="0"/>
                  </a:moveTo>
                  <a:lnTo>
                    <a:pt x="3445505" y="37465"/>
                  </a:lnTo>
                  <a:cubicBezTo>
                    <a:pt x="3445505" y="37465"/>
                    <a:pt x="3448680" y="34925"/>
                    <a:pt x="3449950" y="33655"/>
                  </a:cubicBezTo>
                  <a:cubicBezTo>
                    <a:pt x="3451220" y="33020"/>
                    <a:pt x="3452490" y="31750"/>
                    <a:pt x="3453760" y="31115"/>
                  </a:cubicBezTo>
                  <a:cubicBezTo>
                    <a:pt x="3455030" y="30480"/>
                    <a:pt x="3456935" y="29845"/>
                    <a:pt x="3458840" y="29210"/>
                  </a:cubicBezTo>
                  <a:cubicBezTo>
                    <a:pt x="3460745" y="29210"/>
                    <a:pt x="3463285" y="28575"/>
                    <a:pt x="3465825" y="28575"/>
                  </a:cubicBezTo>
                  <a:cubicBezTo>
                    <a:pt x="3470270" y="28575"/>
                    <a:pt x="3474080" y="29210"/>
                    <a:pt x="3477890" y="31115"/>
                  </a:cubicBezTo>
                  <a:cubicBezTo>
                    <a:pt x="3481700" y="32385"/>
                    <a:pt x="3484875" y="34925"/>
                    <a:pt x="3487415" y="38735"/>
                  </a:cubicBezTo>
                  <a:cubicBezTo>
                    <a:pt x="3489955" y="41910"/>
                    <a:pt x="3492495" y="46355"/>
                    <a:pt x="3493765" y="51435"/>
                  </a:cubicBezTo>
                  <a:cubicBezTo>
                    <a:pt x="3495035" y="56515"/>
                    <a:pt x="3496305" y="62865"/>
                    <a:pt x="3496305" y="70485"/>
                  </a:cubicBezTo>
                  <a:lnTo>
                    <a:pt x="3495670" y="71120"/>
                  </a:lnTo>
                  <a:cubicBezTo>
                    <a:pt x="3495670" y="77470"/>
                    <a:pt x="3495035" y="83820"/>
                    <a:pt x="3493130" y="88265"/>
                  </a:cubicBezTo>
                  <a:cubicBezTo>
                    <a:pt x="3491225" y="93345"/>
                    <a:pt x="3489320" y="97155"/>
                    <a:pt x="3486145" y="100330"/>
                  </a:cubicBezTo>
                  <a:cubicBezTo>
                    <a:pt x="3483605" y="103505"/>
                    <a:pt x="3479795" y="106045"/>
                    <a:pt x="3476620" y="107315"/>
                  </a:cubicBezTo>
                  <a:cubicBezTo>
                    <a:pt x="3472810" y="109220"/>
                    <a:pt x="3469000" y="109855"/>
                    <a:pt x="3465190" y="109855"/>
                  </a:cubicBezTo>
                  <a:cubicBezTo>
                    <a:pt x="3461380" y="109855"/>
                    <a:pt x="3457570" y="109220"/>
                    <a:pt x="3454395" y="107315"/>
                  </a:cubicBezTo>
                  <a:cubicBezTo>
                    <a:pt x="3450585" y="105410"/>
                    <a:pt x="3448045" y="103505"/>
                    <a:pt x="3445505" y="100965"/>
                  </a:cubicBezTo>
                  <a:lnTo>
                    <a:pt x="3445505" y="107950"/>
                  </a:lnTo>
                  <a:lnTo>
                    <a:pt x="3430265" y="107950"/>
                  </a:lnTo>
                  <a:lnTo>
                    <a:pt x="3430265" y="7620"/>
                  </a:lnTo>
                  <a:close/>
                  <a:moveTo>
                    <a:pt x="2380611" y="0"/>
                  </a:moveTo>
                  <a:lnTo>
                    <a:pt x="2380611" y="30480"/>
                  </a:lnTo>
                  <a:lnTo>
                    <a:pt x="2399661" y="30480"/>
                  </a:lnTo>
                  <a:lnTo>
                    <a:pt x="2399661" y="44450"/>
                  </a:lnTo>
                  <a:lnTo>
                    <a:pt x="2380611" y="44450"/>
                  </a:lnTo>
                  <a:lnTo>
                    <a:pt x="2380611" y="86995"/>
                  </a:lnTo>
                  <a:cubicBezTo>
                    <a:pt x="2380611" y="86995"/>
                    <a:pt x="2380611" y="90170"/>
                    <a:pt x="2380611" y="91440"/>
                  </a:cubicBezTo>
                  <a:cubicBezTo>
                    <a:pt x="2380611" y="92710"/>
                    <a:pt x="2381246" y="93345"/>
                    <a:pt x="2381881" y="94615"/>
                  </a:cubicBezTo>
                  <a:cubicBezTo>
                    <a:pt x="2382516" y="95250"/>
                    <a:pt x="2383151" y="95885"/>
                    <a:pt x="2384421" y="95885"/>
                  </a:cubicBezTo>
                  <a:cubicBezTo>
                    <a:pt x="2385691" y="95885"/>
                    <a:pt x="2386961" y="95885"/>
                    <a:pt x="2388231" y="95885"/>
                  </a:cubicBezTo>
                  <a:cubicBezTo>
                    <a:pt x="2390136" y="95885"/>
                    <a:pt x="2392041" y="95885"/>
                    <a:pt x="2394581" y="95250"/>
                  </a:cubicBezTo>
                  <a:cubicBezTo>
                    <a:pt x="2396486" y="94615"/>
                    <a:pt x="2398391" y="93980"/>
                    <a:pt x="2399661" y="93345"/>
                  </a:cubicBezTo>
                  <a:lnTo>
                    <a:pt x="2397756" y="106680"/>
                  </a:lnTo>
                  <a:cubicBezTo>
                    <a:pt x="2397756" y="106680"/>
                    <a:pt x="2393946" y="108585"/>
                    <a:pt x="2391406" y="109220"/>
                  </a:cubicBezTo>
                  <a:cubicBezTo>
                    <a:pt x="2388866" y="109855"/>
                    <a:pt x="2386326" y="110490"/>
                    <a:pt x="2383151" y="110490"/>
                  </a:cubicBezTo>
                  <a:cubicBezTo>
                    <a:pt x="2380611" y="110490"/>
                    <a:pt x="2378071" y="110490"/>
                    <a:pt x="2376166" y="109220"/>
                  </a:cubicBezTo>
                  <a:cubicBezTo>
                    <a:pt x="2374261" y="108585"/>
                    <a:pt x="2372356" y="107315"/>
                    <a:pt x="2370451" y="105410"/>
                  </a:cubicBezTo>
                  <a:cubicBezTo>
                    <a:pt x="2368546" y="103505"/>
                    <a:pt x="2367276" y="101600"/>
                    <a:pt x="2366641" y="99060"/>
                  </a:cubicBezTo>
                  <a:cubicBezTo>
                    <a:pt x="2366006" y="96520"/>
                    <a:pt x="2365371" y="93345"/>
                    <a:pt x="2365371" y="89535"/>
                  </a:cubicBezTo>
                  <a:lnTo>
                    <a:pt x="2365371" y="44450"/>
                  </a:lnTo>
                  <a:lnTo>
                    <a:pt x="2354576" y="44450"/>
                  </a:lnTo>
                  <a:lnTo>
                    <a:pt x="2354576" y="30480"/>
                  </a:lnTo>
                  <a:lnTo>
                    <a:pt x="2365371" y="30480"/>
                  </a:lnTo>
                  <a:lnTo>
                    <a:pt x="2365371" y="8255"/>
                  </a:lnTo>
                  <a:close/>
                  <a:moveTo>
                    <a:pt x="2150741" y="0"/>
                  </a:moveTo>
                  <a:lnTo>
                    <a:pt x="2150741" y="30480"/>
                  </a:lnTo>
                  <a:lnTo>
                    <a:pt x="2169791" y="30480"/>
                  </a:lnTo>
                  <a:lnTo>
                    <a:pt x="2169791" y="44450"/>
                  </a:lnTo>
                  <a:lnTo>
                    <a:pt x="2150741" y="44450"/>
                  </a:lnTo>
                  <a:lnTo>
                    <a:pt x="2150741" y="86995"/>
                  </a:lnTo>
                  <a:cubicBezTo>
                    <a:pt x="2150741" y="86995"/>
                    <a:pt x="2150741" y="90170"/>
                    <a:pt x="2150741" y="91440"/>
                  </a:cubicBezTo>
                  <a:cubicBezTo>
                    <a:pt x="2150741" y="92710"/>
                    <a:pt x="2151376" y="93345"/>
                    <a:pt x="2152011" y="94615"/>
                  </a:cubicBezTo>
                  <a:cubicBezTo>
                    <a:pt x="2152646" y="95250"/>
                    <a:pt x="2153281" y="95885"/>
                    <a:pt x="2154551" y="95885"/>
                  </a:cubicBezTo>
                  <a:cubicBezTo>
                    <a:pt x="2155821" y="95885"/>
                    <a:pt x="2157091" y="95885"/>
                    <a:pt x="2158361" y="95885"/>
                  </a:cubicBezTo>
                  <a:cubicBezTo>
                    <a:pt x="2160266" y="95885"/>
                    <a:pt x="2162171" y="95885"/>
                    <a:pt x="2164711" y="95250"/>
                  </a:cubicBezTo>
                  <a:cubicBezTo>
                    <a:pt x="2166616" y="94615"/>
                    <a:pt x="2168521" y="93980"/>
                    <a:pt x="2169791" y="93345"/>
                  </a:cubicBezTo>
                  <a:lnTo>
                    <a:pt x="2167886" y="106680"/>
                  </a:lnTo>
                  <a:cubicBezTo>
                    <a:pt x="2167886" y="106680"/>
                    <a:pt x="2164076" y="108585"/>
                    <a:pt x="2161536" y="109220"/>
                  </a:cubicBezTo>
                  <a:cubicBezTo>
                    <a:pt x="2158996" y="109855"/>
                    <a:pt x="2156456" y="110490"/>
                    <a:pt x="2153281" y="110490"/>
                  </a:cubicBezTo>
                  <a:cubicBezTo>
                    <a:pt x="2150741" y="110490"/>
                    <a:pt x="2148201" y="110490"/>
                    <a:pt x="2146296" y="109220"/>
                  </a:cubicBezTo>
                  <a:cubicBezTo>
                    <a:pt x="2144391" y="108585"/>
                    <a:pt x="2142486" y="107315"/>
                    <a:pt x="2140581" y="105410"/>
                  </a:cubicBezTo>
                  <a:cubicBezTo>
                    <a:pt x="2138676" y="103505"/>
                    <a:pt x="2137406" y="101600"/>
                    <a:pt x="2136771" y="99060"/>
                  </a:cubicBezTo>
                  <a:cubicBezTo>
                    <a:pt x="2136136" y="96520"/>
                    <a:pt x="2135501" y="93345"/>
                    <a:pt x="2135501" y="89535"/>
                  </a:cubicBezTo>
                  <a:lnTo>
                    <a:pt x="2135501" y="44450"/>
                  </a:lnTo>
                  <a:lnTo>
                    <a:pt x="2124706" y="44450"/>
                  </a:lnTo>
                  <a:lnTo>
                    <a:pt x="2124706" y="30480"/>
                  </a:lnTo>
                  <a:lnTo>
                    <a:pt x="2135501" y="30480"/>
                  </a:lnTo>
                  <a:lnTo>
                    <a:pt x="2135501" y="8255"/>
                  </a:lnTo>
                  <a:close/>
                  <a:moveTo>
                    <a:pt x="2096131" y="0"/>
                  </a:moveTo>
                  <a:lnTo>
                    <a:pt x="2096131" y="30480"/>
                  </a:lnTo>
                  <a:lnTo>
                    <a:pt x="2115181" y="30480"/>
                  </a:lnTo>
                  <a:lnTo>
                    <a:pt x="2115181" y="44450"/>
                  </a:lnTo>
                  <a:lnTo>
                    <a:pt x="2096131" y="44450"/>
                  </a:lnTo>
                  <a:lnTo>
                    <a:pt x="2096131" y="86995"/>
                  </a:lnTo>
                  <a:cubicBezTo>
                    <a:pt x="2096131" y="86995"/>
                    <a:pt x="2096131" y="90170"/>
                    <a:pt x="2096131" y="91440"/>
                  </a:cubicBezTo>
                  <a:cubicBezTo>
                    <a:pt x="2096131" y="92710"/>
                    <a:pt x="2096766" y="93345"/>
                    <a:pt x="2097401" y="94615"/>
                  </a:cubicBezTo>
                  <a:cubicBezTo>
                    <a:pt x="2098036" y="95250"/>
                    <a:pt x="2098671" y="95885"/>
                    <a:pt x="2099941" y="95885"/>
                  </a:cubicBezTo>
                  <a:cubicBezTo>
                    <a:pt x="2101211" y="95885"/>
                    <a:pt x="2102481" y="95885"/>
                    <a:pt x="2103751" y="95885"/>
                  </a:cubicBezTo>
                  <a:cubicBezTo>
                    <a:pt x="2105656" y="95885"/>
                    <a:pt x="2107561" y="95885"/>
                    <a:pt x="2110101" y="95250"/>
                  </a:cubicBezTo>
                  <a:cubicBezTo>
                    <a:pt x="2112006" y="94615"/>
                    <a:pt x="2113911" y="93980"/>
                    <a:pt x="2115181" y="93345"/>
                  </a:cubicBezTo>
                  <a:lnTo>
                    <a:pt x="2113276" y="106680"/>
                  </a:lnTo>
                  <a:cubicBezTo>
                    <a:pt x="2113276" y="106680"/>
                    <a:pt x="2109466" y="108585"/>
                    <a:pt x="2106926" y="109220"/>
                  </a:cubicBezTo>
                  <a:cubicBezTo>
                    <a:pt x="2104386" y="109855"/>
                    <a:pt x="2101846" y="110490"/>
                    <a:pt x="2098671" y="110490"/>
                  </a:cubicBezTo>
                  <a:cubicBezTo>
                    <a:pt x="2096131" y="110490"/>
                    <a:pt x="2093591" y="110490"/>
                    <a:pt x="2091686" y="109220"/>
                  </a:cubicBezTo>
                  <a:cubicBezTo>
                    <a:pt x="2089781" y="108585"/>
                    <a:pt x="2087876" y="107315"/>
                    <a:pt x="2085971" y="105410"/>
                  </a:cubicBezTo>
                  <a:cubicBezTo>
                    <a:pt x="2084066" y="103505"/>
                    <a:pt x="2082796" y="101600"/>
                    <a:pt x="2082161" y="99060"/>
                  </a:cubicBezTo>
                  <a:cubicBezTo>
                    <a:pt x="2081526" y="96520"/>
                    <a:pt x="2080891" y="93345"/>
                    <a:pt x="2080891" y="89535"/>
                  </a:cubicBezTo>
                  <a:lnTo>
                    <a:pt x="2080891" y="44450"/>
                  </a:lnTo>
                  <a:lnTo>
                    <a:pt x="2070096" y="44450"/>
                  </a:lnTo>
                  <a:lnTo>
                    <a:pt x="2070096" y="30480"/>
                  </a:lnTo>
                  <a:lnTo>
                    <a:pt x="2080891" y="30480"/>
                  </a:lnTo>
                  <a:lnTo>
                    <a:pt x="2080891" y="8255"/>
                  </a:lnTo>
                  <a:close/>
                  <a:moveTo>
                    <a:pt x="1931665" y="0"/>
                  </a:moveTo>
                  <a:lnTo>
                    <a:pt x="1931665" y="37465"/>
                  </a:lnTo>
                  <a:cubicBezTo>
                    <a:pt x="1931665" y="37465"/>
                    <a:pt x="1934840" y="34925"/>
                    <a:pt x="1936110" y="33655"/>
                  </a:cubicBezTo>
                  <a:cubicBezTo>
                    <a:pt x="1937380" y="33020"/>
                    <a:pt x="1938650" y="31750"/>
                    <a:pt x="1939920" y="31115"/>
                  </a:cubicBezTo>
                  <a:cubicBezTo>
                    <a:pt x="1941190" y="30480"/>
                    <a:pt x="1943095" y="29845"/>
                    <a:pt x="1945000" y="29210"/>
                  </a:cubicBezTo>
                  <a:cubicBezTo>
                    <a:pt x="1946905" y="29210"/>
                    <a:pt x="1949445" y="28575"/>
                    <a:pt x="1951985" y="28575"/>
                  </a:cubicBezTo>
                  <a:cubicBezTo>
                    <a:pt x="1956430" y="28575"/>
                    <a:pt x="1960240" y="29210"/>
                    <a:pt x="1964050" y="31115"/>
                  </a:cubicBezTo>
                  <a:cubicBezTo>
                    <a:pt x="1967860" y="32385"/>
                    <a:pt x="1971035" y="34925"/>
                    <a:pt x="1973575" y="38735"/>
                  </a:cubicBezTo>
                  <a:cubicBezTo>
                    <a:pt x="1976115" y="41910"/>
                    <a:pt x="1978655" y="46355"/>
                    <a:pt x="1979925" y="51435"/>
                  </a:cubicBezTo>
                  <a:cubicBezTo>
                    <a:pt x="1981195" y="56515"/>
                    <a:pt x="1982465" y="62865"/>
                    <a:pt x="1982465" y="70485"/>
                  </a:cubicBezTo>
                  <a:lnTo>
                    <a:pt x="1981830" y="71120"/>
                  </a:lnTo>
                  <a:cubicBezTo>
                    <a:pt x="1981830" y="77470"/>
                    <a:pt x="1981195" y="83820"/>
                    <a:pt x="1979290" y="88265"/>
                  </a:cubicBezTo>
                  <a:cubicBezTo>
                    <a:pt x="1977385" y="93345"/>
                    <a:pt x="1975480" y="97155"/>
                    <a:pt x="1972305" y="100330"/>
                  </a:cubicBezTo>
                  <a:cubicBezTo>
                    <a:pt x="1969765" y="103505"/>
                    <a:pt x="1965955" y="106045"/>
                    <a:pt x="1962780" y="107315"/>
                  </a:cubicBezTo>
                  <a:cubicBezTo>
                    <a:pt x="1958970" y="109220"/>
                    <a:pt x="1955160" y="109855"/>
                    <a:pt x="1951350" y="109855"/>
                  </a:cubicBezTo>
                  <a:cubicBezTo>
                    <a:pt x="1947540" y="109855"/>
                    <a:pt x="1943730" y="109220"/>
                    <a:pt x="1940555" y="107315"/>
                  </a:cubicBezTo>
                  <a:cubicBezTo>
                    <a:pt x="1936745" y="105410"/>
                    <a:pt x="1934205" y="103505"/>
                    <a:pt x="1931665" y="100965"/>
                  </a:cubicBezTo>
                  <a:lnTo>
                    <a:pt x="1931665" y="107950"/>
                  </a:lnTo>
                  <a:lnTo>
                    <a:pt x="1916425" y="107950"/>
                  </a:lnTo>
                  <a:lnTo>
                    <a:pt x="1916425" y="7620"/>
                  </a:lnTo>
                  <a:close/>
                  <a:moveTo>
                    <a:pt x="1316991" y="0"/>
                  </a:moveTo>
                  <a:lnTo>
                    <a:pt x="1316991" y="30480"/>
                  </a:lnTo>
                  <a:lnTo>
                    <a:pt x="1336041" y="30480"/>
                  </a:lnTo>
                  <a:lnTo>
                    <a:pt x="1336041" y="44450"/>
                  </a:lnTo>
                  <a:lnTo>
                    <a:pt x="1316991" y="44450"/>
                  </a:lnTo>
                  <a:lnTo>
                    <a:pt x="1316991" y="86995"/>
                  </a:lnTo>
                  <a:cubicBezTo>
                    <a:pt x="1316991" y="86995"/>
                    <a:pt x="1316991" y="90170"/>
                    <a:pt x="1316991" y="91440"/>
                  </a:cubicBezTo>
                  <a:cubicBezTo>
                    <a:pt x="1316991" y="92710"/>
                    <a:pt x="1317627" y="93345"/>
                    <a:pt x="1318261" y="94615"/>
                  </a:cubicBezTo>
                  <a:cubicBezTo>
                    <a:pt x="1318896" y="95250"/>
                    <a:pt x="1319531" y="95885"/>
                    <a:pt x="1320801" y="95885"/>
                  </a:cubicBezTo>
                  <a:cubicBezTo>
                    <a:pt x="1322072" y="95885"/>
                    <a:pt x="1323341" y="95885"/>
                    <a:pt x="1324611" y="95885"/>
                  </a:cubicBezTo>
                  <a:cubicBezTo>
                    <a:pt x="1326516" y="95885"/>
                    <a:pt x="1328422" y="95885"/>
                    <a:pt x="1330961" y="95250"/>
                  </a:cubicBezTo>
                  <a:cubicBezTo>
                    <a:pt x="1332867" y="94615"/>
                    <a:pt x="1334772" y="93980"/>
                    <a:pt x="1336041" y="93345"/>
                  </a:cubicBezTo>
                  <a:lnTo>
                    <a:pt x="1334136" y="106680"/>
                  </a:lnTo>
                  <a:cubicBezTo>
                    <a:pt x="1334136" y="106680"/>
                    <a:pt x="1330326" y="108585"/>
                    <a:pt x="1327786" y="109220"/>
                  </a:cubicBezTo>
                  <a:cubicBezTo>
                    <a:pt x="1325246" y="109855"/>
                    <a:pt x="1322706" y="110490"/>
                    <a:pt x="1319531" y="110490"/>
                  </a:cubicBezTo>
                  <a:cubicBezTo>
                    <a:pt x="1316991" y="110490"/>
                    <a:pt x="1314451" y="110490"/>
                    <a:pt x="1312546" y="109220"/>
                  </a:cubicBezTo>
                  <a:cubicBezTo>
                    <a:pt x="1310641" y="108585"/>
                    <a:pt x="1308736" y="107315"/>
                    <a:pt x="1306831" y="105410"/>
                  </a:cubicBezTo>
                  <a:cubicBezTo>
                    <a:pt x="1304926" y="103505"/>
                    <a:pt x="1303656" y="101600"/>
                    <a:pt x="1303021" y="99060"/>
                  </a:cubicBezTo>
                  <a:cubicBezTo>
                    <a:pt x="1302386" y="96520"/>
                    <a:pt x="1301751" y="93345"/>
                    <a:pt x="1301751" y="89535"/>
                  </a:cubicBezTo>
                  <a:lnTo>
                    <a:pt x="1301751" y="44450"/>
                  </a:lnTo>
                  <a:lnTo>
                    <a:pt x="1290956" y="44450"/>
                  </a:lnTo>
                  <a:lnTo>
                    <a:pt x="1290956" y="30480"/>
                  </a:lnTo>
                  <a:lnTo>
                    <a:pt x="1301751" y="30480"/>
                  </a:lnTo>
                  <a:lnTo>
                    <a:pt x="1301751" y="8255"/>
                  </a:lnTo>
                  <a:close/>
                  <a:moveTo>
                    <a:pt x="751206" y="0"/>
                  </a:moveTo>
                  <a:lnTo>
                    <a:pt x="751206" y="30480"/>
                  </a:lnTo>
                  <a:lnTo>
                    <a:pt x="770256" y="30480"/>
                  </a:lnTo>
                  <a:lnTo>
                    <a:pt x="770256" y="44450"/>
                  </a:lnTo>
                  <a:lnTo>
                    <a:pt x="751206" y="44450"/>
                  </a:lnTo>
                  <a:lnTo>
                    <a:pt x="751206" y="86995"/>
                  </a:lnTo>
                  <a:cubicBezTo>
                    <a:pt x="751206" y="86995"/>
                    <a:pt x="751206" y="90170"/>
                    <a:pt x="751206" y="91440"/>
                  </a:cubicBezTo>
                  <a:cubicBezTo>
                    <a:pt x="751206" y="92710"/>
                    <a:pt x="751841" y="93345"/>
                    <a:pt x="752476" y="94615"/>
                  </a:cubicBezTo>
                  <a:cubicBezTo>
                    <a:pt x="753111" y="95250"/>
                    <a:pt x="753746" y="95885"/>
                    <a:pt x="755016" y="95885"/>
                  </a:cubicBezTo>
                  <a:cubicBezTo>
                    <a:pt x="756286" y="95885"/>
                    <a:pt x="757556" y="95885"/>
                    <a:pt x="758826" y="95885"/>
                  </a:cubicBezTo>
                  <a:cubicBezTo>
                    <a:pt x="760731" y="95885"/>
                    <a:pt x="762636" y="95885"/>
                    <a:pt x="765176" y="95250"/>
                  </a:cubicBezTo>
                  <a:cubicBezTo>
                    <a:pt x="767081" y="94615"/>
                    <a:pt x="768986" y="93980"/>
                    <a:pt x="770256" y="93345"/>
                  </a:cubicBezTo>
                  <a:lnTo>
                    <a:pt x="768351" y="106680"/>
                  </a:lnTo>
                  <a:cubicBezTo>
                    <a:pt x="768351" y="106680"/>
                    <a:pt x="764541" y="108585"/>
                    <a:pt x="762001" y="109220"/>
                  </a:cubicBezTo>
                  <a:cubicBezTo>
                    <a:pt x="759461" y="109855"/>
                    <a:pt x="756921" y="110490"/>
                    <a:pt x="753746" y="110490"/>
                  </a:cubicBezTo>
                  <a:cubicBezTo>
                    <a:pt x="751206" y="110490"/>
                    <a:pt x="748666" y="110490"/>
                    <a:pt x="746761" y="109220"/>
                  </a:cubicBezTo>
                  <a:cubicBezTo>
                    <a:pt x="744856" y="108585"/>
                    <a:pt x="742951" y="107315"/>
                    <a:pt x="741045" y="105410"/>
                  </a:cubicBezTo>
                  <a:cubicBezTo>
                    <a:pt x="739141" y="103505"/>
                    <a:pt x="737871" y="101600"/>
                    <a:pt x="737236" y="99060"/>
                  </a:cubicBezTo>
                  <a:cubicBezTo>
                    <a:pt x="736600" y="96520"/>
                    <a:pt x="735966" y="93345"/>
                    <a:pt x="735966" y="89535"/>
                  </a:cubicBezTo>
                  <a:lnTo>
                    <a:pt x="735966" y="44450"/>
                  </a:lnTo>
                  <a:lnTo>
                    <a:pt x="725171" y="44450"/>
                  </a:lnTo>
                  <a:lnTo>
                    <a:pt x="725171" y="30480"/>
                  </a:lnTo>
                  <a:lnTo>
                    <a:pt x="735966" y="30480"/>
                  </a:lnTo>
                  <a:lnTo>
                    <a:pt x="735966" y="8255"/>
                  </a:lnTo>
                  <a:close/>
                  <a:moveTo>
                    <a:pt x="521335" y="0"/>
                  </a:moveTo>
                  <a:lnTo>
                    <a:pt x="521335" y="30480"/>
                  </a:lnTo>
                  <a:lnTo>
                    <a:pt x="540385" y="30480"/>
                  </a:lnTo>
                  <a:lnTo>
                    <a:pt x="540385" y="44450"/>
                  </a:lnTo>
                  <a:lnTo>
                    <a:pt x="521335" y="44450"/>
                  </a:lnTo>
                  <a:lnTo>
                    <a:pt x="521335" y="86995"/>
                  </a:lnTo>
                  <a:cubicBezTo>
                    <a:pt x="521335" y="86995"/>
                    <a:pt x="521335" y="90170"/>
                    <a:pt x="521335" y="91440"/>
                  </a:cubicBezTo>
                  <a:cubicBezTo>
                    <a:pt x="521335" y="92710"/>
                    <a:pt x="521970" y="93345"/>
                    <a:pt x="522605" y="94615"/>
                  </a:cubicBezTo>
                  <a:cubicBezTo>
                    <a:pt x="523240" y="95250"/>
                    <a:pt x="523875" y="95885"/>
                    <a:pt x="525145" y="95885"/>
                  </a:cubicBezTo>
                  <a:cubicBezTo>
                    <a:pt x="526415" y="95885"/>
                    <a:pt x="527685" y="95885"/>
                    <a:pt x="528955" y="95885"/>
                  </a:cubicBezTo>
                  <a:cubicBezTo>
                    <a:pt x="530860" y="95885"/>
                    <a:pt x="532765" y="95885"/>
                    <a:pt x="535305" y="95250"/>
                  </a:cubicBezTo>
                  <a:cubicBezTo>
                    <a:pt x="537210" y="94615"/>
                    <a:pt x="539115" y="93980"/>
                    <a:pt x="540385" y="93345"/>
                  </a:cubicBezTo>
                  <a:lnTo>
                    <a:pt x="538480" y="106680"/>
                  </a:lnTo>
                  <a:cubicBezTo>
                    <a:pt x="538480" y="106680"/>
                    <a:pt x="534670" y="108585"/>
                    <a:pt x="532130" y="109220"/>
                  </a:cubicBezTo>
                  <a:cubicBezTo>
                    <a:pt x="529590" y="109855"/>
                    <a:pt x="527050" y="110490"/>
                    <a:pt x="523875" y="110490"/>
                  </a:cubicBezTo>
                  <a:cubicBezTo>
                    <a:pt x="521335" y="110490"/>
                    <a:pt x="518795" y="110490"/>
                    <a:pt x="516890" y="109220"/>
                  </a:cubicBezTo>
                  <a:cubicBezTo>
                    <a:pt x="514985" y="108585"/>
                    <a:pt x="513080" y="107315"/>
                    <a:pt x="511175" y="105410"/>
                  </a:cubicBezTo>
                  <a:cubicBezTo>
                    <a:pt x="509270" y="103505"/>
                    <a:pt x="508000" y="101600"/>
                    <a:pt x="507365" y="99060"/>
                  </a:cubicBezTo>
                  <a:cubicBezTo>
                    <a:pt x="506730" y="96520"/>
                    <a:pt x="506095" y="93345"/>
                    <a:pt x="506095" y="89535"/>
                  </a:cubicBezTo>
                  <a:lnTo>
                    <a:pt x="506095" y="44450"/>
                  </a:lnTo>
                  <a:lnTo>
                    <a:pt x="495300" y="44450"/>
                  </a:lnTo>
                  <a:lnTo>
                    <a:pt x="495300" y="30480"/>
                  </a:lnTo>
                  <a:lnTo>
                    <a:pt x="506095" y="30480"/>
                  </a:lnTo>
                  <a:lnTo>
                    <a:pt x="506095" y="8255"/>
                  </a:lnTo>
                  <a:close/>
                  <a:moveTo>
                    <a:pt x="466724" y="0"/>
                  </a:moveTo>
                  <a:lnTo>
                    <a:pt x="466724" y="30480"/>
                  </a:lnTo>
                  <a:lnTo>
                    <a:pt x="485774" y="30480"/>
                  </a:lnTo>
                  <a:lnTo>
                    <a:pt x="485774" y="44450"/>
                  </a:lnTo>
                  <a:lnTo>
                    <a:pt x="466724" y="44450"/>
                  </a:lnTo>
                  <a:lnTo>
                    <a:pt x="466724" y="86995"/>
                  </a:lnTo>
                  <a:cubicBezTo>
                    <a:pt x="466724" y="86995"/>
                    <a:pt x="466724" y="90170"/>
                    <a:pt x="466724" y="91440"/>
                  </a:cubicBezTo>
                  <a:cubicBezTo>
                    <a:pt x="466724" y="92710"/>
                    <a:pt x="467359" y="93345"/>
                    <a:pt x="467994" y="94615"/>
                  </a:cubicBezTo>
                  <a:cubicBezTo>
                    <a:pt x="468629" y="95250"/>
                    <a:pt x="469264" y="95885"/>
                    <a:pt x="470534" y="95885"/>
                  </a:cubicBezTo>
                  <a:cubicBezTo>
                    <a:pt x="471804" y="95885"/>
                    <a:pt x="473074" y="95885"/>
                    <a:pt x="474344" y="95885"/>
                  </a:cubicBezTo>
                  <a:cubicBezTo>
                    <a:pt x="476249" y="95885"/>
                    <a:pt x="478154" y="95885"/>
                    <a:pt x="480694" y="95250"/>
                  </a:cubicBezTo>
                  <a:cubicBezTo>
                    <a:pt x="482599" y="94615"/>
                    <a:pt x="484504" y="93980"/>
                    <a:pt x="485774" y="93345"/>
                  </a:cubicBezTo>
                  <a:lnTo>
                    <a:pt x="483869" y="106680"/>
                  </a:lnTo>
                  <a:cubicBezTo>
                    <a:pt x="483869" y="106680"/>
                    <a:pt x="480059" y="108585"/>
                    <a:pt x="477519" y="109220"/>
                  </a:cubicBezTo>
                  <a:cubicBezTo>
                    <a:pt x="474979" y="109855"/>
                    <a:pt x="472439" y="110490"/>
                    <a:pt x="469264" y="110490"/>
                  </a:cubicBezTo>
                  <a:cubicBezTo>
                    <a:pt x="466724" y="110490"/>
                    <a:pt x="464184" y="110490"/>
                    <a:pt x="462279" y="109220"/>
                  </a:cubicBezTo>
                  <a:cubicBezTo>
                    <a:pt x="460374" y="108585"/>
                    <a:pt x="458469" y="107315"/>
                    <a:pt x="456564" y="105410"/>
                  </a:cubicBezTo>
                  <a:cubicBezTo>
                    <a:pt x="454659" y="103505"/>
                    <a:pt x="453389" y="101600"/>
                    <a:pt x="452754" y="99060"/>
                  </a:cubicBezTo>
                  <a:cubicBezTo>
                    <a:pt x="452119" y="96520"/>
                    <a:pt x="451484" y="93345"/>
                    <a:pt x="451484" y="89535"/>
                  </a:cubicBezTo>
                  <a:lnTo>
                    <a:pt x="451484" y="44450"/>
                  </a:lnTo>
                  <a:lnTo>
                    <a:pt x="440689" y="44450"/>
                  </a:lnTo>
                  <a:lnTo>
                    <a:pt x="440689" y="30480"/>
                  </a:lnTo>
                  <a:lnTo>
                    <a:pt x="451484" y="30480"/>
                  </a:lnTo>
                  <a:lnTo>
                    <a:pt x="451484" y="8255"/>
                  </a:lnTo>
                  <a:close/>
                  <a:moveTo>
                    <a:pt x="302259" y="0"/>
                  </a:moveTo>
                  <a:lnTo>
                    <a:pt x="302259" y="37465"/>
                  </a:lnTo>
                  <a:cubicBezTo>
                    <a:pt x="302259" y="37465"/>
                    <a:pt x="305434" y="34925"/>
                    <a:pt x="306704" y="33655"/>
                  </a:cubicBezTo>
                  <a:cubicBezTo>
                    <a:pt x="307974" y="33020"/>
                    <a:pt x="309244" y="31750"/>
                    <a:pt x="310514" y="31115"/>
                  </a:cubicBezTo>
                  <a:cubicBezTo>
                    <a:pt x="311784" y="30480"/>
                    <a:pt x="313689" y="29845"/>
                    <a:pt x="315594" y="29210"/>
                  </a:cubicBezTo>
                  <a:cubicBezTo>
                    <a:pt x="317499" y="29210"/>
                    <a:pt x="320039" y="28575"/>
                    <a:pt x="322579" y="28575"/>
                  </a:cubicBezTo>
                  <a:cubicBezTo>
                    <a:pt x="327024" y="28575"/>
                    <a:pt x="330834" y="29210"/>
                    <a:pt x="334644" y="31115"/>
                  </a:cubicBezTo>
                  <a:cubicBezTo>
                    <a:pt x="338454" y="32385"/>
                    <a:pt x="341629" y="34925"/>
                    <a:pt x="344169" y="38735"/>
                  </a:cubicBezTo>
                  <a:cubicBezTo>
                    <a:pt x="346709" y="41910"/>
                    <a:pt x="349249" y="46355"/>
                    <a:pt x="350519" y="51435"/>
                  </a:cubicBezTo>
                  <a:cubicBezTo>
                    <a:pt x="351789" y="56515"/>
                    <a:pt x="353059" y="62865"/>
                    <a:pt x="353059" y="70485"/>
                  </a:cubicBezTo>
                  <a:lnTo>
                    <a:pt x="352424" y="71120"/>
                  </a:lnTo>
                  <a:cubicBezTo>
                    <a:pt x="352424" y="77470"/>
                    <a:pt x="351789" y="83820"/>
                    <a:pt x="349884" y="88265"/>
                  </a:cubicBezTo>
                  <a:cubicBezTo>
                    <a:pt x="347979" y="93345"/>
                    <a:pt x="346074" y="97155"/>
                    <a:pt x="342899" y="100330"/>
                  </a:cubicBezTo>
                  <a:cubicBezTo>
                    <a:pt x="340359" y="103505"/>
                    <a:pt x="336549" y="106045"/>
                    <a:pt x="333374" y="107315"/>
                  </a:cubicBezTo>
                  <a:cubicBezTo>
                    <a:pt x="329564" y="109220"/>
                    <a:pt x="325754" y="109855"/>
                    <a:pt x="321944" y="109855"/>
                  </a:cubicBezTo>
                  <a:cubicBezTo>
                    <a:pt x="318134" y="109855"/>
                    <a:pt x="314324" y="109220"/>
                    <a:pt x="311149" y="107315"/>
                  </a:cubicBezTo>
                  <a:cubicBezTo>
                    <a:pt x="307339" y="105410"/>
                    <a:pt x="304799" y="103505"/>
                    <a:pt x="302259" y="100965"/>
                  </a:cubicBezTo>
                  <a:lnTo>
                    <a:pt x="302259" y="107950"/>
                  </a:lnTo>
                  <a:lnTo>
                    <a:pt x="287019" y="107950"/>
                  </a:lnTo>
                  <a:lnTo>
                    <a:pt x="287019" y="7620"/>
                  </a:lnTo>
                  <a:close/>
                </a:path>
              </a:pathLst>
            </a:custGeom>
            <a:solidFill>
              <a:srgbClr val="FFFFFF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28" name="Subtitle 2">
            <a:extLst>
              <a:ext uri="{FF2B5EF4-FFF2-40B4-BE49-F238E27FC236}">
                <a16:creationId xmlns:a16="http://schemas.microsoft.com/office/drawing/2014/main" id="{632E76BF-46D5-8E94-88AA-4783DD302E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90225" y="4436486"/>
            <a:ext cx="4910184" cy="511939"/>
          </a:xfrm>
        </p:spPr>
        <p:txBody>
          <a:bodyPr wrap="square">
            <a:noAutofit/>
          </a:bodyPr>
          <a:lstStyle>
            <a:lvl1pPr marL="0" indent="0" algn="l">
              <a:buNone/>
              <a:defRPr lang="en-GB" sz="16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/>
          </a:p>
        </p:txBody>
      </p:sp>
      <p:sp>
        <p:nvSpPr>
          <p:cNvPr id="29" name="Title 4">
            <a:extLst>
              <a:ext uri="{FF2B5EF4-FFF2-40B4-BE49-F238E27FC236}">
                <a16:creationId xmlns:a16="http://schemas.microsoft.com/office/drawing/2014/main" id="{1F7B1FDC-B90E-6693-A750-B9BA4B535E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90226" y="2698752"/>
            <a:ext cx="4908564" cy="1654043"/>
          </a:xfrm>
        </p:spPr>
        <p:txBody>
          <a:bodyPr anchor="t">
            <a:noAutofit/>
          </a:bodyPr>
          <a:lstStyle>
            <a:lvl1pPr>
              <a:defRPr sz="4200" b="1" i="0">
                <a:solidFill>
                  <a:schemeClr val="bg1"/>
                </a:solidFill>
                <a:latin typeface="EYInterstate Regular" panose="02000503020000020004" pitchFamily="2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0" name="Text Placeholder 288">
            <a:extLst>
              <a:ext uri="{FF2B5EF4-FFF2-40B4-BE49-F238E27FC236}">
                <a16:creationId xmlns:a16="http://schemas.microsoft.com/office/drawing/2014/main" id="{1673B89D-F206-B9D2-CDB7-BDE045C7447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90226" y="5047486"/>
            <a:ext cx="4908565" cy="246221"/>
          </a:xfrm>
        </p:spPr>
        <p:txBody>
          <a:bodyPr wrap="square">
            <a:spAutoFit/>
          </a:bodyPr>
          <a:lstStyle>
            <a:lvl1pPr marL="0" indent="0">
              <a:buNone/>
              <a:defRPr sz="1600" b="1">
                <a:latin typeface="+mj-lt"/>
              </a:defRPr>
            </a:lvl1pPr>
            <a:lvl2pPr marL="252000" indent="0">
              <a:buNone/>
              <a:defRPr sz="1600" b="1">
                <a:latin typeface="+mj-lt"/>
              </a:defRPr>
            </a:lvl2pPr>
            <a:lvl3pPr marL="504000" indent="0">
              <a:buNone/>
              <a:defRPr sz="1600" b="1">
                <a:latin typeface="+mj-lt"/>
              </a:defRPr>
            </a:lvl3pPr>
            <a:lvl4pPr marL="756000" indent="0">
              <a:buNone/>
              <a:defRPr sz="1600" b="1">
                <a:latin typeface="+mj-lt"/>
              </a:defRPr>
            </a:lvl4pPr>
            <a:lvl5pPr marL="1008000" indent="0">
              <a:buNone/>
              <a:defRPr sz="1600" b="1">
                <a:latin typeface="+mj-lt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AAC690EE-1BB8-29C6-B9D8-2BD7B4AE0781}"/>
              </a:ext>
            </a:extLst>
          </p:cNvPr>
          <p:cNvGrpSpPr/>
          <p:nvPr userDrawn="1"/>
        </p:nvGrpSpPr>
        <p:grpSpPr>
          <a:xfrm>
            <a:off x="486027" y="1291009"/>
            <a:ext cx="5709082" cy="4360545"/>
            <a:chOff x="485774" y="1291008"/>
            <a:chExt cx="5706110" cy="4360545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F7E50E80-DFF0-E065-898F-1AFD970459B6}"/>
                </a:ext>
              </a:extLst>
            </p:cNvPr>
            <p:cNvSpPr/>
            <p:nvPr userDrawn="1"/>
          </p:nvSpPr>
          <p:spPr>
            <a:xfrm>
              <a:off x="485774" y="5549953"/>
              <a:ext cx="508000" cy="101600"/>
            </a:xfrm>
            <a:custGeom>
              <a:avLst/>
              <a:gdLst>
                <a:gd name="connsiteX0" fmla="*/ 406400 w 508000"/>
                <a:gd name="connsiteY0" fmla="*/ 0 h 101600"/>
                <a:gd name="connsiteX1" fmla="*/ 508000 w 508000"/>
                <a:gd name="connsiteY1" fmla="*/ 0 h 101600"/>
                <a:gd name="connsiteX2" fmla="*/ 508000 w 508000"/>
                <a:gd name="connsiteY2" fmla="*/ 101600 h 101600"/>
                <a:gd name="connsiteX3" fmla="*/ 406400 w 508000"/>
                <a:gd name="connsiteY3" fmla="*/ 101600 h 101600"/>
                <a:gd name="connsiteX4" fmla="*/ 203200 w 508000"/>
                <a:gd name="connsiteY4" fmla="*/ 0 h 101600"/>
                <a:gd name="connsiteX5" fmla="*/ 304800 w 508000"/>
                <a:gd name="connsiteY5" fmla="*/ 0 h 101600"/>
                <a:gd name="connsiteX6" fmla="*/ 304800 w 508000"/>
                <a:gd name="connsiteY6" fmla="*/ 101600 h 101600"/>
                <a:gd name="connsiteX7" fmla="*/ 203200 w 508000"/>
                <a:gd name="connsiteY7" fmla="*/ 101600 h 101600"/>
                <a:gd name="connsiteX8" fmla="*/ 0 w 508000"/>
                <a:gd name="connsiteY8" fmla="*/ 0 h 101600"/>
                <a:gd name="connsiteX9" fmla="*/ 101600 w 508000"/>
                <a:gd name="connsiteY9" fmla="*/ 0 h 101600"/>
                <a:gd name="connsiteX10" fmla="*/ 101600 w 508000"/>
                <a:gd name="connsiteY10" fmla="*/ 101600 h 101600"/>
                <a:gd name="connsiteX11" fmla="*/ 0 w 508000"/>
                <a:gd name="connsiteY11" fmla="*/ 101600 h 101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08000" h="101600">
                  <a:moveTo>
                    <a:pt x="406400" y="0"/>
                  </a:moveTo>
                  <a:lnTo>
                    <a:pt x="508000" y="0"/>
                  </a:lnTo>
                  <a:lnTo>
                    <a:pt x="508000" y="101600"/>
                  </a:lnTo>
                  <a:lnTo>
                    <a:pt x="406400" y="101600"/>
                  </a:lnTo>
                  <a:close/>
                  <a:moveTo>
                    <a:pt x="203200" y="0"/>
                  </a:moveTo>
                  <a:lnTo>
                    <a:pt x="304800" y="0"/>
                  </a:lnTo>
                  <a:lnTo>
                    <a:pt x="304800" y="101600"/>
                  </a:lnTo>
                  <a:lnTo>
                    <a:pt x="203200" y="101600"/>
                  </a:lnTo>
                  <a:close/>
                  <a:moveTo>
                    <a:pt x="0" y="0"/>
                  </a:moveTo>
                  <a:lnTo>
                    <a:pt x="101600" y="0"/>
                  </a:lnTo>
                  <a:lnTo>
                    <a:pt x="101600" y="101600"/>
                  </a:lnTo>
                  <a:lnTo>
                    <a:pt x="0" y="101600"/>
                  </a:lnTo>
                  <a:close/>
                </a:path>
              </a:pathLst>
            </a:custGeom>
            <a:solidFill>
              <a:schemeClr val="tx2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90AAC841-3D56-6842-04D1-F0B7D973D86D}"/>
                </a:ext>
              </a:extLst>
            </p:cNvPr>
            <p:cNvSpPr/>
            <p:nvPr userDrawn="1"/>
          </p:nvSpPr>
          <p:spPr>
            <a:xfrm>
              <a:off x="485775" y="1291008"/>
              <a:ext cx="5706109" cy="4359275"/>
            </a:xfrm>
            <a:custGeom>
              <a:avLst/>
              <a:gdLst>
                <a:gd name="connsiteX0" fmla="*/ 0 w 5706109"/>
                <a:gd name="connsiteY0" fmla="*/ 4157346 h 4359275"/>
                <a:gd name="connsiteX1" fmla="*/ 101600 w 5706109"/>
                <a:gd name="connsiteY1" fmla="*/ 4157346 h 4359275"/>
                <a:gd name="connsiteX2" fmla="*/ 101600 w 5706109"/>
                <a:gd name="connsiteY2" fmla="*/ 1075055 h 4359275"/>
                <a:gd name="connsiteX3" fmla="*/ 101600 w 5706109"/>
                <a:gd name="connsiteY3" fmla="*/ 1075055 h 4359275"/>
                <a:gd name="connsiteX4" fmla="*/ 191770 w 5706109"/>
                <a:gd name="connsiteY4" fmla="*/ 1059180 h 4359275"/>
                <a:gd name="connsiteX5" fmla="*/ 861060 w 5706109"/>
                <a:gd name="connsiteY5" fmla="*/ 942975 h 4359275"/>
                <a:gd name="connsiteX6" fmla="*/ 1195705 w 5706109"/>
                <a:gd name="connsiteY6" fmla="*/ 885190 h 4359275"/>
                <a:gd name="connsiteX7" fmla="*/ 1362710 w 5706109"/>
                <a:gd name="connsiteY7" fmla="*/ 855980 h 4359275"/>
                <a:gd name="connsiteX8" fmla="*/ 1529715 w 5706109"/>
                <a:gd name="connsiteY8" fmla="*/ 826770 h 4359275"/>
                <a:gd name="connsiteX9" fmla="*/ 1864360 w 5706109"/>
                <a:gd name="connsiteY9" fmla="*/ 768985 h 4359275"/>
                <a:gd name="connsiteX10" fmla="*/ 2031365 w 5706109"/>
                <a:gd name="connsiteY10" fmla="*/ 739775 h 4359275"/>
                <a:gd name="connsiteX11" fmla="*/ 2198370 w 5706109"/>
                <a:gd name="connsiteY11" fmla="*/ 710565 h 4359275"/>
                <a:gd name="connsiteX12" fmla="*/ 2365375 w 5706109"/>
                <a:gd name="connsiteY12" fmla="*/ 681355 h 4359275"/>
                <a:gd name="connsiteX13" fmla="*/ 2532380 w 5706109"/>
                <a:gd name="connsiteY13" fmla="*/ 652145 h 4359275"/>
                <a:gd name="connsiteX14" fmla="*/ 2699385 w 5706109"/>
                <a:gd name="connsiteY14" fmla="*/ 622935 h 4359275"/>
                <a:gd name="connsiteX15" fmla="*/ 2866390 w 5706109"/>
                <a:gd name="connsiteY15" fmla="*/ 593725 h 4359275"/>
                <a:gd name="connsiteX16" fmla="*/ 5461000 w 5706109"/>
                <a:gd name="connsiteY16" fmla="*/ 144145 h 4359275"/>
                <a:gd name="connsiteX17" fmla="*/ 5602605 w 5706109"/>
                <a:gd name="connsiteY17" fmla="*/ 119380 h 4359275"/>
                <a:gd name="connsiteX18" fmla="*/ 5602605 w 5706109"/>
                <a:gd name="connsiteY18" fmla="*/ 119380 h 4359275"/>
                <a:gd name="connsiteX19" fmla="*/ 5602605 w 5706109"/>
                <a:gd name="connsiteY19" fmla="*/ 4257676 h 4359275"/>
                <a:gd name="connsiteX20" fmla="*/ 609600 w 5706109"/>
                <a:gd name="connsiteY20" fmla="*/ 4257676 h 4359275"/>
                <a:gd name="connsiteX21" fmla="*/ 609600 w 5706109"/>
                <a:gd name="connsiteY21" fmla="*/ 4359276 h 4359275"/>
                <a:gd name="connsiteX22" fmla="*/ 5706110 w 5706109"/>
                <a:gd name="connsiteY22" fmla="*/ 4359276 h 4359275"/>
                <a:gd name="connsiteX23" fmla="*/ 5706110 w 5706109"/>
                <a:gd name="connsiteY23" fmla="*/ 0 h 4359275"/>
                <a:gd name="connsiteX24" fmla="*/ 5704840 w 5706109"/>
                <a:gd name="connsiteY24" fmla="*/ 0 h 4359275"/>
                <a:gd name="connsiteX25" fmla="*/ 5445760 w 5706109"/>
                <a:gd name="connsiteY25" fmla="*/ 45085 h 4359275"/>
                <a:gd name="connsiteX26" fmla="*/ 2851150 w 5706109"/>
                <a:gd name="connsiteY26" fmla="*/ 494665 h 4359275"/>
                <a:gd name="connsiteX27" fmla="*/ 2684145 w 5706109"/>
                <a:gd name="connsiteY27" fmla="*/ 523875 h 4359275"/>
                <a:gd name="connsiteX28" fmla="*/ 2517140 w 5706109"/>
                <a:gd name="connsiteY28" fmla="*/ 553085 h 4359275"/>
                <a:gd name="connsiteX29" fmla="*/ 2350135 w 5706109"/>
                <a:gd name="connsiteY29" fmla="*/ 582295 h 4359275"/>
                <a:gd name="connsiteX30" fmla="*/ 2183130 w 5706109"/>
                <a:gd name="connsiteY30" fmla="*/ 611505 h 4359275"/>
                <a:gd name="connsiteX31" fmla="*/ 2016125 w 5706109"/>
                <a:gd name="connsiteY31" fmla="*/ 640715 h 4359275"/>
                <a:gd name="connsiteX32" fmla="*/ 1849120 w 5706109"/>
                <a:gd name="connsiteY32" fmla="*/ 669925 h 4359275"/>
                <a:gd name="connsiteX33" fmla="*/ 1514475 w 5706109"/>
                <a:gd name="connsiteY33" fmla="*/ 727710 h 4359275"/>
                <a:gd name="connsiteX34" fmla="*/ 1347470 w 5706109"/>
                <a:gd name="connsiteY34" fmla="*/ 756920 h 4359275"/>
                <a:gd name="connsiteX35" fmla="*/ 1180465 w 5706109"/>
                <a:gd name="connsiteY35" fmla="*/ 786130 h 4359275"/>
                <a:gd name="connsiteX36" fmla="*/ 845820 w 5706109"/>
                <a:gd name="connsiteY36" fmla="*/ 843915 h 4359275"/>
                <a:gd name="connsiteX37" fmla="*/ 176530 w 5706109"/>
                <a:gd name="connsiteY37" fmla="*/ 960120 h 4359275"/>
                <a:gd name="connsiteX38" fmla="*/ 3175 w 5706109"/>
                <a:gd name="connsiteY38" fmla="*/ 989965 h 4359275"/>
                <a:gd name="connsiteX39" fmla="*/ 1905 w 5706109"/>
                <a:gd name="connsiteY39" fmla="*/ 989965 h 4359275"/>
                <a:gd name="connsiteX40" fmla="*/ 1905 w 5706109"/>
                <a:gd name="connsiteY40" fmla="*/ 4158616 h 4359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5706109" h="4359275">
                  <a:moveTo>
                    <a:pt x="0" y="4157346"/>
                  </a:moveTo>
                  <a:lnTo>
                    <a:pt x="101600" y="4157346"/>
                  </a:lnTo>
                  <a:lnTo>
                    <a:pt x="101600" y="1075055"/>
                  </a:lnTo>
                  <a:lnTo>
                    <a:pt x="101600" y="1075055"/>
                  </a:lnTo>
                  <a:lnTo>
                    <a:pt x="191770" y="1059180"/>
                  </a:lnTo>
                  <a:lnTo>
                    <a:pt x="861060" y="942975"/>
                  </a:lnTo>
                  <a:lnTo>
                    <a:pt x="1195705" y="885190"/>
                  </a:lnTo>
                  <a:lnTo>
                    <a:pt x="1362710" y="855980"/>
                  </a:lnTo>
                  <a:lnTo>
                    <a:pt x="1529715" y="826770"/>
                  </a:lnTo>
                  <a:lnTo>
                    <a:pt x="1864360" y="768985"/>
                  </a:lnTo>
                  <a:lnTo>
                    <a:pt x="2031365" y="739775"/>
                  </a:lnTo>
                  <a:lnTo>
                    <a:pt x="2198370" y="710565"/>
                  </a:lnTo>
                  <a:lnTo>
                    <a:pt x="2365375" y="681355"/>
                  </a:lnTo>
                  <a:lnTo>
                    <a:pt x="2532380" y="652145"/>
                  </a:lnTo>
                  <a:lnTo>
                    <a:pt x="2699385" y="622935"/>
                  </a:lnTo>
                  <a:lnTo>
                    <a:pt x="2866390" y="593725"/>
                  </a:lnTo>
                  <a:cubicBezTo>
                    <a:pt x="3731260" y="443865"/>
                    <a:pt x="4596130" y="294005"/>
                    <a:pt x="5461000" y="144145"/>
                  </a:cubicBezTo>
                  <a:lnTo>
                    <a:pt x="5602605" y="119380"/>
                  </a:lnTo>
                  <a:lnTo>
                    <a:pt x="5602605" y="119380"/>
                  </a:lnTo>
                  <a:lnTo>
                    <a:pt x="5602605" y="4257676"/>
                  </a:lnTo>
                  <a:lnTo>
                    <a:pt x="609600" y="4257676"/>
                  </a:lnTo>
                  <a:lnTo>
                    <a:pt x="609600" y="4359276"/>
                  </a:lnTo>
                  <a:lnTo>
                    <a:pt x="5706110" y="4359276"/>
                  </a:lnTo>
                  <a:lnTo>
                    <a:pt x="5706110" y="0"/>
                  </a:lnTo>
                  <a:lnTo>
                    <a:pt x="5704840" y="0"/>
                  </a:lnTo>
                  <a:cubicBezTo>
                    <a:pt x="5618480" y="15240"/>
                    <a:pt x="5532120" y="30480"/>
                    <a:pt x="5445760" y="45085"/>
                  </a:cubicBezTo>
                  <a:cubicBezTo>
                    <a:pt x="4580890" y="194945"/>
                    <a:pt x="3716020" y="344805"/>
                    <a:pt x="2851150" y="494665"/>
                  </a:cubicBezTo>
                  <a:lnTo>
                    <a:pt x="2684145" y="523875"/>
                  </a:lnTo>
                  <a:lnTo>
                    <a:pt x="2517140" y="553085"/>
                  </a:lnTo>
                  <a:lnTo>
                    <a:pt x="2350135" y="582295"/>
                  </a:lnTo>
                  <a:lnTo>
                    <a:pt x="2183130" y="611505"/>
                  </a:lnTo>
                  <a:lnTo>
                    <a:pt x="2016125" y="640715"/>
                  </a:lnTo>
                  <a:lnTo>
                    <a:pt x="1849120" y="669925"/>
                  </a:lnTo>
                  <a:lnTo>
                    <a:pt x="1514475" y="727710"/>
                  </a:lnTo>
                  <a:lnTo>
                    <a:pt x="1347470" y="756920"/>
                  </a:lnTo>
                  <a:lnTo>
                    <a:pt x="1180465" y="786130"/>
                  </a:lnTo>
                  <a:lnTo>
                    <a:pt x="845820" y="843915"/>
                  </a:lnTo>
                  <a:lnTo>
                    <a:pt x="176530" y="960120"/>
                  </a:lnTo>
                  <a:lnTo>
                    <a:pt x="3175" y="989965"/>
                  </a:lnTo>
                  <a:lnTo>
                    <a:pt x="1905" y="989965"/>
                  </a:lnTo>
                  <a:lnTo>
                    <a:pt x="1905" y="4158616"/>
                  </a:lnTo>
                  <a:close/>
                </a:path>
              </a:pathLst>
            </a:custGeom>
            <a:gradFill flip="none" rotWithShape="1">
              <a:gsLst>
                <a:gs pos="39000">
                  <a:srgbClr val="FFE600"/>
                </a:gs>
                <a:gs pos="68000">
                  <a:srgbClr val="FF7D1E"/>
                </a:gs>
                <a:gs pos="100000">
                  <a:srgbClr val="32FFFF"/>
                </a:gs>
              </a:gsLst>
              <a:lin ang="18720000" scaled="0"/>
              <a:tileRect/>
            </a:gradFill>
            <a:ln w="818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 sz="1800"/>
            </a:p>
          </p:txBody>
        </p:sp>
      </p:grpSp>
    </p:spTree>
    <p:extLst>
      <p:ext uri="{BB962C8B-B14F-4D97-AF65-F5344CB8AC3E}">
        <p14:creationId xmlns:p14="http://schemas.microsoft.com/office/powerpoint/2010/main" val="141048999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Fram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D71B9AAE-F698-5F49-FF7D-DB273B1EE18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0"/>
            <a:ext cx="8390722" cy="6858000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0"/>
                  <a:alpha val="0"/>
                </a:schemeClr>
              </a:gs>
              <a:gs pos="95000">
                <a:srgbClr val="000000">
                  <a:alpha val="70000"/>
                </a:srgbClr>
              </a:gs>
            </a:gsLst>
            <a:lin ang="108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endParaRPr lang="en-US" sz="1200" b="1">
              <a:solidFill>
                <a:schemeClr val="tx1"/>
              </a:solidFill>
            </a:endParaRP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A8D6BAB6-A68E-C404-5D92-6E11D325CFFA}"/>
              </a:ext>
            </a:extLst>
          </p:cNvPr>
          <p:cNvGrpSpPr/>
          <p:nvPr userDrawn="1"/>
        </p:nvGrpSpPr>
        <p:grpSpPr bwMode="black">
          <a:xfrm>
            <a:off x="10568726" y="5167683"/>
            <a:ext cx="1219835" cy="1284606"/>
            <a:chOff x="10563224" y="5158158"/>
            <a:chExt cx="1219200" cy="1284606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BEE0067F-78DC-1ABA-D072-D13444B14ED9}"/>
                </a:ext>
              </a:extLst>
            </p:cNvPr>
            <p:cNvSpPr/>
            <p:nvPr/>
          </p:nvSpPr>
          <p:spPr bwMode="black">
            <a:xfrm>
              <a:off x="10826115" y="5158158"/>
              <a:ext cx="805814" cy="294004"/>
            </a:xfrm>
            <a:custGeom>
              <a:avLst/>
              <a:gdLst>
                <a:gd name="connsiteX0" fmla="*/ 805814 w 805814"/>
                <a:gd name="connsiteY0" fmla="*/ 0 h 294004"/>
                <a:gd name="connsiteX1" fmla="*/ 0 w 805814"/>
                <a:gd name="connsiteY1" fmla="*/ 294005 h 294004"/>
                <a:gd name="connsiteX2" fmla="*/ 805814 w 805814"/>
                <a:gd name="connsiteY2" fmla="*/ 151765 h 294004"/>
                <a:gd name="connsiteX3" fmla="*/ 805814 w 805814"/>
                <a:gd name="connsiteY3" fmla="*/ 0 h 2940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05814" h="294004">
                  <a:moveTo>
                    <a:pt x="805814" y="0"/>
                  </a:moveTo>
                  <a:lnTo>
                    <a:pt x="0" y="294005"/>
                  </a:lnTo>
                  <a:lnTo>
                    <a:pt x="805814" y="151765"/>
                  </a:lnTo>
                  <a:lnTo>
                    <a:pt x="805814" y="0"/>
                  </a:lnTo>
                  <a:close/>
                </a:path>
              </a:pathLst>
            </a:custGeom>
            <a:solidFill>
              <a:srgbClr val="FFE600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23" name="Freeform 22">
              <a:extLst>
                <a:ext uri="{FF2B5EF4-FFF2-40B4-BE49-F238E27FC236}">
                  <a16:creationId xmlns:a16="http://schemas.microsoft.com/office/drawing/2014/main" id="{51F51328-AAA1-9C6C-5EE4-05350DF6D22E}"/>
                </a:ext>
              </a:extLst>
            </p:cNvPr>
            <p:cNvSpPr/>
            <p:nvPr/>
          </p:nvSpPr>
          <p:spPr bwMode="black">
            <a:xfrm>
              <a:off x="10563224" y="5574083"/>
              <a:ext cx="1219200" cy="868681"/>
            </a:xfrm>
            <a:custGeom>
              <a:avLst/>
              <a:gdLst>
                <a:gd name="connsiteX0" fmla="*/ 245110 w 1219200"/>
                <a:gd name="connsiteY0" fmla="*/ 839471 h 868681"/>
                <a:gd name="connsiteX1" fmla="*/ 246379 w 1219200"/>
                <a:gd name="connsiteY1" fmla="*/ 839471 h 868681"/>
                <a:gd name="connsiteX2" fmla="*/ 245041 w 1219200"/>
                <a:gd name="connsiteY2" fmla="*/ 839979 h 868681"/>
                <a:gd name="connsiteX3" fmla="*/ 522605 w 1219200"/>
                <a:gd name="connsiteY3" fmla="*/ 796926 h 868681"/>
                <a:gd name="connsiteX4" fmla="*/ 504189 w 1219200"/>
                <a:gd name="connsiteY4" fmla="*/ 821691 h 868681"/>
                <a:gd name="connsiteX5" fmla="*/ 522605 w 1219200"/>
                <a:gd name="connsiteY5" fmla="*/ 845821 h 868681"/>
                <a:gd name="connsiteX6" fmla="*/ 541019 w 1219200"/>
                <a:gd name="connsiteY6" fmla="*/ 821691 h 868681"/>
                <a:gd name="connsiteX7" fmla="*/ 522605 w 1219200"/>
                <a:gd name="connsiteY7" fmla="*/ 796926 h 868681"/>
                <a:gd name="connsiteX8" fmla="*/ 817245 w 1219200"/>
                <a:gd name="connsiteY8" fmla="*/ 796291 h 868681"/>
                <a:gd name="connsiteX9" fmla="*/ 800735 w 1219200"/>
                <a:gd name="connsiteY9" fmla="*/ 819786 h 868681"/>
                <a:gd name="connsiteX10" fmla="*/ 817879 w 1219200"/>
                <a:gd name="connsiteY10" fmla="*/ 846456 h 868681"/>
                <a:gd name="connsiteX11" fmla="*/ 833754 w 1219200"/>
                <a:gd name="connsiteY11" fmla="*/ 838836 h 868681"/>
                <a:gd name="connsiteX12" fmla="*/ 833754 w 1219200"/>
                <a:gd name="connsiteY12" fmla="*/ 838201 h 868681"/>
                <a:gd name="connsiteX13" fmla="*/ 833754 w 1219200"/>
                <a:gd name="connsiteY13" fmla="*/ 803911 h 868681"/>
                <a:gd name="connsiteX14" fmla="*/ 817245 w 1219200"/>
                <a:gd name="connsiteY14" fmla="*/ 796291 h 868681"/>
                <a:gd name="connsiteX15" fmla="*/ 1179195 w 1219200"/>
                <a:gd name="connsiteY15" fmla="*/ 794386 h 868681"/>
                <a:gd name="connsiteX16" fmla="*/ 1163320 w 1219200"/>
                <a:gd name="connsiteY16" fmla="*/ 811531 h 868681"/>
                <a:gd name="connsiteX17" fmla="*/ 1163954 w 1219200"/>
                <a:gd name="connsiteY17" fmla="*/ 811531 h 868681"/>
                <a:gd name="connsiteX18" fmla="*/ 1195704 w 1219200"/>
                <a:gd name="connsiteY18" fmla="*/ 811531 h 868681"/>
                <a:gd name="connsiteX19" fmla="*/ 1179195 w 1219200"/>
                <a:gd name="connsiteY19" fmla="*/ 794386 h 868681"/>
                <a:gd name="connsiteX20" fmla="*/ 909320 w 1219200"/>
                <a:gd name="connsiteY20" fmla="*/ 794386 h 868681"/>
                <a:gd name="connsiteX21" fmla="*/ 893445 w 1219200"/>
                <a:gd name="connsiteY21" fmla="*/ 811531 h 868681"/>
                <a:gd name="connsiteX22" fmla="*/ 894079 w 1219200"/>
                <a:gd name="connsiteY22" fmla="*/ 811531 h 868681"/>
                <a:gd name="connsiteX23" fmla="*/ 925829 w 1219200"/>
                <a:gd name="connsiteY23" fmla="*/ 811531 h 868681"/>
                <a:gd name="connsiteX24" fmla="*/ 909320 w 1219200"/>
                <a:gd name="connsiteY24" fmla="*/ 794386 h 868681"/>
                <a:gd name="connsiteX25" fmla="*/ 737870 w 1219200"/>
                <a:gd name="connsiteY25" fmla="*/ 775971 h 868681"/>
                <a:gd name="connsiteX26" fmla="*/ 761364 w 1219200"/>
                <a:gd name="connsiteY26" fmla="*/ 775971 h 868681"/>
                <a:gd name="connsiteX27" fmla="*/ 761364 w 1219200"/>
                <a:gd name="connsiteY27" fmla="*/ 866141 h 868681"/>
                <a:gd name="connsiteX28" fmla="*/ 737870 w 1219200"/>
                <a:gd name="connsiteY28" fmla="*/ 866141 h 868681"/>
                <a:gd name="connsiteX29" fmla="*/ 143510 w 1219200"/>
                <a:gd name="connsiteY29" fmla="*/ 775971 h 868681"/>
                <a:gd name="connsiteX30" fmla="*/ 167004 w 1219200"/>
                <a:gd name="connsiteY30" fmla="*/ 775971 h 868681"/>
                <a:gd name="connsiteX31" fmla="*/ 167004 w 1219200"/>
                <a:gd name="connsiteY31" fmla="*/ 866141 h 868681"/>
                <a:gd name="connsiteX32" fmla="*/ 143510 w 1219200"/>
                <a:gd name="connsiteY32" fmla="*/ 866141 h 868681"/>
                <a:gd name="connsiteX33" fmla="*/ 635 w 1219200"/>
                <a:gd name="connsiteY33" fmla="*/ 775971 h 868681"/>
                <a:gd name="connsiteX34" fmla="*/ 26670 w 1219200"/>
                <a:gd name="connsiteY34" fmla="*/ 775971 h 868681"/>
                <a:gd name="connsiteX35" fmla="*/ 40004 w 1219200"/>
                <a:gd name="connsiteY35" fmla="*/ 828041 h 868681"/>
                <a:gd name="connsiteX36" fmla="*/ 55245 w 1219200"/>
                <a:gd name="connsiteY36" fmla="*/ 775971 h 868681"/>
                <a:gd name="connsiteX37" fmla="*/ 76200 w 1219200"/>
                <a:gd name="connsiteY37" fmla="*/ 775971 h 868681"/>
                <a:gd name="connsiteX38" fmla="*/ 91439 w 1219200"/>
                <a:gd name="connsiteY38" fmla="*/ 828041 h 868681"/>
                <a:gd name="connsiteX39" fmla="*/ 105409 w 1219200"/>
                <a:gd name="connsiteY39" fmla="*/ 775971 h 868681"/>
                <a:gd name="connsiteX40" fmla="*/ 130810 w 1219200"/>
                <a:gd name="connsiteY40" fmla="*/ 775971 h 868681"/>
                <a:gd name="connsiteX41" fmla="*/ 102235 w 1219200"/>
                <a:gd name="connsiteY41" fmla="*/ 866141 h 868681"/>
                <a:gd name="connsiteX42" fmla="*/ 80644 w 1219200"/>
                <a:gd name="connsiteY42" fmla="*/ 866141 h 868681"/>
                <a:gd name="connsiteX43" fmla="*/ 65405 w 1219200"/>
                <a:gd name="connsiteY43" fmla="*/ 811531 h 868681"/>
                <a:gd name="connsiteX44" fmla="*/ 50165 w 1219200"/>
                <a:gd name="connsiteY44" fmla="*/ 866141 h 868681"/>
                <a:gd name="connsiteX45" fmla="*/ 28575 w 1219200"/>
                <a:gd name="connsiteY45" fmla="*/ 866141 h 868681"/>
                <a:gd name="connsiteX46" fmla="*/ 1181099 w 1219200"/>
                <a:gd name="connsiteY46" fmla="*/ 774066 h 868681"/>
                <a:gd name="connsiteX47" fmla="*/ 1219200 w 1219200"/>
                <a:gd name="connsiteY47" fmla="*/ 821056 h 868681"/>
                <a:gd name="connsiteX48" fmla="*/ 1218564 w 1219200"/>
                <a:gd name="connsiteY48" fmla="*/ 821056 h 868681"/>
                <a:gd name="connsiteX49" fmla="*/ 1218564 w 1219200"/>
                <a:gd name="connsiteY49" fmla="*/ 828676 h 868681"/>
                <a:gd name="connsiteX50" fmla="*/ 1163954 w 1219200"/>
                <a:gd name="connsiteY50" fmla="*/ 828676 h 868681"/>
                <a:gd name="connsiteX51" fmla="*/ 1183004 w 1219200"/>
                <a:gd name="connsiteY51" fmla="*/ 846456 h 868681"/>
                <a:gd name="connsiteX52" fmla="*/ 1198879 w 1219200"/>
                <a:gd name="connsiteY52" fmla="*/ 840106 h 868681"/>
                <a:gd name="connsiteX53" fmla="*/ 1214754 w 1219200"/>
                <a:gd name="connsiteY53" fmla="*/ 853441 h 868681"/>
                <a:gd name="connsiteX54" fmla="*/ 1182370 w 1219200"/>
                <a:gd name="connsiteY54" fmla="*/ 868046 h 868681"/>
                <a:gd name="connsiteX55" fmla="*/ 1141095 w 1219200"/>
                <a:gd name="connsiteY55" fmla="*/ 821056 h 868681"/>
                <a:gd name="connsiteX56" fmla="*/ 1181099 w 1219200"/>
                <a:gd name="connsiteY56" fmla="*/ 774066 h 868681"/>
                <a:gd name="connsiteX57" fmla="*/ 1097915 w 1219200"/>
                <a:gd name="connsiteY57" fmla="*/ 774066 h 868681"/>
                <a:gd name="connsiteX58" fmla="*/ 1133474 w 1219200"/>
                <a:gd name="connsiteY58" fmla="*/ 793751 h 868681"/>
                <a:gd name="connsiteX59" fmla="*/ 1118235 w 1219200"/>
                <a:gd name="connsiteY59" fmla="*/ 808991 h 868681"/>
                <a:gd name="connsiteX60" fmla="*/ 1097915 w 1219200"/>
                <a:gd name="connsiteY60" fmla="*/ 796291 h 868681"/>
                <a:gd name="connsiteX61" fmla="*/ 1078864 w 1219200"/>
                <a:gd name="connsiteY61" fmla="*/ 820421 h 868681"/>
                <a:gd name="connsiteX62" fmla="*/ 1097915 w 1219200"/>
                <a:gd name="connsiteY62" fmla="*/ 845186 h 868681"/>
                <a:gd name="connsiteX63" fmla="*/ 1118235 w 1219200"/>
                <a:gd name="connsiteY63" fmla="*/ 833756 h 868681"/>
                <a:gd name="connsiteX64" fmla="*/ 1118870 w 1219200"/>
                <a:gd name="connsiteY64" fmla="*/ 834391 h 868681"/>
                <a:gd name="connsiteX65" fmla="*/ 1133474 w 1219200"/>
                <a:gd name="connsiteY65" fmla="*/ 848361 h 868681"/>
                <a:gd name="connsiteX66" fmla="*/ 1097280 w 1219200"/>
                <a:gd name="connsiteY66" fmla="*/ 868046 h 868681"/>
                <a:gd name="connsiteX67" fmla="*/ 1054735 w 1219200"/>
                <a:gd name="connsiteY67" fmla="*/ 821056 h 868681"/>
                <a:gd name="connsiteX68" fmla="*/ 1097915 w 1219200"/>
                <a:gd name="connsiteY68" fmla="*/ 774066 h 868681"/>
                <a:gd name="connsiteX69" fmla="*/ 1009015 w 1219200"/>
                <a:gd name="connsiteY69" fmla="*/ 774066 h 868681"/>
                <a:gd name="connsiteX70" fmla="*/ 1041400 w 1219200"/>
                <a:gd name="connsiteY70" fmla="*/ 815341 h 868681"/>
                <a:gd name="connsiteX71" fmla="*/ 1041400 w 1219200"/>
                <a:gd name="connsiteY71" fmla="*/ 866141 h 868681"/>
                <a:gd name="connsiteX72" fmla="*/ 1017905 w 1219200"/>
                <a:gd name="connsiteY72" fmla="*/ 866141 h 868681"/>
                <a:gd name="connsiteX73" fmla="*/ 1017905 w 1219200"/>
                <a:gd name="connsiteY73" fmla="*/ 817246 h 868681"/>
                <a:gd name="connsiteX74" fmla="*/ 1002665 w 1219200"/>
                <a:gd name="connsiteY74" fmla="*/ 796291 h 868681"/>
                <a:gd name="connsiteX75" fmla="*/ 986790 w 1219200"/>
                <a:gd name="connsiteY75" fmla="*/ 816611 h 868681"/>
                <a:gd name="connsiteX76" fmla="*/ 986790 w 1219200"/>
                <a:gd name="connsiteY76" fmla="*/ 866141 h 868681"/>
                <a:gd name="connsiteX77" fmla="*/ 963295 w 1219200"/>
                <a:gd name="connsiteY77" fmla="*/ 866141 h 868681"/>
                <a:gd name="connsiteX78" fmla="*/ 963295 w 1219200"/>
                <a:gd name="connsiteY78" fmla="*/ 775971 h 868681"/>
                <a:gd name="connsiteX79" fmla="*/ 986790 w 1219200"/>
                <a:gd name="connsiteY79" fmla="*/ 775971 h 868681"/>
                <a:gd name="connsiteX80" fmla="*/ 986790 w 1219200"/>
                <a:gd name="connsiteY80" fmla="*/ 782321 h 868681"/>
                <a:gd name="connsiteX81" fmla="*/ 1009015 w 1219200"/>
                <a:gd name="connsiteY81" fmla="*/ 774066 h 868681"/>
                <a:gd name="connsiteX82" fmla="*/ 911224 w 1219200"/>
                <a:gd name="connsiteY82" fmla="*/ 774066 h 868681"/>
                <a:gd name="connsiteX83" fmla="*/ 949325 w 1219200"/>
                <a:gd name="connsiteY83" fmla="*/ 821056 h 868681"/>
                <a:gd name="connsiteX84" fmla="*/ 948689 w 1219200"/>
                <a:gd name="connsiteY84" fmla="*/ 821056 h 868681"/>
                <a:gd name="connsiteX85" fmla="*/ 948689 w 1219200"/>
                <a:gd name="connsiteY85" fmla="*/ 828676 h 868681"/>
                <a:gd name="connsiteX86" fmla="*/ 894079 w 1219200"/>
                <a:gd name="connsiteY86" fmla="*/ 828676 h 868681"/>
                <a:gd name="connsiteX87" fmla="*/ 913129 w 1219200"/>
                <a:gd name="connsiteY87" fmla="*/ 846456 h 868681"/>
                <a:gd name="connsiteX88" fmla="*/ 929004 w 1219200"/>
                <a:gd name="connsiteY88" fmla="*/ 840106 h 868681"/>
                <a:gd name="connsiteX89" fmla="*/ 944879 w 1219200"/>
                <a:gd name="connsiteY89" fmla="*/ 853441 h 868681"/>
                <a:gd name="connsiteX90" fmla="*/ 912495 w 1219200"/>
                <a:gd name="connsiteY90" fmla="*/ 868046 h 868681"/>
                <a:gd name="connsiteX91" fmla="*/ 871220 w 1219200"/>
                <a:gd name="connsiteY91" fmla="*/ 821056 h 868681"/>
                <a:gd name="connsiteX92" fmla="*/ 911224 w 1219200"/>
                <a:gd name="connsiteY92" fmla="*/ 774066 h 868681"/>
                <a:gd name="connsiteX93" fmla="*/ 623570 w 1219200"/>
                <a:gd name="connsiteY93" fmla="*/ 774066 h 868681"/>
                <a:gd name="connsiteX94" fmla="*/ 655954 w 1219200"/>
                <a:gd name="connsiteY94" fmla="*/ 815341 h 868681"/>
                <a:gd name="connsiteX95" fmla="*/ 655954 w 1219200"/>
                <a:gd name="connsiteY95" fmla="*/ 866141 h 868681"/>
                <a:gd name="connsiteX96" fmla="*/ 632459 w 1219200"/>
                <a:gd name="connsiteY96" fmla="*/ 866141 h 868681"/>
                <a:gd name="connsiteX97" fmla="*/ 632459 w 1219200"/>
                <a:gd name="connsiteY97" fmla="*/ 817246 h 868681"/>
                <a:gd name="connsiteX98" fmla="*/ 617220 w 1219200"/>
                <a:gd name="connsiteY98" fmla="*/ 796291 h 868681"/>
                <a:gd name="connsiteX99" fmla="*/ 601345 w 1219200"/>
                <a:gd name="connsiteY99" fmla="*/ 816611 h 868681"/>
                <a:gd name="connsiteX100" fmla="*/ 601345 w 1219200"/>
                <a:gd name="connsiteY100" fmla="*/ 866141 h 868681"/>
                <a:gd name="connsiteX101" fmla="*/ 577849 w 1219200"/>
                <a:gd name="connsiteY101" fmla="*/ 866141 h 868681"/>
                <a:gd name="connsiteX102" fmla="*/ 577849 w 1219200"/>
                <a:gd name="connsiteY102" fmla="*/ 775971 h 868681"/>
                <a:gd name="connsiteX103" fmla="*/ 601345 w 1219200"/>
                <a:gd name="connsiteY103" fmla="*/ 775971 h 868681"/>
                <a:gd name="connsiteX104" fmla="*/ 601345 w 1219200"/>
                <a:gd name="connsiteY104" fmla="*/ 782321 h 868681"/>
                <a:gd name="connsiteX105" fmla="*/ 623570 w 1219200"/>
                <a:gd name="connsiteY105" fmla="*/ 774066 h 868681"/>
                <a:gd name="connsiteX106" fmla="*/ 522605 w 1219200"/>
                <a:gd name="connsiteY106" fmla="*/ 774066 h 868681"/>
                <a:gd name="connsiteX107" fmla="*/ 564515 w 1219200"/>
                <a:gd name="connsiteY107" fmla="*/ 821056 h 868681"/>
                <a:gd name="connsiteX108" fmla="*/ 522605 w 1219200"/>
                <a:gd name="connsiteY108" fmla="*/ 868046 h 868681"/>
                <a:gd name="connsiteX109" fmla="*/ 480695 w 1219200"/>
                <a:gd name="connsiteY109" fmla="*/ 821056 h 868681"/>
                <a:gd name="connsiteX110" fmla="*/ 522605 w 1219200"/>
                <a:gd name="connsiteY110" fmla="*/ 774066 h 868681"/>
                <a:gd name="connsiteX111" fmla="*/ 436879 w 1219200"/>
                <a:gd name="connsiteY111" fmla="*/ 774066 h 868681"/>
                <a:gd name="connsiteX112" fmla="*/ 472439 w 1219200"/>
                <a:gd name="connsiteY112" fmla="*/ 793751 h 868681"/>
                <a:gd name="connsiteX113" fmla="*/ 457200 w 1219200"/>
                <a:gd name="connsiteY113" fmla="*/ 808991 h 868681"/>
                <a:gd name="connsiteX114" fmla="*/ 436879 w 1219200"/>
                <a:gd name="connsiteY114" fmla="*/ 796291 h 868681"/>
                <a:gd name="connsiteX115" fmla="*/ 417829 w 1219200"/>
                <a:gd name="connsiteY115" fmla="*/ 820421 h 868681"/>
                <a:gd name="connsiteX116" fmla="*/ 436879 w 1219200"/>
                <a:gd name="connsiteY116" fmla="*/ 845186 h 868681"/>
                <a:gd name="connsiteX117" fmla="*/ 457200 w 1219200"/>
                <a:gd name="connsiteY117" fmla="*/ 833756 h 868681"/>
                <a:gd name="connsiteX118" fmla="*/ 457834 w 1219200"/>
                <a:gd name="connsiteY118" fmla="*/ 834391 h 868681"/>
                <a:gd name="connsiteX119" fmla="*/ 472439 w 1219200"/>
                <a:gd name="connsiteY119" fmla="*/ 848361 h 868681"/>
                <a:gd name="connsiteX120" fmla="*/ 436245 w 1219200"/>
                <a:gd name="connsiteY120" fmla="*/ 868046 h 868681"/>
                <a:gd name="connsiteX121" fmla="*/ 393700 w 1219200"/>
                <a:gd name="connsiteY121" fmla="*/ 821056 h 868681"/>
                <a:gd name="connsiteX122" fmla="*/ 436879 w 1219200"/>
                <a:gd name="connsiteY122" fmla="*/ 774066 h 868681"/>
                <a:gd name="connsiteX123" fmla="*/ 219075 w 1219200"/>
                <a:gd name="connsiteY123" fmla="*/ 742316 h 868681"/>
                <a:gd name="connsiteX124" fmla="*/ 219075 w 1219200"/>
                <a:gd name="connsiteY124" fmla="*/ 777241 h 868681"/>
                <a:gd name="connsiteX125" fmla="*/ 245110 w 1219200"/>
                <a:gd name="connsiteY125" fmla="*/ 777241 h 868681"/>
                <a:gd name="connsiteX126" fmla="*/ 245110 w 1219200"/>
                <a:gd name="connsiteY126" fmla="*/ 798831 h 868681"/>
                <a:gd name="connsiteX127" fmla="*/ 219075 w 1219200"/>
                <a:gd name="connsiteY127" fmla="*/ 798831 h 868681"/>
                <a:gd name="connsiteX128" fmla="*/ 219075 w 1219200"/>
                <a:gd name="connsiteY128" fmla="*/ 835661 h 868681"/>
                <a:gd name="connsiteX129" fmla="*/ 227965 w 1219200"/>
                <a:gd name="connsiteY129" fmla="*/ 846456 h 868681"/>
                <a:gd name="connsiteX130" fmla="*/ 245041 w 1219200"/>
                <a:gd name="connsiteY130" fmla="*/ 839979 h 868681"/>
                <a:gd name="connsiteX131" fmla="*/ 241935 w 1219200"/>
                <a:gd name="connsiteY131" fmla="*/ 862966 h 868681"/>
                <a:gd name="connsiteX132" fmla="*/ 219709 w 1219200"/>
                <a:gd name="connsiteY132" fmla="*/ 868681 h 868681"/>
                <a:gd name="connsiteX133" fmla="*/ 195579 w 1219200"/>
                <a:gd name="connsiteY133" fmla="*/ 842011 h 868681"/>
                <a:gd name="connsiteX134" fmla="*/ 195579 w 1219200"/>
                <a:gd name="connsiteY134" fmla="*/ 798831 h 868681"/>
                <a:gd name="connsiteX135" fmla="*/ 179704 w 1219200"/>
                <a:gd name="connsiteY135" fmla="*/ 798831 h 868681"/>
                <a:gd name="connsiteX136" fmla="*/ 179704 w 1219200"/>
                <a:gd name="connsiteY136" fmla="*/ 777241 h 868681"/>
                <a:gd name="connsiteX137" fmla="*/ 195579 w 1219200"/>
                <a:gd name="connsiteY137" fmla="*/ 777241 h 868681"/>
                <a:gd name="connsiteX138" fmla="*/ 195579 w 1219200"/>
                <a:gd name="connsiteY138" fmla="*/ 753746 h 868681"/>
                <a:gd name="connsiteX139" fmla="*/ 749935 w 1219200"/>
                <a:gd name="connsiteY139" fmla="*/ 741681 h 868681"/>
                <a:gd name="connsiteX140" fmla="*/ 763269 w 1219200"/>
                <a:gd name="connsiteY140" fmla="*/ 755016 h 868681"/>
                <a:gd name="connsiteX141" fmla="*/ 749935 w 1219200"/>
                <a:gd name="connsiteY141" fmla="*/ 768351 h 868681"/>
                <a:gd name="connsiteX142" fmla="*/ 736599 w 1219200"/>
                <a:gd name="connsiteY142" fmla="*/ 755016 h 868681"/>
                <a:gd name="connsiteX143" fmla="*/ 749935 w 1219200"/>
                <a:gd name="connsiteY143" fmla="*/ 741681 h 868681"/>
                <a:gd name="connsiteX144" fmla="*/ 154939 w 1219200"/>
                <a:gd name="connsiteY144" fmla="*/ 741681 h 868681"/>
                <a:gd name="connsiteX145" fmla="*/ 168275 w 1219200"/>
                <a:gd name="connsiteY145" fmla="*/ 755016 h 868681"/>
                <a:gd name="connsiteX146" fmla="*/ 154939 w 1219200"/>
                <a:gd name="connsiteY146" fmla="*/ 768351 h 868681"/>
                <a:gd name="connsiteX147" fmla="*/ 141605 w 1219200"/>
                <a:gd name="connsiteY147" fmla="*/ 755016 h 868681"/>
                <a:gd name="connsiteX148" fmla="*/ 154939 w 1219200"/>
                <a:gd name="connsiteY148" fmla="*/ 741681 h 868681"/>
                <a:gd name="connsiteX149" fmla="*/ 856614 w 1219200"/>
                <a:gd name="connsiteY149" fmla="*/ 741046 h 868681"/>
                <a:gd name="connsiteX150" fmla="*/ 856614 w 1219200"/>
                <a:gd name="connsiteY150" fmla="*/ 866141 h 868681"/>
                <a:gd name="connsiteX151" fmla="*/ 833120 w 1219200"/>
                <a:gd name="connsiteY151" fmla="*/ 866141 h 868681"/>
                <a:gd name="connsiteX152" fmla="*/ 833120 w 1219200"/>
                <a:gd name="connsiteY152" fmla="*/ 860426 h 868681"/>
                <a:gd name="connsiteX153" fmla="*/ 812799 w 1219200"/>
                <a:gd name="connsiteY153" fmla="*/ 868046 h 868681"/>
                <a:gd name="connsiteX154" fmla="*/ 775970 w 1219200"/>
                <a:gd name="connsiteY154" fmla="*/ 820421 h 868681"/>
                <a:gd name="connsiteX155" fmla="*/ 812165 w 1219200"/>
                <a:gd name="connsiteY155" fmla="*/ 774066 h 868681"/>
                <a:gd name="connsiteX156" fmla="*/ 833120 w 1219200"/>
                <a:gd name="connsiteY156" fmla="*/ 781051 h 868681"/>
                <a:gd name="connsiteX157" fmla="*/ 833120 w 1219200"/>
                <a:gd name="connsiteY157" fmla="*/ 752476 h 868681"/>
                <a:gd name="connsiteX158" fmla="*/ 707390 w 1219200"/>
                <a:gd name="connsiteY158" fmla="*/ 741046 h 868681"/>
                <a:gd name="connsiteX159" fmla="*/ 724534 w 1219200"/>
                <a:gd name="connsiteY159" fmla="*/ 743586 h 868681"/>
                <a:gd name="connsiteX160" fmla="*/ 724534 w 1219200"/>
                <a:gd name="connsiteY160" fmla="*/ 744221 h 868681"/>
                <a:gd name="connsiteX161" fmla="*/ 724534 w 1219200"/>
                <a:gd name="connsiteY161" fmla="*/ 762636 h 868681"/>
                <a:gd name="connsiteX162" fmla="*/ 713105 w 1219200"/>
                <a:gd name="connsiteY162" fmla="*/ 760731 h 868681"/>
                <a:gd name="connsiteX163" fmla="*/ 703579 w 1219200"/>
                <a:gd name="connsiteY163" fmla="*/ 768351 h 868681"/>
                <a:gd name="connsiteX164" fmla="*/ 703579 w 1219200"/>
                <a:gd name="connsiteY164" fmla="*/ 775336 h 868681"/>
                <a:gd name="connsiteX165" fmla="*/ 722629 w 1219200"/>
                <a:gd name="connsiteY165" fmla="*/ 775336 h 868681"/>
                <a:gd name="connsiteX166" fmla="*/ 722629 w 1219200"/>
                <a:gd name="connsiteY166" fmla="*/ 796926 h 868681"/>
                <a:gd name="connsiteX167" fmla="*/ 703579 w 1219200"/>
                <a:gd name="connsiteY167" fmla="*/ 796926 h 868681"/>
                <a:gd name="connsiteX168" fmla="*/ 703579 w 1219200"/>
                <a:gd name="connsiteY168" fmla="*/ 865506 h 868681"/>
                <a:gd name="connsiteX169" fmla="*/ 680084 w 1219200"/>
                <a:gd name="connsiteY169" fmla="*/ 865506 h 868681"/>
                <a:gd name="connsiteX170" fmla="*/ 680084 w 1219200"/>
                <a:gd name="connsiteY170" fmla="*/ 796926 h 868681"/>
                <a:gd name="connsiteX171" fmla="*/ 667385 w 1219200"/>
                <a:gd name="connsiteY171" fmla="*/ 796926 h 868681"/>
                <a:gd name="connsiteX172" fmla="*/ 667385 w 1219200"/>
                <a:gd name="connsiteY172" fmla="*/ 775336 h 868681"/>
                <a:gd name="connsiteX173" fmla="*/ 680084 w 1219200"/>
                <a:gd name="connsiteY173" fmla="*/ 775336 h 868681"/>
                <a:gd name="connsiteX174" fmla="*/ 680084 w 1219200"/>
                <a:gd name="connsiteY174" fmla="*/ 764541 h 868681"/>
                <a:gd name="connsiteX175" fmla="*/ 707390 w 1219200"/>
                <a:gd name="connsiteY175" fmla="*/ 741046 h 868681"/>
                <a:gd name="connsiteX176" fmla="*/ 282575 w 1219200"/>
                <a:gd name="connsiteY176" fmla="*/ 741046 h 868681"/>
                <a:gd name="connsiteX177" fmla="*/ 282575 w 1219200"/>
                <a:gd name="connsiteY177" fmla="*/ 782321 h 868681"/>
                <a:gd name="connsiteX178" fmla="*/ 304799 w 1219200"/>
                <a:gd name="connsiteY178" fmla="*/ 774066 h 868681"/>
                <a:gd name="connsiteX179" fmla="*/ 336549 w 1219200"/>
                <a:gd name="connsiteY179" fmla="*/ 815341 h 868681"/>
                <a:gd name="connsiteX180" fmla="*/ 336549 w 1219200"/>
                <a:gd name="connsiteY180" fmla="*/ 866141 h 868681"/>
                <a:gd name="connsiteX181" fmla="*/ 313689 w 1219200"/>
                <a:gd name="connsiteY181" fmla="*/ 866141 h 868681"/>
                <a:gd name="connsiteX182" fmla="*/ 313689 w 1219200"/>
                <a:gd name="connsiteY182" fmla="*/ 817246 h 868681"/>
                <a:gd name="connsiteX183" fmla="*/ 298450 w 1219200"/>
                <a:gd name="connsiteY183" fmla="*/ 796291 h 868681"/>
                <a:gd name="connsiteX184" fmla="*/ 282575 w 1219200"/>
                <a:gd name="connsiteY184" fmla="*/ 816611 h 868681"/>
                <a:gd name="connsiteX185" fmla="*/ 282575 w 1219200"/>
                <a:gd name="connsiteY185" fmla="*/ 866141 h 868681"/>
                <a:gd name="connsiteX186" fmla="*/ 259079 w 1219200"/>
                <a:gd name="connsiteY186" fmla="*/ 866141 h 868681"/>
                <a:gd name="connsiteX187" fmla="*/ 259079 w 1219200"/>
                <a:gd name="connsiteY187" fmla="*/ 752476 h 868681"/>
                <a:gd name="connsiteX188" fmla="*/ 92709 w 1219200"/>
                <a:gd name="connsiteY188" fmla="*/ 648336 h 868681"/>
                <a:gd name="connsiteX189" fmla="*/ 92709 w 1219200"/>
                <a:gd name="connsiteY189" fmla="*/ 649606 h 868681"/>
                <a:gd name="connsiteX190" fmla="*/ 92427 w 1219200"/>
                <a:gd name="connsiteY190" fmla="*/ 648959 h 868681"/>
                <a:gd name="connsiteX191" fmla="*/ 230504 w 1219200"/>
                <a:gd name="connsiteY191" fmla="*/ 643256 h 868681"/>
                <a:gd name="connsiteX192" fmla="*/ 215900 w 1219200"/>
                <a:gd name="connsiteY192" fmla="*/ 654686 h 868681"/>
                <a:gd name="connsiteX193" fmla="*/ 228599 w 1219200"/>
                <a:gd name="connsiteY193" fmla="*/ 667386 h 868681"/>
                <a:gd name="connsiteX194" fmla="*/ 245745 w 1219200"/>
                <a:gd name="connsiteY194" fmla="*/ 658496 h 868681"/>
                <a:gd name="connsiteX195" fmla="*/ 245745 w 1219200"/>
                <a:gd name="connsiteY195" fmla="*/ 647066 h 868681"/>
                <a:gd name="connsiteX196" fmla="*/ 230504 w 1219200"/>
                <a:gd name="connsiteY196" fmla="*/ 643256 h 868681"/>
                <a:gd name="connsiteX197" fmla="*/ 321310 w 1219200"/>
                <a:gd name="connsiteY197" fmla="*/ 614046 h 868681"/>
                <a:gd name="connsiteX198" fmla="*/ 306704 w 1219200"/>
                <a:gd name="connsiteY198" fmla="*/ 622301 h 868681"/>
                <a:gd name="connsiteX199" fmla="*/ 306704 w 1219200"/>
                <a:gd name="connsiteY199" fmla="*/ 656591 h 868681"/>
                <a:gd name="connsiteX200" fmla="*/ 323215 w 1219200"/>
                <a:gd name="connsiteY200" fmla="*/ 664846 h 868681"/>
                <a:gd name="connsiteX201" fmla="*/ 339090 w 1219200"/>
                <a:gd name="connsiteY201" fmla="*/ 640716 h 868681"/>
                <a:gd name="connsiteX202" fmla="*/ 338454 w 1219200"/>
                <a:gd name="connsiteY202" fmla="*/ 640716 h 868681"/>
                <a:gd name="connsiteX203" fmla="*/ 321310 w 1219200"/>
                <a:gd name="connsiteY203" fmla="*/ 614046 h 868681"/>
                <a:gd name="connsiteX204" fmla="*/ 1179195 w 1219200"/>
                <a:gd name="connsiteY204" fmla="*/ 612776 h 868681"/>
                <a:gd name="connsiteX205" fmla="*/ 1163320 w 1219200"/>
                <a:gd name="connsiteY205" fmla="*/ 629921 h 868681"/>
                <a:gd name="connsiteX206" fmla="*/ 1163954 w 1219200"/>
                <a:gd name="connsiteY206" fmla="*/ 629921 h 868681"/>
                <a:gd name="connsiteX207" fmla="*/ 1195704 w 1219200"/>
                <a:gd name="connsiteY207" fmla="*/ 629921 h 868681"/>
                <a:gd name="connsiteX208" fmla="*/ 1179195 w 1219200"/>
                <a:gd name="connsiteY208" fmla="*/ 612776 h 868681"/>
                <a:gd name="connsiteX209" fmla="*/ 689610 w 1219200"/>
                <a:gd name="connsiteY209" fmla="*/ 612776 h 868681"/>
                <a:gd name="connsiteX210" fmla="*/ 673735 w 1219200"/>
                <a:gd name="connsiteY210" fmla="*/ 629921 h 868681"/>
                <a:gd name="connsiteX211" fmla="*/ 674370 w 1219200"/>
                <a:gd name="connsiteY211" fmla="*/ 629921 h 868681"/>
                <a:gd name="connsiteX212" fmla="*/ 706120 w 1219200"/>
                <a:gd name="connsiteY212" fmla="*/ 629921 h 868681"/>
                <a:gd name="connsiteX213" fmla="*/ 689610 w 1219200"/>
                <a:gd name="connsiteY213" fmla="*/ 612776 h 868681"/>
                <a:gd name="connsiteX214" fmla="*/ 410845 w 1219200"/>
                <a:gd name="connsiteY214" fmla="*/ 612776 h 868681"/>
                <a:gd name="connsiteX215" fmla="*/ 395605 w 1219200"/>
                <a:gd name="connsiteY215" fmla="*/ 629921 h 868681"/>
                <a:gd name="connsiteX216" fmla="*/ 427355 w 1219200"/>
                <a:gd name="connsiteY216" fmla="*/ 629921 h 868681"/>
                <a:gd name="connsiteX217" fmla="*/ 410845 w 1219200"/>
                <a:gd name="connsiteY217" fmla="*/ 612776 h 868681"/>
                <a:gd name="connsiteX218" fmla="*/ 991870 w 1219200"/>
                <a:gd name="connsiteY218" fmla="*/ 594361 h 868681"/>
                <a:gd name="connsiteX219" fmla="*/ 1014095 w 1219200"/>
                <a:gd name="connsiteY219" fmla="*/ 594361 h 868681"/>
                <a:gd name="connsiteX220" fmla="*/ 1014095 w 1219200"/>
                <a:gd name="connsiteY220" fmla="*/ 643256 h 868681"/>
                <a:gd name="connsiteX221" fmla="*/ 1029334 w 1219200"/>
                <a:gd name="connsiteY221" fmla="*/ 664846 h 868681"/>
                <a:gd name="connsiteX222" fmla="*/ 1044575 w 1219200"/>
                <a:gd name="connsiteY222" fmla="*/ 644526 h 868681"/>
                <a:gd name="connsiteX223" fmla="*/ 1044575 w 1219200"/>
                <a:gd name="connsiteY223" fmla="*/ 594996 h 868681"/>
                <a:gd name="connsiteX224" fmla="*/ 1066799 w 1219200"/>
                <a:gd name="connsiteY224" fmla="*/ 594996 h 868681"/>
                <a:gd name="connsiteX225" fmla="*/ 1066799 w 1219200"/>
                <a:gd name="connsiteY225" fmla="*/ 684531 h 868681"/>
                <a:gd name="connsiteX226" fmla="*/ 1044575 w 1219200"/>
                <a:gd name="connsiteY226" fmla="*/ 684531 h 868681"/>
                <a:gd name="connsiteX227" fmla="*/ 1044575 w 1219200"/>
                <a:gd name="connsiteY227" fmla="*/ 678181 h 868681"/>
                <a:gd name="connsiteX228" fmla="*/ 1023620 w 1219200"/>
                <a:gd name="connsiteY228" fmla="*/ 686436 h 868681"/>
                <a:gd name="connsiteX229" fmla="*/ 991870 w 1219200"/>
                <a:gd name="connsiteY229" fmla="*/ 645161 h 868681"/>
                <a:gd name="connsiteX230" fmla="*/ 836295 w 1219200"/>
                <a:gd name="connsiteY230" fmla="*/ 594361 h 868681"/>
                <a:gd name="connsiteX231" fmla="*/ 858519 w 1219200"/>
                <a:gd name="connsiteY231" fmla="*/ 594361 h 868681"/>
                <a:gd name="connsiteX232" fmla="*/ 858519 w 1219200"/>
                <a:gd name="connsiteY232" fmla="*/ 643256 h 868681"/>
                <a:gd name="connsiteX233" fmla="*/ 873760 w 1219200"/>
                <a:gd name="connsiteY233" fmla="*/ 664846 h 868681"/>
                <a:gd name="connsiteX234" fmla="*/ 889000 w 1219200"/>
                <a:gd name="connsiteY234" fmla="*/ 644526 h 868681"/>
                <a:gd name="connsiteX235" fmla="*/ 889000 w 1219200"/>
                <a:gd name="connsiteY235" fmla="*/ 594996 h 868681"/>
                <a:gd name="connsiteX236" fmla="*/ 911224 w 1219200"/>
                <a:gd name="connsiteY236" fmla="*/ 594996 h 868681"/>
                <a:gd name="connsiteX237" fmla="*/ 911224 w 1219200"/>
                <a:gd name="connsiteY237" fmla="*/ 684531 h 868681"/>
                <a:gd name="connsiteX238" fmla="*/ 889000 w 1219200"/>
                <a:gd name="connsiteY238" fmla="*/ 684531 h 868681"/>
                <a:gd name="connsiteX239" fmla="*/ 889000 w 1219200"/>
                <a:gd name="connsiteY239" fmla="*/ 678181 h 868681"/>
                <a:gd name="connsiteX240" fmla="*/ 868045 w 1219200"/>
                <a:gd name="connsiteY240" fmla="*/ 686436 h 868681"/>
                <a:gd name="connsiteX241" fmla="*/ 836295 w 1219200"/>
                <a:gd name="connsiteY241" fmla="*/ 645161 h 868681"/>
                <a:gd name="connsiteX242" fmla="*/ 1181099 w 1219200"/>
                <a:gd name="connsiteY242" fmla="*/ 592456 h 868681"/>
                <a:gd name="connsiteX243" fmla="*/ 1219200 w 1219200"/>
                <a:gd name="connsiteY243" fmla="*/ 639446 h 868681"/>
                <a:gd name="connsiteX244" fmla="*/ 1218564 w 1219200"/>
                <a:gd name="connsiteY244" fmla="*/ 639446 h 868681"/>
                <a:gd name="connsiteX245" fmla="*/ 1218564 w 1219200"/>
                <a:gd name="connsiteY245" fmla="*/ 647066 h 868681"/>
                <a:gd name="connsiteX246" fmla="*/ 1163954 w 1219200"/>
                <a:gd name="connsiteY246" fmla="*/ 647066 h 868681"/>
                <a:gd name="connsiteX247" fmla="*/ 1183004 w 1219200"/>
                <a:gd name="connsiteY247" fmla="*/ 664846 h 868681"/>
                <a:gd name="connsiteX248" fmla="*/ 1198879 w 1219200"/>
                <a:gd name="connsiteY248" fmla="*/ 658496 h 868681"/>
                <a:gd name="connsiteX249" fmla="*/ 1214754 w 1219200"/>
                <a:gd name="connsiteY249" fmla="*/ 671831 h 868681"/>
                <a:gd name="connsiteX250" fmla="*/ 1182370 w 1219200"/>
                <a:gd name="connsiteY250" fmla="*/ 686436 h 868681"/>
                <a:gd name="connsiteX251" fmla="*/ 1141095 w 1219200"/>
                <a:gd name="connsiteY251" fmla="*/ 639446 h 868681"/>
                <a:gd name="connsiteX252" fmla="*/ 1181099 w 1219200"/>
                <a:gd name="connsiteY252" fmla="*/ 592456 h 868681"/>
                <a:gd name="connsiteX253" fmla="*/ 691515 w 1219200"/>
                <a:gd name="connsiteY253" fmla="*/ 592456 h 868681"/>
                <a:gd name="connsiteX254" fmla="*/ 729614 w 1219200"/>
                <a:gd name="connsiteY254" fmla="*/ 639446 h 868681"/>
                <a:gd name="connsiteX255" fmla="*/ 728980 w 1219200"/>
                <a:gd name="connsiteY255" fmla="*/ 639446 h 868681"/>
                <a:gd name="connsiteX256" fmla="*/ 728980 w 1219200"/>
                <a:gd name="connsiteY256" fmla="*/ 647066 h 868681"/>
                <a:gd name="connsiteX257" fmla="*/ 674370 w 1219200"/>
                <a:gd name="connsiteY257" fmla="*/ 647066 h 868681"/>
                <a:gd name="connsiteX258" fmla="*/ 693420 w 1219200"/>
                <a:gd name="connsiteY258" fmla="*/ 664846 h 868681"/>
                <a:gd name="connsiteX259" fmla="*/ 709295 w 1219200"/>
                <a:gd name="connsiteY259" fmla="*/ 658496 h 868681"/>
                <a:gd name="connsiteX260" fmla="*/ 725170 w 1219200"/>
                <a:gd name="connsiteY260" fmla="*/ 671831 h 868681"/>
                <a:gd name="connsiteX261" fmla="*/ 692784 w 1219200"/>
                <a:gd name="connsiteY261" fmla="*/ 686436 h 868681"/>
                <a:gd name="connsiteX262" fmla="*/ 651510 w 1219200"/>
                <a:gd name="connsiteY262" fmla="*/ 639446 h 868681"/>
                <a:gd name="connsiteX263" fmla="*/ 691515 w 1219200"/>
                <a:gd name="connsiteY263" fmla="*/ 592456 h 868681"/>
                <a:gd name="connsiteX264" fmla="*/ 412114 w 1219200"/>
                <a:gd name="connsiteY264" fmla="*/ 592456 h 868681"/>
                <a:gd name="connsiteX265" fmla="*/ 448310 w 1219200"/>
                <a:gd name="connsiteY265" fmla="*/ 639446 h 868681"/>
                <a:gd name="connsiteX266" fmla="*/ 448310 w 1219200"/>
                <a:gd name="connsiteY266" fmla="*/ 647066 h 868681"/>
                <a:gd name="connsiteX267" fmla="*/ 395605 w 1219200"/>
                <a:gd name="connsiteY267" fmla="*/ 647066 h 868681"/>
                <a:gd name="connsiteX268" fmla="*/ 415290 w 1219200"/>
                <a:gd name="connsiteY268" fmla="*/ 664846 h 868681"/>
                <a:gd name="connsiteX269" fmla="*/ 430530 w 1219200"/>
                <a:gd name="connsiteY269" fmla="*/ 658496 h 868681"/>
                <a:gd name="connsiteX270" fmla="*/ 446405 w 1219200"/>
                <a:gd name="connsiteY270" fmla="*/ 671831 h 868681"/>
                <a:gd name="connsiteX271" fmla="*/ 413385 w 1219200"/>
                <a:gd name="connsiteY271" fmla="*/ 686436 h 868681"/>
                <a:gd name="connsiteX272" fmla="*/ 372110 w 1219200"/>
                <a:gd name="connsiteY272" fmla="*/ 640081 h 868681"/>
                <a:gd name="connsiteX273" fmla="*/ 412114 w 1219200"/>
                <a:gd name="connsiteY273" fmla="*/ 592456 h 868681"/>
                <a:gd name="connsiteX274" fmla="*/ 326390 w 1219200"/>
                <a:gd name="connsiteY274" fmla="*/ 592456 h 868681"/>
                <a:gd name="connsiteX275" fmla="*/ 361314 w 1219200"/>
                <a:gd name="connsiteY275" fmla="*/ 639446 h 868681"/>
                <a:gd name="connsiteX276" fmla="*/ 326390 w 1219200"/>
                <a:gd name="connsiteY276" fmla="*/ 686436 h 868681"/>
                <a:gd name="connsiteX277" fmla="*/ 306070 w 1219200"/>
                <a:gd name="connsiteY277" fmla="*/ 678816 h 868681"/>
                <a:gd name="connsiteX278" fmla="*/ 306070 w 1219200"/>
                <a:gd name="connsiteY278" fmla="*/ 706121 h 868681"/>
                <a:gd name="connsiteX279" fmla="*/ 283845 w 1219200"/>
                <a:gd name="connsiteY279" fmla="*/ 717551 h 868681"/>
                <a:gd name="connsiteX280" fmla="*/ 283845 w 1219200"/>
                <a:gd name="connsiteY280" fmla="*/ 594361 h 868681"/>
                <a:gd name="connsiteX281" fmla="*/ 306070 w 1219200"/>
                <a:gd name="connsiteY281" fmla="*/ 594361 h 868681"/>
                <a:gd name="connsiteX282" fmla="*/ 306070 w 1219200"/>
                <a:gd name="connsiteY282" fmla="*/ 600711 h 868681"/>
                <a:gd name="connsiteX283" fmla="*/ 326390 w 1219200"/>
                <a:gd name="connsiteY283" fmla="*/ 592456 h 868681"/>
                <a:gd name="connsiteX284" fmla="*/ 231775 w 1219200"/>
                <a:gd name="connsiteY284" fmla="*/ 592456 h 868681"/>
                <a:gd name="connsiteX285" fmla="*/ 268605 w 1219200"/>
                <a:gd name="connsiteY285" fmla="*/ 624206 h 868681"/>
                <a:gd name="connsiteX286" fmla="*/ 268605 w 1219200"/>
                <a:gd name="connsiteY286" fmla="*/ 684531 h 868681"/>
                <a:gd name="connsiteX287" fmla="*/ 267970 w 1219200"/>
                <a:gd name="connsiteY287" fmla="*/ 684531 h 868681"/>
                <a:gd name="connsiteX288" fmla="*/ 245745 w 1219200"/>
                <a:gd name="connsiteY288" fmla="*/ 684531 h 868681"/>
                <a:gd name="connsiteX289" fmla="*/ 245745 w 1219200"/>
                <a:gd name="connsiteY289" fmla="*/ 678181 h 868681"/>
                <a:gd name="connsiteX290" fmla="*/ 224790 w 1219200"/>
                <a:gd name="connsiteY290" fmla="*/ 686436 h 868681"/>
                <a:gd name="connsiteX291" fmla="*/ 193040 w 1219200"/>
                <a:gd name="connsiteY291" fmla="*/ 655321 h 868681"/>
                <a:gd name="connsiteX292" fmla="*/ 227965 w 1219200"/>
                <a:gd name="connsiteY292" fmla="*/ 624841 h 868681"/>
                <a:gd name="connsiteX293" fmla="*/ 245745 w 1219200"/>
                <a:gd name="connsiteY293" fmla="*/ 628651 h 868681"/>
                <a:gd name="connsiteX294" fmla="*/ 245745 w 1219200"/>
                <a:gd name="connsiteY294" fmla="*/ 623571 h 868681"/>
                <a:gd name="connsiteX295" fmla="*/ 230504 w 1219200"/>
                <a:gd name="connsiteY295" fmla="*/ 611506 h 868681"/>
                <a:gd name="connsiteX296" fmla="*/ 209549 w 1219200"/>
                <a:gd name="connsiteY296" fmla="*/ 617221 h 868681"/>
                <a:gd name="connsiteX297" fmla="*/ 200659 w 1219200"/>
                <a:gd name="connsiteY297" fmla="*/ 601346 h 868681"/>
                <a:gd name="connsiteX298" fmla="*/ 231775 w 1219200"/>
                <a:gd name="connsiteY298" fmla="*/ 592456 h 868681"/>
                <a:gd name="connsiteX299" fmla="*/ 1125855 w 1219200"/>
                <a:gd name="connsiteY299" fmla="*/ 591821 h 868681"/>
                <a:gd name="connsiteX300" fmla="*/ 1142364 w 1219200"/>
                <a:gd name="connsiteY300" fmla="*/ 598171 h 868681"/>
                <a:gd name="connsiteX301" fmla="*/ 1141730 w 1219200"/>
                <a:gd name="connsiteY301" fmla="*/ 598806 h 868681"/>
                <a:gd name="connsiteX302" fmla="*/ 1132840 w 1219200"/>
                <a:gd name="connsiteY302" fmla="*/ 621031 h 868681"/>
                <a:gd name="connsiteX303" fmla="*/ 1120140 w 1219200"/>
                <a:gd name="connsiteY303" fmla="*/ 615316 h 868681"/>
                <a:gd name="connsiteX304" fmla="*/ 1106805 w 1219200"/>
                <a:gd name="connsiteY304" fmla="*/ 635001 h 868681"/>
                <a:gd name="connsiteX305" fmla="*/ 1106805 w 1219200"/>
                <a:gd name="connsiteY305" fmla="*/ 683896 h 868681"/>
                <a:gd name="connsiteX306" fmla="*/ 1084579 w 1219200"/>
                <a:gd name="connsiteY306" fmla="*/ 683896 h 868681"/>
                <a:gd name="connsiteX307" fmla="*/ 1084579 w 1219200"/>
                <a:gd name="connsiteY307" fmla="*/ 593726 h 868681"/>
                <a:gd name="connsiteX308" fmla="*/ 1106805 w 1219200"/>
                <a:gd name="connsiteY308" fmla="*/ 593726 h 868681"/>
                <a:gd name="connsiteX309" fmla="*/ 1106805 w 1219200"/>
                <a:gd name="connsiteY309" fmla="*/ 600076 h 868681"/>
                <a:gd name="connsiteX310" fmla="*/ 1125855 w 1219200"/>
                <a:gd name="connsiteY310" fmla="*/ 591821 h 868681"/>
                <a:gd name="connsiteX311" fmla="*/ 47625 w 1219200"/>
                <a:gd name="connsiteY311" fmla="*/ 563881 h 868681"/>
                <a:gd name="connsiteX312" fmla="*/ 90170 w 1219200"/>
                <a:gd name="connsiteY312" fmla="*/ 582296 h 868681"/>
                <a:gd name="connsiteX313" fmla="*/ 73659 w 1219200"/>
                <a:gd name="connsiteY313" fmla="*/ 598806 h 868681"/>
                <a:gd name="connsiteX314" fmla="*/ 46355 w 1219200"/>
                <a:gd name="connsiteY314" fmla="*/ 586741 h 868681"/>
                <a:gd name="connsiteX315" fmla="*/ 28575 w 1219200"/>
                <a:gd name="connsiteY315" fmla="*/ 598171 h 868681"/>
                <a:gd name="connsiteX316" fmla="*/ 33655 w 1219200"/>
                <a:gd name="connsiteY316" fmla="*/ 606426 h 868681"/>
                <a:gd name="connsiteX317" fmla="*/ 52704 w 1219200"/>
                <a:gd name="connsiteY317" fmla="*/ 612776 h 868681"/>
                <a:gd name="connsiteX318" fmla="*/ 81915 w 1219200"/>
                <a:gd name="connsiteY318" fmla="*/ 624841 h 868681"/>
                <a:gd name="connsiteX319" fmla="*/ 92427 w 1219200"/>
                <a:gd name="connsiteY319" fmla="*/ 648959 h 868681"/>
                <a:gd name="connsiteX320" fmla="*/ 79454 w 1219200"/>
                <a:gd name="connsiteY320" fmla="*/ 677626 h 868681"/>
                <a:gd name="connsiteX321" fmla="*/ 47625 w 1219200"/>
                <a:gd name="connsiteY321" fmla="*/ 686436 h 868681"/>
                <a:gd name="connsiteX322" fmla="*/ 0 w 1219200"/>
                <a:gd name="connsiteY322" fmla="*/ 664846 h 868681"/>
                <a:gd name="connsiteX323" fmla="*/ 16510 w 1219200"/>
                <a:gd name="connsiteY323" fmla="*/ 650241 h 868681"/>
                <a:gd name="connsiteX324" fmla="*/ 46989 w 1219200"/>
                <a:gd name="connsiteY324" fmla="*/ 664211 h 868681"/>
                <a:gd name="connsiteX325" fmla="*/ 68579 w 1219200"/>
                <a:gd name="connsiteY325" fmla="*/ 649606 h 868681"/>
                <a:gd name="connsiteX326" fmla="*/ 61595 w 1219200"/>
                <a:gd name="connsiteY326" fmla="*/ 640081 h 868681"/>
                <a:gd name="connsiteX327" fmla="*/ 41909 w 1219200"/>
                <a:gd name="connsiteY327" fmla="*/ 634366 h 868681"/>
                <a:gd name="connsiteX328" fmla="*/ 14605 w 1219200"/>
                <a:gd name="connsiteY328" fmla="*/ 623571 h 868681"/>
                <a:gd name="connsiteX329" fmla="*/ 4444 w 1219200"/>
                <a:gd name="connsiteY329" fmla="*/ 599441 h 868681"/>
                <a:gd name="connsiteX330" fmla="*/ 47625 w 1219200"/>
                <a:gd name="connsiteY330" fmla="*/ 563881 h 868681"/>
                <a:gd name="connsiteX331" fmla="*/ 814070 w 1219200"/>
                <a:gd name="connsiteY331" fmla="*/ 560071 h 868681"/>
                <a:gd name="connsiteX332" fmla="*/ 830579 w 1219200"/>
                <a:gd name="connsiteY332" fmla="*/ 562611 h 868681"/>
                <a:gd name="connsiteX333" fmla="*/ 829945 w 1219200"/>
                <a:gd name="connsiteY333" fmla="*/ 562611 h 868681"/>
                <a:gd name="connsiteX334" fmla="*/ 829945 w 1219200"/>
                <a:gd name="connsiteY334" fmla="*/ 581026 h 868681"/>
                <a:gd name="connsiteX335" fmla="*/ 818515 w 1219200"/>
                <a:gd name="connsiteY335" fmla="*/ 579121 h 868681"/>
                <a:gd name="connsiteX336" fmla="*/ 808989 w 1219200"/>
                <a:gd name="connsiteY336" fmla="*/ 586741 h 868681"/>
                <a:gd name="connsiteX337" fmla="*/ 808989 w 1219200"/>
                <a:gd name="connsiteY337" fmla="*/ 594361 h 868681"/>
                <a:gd name="connsiteX338" fmla="*/ 824230 w 1219200"/>
                <a:gd name="connsiteY338" fmla="*/ 594361 h 868681"/>
                <a:gd name="connsiteX339" fmla="*/ 824230 w 1219200"/>
                <a:gd name="connsiteY339" fmla="*/ 615951 h 868681"/>
                <a:gd name="connsiteX340" fmla="*/ 808989 w 1219200"/>
                <a:gd name="connsiteY340" fmla="*/ 615951 h 868681"/>
                <a:gd name="connsiteX341" fmla="*/ 808989 w 1219200"/>
                <a:gd name="connsiteY341" fmla="*/ 684531 h 868681"/>
                <a:gd name="connsiteX342" fmla="*/ 786765 w 1219200"/>
                <a:gd name="connsiteY342" fmla="*/ 684531 h 868681"/>
                <a:gd name="connsiteX343" fmla="*/ 786765 w 1219200"/>
                <a:gd name="connsiteY343" fmla="*/ 615951 h 868681"/>
                <a:gd name="connsiteX344" fmla="*/ 775970 w 1219200"/>
                <a:gd name="connsiteY344" fmla="*/ 615951 h 868681"/>
                <a:gd name="connsiteX345" fmla="*/ 775970 w 1219200"/>
                <a:gd name="connsiteY345" fmla="*/ 594361 h 868681"/>
                <a:gd name="connsiteX346" fmla="*/ 786765 w 1219200"/>
                <a:gd name="connsiteY346" fmla="*/ 594361 h 868681"/>
                <a:gd name="connsiteX347" fmla="*/ 786765 w 1219200"/>
                <a:gd name="connsiteY347" fmla="*/ 583566 h 868681"/>
                <a:gd name="connsiteX348" fmla="*/ 814070 w 1219200"/>
                <a:gd name="connsiteY348" fmla="*/ 560071 h 868681"/>
                <a:gd name="connsiteX349" fmla="*/ 957579 w 1219200"/>
                <a:gd name="connsiteY349" fmla="*/ 559436 h 868681"/>
                <a:gd name="connsiteX350" fmla="*/ 957579 w 1219200"/>
                <a:gd name="connsiteY350" fmla="*/ 594361 h 868681"/>
                <a:gd name="connsiteX351" fmla="*/ 979170 w 1219200"/>
                <a:gd name="connsiteY351" fmla="*/ 594361 h 868681"/>
                <a:gd name="connsiteX352" fmla="*/ 979170 w 1219200"/>
                <a:gd name="connsiteY352" fmla="*/ 615951 h 868681"/>
                <a:gd name="connsiteX353" fmla="*/ 957579 w 1219200"/>
                <a:gd name="connsiteY353" fmla="*/ 615951 h 868681"/>
                <a:gd name="connsiteX354" fmla="*/ 957579 w 1219200"/>
                <a:gd name="connsiteY354" fmla="*/ 654051 h 868681"/>
                <a:gd name="connsiteX355" fmla="*/ 966470 w 1219200"/>
                <a:gd name="connsiteY355" fmla="*/ 664846 h 868681"/>
                <a:gd name="connsiteX356" fmla="*/ 981075 w 1219200"/>
                <a:gd name="connsiteY356" fmla="*/ 658496 h 868681"/>
                <a:gd name="connsiteX357" fmla="*/ 977900 w 1219200"/>
                <a:gd name="connsiteY357" fmla="*/ 681356 h 868681"/>
                <a:gd name="connsiteX358" fmla="*/ 959485 w 1219200"/>
                <a:gd name="connsiteY358" fmla="*/ 686436 h 868681"/>
                <a:gd name="connsiteX359" fmla="*/ 935355 w 1219200"/>
                <a:gd name="connsiteY359" fmla="*/ 659766 h 868681"/>
                <a:gd name="connsiteX360" fmla="*/ 935355 w 1219200"/>
                <a:gd name="connsiteY360" fmla="*/ 615951 h 868681"/>
                <a:gd name="connsiteX361" fmla="*/ 922655 w 1219200"/>
                <a:gd name="connsiteY361" fmla="*/ 615951 h 868681"/>
                <a:gd name="connsiteX362" fmla="*/ 922655 w 1219200"/>
                <a:gd name="connsiteY362" fmla="*/ 594361 h 868681"/>
                <a:gd name="connsiteX363" fmla="*/ 935355 w 1219200"/>
                <a:gd name="connsiteY363" fmla="*/ 594361 h 868681"/>
                <a:gd name="connsiteX364" fmla="*/ 935355 w 1219200"/>
                <a:gd name="connsiteY364" fmla="*/ 570866 h 868681"/>
                <a:gd name="connsiteX365" fmla="*/ 586739 w 1219200"/>
                <a:gd name="connsiteY365" fmla="*/ 559436 h 868681"/>
                <a:gd name="connsiteX366" fmla="*/ 586739 w 1219200"/>
                <a:gd name="connsiteY366" fmla="*/ 600711 h 868681"/>
                <a:gd name="connsiteX367" fmla="*/ 607695 w 1219200"/>
                <a:gd name="connsiteY367" fmla="*/ 592456 h 868681"/>
                <a:gd name="connsiteX368" fmla="*/ 639445 w 1219200"/>
                <a:gd name="connsiteY368" fmla="*/ 633731 h 868681"/>
                <a:gd name="connsiteX369" fmla="*/ 639445 w 1219200"/>
                <a:gd name="connsiteY369" fmla="*/ 684531 h 868681"/>
                <a:gd name="connsiteX370" fmla="*/ 617220 w 1219200"/>
                <a:gd name="connsiteY370" fmla="*/ 684531 h 868681"/>
                <a:gd name="connsiteX371" fmla="*/ 617220 w 1219200"/>
                <a:gd name="connsiteY371" fmla="*/ 635636 h 868681"/>
                <a:gd name="connsiteX372" fmla="*/ 601980 w 1219200"/>
                <a:gd name="connsiteY372" fmla="*/ 614681 h 868681"/>
                <a:gd name="connsiteX373" fmla="*/ 586739 w 1219200"/>
                <a:gd name="connsiteY373" fmla="*/ 635001 h 868681"/>
                <a:gd name="connsiteX374" fmla="*/ 586739 w 1219200"/>
                <a:gd name="connsiteY374" fmla="*/ 684531 h 868681"/>
                <a:gd name="connsiteX375" fmla="*/ 564515 w 1219200"/>
                <a:gd name="connsiteY375" fmla="*/ 684531 h 868681"/>
                <a:gd name="connsiteX376" fmla="*/ 564515 w 1219200"/>
                <a:gd name="connsiteY376" fmla="*/ 570866 h 868681"/>
                <a:gd name="connsiteX377" fmla="*/ 529590 w 1219200"/>
                <a:gd name="connsiteY377" fmla="*/ 559436 h 868681"/>
                <a:gd name="connsiteX378" fmla="*/ 529590 w 1219200"/>
                <a:gd name="connsiteY378" fmla="*/ 594361 h 868681"/>
                <a:gd name="connsiteX379" fmla="*/ 550545 w 1219200"/>
                <a:gd name="connsiteY379" fmla="*/ 594361 h 868681"/>
                <a:gd name="connsiteX380" fmla="*/ 550545 w 1219200"/>
                <a:gd name="connsiteY380" fmla="*/ 615951 h 868681"/>
                <a:gd name="connsiteX381" fmla="*/ 529590 w 1219200"/>
                <a:gd name="connsiteY381" fmla="*/ 615951 h 868681"/>
                <a:gd name="connsiteX382" fmla="*/ 529590 w 1219200"/>
                <a:gd name="connsiteY382" fmla="*/ 654051 h 868681"/>
                <a:gd name="connsiteX383" fmla="*/ 538480 w 1219200"/>
                <a:gd name="connsiteY383" fmla="*/ 664846 h 868681"/>
                <a:gd name="connsiteX384" fmla="*/ 553084 w 1219200"/>
                <a:gd name="connsiteY384" fmla="*/ 658496 h 868681"/>
                <a:gd name="connsiteX385" fmla="*/ 549909 w 1219200"/>
                <a:gd name="connsiteY385" fmla="*/ 681356 h 868681"/>
                <a:gd name="connsiteX386" fmla="*/ 531495 w 1219200"/>
                <a:gd name="connsiteY386" fmla="*/ 686436 h 868681"/>
                <a:gd name="connsiteX387" fmla="*/ 507364 w 1219200"/>
                <a:gd name="connsiteY387" fmla="*/ 659766 h 868681"/>
                <a:gd name="connsiteX388" fmla="*/ 507364 w 1219200"/>
                <a:gd name="connsiteY388" fmla="*/ 615951 h 868681"/>
                <a:gd name="connsiteX389" fmla="*/ 491489 w 1219200"/>
                <a:gd name="connsiteY389" fmla="*/ 615951 h 868681"/>
                <a:gd name="connsiteX390" fmla="*/ 491489 w 1219200"/>
                <a:gd name="connsiteY390" fmla="*/ 594361 h 868681"/>
                <a:gd name="connsiteX391" fmla="*/ 507364 w 1219200"/>
                <a:gd name="connsiteY391" fmla="*/ 594361 h 868681"/>
                <a:gd name="connsiteX392" fmla="*/ 507364 w 1219200"/>
                <a:gd name="connsiteY392" fmla="*/ 570866 h 868681"/>
                <a:gd name="connsiteX393" fmla="*/ 128269 w 1219200"/>
                <a:gd name="connsiteY393" fmla="*/ 559436 h 868681"/>
                <a:gd name="connsiteX394" fmla="*/ 128269 w 1219200"/>
                <a:gd name="connsiteY394" fmla="*/ 600711 h 868681"/>
                <a:gd name="connsiteX395" fmla="*/ 149224 w 1219200"/>
                <a:gd name="connsiteY395" fmla="*/ 592456 h 868681"/>
                <a:gd name="connsiteX396" fmla="*/ 180974 w 1219200"/>
                <a:gd name="connsiteY396" fmla="*/ 633731 h 868681"/>
                <a:gd name="connsiteX397" fmla="*/ 180974 w 1219200"/>
                <a:gd name="connsiteY397" fmla="*/ 684531 h 868681"/>
                <a:gd name="connsiteX398" fmla="*/ 158750 w 1219200"/>
                <a:gd name="connsiteY398" fmla="*/ 684531 h 868681"/>
                <a:gd name="connsiteX399" fmla="*/ 158750 w 1219200"/>
                <a:gd name="connsiteY399" fmla="*/ 635636 h 868681"/>
                <a:gd name="connsiteX400" fmla="*/ 143510 w 1219200"/>
                <a:gd name="connsiteY400" fmla="*/ 614681 h 868681"/>
                <a:gd name="connsiteX401" fmla="*/ 128269 w 1219200"/>
                <a:gd name="connsiteY401" fmla="*/ 635001 h 868681"/>
                <a:gd name="connsiteX402" fmla="*/ 128269 w 1219200"/>
                <a:gd name="connsiteY402" fmla="*/ 684531 h 868681"/>
                <a:gd name="connsiteX403" fmla="*/ 106045 w 1219200"/>
                <a:gd name="connsiteY403" fmla="*/ 684531 h 868681"/>
                <a:gd name="connsiteX404" fmla="*/ 106045 w 1219200"/>
                <a:gd name="connsiteY404" fmla="*/ 570866 h 868681"/>
                <a:gd name="connsiteX405" fmla="*/ 269875 w 1219200"/>
                <a:gd name="connsiteY405" fmla="*/ 635 h 868681"/>
                <a:gd name="connsiteX406" fmla="*/ 501015 w 1219200"/>
                <a:gd name="connsiteY406" fmla="*/ 635 h 868681"/>
                <a:gd name="connsiteX407" fmla="*/ 554989 w 1219200"/>
                <a:gd name="connsiteY407" fmla="*/ 94615 h 868681"/>
                <a:gd name="connsiteX408" fmla="*/ 391795 w 1219200"/>
                <a:gd name="connsiteY408" fmla="*/ 94615 h 868681"/>
                <a:gd name="connsiteX409" fmla="*/ 391795 w 1219200"/>
                <a:gd name="connsiteY409" fmla="*/ 161925 h 868681"/>
                <a:gd name="connsiteX410" fmla="*/ 539114 w 1219200"/>
                <a:gd name="connsiteY410" fmla="*/ 161925 h 868681"/>
                <a:gd name="connsiteX411" fmla="*/ 539114 w 1219200"/>
                <a:gd name="connsiteY411" fmla="*/ 247650 h 868681"/>
                <a:gd name="connsiteX412" fmla="*/ 391795 w 1219200"/>
                <a:gd name="connsiteY412" fmla="*/ 247650 h 868681"/>
                <a:gd name="connsiteX413" fmla="*/ 391795 w 1219200"/>
                <a:gd name="connsiteY413" fmla="*/ 314325 h 868681"/>
                <a:gd name="connsiteX414" fmla="*/ 595629 w 1219200"/>
                <a:gd name="connsiteY414" fmla="*/ 314325 h 868681"/>
                <a:gd name="connsiteX415" fmla="*/ 595629 w 1219200"/>
                <a:gd name="connsiteY415" fmla="*/ 408305 h 868681"/>
                <a:gd name="connsiteX416" fmla="*/ 269875 w 1219200"/>
                <a:gd name="connsiteY416" fmla="*/ 408305 h 868681"/>
                <a:gd name="connsiteX417" fmla="*/ 539114 w 1219200"/>
                <a:gd name="connsiteY417" fmla="*/ 0 h 868681"/>
                <a:gd name="connsiteX418" fmla="*/ 674370 w 1219200"/>
                <a:gd name="connsiteY418" fmla="*/ 0 h 868681"/>
                <a:gd name="connsiteX419" fmla="*/ 743584 w 1219200"/>
                <a:gd name="connsiteY419" fmla="*/ 132715 h 868681"/>
                <a:gd name="connsiteX420" fmla="*/ 812799 w 1219200"/>
                <a:gd name="connsiteY420" fmla="*/ 0 h 868681"/>
                <a:gd name="connsiteX421" fmla="*/ 946150 w 1219200"/>
                <a:gd name="connsiteY421" fmla="*/ 0 h 868681"/>
                <a:gd name="connsiteX422" fmla="*/ 803275 w 1219200"/>
                <a:gd name="connsiteY422" fmla="*/ 246380 h 868681"/>
                <a:gd name="connsiteX423" fmla="*/ 803275 w 1219200"/>
                <a:gd name="connsiteY423" fmla="*/ 407670 h 868681"/>
                <a:gd name="connsiteX424" fmla="*/ 681355 w 1219200"/>
                <a:gd name="connsiteY424" fmla="*/ 407670 h 868681"/>
                <a:gd name="connsiteX425" fmla="*/ 681355 w 1219200"/>
                <a:gd name="connsiteY425" fmla="*/ 246380 h 868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</a:cxnLst>
              <a:rect l="l" t="t" r="r" b="b"/>
              <a:pathLst>
                <a:path w="1219200" h="868681">
                  <a:moveTo>
                    <a:pt x="245110" y="839471"/>
                  </a:moveTo>
                  <a:lnTo>
                    <a:pt x="246379" y="839471"/>
                  </a:lnTo>
                  <a:lnTo>
                    <a:pt x="245041" y="839979"/>
                  </a:lnTo>
                  <a:close/>
                  <a:moveTo>
                    <a:pt x="522605" y="796926"/>
                  </a:moveTo>
                  <a:cubicBezTo>
                    <a:pt x="509905" y="796926"/>
                    <a:pt x="504189" y="807721"/>
                    <a:pt x="504189" y="821691"/>
                  </a:cubicBezTo>
                  <a:cubicBezTo>
                    <a:pt x="504189" y="831216"/>
                    <a:pt x="508000" y="845821"/>
                    <a:pt x="522605" y="845821"/>
                  </a:cubicBezTo>
                  <a:cubicBezTo>
                    <a:pt x="537845" y="845821"/>
                    <a:pt x="541019" y="831851"/>
                    <a:pt x="541019" y="821691"/>
                  </a:cubicBezTo>
                  <a:cubicBezTo>
                    <a:pt x="541019" y="807721"/>
                    <a:pt x="535305" y="796926"/>
                    <a:pt x="522605" y="796926"/>
                  </a:cubicBezTo>
                  <a:close/>
                  <a:moveTo>
                    <a:pt x="817245" y="796291"/>
                  </a:moveTo>
                  <a:cubicBezTo>
                    <a:pt x="803909" y="796291"/>
                    <a:pt x="800735" y="807086"/>
                    <a:pt x="800735" y="819786"/>
                  </a:cubicBezTo>
                  <a:cubicBezTo>
                    <a:pt x="800735" y="834391"/>
                    <a:pt x="805180" y="846456"/>
                    <a:pt x="817879" y="846456"/>
                  </a:cubicBezTo>
                  <a:cubicBezTo>
                    <a:pt x="824230" y="846456"/>
                    <a:pt x="828674" y="843281"/>
                    <a:pt x="833754" y="838836"/>
                  </a:cubicBezTo>
                  <a:lnTo>
                    <a:pt x="833754" y="838201"/>
                  </a:lnTo>
                  <a:lnTo>
                    <a:pt x="833754" y="803911"/>
                  </a:lnTo>
                  <a:cubicBezTo>
                    <a:pt x="828674" y="798831"/>
                    <a:pt x="824230" y="796291"/>
                    <a:pt x="817245" y="796291"/>
                  </a:cubicBezTo>
                  <a:close/>
                  <a:moveTo>
                    <a:pt x="1179195" y="794386"/>
                  </a:moveTo>
                  <a:cubicBezTo>
                    <a:pt x="1168400" y="794386"/>
                    <a:pt x="1163954" y="803911"/>
                    <a:pt x="1163320" y="811531"/>
                  </a:cubicBezTo>
                  <a:lnTo>
                    <a:pt x="1163954" y="811531"/>
                  </a:lnTo>
                  <a:lnTo>
                    <a:pt x="1195704" y="811531"/>
                  </a:lnTo>
                  <a:cubicBezTo>
                    <a:pt x="1195070" y="801371"/>
                    <a:pt x="1188720" y="794386"/>
                    <a:pt x="1179195" y="794386"/>
                  </a:cubicBezTo>
                  <a:close/>
                  <a:moveTo>
                    <a:pt x="909320" y="794386"/>
                  </a:moveTo>
                  <a:cubicBezTo>
                    <a:pt x="898525" y="794386"/>
                    <a:pt x="894079" y="803911"/>
                    <a:pt x="893445" y="811531"/>
                  </a:cubicBezTo>
                  <a:lnTo>
                    <a:pt x="894079" y="811531"/>
                  </a:lnTo>
                  <a:lnTo>
                    <a:pt x="925829" y="811531"/>
                  </a:lnTo>
                  <a:cubicBezTo>
                    <a:pt x="925195" y="801371"/>
                    <a:pt x="918845" y="794386"/>
                    <a:pt x="909320" y="794386"/>
                  </a:cubicBezTo>
                  <a:close/>
                  <a:moveTo>
                    <a:pt x="737870" y="775971"/>
                  </a:moveTo>
                  <a:lnTo>
                    <a:pt x="761364" y="775971"/>
                  </a:lnTo>
                  <a:lnTo>
                    <a:pt x="761364" y="866141"/>
                  </a:lnTo>
                  <a:lnTo>
                    <a:pt x="737870" y="866141"/>
                  </a:lnTo>
                  <a:close/>
                  <a:moveTo>
                    <a:pt x="143510" y="775971"/>
                  </a:moveTo>
                  <a:lnTo>
                    <a:pt x="167004" y="775971"/>
                  </a:lnTo>
                  <a:lnTo>
                    <a:pt x="167004" y="866141"/>
                  </a:lnTo>
                  <a:lnTo>
                    <a:pt x="143510" y="866141"/>
                  </a:lnTo>
                  <a:close/>
                  <a:moveTo>
                    <a:pt x="635" y="775971"/>
                  </a:moveTo>
                  <a:lnTo>
                    <a:pt x="26670" y="775971"/>
                  </a:lnTo>
                  <a:lnTo>
                    <a:pt x="40004" y="828041"/>
                  </a:lnTo>
                  <a:lnTo>
                    <a:pt x="55245" y="775971"/>
                  </a:lnTo>
                  <a:lnTo>
                    <a:pt x="76200" y="775971"/>
                  </a:lnTo>
                  <a:lnTo>
                    <a:pt x="91439" y="828041"/>
                  </a:lnTo>
                  <a:lnTo>
                    <a:pt x="105409" y="775971"/>
                  </a:lnTo>
                  <a:lnTo>
                    <a:pt x="130810" y="775971"/>
                  </a:lnTo>
                  <a:lnTo>
                    <a:pt x="102235" y="866141"/>
                  </a:lnTo>
                  <a:lnTo>
                    <a:pt x="80644" y="866141"/>
                  </a:lnTo>
                  <a:lnTo>
                    <a:pt x="65405" y="811531"/>
                  </a:lnTo>
                  <a:lnTo>
                    <a:pt x="50165" y="866141"/>
                  </a:lnTo>
                  <a:lnTo>
                    <a:pt x="28575" y="866141"/>
                  </a:lnTo>
                  <a:close/>
                  <a:moveTo>
                    <a:pt x="1181099" y="774066"/>
                  </a:moveTo>
                  <a:cubicBezTo>
                    <a:pt x="1204595" y="774066"/>
                    <a:pt x="1219200" y="795021"/>
                    <a:pt x="1219200" y="821056"/>
                  </a:cubicBezTo>
                  <a:lnTo>
                    <a:pt x="1218564" y="821056"/>
                  </a:lnTo>
                  <a:cubicBezTo>
                    <a:pt x="1218564" y="821056"/>
                    <a:pt x="1218564" y="827406"/>
                    <a:pt x="1218564" y="828676"/>
                  </a:cubicBezTo>
                  <a:lnTo>
                    <a:pt x="1163954" y="828676"/>
                  </a:lnTo>
                  <a:cubicBezTo>
                    <a:pt x="1165224" y="841376"/>
                    <a:pt x="1173480" y="846456"/>
                    <a:pt x="1183004" y="846456"/>
                  </a:cubicBezTo>
                  <a:cubicBezTo>
                    <a:pt x="1188720" y="846456"/>
                    <a:pt x="1193799" y="844551"/>
                    <a:pt x="1198879" y="840106"/>
                  </a:cubicBezTo>
                  <a:lnTo>
                    <a:pt x="1214754" y="853441"/>
                  </a:lnTo>
                  <a:cubicBezTo>
                    <a:pt x="1206500" y="864236"/>
                    <a:pt x="1193799" y="868046"/>
                    <a:pt x="1182370" y="868046"/>
                  </a:cubicBezTo>
                  <a:cubicBezTo>
                    <a:pt x="1156335" y="868046"/>
                    <a:pt x="1141095" y="847726"/>
                    <a:pt x="1141095" y="821056"/>
                  </a:cubicBezTo>
                  <a:cubicBezTo>
                    <a:pt x="1141095" y="792481"/>
                    <a:pt x="1158875" y="774066"/>
                    <a:pt x="1181099" y="774066"/>
                  </a:cubicBezTo>
                  <a:close/>
                  <a:moveTo>
                    <a:pt x="1097915" y="774066"/>
                  </a:moveTo>
                  <a:cubicBezTo>
                    <a:pt x="1113790" y="774066"/>
                    <a:pt x="1125220" y="781051"/>
                    <a:pt x="1133474" y="793751"/>
                  </a:cubicBezTo>
                  <a:lnTo>
                    <a:pt x="1118235" y="808991"/>
                  </a:lnTo>
                  <a:cubicBezTo>
                    <a:pt x="1113155" y="802006"/>
                    <a:pt x="1107439" y="796291"/>
                    <a:pt x="1097915" y="796291"/>
                  </a:cubicBezTo>
                  <a:cubicBezTo>
                    <a:pt x="1085215" y="796291"/>
                    <a:pt x="1078864" y="807086"/>
                    <a:pt x="1078864" y="820421"/>
                  </a:cubicBezTo>
                  <a:cubicBezTo>
                    <a:pt x="1078864" y="833121"/>
                    <a:pt x="1084579" y="845186"/>
                    <a:pt x="1097915" y="845186"/>
                  </a:cubicBezTo>
                  <a:cubicBezTo>
                    <a:pt x="1106170" y="845186"/>
                    <a:pt x="1113155" y="840741"/>
                    <a:pt x="1118235" y="833756"/>
                  </a:cubicBezTo>
                  <a:lnTo>
                    <a:pt x="1118870" y="834391"/>
                  </a:lnTo>
                  <a:lnTo>
                    <a:pt x="1133474" y="848361"/>
                  </a:lnTo>
                  <a:cubicBezTo>
                    <a:pt x="1125855" y="857886"/>
                    <a:pt x="1115060" y="868046"/>
                    <a:pt x="1097280" y="868046"/>
                  </a:cubicBezTo>
                  <a:cubicBezTo>
                    <a:pt x="1072515" y="868046"/>
                    <a:pt x="1054735" y="848361"/>
                    <a:pt x="1054735" y="821056"/>
                  </a:cubicBezTo>
                  <a:cubicBezTo>
                    <a:pt x="1054735" y="796291"/>
                    <a:pt x="1069974" y="774066"/>
                    <a:pt x="1097915" y="774066"/>
                  </a:cubicBezTo>
                  <a:close/>
                  <a:moveTo>
                    <a:pt x="1009015" y="774066"/>
                  </a:moveTo>
                  <a:cubicBezTo>
                    <a:pt x="1033144" y="774066"/>
                    <a:pt x="1041400" y="793116"/>
                    <a:pt x="1041400" y="815341"/>
                  </a:cubicBezTo>
                  <a:lnTo>
                    <a:pt x="1041400" y="866141"/>
                  </a:lnTo>
                  <a:lnTo>
                    <a:pt x="1017905" y="866141"/>
                  </a:lnTo>
                  <a:lnTo>
                    <a:pt x="1017905" y="817246"/>
                  </a:lnTo>
                  <a:cubicBezTo>
                    <a:pt x="1017905" y="804546"/>
                    <a:pt x="1014730" y="796291"/>
                    <a:pt x="1002665" y="796291"/>
                  </a:cubicBezTo>
                  <a:cubicBezTo>
                    <a:pt x="990599" y="796291"/>
                    <a:pt x="986790" y="803276"/>
                    <a:pt x="986790" y="816611"/>
                  </a:cubicBezTo>
                  <a:lnTo>
                    <a:pt x="986790" y="866141"/>
                  </a:lnTo>
                  <a:lnTo>
                    <a:pt x="963295" y="866141"/>
                  </a:lnTo>
                  <a:lnTo>
                    <a:pt x="963295" y="775971"/>
                  </a:lnTo>
                  <a:lnTo>
                    <a:pt x="986790" y="775971"/>
                  </a:lnTo>
                  <a:lnTo>
                    <a:pt x="986790" y="782321"/>
                  </a:lnTo>
                  <a:cubicBezTo>
                    <a:pt x="991870" y="777241"/>
                    <a:pt x="998855" y="774066"/>
                    <a:pt x="1009015" y="774066"/>
                  </a:cubicBezTo>
                  <a:close/>
                  <a:moveTo>
                    <a:pt x="911224" y="774066"/>
                  </a:moveTo>
                  <a:cubicBezTo>
                    <a:pt x="934720" y="774066"/>
                    <a:pt x="949325" y="795021"/>
                    <a:pt x="949325" y="821056"/>
                  </a:cubicBezTo>
                  <a:lnTo>
                    <a:pt x="948689" y="821056"/>
                  </a:lnTo>
                  <a:cubicBezTo>
                    <a:pt x="948689" y="821056"/>
                    <a:pt x="948689" y="827406"/>
                    <a:pt x="948689" y="828676"/>
                  </a:cubicBezTo>
                  <a:lnTo>
                    <a:pt x="894079" y="828676"/>
                  </a:lnTo>
                  <a:cubicBezTo>
                    <a:pt x="895349" y="841376"/>
                    <a:pt x="903605" y="846456"/>
                    <a:pt x="913129" y="846456"/>
                  </a:cubicBezTo>
                  <a:cubicBezTo>
                    <a:pt x="918845" y="846456"/>
                    <a:pt x="923924" y="844551"/>
                    <a:pt x="929004" y="840106"/>
                  </a:cubicBezTo>
                  <a:lnTo>
                    <a:pt x="944879" y="853441"/>
                  </a:lnTo>
                  <a:cubicBezTo>
                    <a:pt x="936625" y="864236"/>
                    <a:pt x="923924" y="868046"/>
                    <a:pt x="912495" y="868046"/>
                  </a:cubicBezTo>
                  <a:cubicBezTo>
                    <a:pt x="886459" y="868046"/>
                    <a:pt x="871220" y="847726"/>
                    <a:pt x="871220" y="821056"/>
                  </a:cubicBezTo>
                  <a:cubicBezTo>
                    <a:pt x="871220" y="792481"/>
                    <a:pt x="889000" y="774066"/>
                    <a:pt x="911224" y="774066"/>
                  </a:cubicBezTo>
                  <a:close/>
                  <a:moveTo>
                    <a:pt x="623570" y="774066"/>
                  </a:moveTo>
                  <a:cubicBezTo>
                    <a:pt x="647700" y="774066"/>
                    <a:pt x="655954" y="793116"/>
                    <a:pt x="655954" y="815341"/>
                  </a:cubicBezTo>
                  <a:lnTo>
                    <a:pt x="655954" y="866141"/>
                  </a:lnTo>
                  <a:lnTo>
                    <a:pt x="632459" y="866141"/>
                  </a:lnTo>
                  <a:lnTo>
                    <a:pt x="632459" y="817246"/>
                  </a:lnTo>
                  <a:cubicBezTo>
                    <a:pt x="632459" y="804546"/>
                    <a:pt x="629284" y="796291"/>
                    <a:pt x="617220" y="796291"/>
                  </a:cubicBezTo>
                  <a:cubicBezTo>
                    <a:pt x="605155" y="796291"/>
                    <a:pt x="601345" y="803276"/>
                    <a:pt x="601345" y="816611"/>
                  </a:cubicBezTo>
                  <a:lnTo>
                    <a:pt x="601345" y="866141"/>
                  </a:lnTo>
                  <a:lnTo>
                    <a:pt x="577849" y="866141"/>
                  </a:lnTo>
                  <a:lnTo>
                    <a:pt x="577849" y="775971"/>
                  </a:lnTo>
                  <a:lnTo>
                    <a:pt x="601345" y="775971"/>
                  </a:lnTo>
                  <a:lnTo>
                    <a:pt x="601345" y="782321"/>
                  </a:lnTo>
                  <a:cubicBezTo>
                    <a:pt x="606424" y="777241"/>
                    <a:pt x="613409" y="774066"/>
                    <a:pt x="623570" y="774066"/>
                  </a:cubicBezTo>
                  <a:close/>
                  <a:moveTo>
                    <a:pt x="522605" y="774066"/>
                  </a:moveTo>
                  <a:cubicBezTo>
                    <a:pt x="548004" y="774066"/>
                    <a:pt x="564515" y="793116"/>
                    <a:pt x="564515" y="821056"/>
                  </a:cubicBezTo>
                  <a:cubicBezTo>
                    <a:pt x="564515" y="848996"/>
                    <a:pt x="546735" y="868046"/>
                    <a:pt x="522605" y="868046"/>
                  </a:cubicBezTo>
                  <a:cubicBezTo>
                    <a:pt x="498474" y="868046"/>
                    <a:pt x="480695" y="848996"/>
                    <a:pt x="480695" y="821056"/>
                  </a:cubicBezTo>
                  <a:cubicBezTo>
                    <a:pt x="480695" y="794386"/>
                    <a:pt x="496570" y="774066"/>
                    <a:pt x="522605" y="774066"/>
                  </a:cubicBezTo>
                  <a:close/>
                  <a:moveTo>
                    <a:pt x="436879" y="774066"/>
                  </a:moveTo>
                  <a:cubicBezTo>
                    <a:pt x="452754" y="774066"/>
                    <a:pt x="464185" y="781051"/>
                    <a:pt x="472439" y="793751"/>
                  </a:cubicBezTo>
                  <a:lnTo>
                    <a:pt x="457200" y="808991"/>
                  </a:lnTo>
                  <a:cubicBezTo>
                    <a:pt x="452120" y="802006"/>
                    <a:pt x="446405" y="796291"/>
                    <a:pt x="436879" y="796291"/>
                  </a:cubicBezTo>
                  <a:cubicBezTo>
                    <a:pt x="424180" y="796291"/>
                    <a:pt x="417829" y="807086"/>
                    <a:pt x="417829" y="820421"/>
                  </a:cubicBezTo>
                  <a:cubicBezTo>
                    <a:pt x="417829" y="833121"/>
                    <a:pt x="423545" y="845186"/>
                    <a:pt x="436879" y="845186"/>
                  </a:cubicBezTo>
                  <a:cubicBezTo>
                    <a:pt x="445135" y="845186"/>
                    <a:pt x="452120" y="840741"/>
                    <a:pt x="457200" y="833756"/>
                  </a:cubicBezTo>
                  <a:lnTo>
                    <a:pt x="457834" y="834391"/>
                  </a:lnTo>
                  <a:lnTo>
                    <a:pt x="472439" y="848361"/>
                  </a:lnTo>
                  <a:cubicBezTo>
                    <a:pt x="464820" y="857886"/>
                    <a:pt x="454025" y="868046"/>
                    <a:pt x="436245" y="868046"/>
                  </a:cubicBezTo>
                  <a:cubicBezTo>
                    <a:pt x="411480" y="868046"/>
                    <a:pt x="393700" y="848361"/>
                    <a:pt x="393700" y="821056"/>
                  </a:cubicBezTo>
                  <a:cubicBezTo>
                    <a:pt x="393700" y="796291"/>
                    <a:pt x="408939" y="774066"/>
                    <a:pt x="436879" y="774066"/>
                  </a:cubicBezTo>
                  <a:close/>
                  <a:moveTo>
                    <a:pt x="219075" y="742316"/>
                  </a:moveTo>
                  <a:lnTo>
                    <a:pt x="219075" y="777241"/>
                  </a:lnTo>
                  <a:lnTo>
                    <a:pt x="245110" y="777241"/>
                  </a:lnTo>
                  <a:lnTo>
                    <a:pt x="245110" y="798831"/>
                  </a:lnTo>
                  <a:lnTo>
                    <a:pt x="219075" y="798831"/>
                  </a:lnTo>
                  <a:lnTo>
                    <a:pt x="219075" y="835661"/>
                  </a:lnTo>
                  <a:cubicBezTo>
                    <a:pt x="219075" y="843916"/>
                    <a:pt x="222250" y="846456"/>
                    <a:pt x="227965" y="846456"/>
                  </a:cubicBezTo>
                  <a:lnTo>
                    <a:pt x="245041" y="839979"/>
                  </a:lnTo>
                  <a:lnTo>
                    <a:pt x="241935" y="862966"/>
                  </a:lnTo>
                  <a:cubicBezTo>
                    <a:pt x="236855" y="866776"/>
                    <a:pt x="225424" y="868681"/>
                    <a:pt x="219709" y="868681"/>
                  </a:cubicBezTo>
                  <a:cubicBezTo>
                    <a:pt x="205739" y="868681"/>
                    <a:pt x="195579" y="857251"/>
                    <a:pt x="195579" y="842011"/>
                  </a:cubicBezTo>
                  <a:lnTo>
                    <a:pt x="195579" y="798831"/>
                  </a:lnTo>
                  <a:lnTo>
                    <a:pt x="179704" y="798831"/>
                  </a:lnTo>
                  <a:lnTo>
                    <a:pt x="179704" y="777241"/>
                  </a:lnTo>
                  <a:lnTo>
                    <a:pt x="195579" y="777241"/>
                  </a:lnTo>
                  <a:lnTo>
                    <a:pt x="195579" y="753746"/>
                  </a:lnTo>
                  <a:close/>
                  <a:moveTo>
                    <a:pt x="749935" y="741681"/>
                  </a:moveTo>
                  <a:cubicBezTo>
                    <a:pt x="757555" y="741681"/>
                    <a:pt x="763269" y="747396"/>
                    <a:pt x="763269" y="755016"/>
                  </a:cubicBezTo>
                  <a:cubicBezTo>
                    <a:pt x="763269" y="762636"/>
                    <a:pt x="757555" y="768351"/>
                    <a:pt x="749935" y="768351"/>
                  </a:cubicBezTo>
                  <a:cubicBezTo>
                    <a:pt x="742314" y="768351"/>
                    <a:pt x="736599" y="762636"/>
                    <a:pt x="736599" y="755016"/>
                  </a:cubicBezTo>
                  <a:cubicBezTo>
                    <a:pt x="736599" y="747396"/>
                    <a:pt x="742314" y="741681"/>
                    <a:pt x="749935" y="741681"/>
                  </a:cubicBezTo>
                  <a:close/>
                  <a:moveTo>
                    <a:pt x="154939" y="741681"/>
                  </a:moveTo>
                  <a:cubicBezTo>
                    <a:pt x="162560" y="741681"/>
                    <a:pt x="168275" y="747396"/>
                    <a:pt x="168275" y="755016"/>
                  </a:cubicBezTo>
                  <a:cubicBezTo>
                    <a:pt x="168275" y="762636"/>
                    <a:pt x="162560" y="768351"/>
                    <a:pt x="154939" y="768351"/>
                  </a:cubicBezTo>
                  <a:cubicBezTo>
                    <a:pt x="147320" y="768351"/>
                    <a:pt x="141605" y="762636"/>
                    <a:pt x="141605" y="755016"/>
                  </a:cubicBezTo>
                  <a:cubicBezTo>
                    <a:pt x="141605" y="747396"/>
                    <a:pt x="147320" y="741681"/>
                    <a:pt x="154939" y="741681"/>
                  </a:cubicBezTo>
                  <a:close/>
                  <a:moveTo>
                    <a:pt x="856614" y="741046"/>
                  </a:moveTo>
                  <a:lnTo>
                    <a:pt x="856614" y="866141"/>
                  </a:lnTo>
                  <a:lnTo>
                    <a:pt x="833120" y="866141"/>
                  </a:lnTo>
                  <a:lnTo>
                    <a:pt x="833120" y="860426"/>
                  </a:lnTo>
                  <a:cubicBezTo>
                    <a:pt x="825500" y="866141"/>
                    <a:pt x="821055" y="868046"/>
                    <a:pt x="812799" y="868046"/>
                  </a:cubicBezTo>
                  <a:cubicBezTo>
                    <a:pt x="786765" y="868046"/>
                    <a:pt x="775970" y="845821"/>
                    <a:pt x="775970" y="820421"/>
                  </a:cubicBezTo>
                  <a:cubicBezTo>
                    <a:pt x="775970" y="793116"/>
                    <a:pt x="788670" y="774066"/>
                    <a:pt x="812165" y="774066"/>
                  </a:cubicBezTo>
                  <a:cubicBezTo>
                    <a:pt x="819784" y="774066"/>
                    <a:pt x="827405" y="775971"/>
                    <a:pt x="833120" y="781051"/>
                  </a:cubicBezTo>
                  <a:lnTo>
                    <a:pt x="833120" y="752476"/>
                  </a:lnTo>
                  <a:close/>
                  <a:moveTo>
                    <a:pt x="707390" y="741046"/>
                  </a:moveTo>
                  <a:cubicBezTo>
                    <a:pt x="712470" y="741046"/>
                    <a:pt x="719454" y="741046"/>
                    <a:pt x="724534" y="743586"/>
                  </a:cubicBezTo>
                  <a:lnTo>
                    <a:pt x="724534" y="744221"/>
                  </a:lnTo>
                  <a:lnTo>
                    <a:pt x="724534" y="762636"/>
                  </a:lnTo>
                  <a:cubicBezTo>
                    <a:pt x="721360" y="761366"/>
                    <a:pt x="716280" y="760731"/>
                    <a:pt x="713105" y="760731"/>
                  </a:cubicBezTo>
                  <a:cubicBezTo>
                    <a:pt x="706120" y="760731"/>
                    <a:pt x="703579" y="762636"/>
                    <a:pt x="703579" y="768351"/>
                  </a:cubicBezTo>
                  <a:lnTo>
                    <a:pt x="703579" y="775336"/>
                  </a:lnTo>
                  <a:lnTo>
                    <a:pt x="722629" y="775336"/>
                  </a:lnTo>
                  <a:lnTo>
                    <a:pt x="722629" y="796926"/>
                  </a:lnTo>
                  <a:lnTo>
                    <a:pt x="703579" y="796926"/>
                  </a:lnTo>
                  <a:lnTo>
                    <a:pt x="703579" y="865506"/>
                  </a:lnTo>
                  <a:lnTo>
                    <a:pt x="680084" y="865506"/>
                  </a:lnTo>
                  <a:lnTo>
                    <a:pt x="680084" y="796926"/>
                  </a:lnTo>
                  <a:lnTo>
                    <a:pt x="667385" y="796926"/>
                  </a:lnTo>
                  <a:lnTo>
                    <a:pt x="667385" y="775336"/>
                  </a:lnTo>
                  <a:lnTo>
                    <a:pt x="680084" y="775336"/>
                  </a:lnTo>
                  <a:lnTo>
                    <a:pt x="680084" y="764541"/>
                  </a:lnTo>
                  <a:cubicBezTo>
                    <a:pt x="680084" y="748031"/>
                    <a:pt x="690879" y="741046"/>
                    <a:pt x="707390" y="741046"/>
                  </a:cubicBezTo>
                  <a:close/>
                  <a:moveTo>
                    <a:pt x="282575" y="741046"/>
                  </a:moveTo>
                  <a:lnTo>
                    <a:pt x="282575" y="782321"/>
                  </a:lnTo>
                  <a:cubicBezTo>
                    <a:pt x="287019" y="777241"/>
                    <a:pt x="295909" y="774066"/>
                    <a:pt x="304799" y="774066"/>
                  </a:cubicBezTo>
                  <a:cubicBezTo>
                    <a:pt x="328295" y="774066"/>
                    <a:pt x="336549" y="792481"/>
                    <a:pt x="336549" y="815341"/>
                  </a:cubicBezTo>
                  <a:lnTo>
                    <a:pt x="336549" y="866141"/>
                  </a:lnTo>
                  <a:lnTo>
                    <a:pt x="313689" y="866141"/>
                  </a:lnTo>
                  <a:lnTo>
                    <a:pt x="313689" y="817246"/>
                  </a:lnTo>
                  <a:cubicBezTo>
                    <a:pt x="313689" y="804546"/>
                    <a:pt x="310515" y="796291"/>
                    <a:pt x="298450" y="796291"/>
                  </a:cubicBezTo>
                  <a:cubicBezTo>
                    <a:pt x="286385" y="796291"/>
                    <a:pt x="282575" y="803276"/>
                    <a:pt x="282575" y="816611"/>
                  </a:cubicBezTo>
                  <a:lnTo>
                    <a:pt x="282575" y="866141"/>
                  </a:lnTo>
                  <a:lnTo>
                    <a:pt x="259079" y="866141"/>
                  </a:lnTo>
                  <a:lnTo>
                    <a:pt x="259079" y="752476"/>
                  </a:lnTo>
                  <a:close/>
                  <a:moveTo>
                    <a:pt x="92709" y="648336"/>
                  </a:moveTo>
                  <a:lnTo>
                    <a:pt x="92709" y="649606"/>
                  </a:lnTo>
                  <a:lnTo>
                    <a:pt x="92427" y="648959"/>
                  </a:lnTo>
                  <a:close/>
                  <a:moveTo>
                    <a:pt x="230504" y="643256"/>
                  </a:moveTo>
                  <a:cubicBezTo>
                    <a:pt x="220345" y="643256"/>
                    <a:pt x="215900" y="647701"/>
                    <a:pt x="215900" y="654686"/>
                  </a:cubicBezTo>
                  <a:cubicBezTo>
                    <a:pt x="215900" y="661671"/>
                    <a:pt x="220345" y="667386"/>
                    <a:pt x="228599" y="667386"/>
                  </a:cubicBezTo>
                  <a:cubicBezTo>
                    <a:pt x="233045" y="667386"/>
                    <a:pt x="240665" y="666116"/>
                    <a:pt x="245745" y="658496"/>
                  </a:cubicBezTo>
                  <a:lnTo>
                    <a:pt x="245745" y="647066"/>
                  </a:lnTo>
                  <a:cubicBezTo>
                    <a:pt x="241299" y="643891"/>
                    <a:pt x="234950" y="643256"/>
                    <a:pt x="230504" y="643256"/>
                  </a:cubicBezTo>
                  <a:close/>
                  <a:moveTo>
                    <a:pt x="321310" y="614046"/>
                  </a:moveTo>
                  <a:cubicBezTo>
                    <a:pt x="314959" y="614046"/>
                    <a:pt x="309879" y="617221"/>
                    <a:pt x="306704" y="622301"/>
                  </a:cubicBezTo>
                  <a:lnTo>
                    <a:pt x="306704" y="656591"/>
                  </a:lnTo>
                  <a:cubicBezTo>
                    <a:pt x="310515" y="661671"/>
                    <a:pt x="316230" y="664846"/>
                    <a:pt x="323215" y="664846"/>
                  </a:cubicBezTo>
                  <a:cubicBezTo>
                    <a:pt x="335915" y="664846"/>
                    <a:pt x="339090" y="653416"/>
                    <a:pt x="339090" y="640716"/>
                  </a:cubicBezTo>
                  <a:lnTo>
                    <a:pt x="338454" y="640716"/>
                  </a:lnTo>
                  <a:cubicBezTo>
                    <a:pt x="338454" y="627381"/>
                    <a:pt x="335280" y="614046"/>
                    <a:pt x="321310" y="614046"/>
                  </a:cubicBezTo>
                  <a:close/>
                  <a:moveTo>
                    <a:pt x="1179195" y="612776"/>
                  </a:moveTo>
                  <a:cubicBezTo>
                    <a:pt x="1168400" y="612776"/>
                    <a:pt x="1163954" y="622301"/>
                    <a:pt x="1163320" y="629921"/>
                  </a:cubicBezTo>
                  <a:lnTo>
                    <a:pt x="1163954" y="629921"/>
                  </a:lnTo>
                  <a:lnTo>
                    <a:pt x="1195704" y="629921"/>
                  </a:lnTo>
                  <a:cubicBezTo>
                    <a:pt x="1195070" y="619761"/>
                    <a:pt x="1188720" y="612776"/>
                    <a:pt x="1179195" y="612776"/>
                  </a:cubicBezTo>
                  <a:close/>
                  <a:moveTo>
                    <a:pt x="689610" y="612776"/>
                  </a:moveTo>
                  <a:cubicBezTo>
                    <a:pt x="678814" y="612776"/>
                    <a:pt x="674370" y="622301"/>
                    <a:pt x="673735" y="629921"/>
                  </a:cubicBezTo>
                  <a:lnTo>
                    <a:pt x="674370" y="629921"/>
                  </a:lnTo>
                  <a:lnTo>
                    <a:pt x="706120" y="629921"/>
                  </a:lnTo>
                  <a:cubicBezTo>
                    <a:pt x="705485" y="619761"/>
                    <a:pt x="699135" y="612776"/>
                    <a:pt x="689610" y="612776"/>
                  </a:cubicBezTo>
                  <a:close/>
                  <a:moveTo>
                    <a:pt x="410845" y="612776"/>
                  </a:moveTo>
                  <a:cubicBezTo>
                    <a:pt x="400685" y="612776"/>
                    <a:pt x="396239" y="622301"/>
                    <a:pt x="395605" y="629921"/>
                  </a:cubicBezTo>
                  <a:lnTo>
                    <a:pt x="427355" y="629921"/>
                  </a:lnTo>
                  <a:cubicBezTo>
                    <a:pt x="426084" y="619761"/>
                    <a:pt x="420370" y="612776"/>
                    <a:pt x="410845" y="612776"/>
                  </a:cubicBezTo>
                  <a:close/>
                  <a:moveTo>
                    <a:pt x="991870" y="594361"/>
                  </a:moveTo>
                  <a:lnTo>
                    <a:pt x="1014095" y="594361"/>
                  </a:lnTo>
                  <a:lnTo>
                    <a:pt x="1014095" y="643256"/>
                  </a:lnTo>
                  <a:cubicBezTo>
                    <a:pt x="1014095" y="655321"/>
                    <a:pt x="1016635" y="664846"/>
                    <a:pt x="1029334" y="664846"/>
                  </a:cubicBezTo>
                  <a:cubicBezTo>
                    <a:pt x="1042034" y="664846"/>
                    <a:pt x="1044575" y="655321"/>
                    <a:pt x="1044575" y="644526"/>
                  </a:cubicBezTo>
                  <a:lnTo>
                    <a:pt x="1044575" y="594996"/>
                  </a:lnTo>
                  <a:lnTo>
                    <a:pt x="1066799" y="594996"/>
                  </a:lnTo>
                  <a:lnTo>
                    <a:pt x="1066799" y="684531"/>
                  </a:lnTo>
                  <a:lnTo>
                    <a:pt x="1044575" y="684531"/>
                  </a:lnTo>
                  <a:lnTo>
                    <a:pt x="1044575" y="678181"/>
                  </a:lnTo>
                  <a:cubicBezTo>
                    <a:pt x="1039495" y="683896"/>
                    <a:pt x="1031875" y="686436"/>
                    <a:pt x="1023620" y="686436"/>
                  </a:cubicBezTo>
                  <a:cubicBezTo>
                    <a:pt x="1000125" y="686436"/>
                    <a:pt x="991870" y="669926"/>
                    <a:pt x="991870" y="645161"/>
                  </a:cubicBezTo>
                  <a:close/>
                  <a:moveTo>
                    <a:pt x="836295" y="594361"/>
                  </a:moveTo>
                  <a:lnTo>
                    <a:pt x="858519" y="594361"/>
                  </a:lnTo>
                  <a:lnTo>
                    <a:pt x="858519" y="643256"/>
                  </a:lnTo>
                  <a:cubicBezTo>
                    <a:pt x="858519" y="655321"/>
                    <a:pt x="861060" y="664846"/>
                    <a:pt x="873760" y="664846"/>
                  </a:cubicBezTo>
                  <a:cubicBezTo>
                    <a:pt x="886459" y="664846"/>
                    <a:pt x="889000" y="655321"/>
                    <a:pt x="889000" y="644526"/>
                  </a:cubicBezTo>
                  <a:lnTo>
                    <a:pt x="889000" y="594996"/>
                  </a:lnTo>
                  <a:lnTo>
                    <a:pt x="911224" y="594996"/>
                  </a:lnTo>
                  <a:lnTo>
                    <a:pt x="911224" y="684531"/>
                  </a:lnTo>
                  <a:lnTo>
                    <a:pt x="889000" y="684531"/>
                  </a:lnTo>
                  <a:lnTo>
                    <a:pt x="889000" y="678181"/>
                  </a:lnTo>
                  <a:cubicBezTo>
                    <a:pt x="883920" y="683896"/>
                    <a:pt x="876299" y="686436"/>
                    <a:pt x="868045" y="686436"/>
                  </a:cubicBezTo>
                  <a:cubicBezTo>
                    <a:pt x="844549" y="686436"/>
                    <a:pt x="836295" y="669926"/>
                    <a:pt x="836295" y="645161"/>
                  </a:cubicBezTo>
                  <a:close/>
                  <a:moveTo>
                    <a:pt x="1181099" y="592456"/>
                  </a:moveTo>
                  <a:cubicBezTo>
                    <a:pt x="1204595" y="592456"/>
                    <a:pt x="1219200" y="613411"/>
                    <a:pt x="1219200" y="639446"/>
                  </a:cubicBezTo>
                  <a:lnTo>
                    <a:pt x="1218564" y="639446"/>
                  </a:lnTo>
                  <a:cubicBezTo>
                    <a:pt x="1218564" y="639446"/>
                    <a:pt x="1218564" y="645796"/>
                    <a:pt x="1218564" y="647066"/>
                  </a:cubicBezTo>
                  <a:lnTo>
                    <a:pt x="1163954" y="647066"/>
                  </a:lnTo>
                  <a:cubicBezTo>
                    <a:pt x="1165224" y="659766"/>
                    <a:pt x="1173480" y="664846"/>
                    <a:pt x="1183004" y="664846"/>
                  </a:cubicBezTo>
                  <a:cubicBezTo>
                    <a:pt x="1188720" y="664846"/>
                    <a:pt x="1193799" y="662941"/>
                    <a:pt x="1198879" y="658496"/>
                  </a:cubicBezTo>
                  <a:lnTo>
                    <a:pt x="1214754" y="671831"/>
                  </a:lnTo>
                  <a:cubicBezTo>
                    <a:pt x="1206500" y="682626"/>
                    <a:pt x="1193799" y="686436"/>
                    <a:pt x="1182370" y="686436"/>
                  </a:cubicBezTo>
                  <a:cubicBezTo>
                    <a:pt x="1156335" y="686436"/>
                    <a:pt x="1141095" y="666116"/>
                    <a:pt x="1141095" y="639446"/>
                  </a:cubicBezTo>
                  <a:cubicBezTo>
                    <a:pt x="1141095" y="610871"/>
                    <a:pt x="1158875" y="592456"/>
                    <a:pt x="1181099" y="592456"/>
                  </a:cubicBezTo>
                  <a:close/>
                  <a:moveTo>
                    <a:pt x="691515" y="592456"/>
                  </a:moveTo>
                  <a:cubicBezTo>
                    <a:pt x="715010" y="592456"/>
                    <a:pt x="729614" y="613411"/>
                    <a:pt x="729614" y="639446"/>
                  </a:cubicBezTo>
                  <a:lnTo>
                    <a:pt x="728980" y="639446"/>
                  </a:lnTo>
                  <a:cubicBezTo>
                    <a:pt x="728980" y="639446"/>
                    <a:pt x="728980" y="645796"/>
                    <a:pt x="728980" y="647066"/>
                  </a:cubicBezTo>
                  <a:lnTo>
                    <a:pt x="674370" y="647066"/>
                  </a:lnTo>
                  <a:cubicBezTo>
                    <a:pt x="675640" y="659766"/>
                    <a:pt x="683894" y="664846"/>
                    <a:pt x="693420" y="664846"/>
                  </a:cubicBezTo>
                  <a:cubicBezTo>
                    <a:pt x="699135" y="664846"/>
                    <a:pt x="704215" y="662941"/>
                    <a:pt x="709295" y="658496"/>
                  </a:cubicBezTo>
                  <a:lnTo>
                    <a:pt x="725170" y="671831"/>
                  </a:lnTo>
                  <a:cubicBezTo>
                    <a:pt x="716915" y="682626"/>
                    <a:pt x="704215" y="686436"/>
                    <a:pt x="692784" y="686436"/>
                  </a:cubicBezTo>
                  <a:cubicBezTo>
                    <a:pt x="666750" y="686436"/>
                    <a:pt x="651510" y="666116"/>
                    <a:pt x="651510" y="639446"/>
                  </a:cubicBezTo>
                  <a:cubicBezTo>
                    <a:pt x="651510" y="610871"/>
                    <a:pt x="669290" y="592456"/>
                    <a:pt x="691515" y="592456"/>
                  </a:cubicBezTo>
                  <a:close/>
                  <a:moveTo>
                    <a:pt x="412114" y="592456"/>
                  </a:moveTo>
                  <a:cubicBezTo>
                    <a:pt x="437515" y="592456"/>
                    <a:pt x="448310" y="615316"/>
                    <a:pt x="448310" y="639446"/>
                  </a:cubicBezTo>
                  <a:cubicBezTo>
                    <a:pt x="448310" y="639446"/>
                    <a:pt x="448310" y="645796"/>
                    <a:pt x="448310" y="647066"/>
                  </a:cubicBezTo>
                  <a:lnTo>
                    <a:pt x="395605" y="647066"/>
                  </a:lnTo>
                  <a:cubicBezTo>
                    <a:pt x="396875" y="659766"/>
                    <a:pt x="405129" y="664846"/>
                    <a:pt x="415290" y="664846"/>
                  </a:cubicBezTo>
                  <a:cubicBezTo>
                    <a:pt x="421004" y="664846"/>
                    <a:pt x="426084" y="662941"/>
                    <a:pt x="430530" y="658496"/>
                  </a:cubicBezTo>
                  <a:lnTo>
                    <a:pt x="446405" y="671831"/>
                  </a:lnTo>
                  <a:cubicBezTo>
                    <a:pt x="438784" y="681991"/>
                    <a:pt x="425450" y="686436"/>
                    <a:pt x="413385" y="686436"/>
                  </a:cubicBezTo>
                  <a:cubicBezTo>
                    <a:pt x="387349" y="686436"/>
                    <a:pt x="372110" y="666116"/>
                    <a:pt x="372110" y="640081"/>
                  </a:cubicBezTo>
                  <a:cubicBezTo>
                    <a:pt x="372110" y="614046"/>
                    <a:pt x="388620" y="592456"/>
                    <a:pt x="412114" y="592456"/>
                  </a:cubicBezTo>
                  <a:close/>
                  <a:moveTo>
                    <a:pt x="326390" y="592456"/>
                  </a:moveTo>
                  <a:cubicBezTo>
                    <a:pt x="350519" y="592456"/>
                    <a:pt x="361314" y="615316"/>
                    <a:pt x="361314" y="639446"/>
                  </a:cubicBezTo>
                  <a:cubicBezTo>
                    <a:pt x="361314" y="662306"/>
                    <a:pt x="351790" y="686436"/>
                    <a:pt x="326390" y="686436"/>
                  </a:cubicBezTo>
                  <a:cubicBezTo>
                    <a:pt x="316230" y="686436"/>
                    <a:pt x="310515" y="682626"/>
                    <a:pt x="306070" y="678816"/>
                  </a:cubicBezTo>
                  <a:lnTo>
                    <a:pt x="306070" y="706121"/>
                  </a:lnTo>
                  <a:lnTo>
                    <a:pt x="283845" y="717551"/>
                  </a:lnTo>
                  <a:lnTo>
                    <a:pt x="283845" y="594361"/>
                  </a:lnTo>
                  <a:lnTo>
                    <a:pt x="306070" y="594361"/>
                  </a:lnTo>
                  <a:lnTo>
                    <a:pt x="306070" y="600711"/>
                  </a:lnTo>
                  <a:cubicBezTo>
                    <a:pt x="311784" y="595631"/>
                    <a:pt x="318135" y="592456"/>
                    <a:pt x="326390" y="592456"/>
                  </a:cubicBezTo>
                  <a:close/>
                  <a:moveTo>
                    <a:pt x="231775" y="592456"/>
                  </a:moveTo>
                  <a:cubicBezTo>
                    <a:pt x="254635" y="592456"/>
                    <a:pt x="268605" y="603251"/>
                    <a:pt x="268605" y="624206"/>
                  </a:cubicBezTo>
                  <a:lnTo>
                    <a:pt x="268605" y="684531"/>
                  </a:lnTo>
                  <a:lnTo>
                    <a:pt x="267970" y="684531"/>
                  </a:lnTo>
                  <a:lnTo>
                    <a:pt x="245745" y="684531"/>
                  </a:lnTo>
                  <a:lnTo>
                    <a:pt x="245745" y="678181"/>
                  </a:lnTo>
                  <a:cubicBezTo>
                    <a:pt x="240665" y="683261"/>
                    <a:pt x="233680" y="686436"/>
                    <a:pt x="224790" y="686436"/>
                  </a:cubicBezTo>
                  <a:cubicBezTo>
                    <a:pt x="207010" y="686436"/>
                    <a:pt x="193040" y="675006"/>
                    <a:pt x="193040" y="655321"/>
                  </a:cubicBezTo>
                  <a:cubicBezTo>
                    <a:pt x="193040" y="635636"/>
                    <a:pt x="206375" y="624841"/>
                    <a:pt x="227965" y="624841"/>
                  </a:cubicBezTo>
                  <a:cubicBezTo>
                    <a:pt x="233680" y="624841"/>
                    <a:pt x="239394" y="625476"/>
                    <a:pt x="245745" y="628651"/>
                  </a:cubicBezTo>
                  <a:lnTo>
                    <a:pt x="245745" y="623571"/>
                  </a:lnTo>
                  <a:cubicBezTo>
                    <a:pt x="245745" y="615316"/>
                    <a:pt x="240030" y="611506"/>
                    <a:pt x="230504" y="611506"/>
                  </a:cubicBezTo>
                  <a:cubicBezTo>
                    <a:pt x="223519" y="611506"/>
                    <a:pt x="216534" y="613411"/>
                    <a:pt x="209549" y="617221"/>
                  </a:cubicBezTo>
                  <a:lnTo>
                    <a:pt x="200659" y="601346"/>
                  </a:lnTo>
                  <a:cubicBezTo>
                    <a:pt x="210185" y="594996"/>
                    <a:pt x="219709" y="592456"/>
                    <a:pt x="231775" y="592456"/>
                  </a:cubicBezTo>
                  <a:close/>
                  <a:moveTo>
                    <a:pt x="1125855" y="591821"/>
                  </a:moveTo>
                  <a:cubicBezTo>
                    <a:pt x="1132204" y="591821"/>
                    <a:pt x="1137920" y="593726"/>
                    <a:pt x="1142364" y="598171"/>
                  </a:cubicBezTo>
                  <a:lnTo>
                    <a:pt x="1141730" y="598806"/>
                  </a:lnTo>
                  <a:lnTo>
                    <a:pt x="1132840" y="621031"/>
                  </a:lnTo>
                  <a:cubicBezTo>
                    <a:pt x="1129665" y="617856"/>
                    <a:pt x="1125220" y="615316"/>
                    <a:pt x="1120140" y="615316"/>
                  </a:cubicBezTo>
                  <a:cubicBezTo>
                    <a:pt x="1109345" y="615316"/>
                    <a:pt x="1106805" y="624206"/>
                    <a:pt x="1106805" y="635001"/>
                  </a:cubicBezTo>
                  <a:lnTo>
                    <a:pt x="1106805" y="683896"/>
                  </a:lnTo>
                  <a:lnTo>
                    <a:pt x="1084579" y="683896"/>
                  </a:lnTo>
                  <a:lnTo>
                    <a:pt x="1084579" y="593726"/>
                  </a:lnTo>
                  <a:lnTo>
                    <a:pt x="1106805" y="593726"/>
                  </a:lnTo>
                  <a:lnTo>
                    <a:pt x="1106805" y="600076"/>
                  </a:lnTo>
                  <a:cubicBezTo>
                    <a:pt x="1111885" y="594996"/>
                    <a:pt x="1118235" y="591821"/>
                    <a:pt x="1125855" y="591821"/>
                  </a:cubicBezTo>
                  <a:close/>
                  <a:moveTo>
                    <a:pt x="47625" y="563881"/>
                  </a:moveTo>
                  <a:cubicBezTo>
                    <a:pt x="66040" y="563881"/>
                    <a:pt x="79375" y="571501"/>
                    <a:pt x="90170" y="582296"/>
                  </a:cubicBezTo>
                  <a:lnTo>
                    <a:pt x="73659" y="598806"/>
                  </a:lnTo>
                  <a:cubicBezTo>
                    <a:pt x="66040" y="591186"/>
                    <a:pt x="58420" y="586741"/>
                    <a:pt x="46355" y="586741"/>
                  </a:cubicBezTo>
                  <a:cubicBezTo>
                    <a:pt x="36194" y="586741"/>
                    <a:pt x="28575" y="589916"/>
                    <a:pt x="28575" y="598171"/>
                  </a:cubicBezTo>
                  <a:cubicBezTo>
                    <a:pt x="28575" y="601981"/>
                    <a:pt x="29845" y="604521"/>
                    <a:pt x="33655" y="606426"/>
                  </a:cubicBezTo>
                  <a:cubicBezTo>
                    <a:pt x="38099" y="608966"/>
                    <a:pt x="43814" y="610236"/>
                    <a:pt x="52704" y="612776"/>
                  </a:cubicBezTo>
                  <a:cubicBezTo>
                    <a:pt x="63500" y="615951"/>
                    <a:pt x="73659" y="617856"/>
                    <a:pt x="81915" y="624841"/>
                  </a:cubicBezTo>
                  <a:lnTo>
                    <a:pt x="92427" y="648959"/>
                  </a:lnTo>
                  <a:lnTo>
                    <a:pt x="79454" y="677626"/>
                  </a:lnTo>
                  <a:cubicBezTo>
                    <a:pt x="71279" y="683738"/>
                    <a:pt x="60008" y="686436"/>
                    <a:pt x="47625" y="686436"/>
                  </a:cubicBezTo>
                  <a:cubicBezTo>
                    <a:pt x="29845" y="686436"/>
                    <a:pt x="10795" y="680721"/>
                    <a:pt x="0" y="664846"/>
                  </a:cubicBezTo>
                  <a:lnTo>
                    <a:pt x="16510" y="650241"/>
                  </a:lnTo>
                  <a:cubicBezTo>
                    <a:pt x="24129" y="659766"/>
                    <a:pt x="35560" y="664211"/>
                    <a:pt x="46989" y="664211"/>
                  </a:cubicBezTo>
                  <a:cubicBezTo>
                    <a:pt x="60325" y="664211"/>
                    <a:pt x="68579" y="657861"/>
                    <a:pt x="68579" y="649606"/>
                  </a:cubicBezTo>
                  <a:cubicBezTo>
                    <a:pt x="68579" y="646431"/>
                    <a:pt x="67310" y="642621"/>
                    <a:pt x="61595" y="640081"/>
                  </a:cubicBezTo>
                  <a:cubicBezTo>
                    <a:pt x="57150" y="638176"/>
                    <a:pt x="52069" y="636906"/>
                    <a:pt x="41909" y="634366"/>
                  </a:cubicBezTo>
                  <a:cubicBezTo>
                    <a:pt x="35560" y="633096"/>
                    <a:pt x="22860" y="629921"/>
                    <a:pt x="14605" y="623571"/>
                  </a:cubicBezTo>
                  <a:cubicBezTo>
                    <a:pt x="6349" y="617221"/>
                    <a:pt x="4444" y="607696"/>
                    <a:pt x="4444" y="599441"/>
                  </a:cubicBezTo>
                  <a:cubicBezTo>
                    <a:pt x="4444" y="574041"/>
                    <a:pt x="26034" y="563881"/>
                    <a:pt x="47625" y="563881"/>
                  </a:cubicBezTo>
                  <a:close/>
                  <a:moveTo>
                    <a:pt x="814070" y="560071"/>
                  </a:moveTo>
                  <a:cubicBezTo>
                    <a:pt x="820420" y="560071"/>
                    <a:pt x="824864" y="561341"/>
                    <a:pt x="830579" y="562611"/>
                  </a:cubicBezTo>
                  <a:lnTo>
                    <a:pt x="829945" y="562611"/>
                  </a:lnTo>
                  <a:lnTo>
                    <a:pt x="829945" y="581026"/>
                  </a:lnTo>
                  <a:cubicBezTo>
                    <a:pt x="824864" y="579756"/>
                    <a:pt x="821055" y="579121"/>
                    <a:pt x="818515" y="579121"/>
                  </a:cubicBezTo>
                  <a:cubicBezTo>
                    <a:pt x="810260" y="579121"/>
                    <a:pt x="808989" y="582296"/>
                    <a:pt x="808989" y="586741"/>
                  </a:cubicBezTo>
                  <a:lnTo>
                    <a:pt x="808989" y="594361"/>
                  </a:lnTo>
                  <a:lnTo>
                    <a:pt x="824230" y="594361"/>
                  </a:lnTo>
                  <a:lnTo>
                    <a:pt x="824230" y="615951"/>
                  </a:lnTo>
                  <a:lnTo>
                    <a:pt x="808989" y="615951"/>
                  </a:lnTo>
                  <a:lnTo>
                    <a:pt x="808989" y="684531"/>
                  </a:lnTo>
                  <a:lnTo>
                    <a:pt x="786765" y="684531"/>
                  </a:lnTo>
                  <a:lnTo>
                    <a:pt x="786765" y="615951"/>
                  </a:lnTo>
                  <a:lnTo>
                    <a:pt x="775970" y="615951"/>
                  </a:lnTo>
                  <a:lnTo>
                    <a:pt x="775970" y="594361"/>
                  </a:lnTo>
                  <a:lnTo>
                    <a:pt x="786765" y="594361"/>
                  </a:lnTo>
                  <a:lnTo>
                    <a:pt x="786765" y="583566"/>
                  </a:lnTo>
                  <a:cubicBezTo>
                    <a:pt x="786765" y="567691"/>
                    <a:pt x="795019" y="560071"/>
                    <a:pt x="814070" y="560071"/>
                  </a:cubicBezTo>
                  <a:close/>
                  <a:moveTo>
                    <a:pt x="957579" y="559436"/>
                  </a:moveTo>
                  <a:lnTo>
                    <a:pt x="957579" y="594361"/>
                  </a:lnTo>
                  <a:lnTo>
                    <a:pt x="979170" y="594361"/>
                  </a:lnTo>
                  <a:lnTo>
                    <a:pt x="979170" y="615951"/>
                  </a:lnTo>
                  <a:lnTo>
                    <a:pt x="957579" y="615951"/>
                  </a:lnTo>
                  <a:lnTo>
                    <a:pt x="957579" y="654051"/>
                  </a:lnTo>
                  <a:cubicBezTo>
                    <a:pt x="957579" y="661671"/>
                    <a:pt x="960754" y="664846"/>
                    <a:pt x="966470" y="664846"/>
                  </a:cubicBezTo>
                  <a:cubicBezTo>
                    <a:pt x="972185" y="664846"/>
                    <a:pt x="977900" y="661671"/>
                    <a:pt x="981075" y="658496"/>
                  </a:cubicBezTo>
                  <a:lnTo>
                    <a:pt x="977900" y="681356"/>
                  </a:lnTo>
                  <a:cubicBezTo>
                    <a:pt x="973454" y="685166"/>
                    <a:pt x="965200" y="686436"/>
                    <a:pt x="959485" y="686436"/>
                  </a:cubicBezTo>
                  <a:cubicBezTo>
                    <a:pt x="945515" y="686436"/>
                    <a:pt x="935355" y="676276"/>
                    <a:pt x="935355" y="659766"/>
                  </a:cubicBezTo>
                  <a:lnTo>
                    <a:pt x="935355" y="615951"/>
                  </a:lnTo>
                  <a:lnTo>
                    <a:pt x="922655" y="615951"/>
                  </a:lnTo>
                  <a:lnTo>
                    <a:pt x="922655" y="594361"/>
                  </a:lnTo>
                  <a:lnTo>
                    <a:pt x="935355" y="594361"/>
                  </a:lnTo>
                  <a:lnTo>
                    <a:pt x="935355" y="570866"/>
                  </a:lnTo>
                  <a:close/>
                  <a:moveTo>
                    <a:pt x="586739" y="559436"/>
                  </a:moveTo>
                  <a:lnTo>
                    <a:pt x="586739" y="600711"/>
                  </a:lnTo>
                  <a:cubicBezTo>
                    <a:pt x="591820" y="595631"/>
                    <a:pt x="597534" y="592456"/>
                    <a:pt x="607695" y="592456"/>
                  </a:cubicBezTo>
                  <a:cubicBezTo>
                    <a:pt x="631825" y="592456"/>
                    <a:pt x="639445" y="610871"/>
                    <a:pt x="639445" y="633731"/>
                  </a:cubicBezTo>
                  <a:lnTo>
                    <a:pt x="639445" y="684531"/>
                  </a:lnTo>
                  <a:lnTo>
                    <a:pt x="617220" y="684531"/>
                  </a:lnTo>
                  <a:lnTo>
                    <a:pt x="617220" y="635636"/>
                  </a:lnTo>
                  <a:cubicBezTo>
                    <a:pt x="617220" y="623571"/>
                    <a:pt x="614680" y="614681"/>
                    <a:pt x="601980" y="614681"/>
                  </a:cubicBezTo>
                  <a:cubicBezTo>
                    <a:pt x="589280" y="614681"/>
                    <a:pt x="586739" y="622936"/>
                    <a:pt x="586739" y="635001"/>
                  </a:cubicBezTo>
                  <a:lnTo>
                    <a:pt x="586739" y="684531"/>
                  </a:lnTo>
                  <a:lnTo>
                    <a:pt x="564515" y="684531"/>
                  </a:lnTo>
                  <a:lnTo>
                    <a:pt x="564515" y="570866"/>
                  </a:lnTo>
                  <a:close/>
                  <a:moveTo>
                    <a:pt x="529590" y="559436"/>
                  </a:moveTo>
                  <a:lnTo>
                    <a:pt x="529590" y="594361"/>
                  </a:lnTo>
                  <a:lnTo>
                    <a:pt x="550545" y="594361"/>
                  </a:lnTo>
                  <a:lnTo>
                    <a:pt x="550545" y="615951"/>
                  </a:lnTo>
                  <a:lnTo>
                    <a:pt x="529590" y="615951"/>
                  </a:lnTo>
                  <a:lnTo>
                    <a:pt x="529590" y="654051"/>
                  </a:lnTo>
                  <a:cubicBezTo>
                    <a:pt x="529590" y="661671"/>
                    <a:pt x="532765" y="664846"/>
                    <a:pt x="538480" y="664846"/>
                  </a:cubicBezTo>
                  <a:cubicBezTo>
                    <a:pt x="544195" y="664846"/>
                    <a:pt x="549275" y="661671"/>
                    <a:pt x="553084" y="658496"/>
                  </a:cubicBezTo>
                  <a:lnTo>
                    <a:pt x="549909" y="681356"/>
                  </a:lnTo>
                  <a:cubicBezTo>
                    <a:pt x="545465" y="685166"/>
                    <a:pt x="537209" y="686436"/>
                    <a:pt x="531495" y="686436"/>
                  </a:cubicBezTo>
                  <a:cubicBezTo>
                    <a:pt x="517525" y="686436"/>
                    <a:pt x="507364" y="676276"/>
                    <a:pt x="507364" y="659766"/>
                  </a:cubicBezTo>
                  <a:lnTo>
                    <a:pt x="507364" y="615951"/>
                  </a:lnTo>
                  <a:lnTo>
                    <a:pt x="491489" y="615951"/>
                  </a:lnTo>
                  <a:lnTo>
                    <a:pt x="491489" y="594361"/>
                  </a:lnTo>
                  <a:lnTo>
                    <a:pt x="507364" y="594361"/>
                  </a:lnTo>
                  <a:lnTo>
                    <a:pt x="507364" y="570866"/>
                  </a:lnTo>
                  <a:close/>
                  <a:moveTo>
                    <a:pt x="128269" y="559436"/>
                  </a:moveTo>
                  <a:lnTo>
                    <a:pt x="128269" y="600711"/>
                  </a:lnTo>
                  <a:cubicBezTo>
                    <a:pt x="133349" y="595631"/>
                    <a:pt x="139064" y="592456"/>
                    <a:pt x="149224" y="592456"/>
                  </a:cubicBezTo>
                  <a:cubicBezTo>
                    <a:pt x="173355" y="592456"/>
                    <a:pt x="180974" y="610871"/>
                    <a:pt x="180974" y="633731"/>
                  </a:cubicBezTo>
                  <a:lnTo>
                    <a:pt x="180974" y="684531"/>
                  </a:lnTo>
                  <a:lnTo>
                    <a:pt x="158750" y="684531"/>
                  </a:lnTo>
                  <a:lnTo>
                    <a:pt x="158750" y="635636"/>
                  </a:lnTo>
                  <a:cubicBezTo>
                    <a:pt x="158750" y="623571"/>
                    <a:pt x="156209" y="614681"/>
                    <a:pt x="143510" y="614681"/>
                  </a:cubicBezTo>
                  <a:cubicBezTo>
                    <a:pt x="130810" y="614681"/>
                    <a:pt x="128269" y="622936"/>
                    <a:pt x="128269" y="635001"/>
                  </a:cubicBezTo>
                  <a:lnTo>
                    <a:pt x="128269" y="684531"/>
                  </a:lnTo>
                  <a:lnTo>
                    <a:pt x="106045" y="684531"/>
                  </a:lnTo>
                  <a:lnTo>
                    <a:pt x="106045" y="570866"/>
                  </a:lnTo>
                  <a:close/>
                  <a:moveTo>
                    <a:pt x="269875" y="635"/>
                  </a:moveTo>
                  <a:lnTo>
                    <a:pt x="501015" y="635"/>
                  </a:lnTo>
                  <a:lnTo>
                    <a:pt x="554989" y="94615"/>
                  </a:lnTo>
                  <a:lnTo>
                    <a:pt x="391795" y="94615"/>
                  </a:lnTo>
                  <a:lnTo>
                    <a:pt x="391795" y="161925"/>
                  </a:lnTo>
                  <a:lnTo>
                    <a:pt x="539114" y="161925"/>
                  </a:lnTo>
                  <a:lnTo>
                    <a:pt x="539114" y="247650"/>
                  </a:lnTo>
                  <a:lnTo>
                    <a:pt x="391795" y="247650"/>
                  </a:lnTo>
                  <a:lnTo>
                    <a:pt x="391795" y="314325"/>
                  </a:lnTo>
                  <a:lnTo>
                    <a:pt x="595629" y="314325"/>
                  </a:lnTo>
                  <a:lnTo>
                    <a:pt x="595629" y="408305"/>
                  </a:lnTo>
                  <a:lnTo>
                    <a:pt x="269875" y="408305"/>
                  </a:lnTo>
                  <a:close/>
                  <a:moveTo>
                    <a:pt x="539114" y="0"/>
                  </a:moveTo>
                  <a:lnTo>
                    <a:pt x="674370" y="0"/>
                  </a:lnTo>
                  <a:lnTo>
                    <a:pt x="743584" y="132715"/>
                  </a:lnTo>
                  <a:lnTo>
                    <a:pt x="812799" y="0"/>
                  </a:lnTo>
                  <a:lnTo>
                    <a:pt x="946150" y="0"/>
                  </a:lnTo>
                  <a:lnTo>
                    <a:pt x="803275" y="246380"/>
                  </a:lnTo>
                  <a:lnTo>
                    <a:pt x="803275" y="407670"/>
                  </a:lnTo>
                  <a:lnTo>
                    <a:pt x="681355" y="407670"/>
                  </a:lnTo>
                  <a:lnTo>
                    <a:pt x="681355" y="246380"/>
                  </a:lnTo>
                  <a:close/>
                </a:path>
              </a:pathLst>
            </a:custGeom>
            <a:solidFill>
              <a:srgbClr val="FFFFFF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00068369-6C63-44AF-3E4E-30E5F2D1F837}"/>
              </a:ext>
            </a:extLst>
          </p:cNvPr>
          <p:cNvGrpSpPr/>
          <p:nvPr userDrawn="1"/>
        </p:nvGrpSpPr>
        <p:grpSpPr>
          <a:xfrm>
            <a:off x="486029" y="6164633"/>
            <a:ext cx="4943508" cy="318770"/>
            <a:chOff x="485775" y="6164633"/>
            <a:chExt cx="4940935" cy="318770"/>
          </a:xfrm>
        </p:grpSpPr>
        <p:sp>
          <p:nvSpPr>
            <p:cNvPr id="24" name="Freeform 23">
              <a:extLst>
                <a:ext uri="{FF2B5EF4-FFF2-40B4-BE49-F238E27FC236}">
                  <a16:creationId xmlns:a16="http://schemas.microsoft.com/office/drawing/2014/main" id="{BDF3ED9A-57E4-25C5-BC4E-AC1C77798191}"/>
                </a:ext>
              </a:extLst>
            </p:cNvPr>
            <p:cNvSpPr/>
            <p:nvPr userDrawn="1"/>
          </p:nvSpPr>
          <p:spPr>
            <a:xfrm>
              <a:off x="485775" y="6164633"/>
              <a:ext cx="405765" cy="81280"/>
            </a:xfrm>
            <a:custGeom>
              <a:avLst/>
              <a:gdLst>
                <a:gd name="connsiteX0" fmla="*/ 324485 w 405765"/>
                <a:gd name="connsiteY0" fmla="*/ 0 h 81280"/>
                <a:gd name="connsiteX1" fmla="*/ 405765 w 405765"/>
                <a:gd name="connsiteY1" fmla="*/ 0 h 81280"/>
                <a:gd name="connsiteX2" fmla="*/ 405765 w 405765"/>
                <a:gd name="connsiteY2" fmla="*/ 81280 h 81280"/>
                <a:gd name="connsiteX3" fmla="*/ 324485 w 405765"/>
                <a:gd name="connsiteY3" fmla="*/ 81280 h 81280"/>
                <a:gd name="connsiteX4" fmla="*/ 161925 w 405765"/>
                <a:gd name="connsiteY4" fmla="*/ 0 h 81280"/>
                <a:gd name="connsiteX5" fmla="*/ 243205 w 405765"/>
                <a:gd name="connsiteY5" fmla="*/ 0 h 81280"/>
                <a:gd name="connsiteX6" fmla="*/ 243205 w 405765"/>
                <a:gd name="connsiteY6" fmla="*/ 81280 h 81280"/>
                <a:gd name="connsiteX7" fmla="*/ 161925 w 405765"/>
                <a:gd name="connsiteY7" fmla="*/ 81280 h 81280"/>
                <a:gd name="connsiteX8" fmla="*/ 0 w 405765"/>
                <a:gd name="connsiteY8" fmla="*/ 0 h 81280"/>
                <a:gd name="connsiteX9" fmla="*/ 81280 w 405765"/>
                <a:gd name="connsiteY9" fmla="*/ 0 h 81280"/>
                <a:gd name="connsiteX10" fmla="*/ 81280 w 405765"/>
                <a:gd name="connsiteY10" fmla="*/ 81280 h 81280"/>
                <a:gd name="connsiteX11" fmla="*/ 0 w 405765"/>
                <a:gd name="connsiteY11" fmla="*/ 81280 h 812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05765" h="81280">
                  <a:moveTo>
                    <a:pt x="324485" y="0"/>
                  </a:moveTo>
                  <a:lnTo>
                    <a:pt x="405765" y="0"/>
                  </a:lnTo>
                  <a:lnTo>
                    <a:pt x="405765" y="81280"/>
                  </a:lnTo>
                  <a:lnTo>
                    <a:pt x="324485" y="81280"/>
                  </a:lnTo>
                  <a:close/>
                  <a:moveTo>
                    <a:pt x="161925" y="0"/>
                  </a:moveTo>
                  <a:lnTo>
                    <a:pt x="243205" y="0"/>
                  </a:lnTo>
                  <a:lnTo>
                    <a:pt x="243205" y="81280"/>
                  </a:lnTo>
                  <a:lnTo>
                    <a:pt x="161925" y="81280"/>
                  </a:lnTo>
                  <a:close/>
                  <a:moveTo>
                    <a:pt x="0" y="0"/>
                  </a:moveTo>
                  <a:lnTo>
                    <a:pt x="81280" y="0"/>
                  </a:lnTo>
                  <a:lnTo>
                    <a:pt x="81280" y="81280"/>
                  </a:lnTo>
                  <a:lnTo>
                    <a:pt x="0" y="81280"/>
                  </a:lnTo>
                  <a:close/>
                </a:path>
              </a:pathLst>
            </a:custGeom>
            <a:solidFill>
              <a:srgbClr val="FFE600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25" name="Freeform 24">
              <a:extLst>
                <a:ext uri="{FF2B5EF4-FFF2-40B4-BE49-F238E27FC236}">
                  <a16:creationId xmlns:a16="http://schemas.microsoft.com/office/drawing/2014/main" id="{F8AD9B21-63CE-8D03-9802-DB2391C6BC13}"/>
                </a:ext>
              </a:extLst>
            </p:cNvPr>
            <p:cNvSpPr/>
            <p:nvPr userDrawn="1"/>
          </p:nvSpPr>
          <p:spPr bwMode="black">
            <a:xfrm>
              <a:off x="485779" y="6344974"/>
              <a:ext cx="4940931" cy="138429"/>
            </a:xfrm>
            <a:custGeom>
              <a:avLst/>
              <a:gdLst>
                <a:gd name="connsiteX0" fmla="*/ 1032512 w 4940931"/>
                <a:gd name="connsiteY0" fmla="*/ 137477 h 138429"/>
                <a:gd name="connsiteX1" fmla="*/ 1032512 w 4940931"/>
                <a:gd name="connsiteY1" fmla="*/ 137794 h 138429"/>
                <a:gd name="connsiteX2" fmla="*/ 1030607 w 4940931"/>
                <a:gd name="connsiteY2" fmla="*/ 138429 h 138429"/>
                <a:gd name="connsiteX3" fmla="*/ 4929501 w 4940931"/>
                <a:gd name="connsiteY3" fmla="*/ 87629 h 138429"/>
                <a:gd name="connsiteX4" fmla="*/ 4933946 w 4940931"/>
                <a:gd name="connsiteY4" fmla="*/ 88264 h 138429"/>
                <a:gd name="connsiteX5" fmla="*/ 4937756 w 4940931"/>
                <a:gd name="connsiteY5" fmla="*/ 90804 h 138429"/>
                <a:gd name="connsiteX6" fmla="*/ 4940296 w 4940931"/>
                <a:gd name="connsiteY6" fmla="*/ 94614 h 138429"/>
                <a:gd name="connsiteX7" fmla="*/ 4940931 w 4940931"/>
                <a:gd name="connsiteY7" fmla="*/ 99059 h 138429"/>
                <a:gd name="connsiteX8" fmla="*/ 4940296 w 4940931"/>
                <a:gd name="connsiteY8" fmla="*/ 103504 h 138429"/>
                <a:gd name="connsiteX9" fmla="*/ 4937756 w 4940931"/>
                <a:gd name="connsiteY9" fmla="*/ 107314 h 138429"/>
                <a:gd name="connsiteX10" fmla="*/ 4933946 w 4940931"/>
                <a:gd name="connsiteY10" fmla="*/ 109854 h 138429"/>
                <a:gd name="connsiteX11" fmla="*/ 4929501 w 4940931"/>
                <a:gd name="connsiteY11" fmla="*/ 110489 h 138429"/>
                <a:gd name="connsiteX12" fmla="*/ 4925056 w 4940931"/>
                <a:gd name="connsiteY12" fmla="*/ 109854 h 138429"/>
                <a:gd name="connsiteX13" fmla="*/ 4921246 w 4940931"/>
                <a:gd name="connsiteY13" fmla="*/ 107314 h 138429"/>
                <a:gd name="connsiteX14" fmla="*/ 4918706 w 4940931"/>
                <a:gd name="connsiteY14" fmla="*/ 103504 h 138429"/>
                <a:gd name="connsiteX15" fmla="*/ 4918071 w 4940931"/>
                <a:gd name="connsiteY15" fmla="*/ 99059 h 138429"/>
                <a:gd name="connsiteX16" fmla="*/ 4918706 w 4940931"/>
                <a:gd name="connsiteY16" fmla="*/ 94614 h 138429"/>
                <a:gd name="connsiteX17" fmla="*/ 4921246 w 4940931"/>
                <a:gd name="connsiteY17" fmla="*/ 90804 h 138429"/>
                <a:gd name="connsiteX18" fmla="*/ 4925056 w 4940931"/>
                <a:gd name="connsiteY18" fmla="*/ 88264 h 138429"/>
                <a:gd name="connsiteX19" fmla="*/ 4929501 w 4940931"/>
                <a:gd name="connsiteY19" fmla="*/ 87629 h 138429"/>
                <a:gd name="connsiteX20" fmla="*/ 3079110 w 4940931"/>
                <a:gd name="connsiteY20" fmla="*/ 87629 h 138429"/>
                <a:gd name="connsiteX21" fmla="*/ 3083555 w 4940931"/>
                <a:gd name="connsiteY21" fmla="*/ 88264 h 138429"/>
                <a:gd name="connsiteX22" fmla="*/ 3087365 w 4940931"/>
                <a:gd name="connsiteY22" fmla="*/ 90804 h 138429"/>
                <a:gd name="connsiteX23" fmla="*/ 3089905 w 4940931"/>
                <a:gd name="connsiteY23" fmla="*/ 94614 h 138429"/>
                <a:gd name="connsiteX24" fmla="*/ 3090540 w 4940931"/>
                <a:gd name="connsiteY24" fmla="*/ 99059 h 138429"/>
                <a:gd name="connsiteX25" fmla="*/ 3089905 w 4940931"/>
                <a:gd name="connsiteY25" fmla="*/ 103504 h 138429"/>
                <a:gd name="connsiteX26" fmla="*/ 3087365 w 4940931"/>
                <a:gd name="connsiteY26" fmla="*/ 107314 h 138429"/>
                <a:gd name="connsiteX27" fmla="*/ 3083555 w 4940931"/>
                <a:gd name="connsiteY27" fmla="*/ 109854 h 138429"/>
                <a:gd name="connsiteX28" fmla="*/ 3079110 w 4940931"/>
                <a:gd name="connsiteY28" fmla="*/ 110489 h 138429"/>
                <a:gd name="connsiteX29" fmla="*/ 3074665 w 4940931"/>
                <a:gd name="connsiteY29" fmla="*/ 109854 h 138429"/>
                <a:gd name="connsiteX30" fmla="*/ 3070855 w 4940931"/>
                <a:gd name="connsiteY30" fmla="*/ 107314 h 138429"/>
                <a:gd name="connsiteX31" fmla="*/ 3068315 w 4940931"/>
                <a:gd name="connsiteY31" fmla="*/ 103504 h 138429"/>
                <a:gd name="connsiteX32" fmla="*/ 3067680 w 4940931"/>
                <a:gd name="connsiteY32" fmla="*/ 99059 h 138429"/>
                <a:gd name="connsiteX33" fmla="*/ 3068315 w 4940931"/>
                <a:gd name="connsiteY33" fmla="*/ 94614 h 138429"/>
                <a:gd name="connsiteX34" fmla="*/ 3070855 w 4940931"/>
                <a:gd name="connsiteY34" fmla="*/ 90804 h 138429"/>
                <a:gd name="connsiteX35" fmla="*/ 3074665 w 4940931"/>
                <a:gd name="connsiteY35" fmla="*/ 88264 h 138429"/>
                <a:gd name="connsiteX36" fmla="*/ 3079110 w 4940931"/>
                <a:gd name="connsiteY36" fmla="*/ 87629 h 138429"/>
                <a:gd name="connsiteX37" fmla="*/ 1565275 w 4940931"/>
                <a:gd name="connsiteY37" fmla="*/ 87629 h 138429"/>
                <a:gd name="connsiteX38" fmla="*/ 1569720 w 4940931"/>
                <a:gd name="connsiteY38" fmla="*/ 88264 h 138429"/>
                <a:gd name="connsiteX39" fmla="*/ 1573529 w 4940931"/>
                <a:gd name="connsiteY39" fmla="*/ 90804 h 138429"/>
                <a:gd name="connsiteX40" fmla="*/ 1576069 w 4940931"/>
                <a:gd name="connsiteY40" fmla="*/ 94614 h 138429"/>
                <a:gd name="connsiteX41" fmla="*/ 1576705 w 4940931"/>
                <a:gd name="connsiteY41" fmla="*/ 99059 h 138429"/>
                <a:gd name="connsiteX42" fmla="*/ 1576069 w 4940931"/>
                <a:gd name="connsiteY42" fmla="*/ 103504 h 138429"/>
                <a:gd name="connsiteX43" fmla="*/ 1573529 w 4940931"/>
                <a:gd name="connsiteY43" fmla="*/ 107314 h 138429"/>
                <a:gd name="connsiteX44" fmla="*/ 1569720 w 4940931"/>
                <a:gd name="connsiteY44" fmla="*/ 109854 h 138429"/>
                <a:gd name="connsiteX45" fmla="*/ 1565275 w 4940931"/>
                <a:gd name="connsiteY45" fmla="*/ 110489 h 138429"/>
                <a:gd name="connsiteX46" fmla="*/ 1560830 w 4940931"/>
                <a:gd name="connsiteY46" fmla="*/ 109854 h 138429"/>
                <a:gd name="connsiteX47" fmla="*/ 1557020 w 4940931"/>
                <a:gd name="connsiteY47" fmla="*/ 107314 h 138429"/>
                <a:gd name="connsiteX48" fmla="*/ 1554479 w 4940931"/>
                <a:gd name="connsiteY48" fmla="*/ 103504 h 138429"/>
                <a:gd name="connsiteX49" fmla="*/ 1553844 w 4940931"/>
                <a:gd name="connsiteY49" fmla="*/ 99059 h 138429"/>
                <a:gd name="connsiteX50" fmla="*/ 1554479 w 4940931"/>
                <a:gd name="connsiteY50" fmla="*/ 94614 h 138429"/>
                <a:gd name="connsiteX51" fmla="*/ 1557020 w 4940931"/>
                <a:gd name="connsiteY51" fmla="*/ 90804 h 138429"/>
                <a:gd name="connsiteX52" fmla="*/ 1560830 w 4940931"/>
                <a:gd name="connsiteY52" fmla="*/ 88264 h 138429"/>
                <a:gd name="connsiteX53" fmla="*/ 1565275 w 4940931"/>
                <a:gd name="connsiteY53" fmla="*/ 87629 h 138429"/>
                <a:gd name="connsiteX54" fmla="*/ 2642230 w 4940931"/>
                <a:gd name="connsiteY54" fmla="*/ 73024 h 138429"/>
                <a:gd name="connsiteX55" fmla="*/ 2630800 w 4940931"/>
                <a:gd name="connsiteY55" fmla="*/ 76199 h 138429"/>
                <a:gd name="connsiteX56" fmla="*/ 2626355 w 4940931"/>
                <a:gd name="connsiteY56" fmla="*/ 84454 h 138429"/>
                <a:gd name="connsiteX57" fmla="*/ 2627625 w 4940931"/>
                <a:gd name="connsiteY57" fmla="*/ 90169 h 138429"/>
                <a:gd name="connsiteX58" fmla="*/ 2630800 w 4940931"/>
                <a:gd name="connsiteY58" fmla="*/ 93979 h 138429"/>
                <a:gd name="connsiteX59" fmla="*/ 2635245 w 4940931"/>
                <a:gd name="connsiteY59" fmla="*/ 96519 h 138429"/>
                <a:gd name="connsiteX60" fmla="*/ 2641595 w 4940931"/>
                <a:gd name="connsiteY60" fmla="*/ 97154 h 138429"/>
                <a:gd name="connsiteX61" fmla="*/ 2647310 w 4940931"/>
                <a:gd name="connsiteY61" fmla="*/ 96519 h 138429"/>
                <a:gd name="connsiteX62" fmla="*/ 2652390 w 4940931"/>
                <a:gd name="connsiteY62" fmla="*/ 93979 h 138429"/>
                <a:gd name="connsiteX63" fmla="*/ 2656835 w 4940931"/>
                <a:gd name="connsiteY63" fmla="*/ 90804 h 138429"/>
                <a:gd name="connsiteX64" fmla="*/ 2660010 w 4940931"/>
                <a:gd name="connsiteY64" fmla="*/ 86994 h 138429"/>
                <a:gd name="connsiteX65" fmla="*/ 2660010 w 4940931"/>
                <a:gd name="connsiteY65" fmla="*/ 75564 h 138429"/>
                <a:gd name="connsiteX66" fmla="*/ 2656200 w 4940931"/>
                <a:gd name="connsiteY66" fmla="*/ 74294 h 138429"/>
                <a:gd name="connsiteX67" fmla="*/ 2652390 w 4940931"/>
                <a:gd name="connsiteY67" fmla="*/ 73659 h 138429"/>
                <a:gd name="connsiteX68" fmla="*/ 2647945 w 4940931"/>
                <a:gd name="connsiteY68" fmla="*/ 73024 h 138429"/>
                <a:gd name="connsiteX69" fmla="*/ 2642230 w 4940931"/>
                <a:gd name="connsiteY69" fmla="*/ 73024 h 138429"/>
                <a:gd name="connsiteX70" fmla="*/ 4664706 w 4940931"/>
                <a:gd name="connsiteY70" fmla="*/ 43814 h 138429"/>
                <a:gd name="connsiteX71" fmla="*/ 4657086 w 4940931"/>
                <a:gd name="connsiteY71" fmla="*/ 45719 h 138429"/>
                <a:gd name="connsiteX72" fmla="*/ 4651371 w 4940931"/>
                <a:gd name="connsiteY72" fmla="*/ 50799 h 138429"/>
                <a:gd name="connsiteX73" fmla="*/ 4647561 w 4940931"/>
                <a:gd name="connsiteY73" fmla="*/ 59054 h 138429"/>
                <a:gd name="connsiteX74" fmla="*/ 4646291 w 4940931"/>
                <a:gd name="connsiteY74" fmla="*/ 69849 h 138429"/>
                <a:gd name="connsiteX75" fmla="*/ 4647561 w 4940931"/>
                <a:gd name="connsiteY75" fmla="*/ 81279 h 138429"/>
                <a:gd name="connsiteX76" fmla="*/ 4651371 w 4940931"/>
                <a:gd name="connsiteY76" fmla="*/ 89534 h 138429"/>
                <a:gd name="connsiteX77" fmla="*/ 4657721 w 4940931"/>
                <a:gd name="connsiteY77" fmla="*/ 94614 h 138429"/>
                <a:gd name="connsiteX78" fmla="*/ 4665341 w 4940931"/>
                <a:gd name="connsiteY78" fmla="*/ 96519 h 138429"/>
                <a:gd name="connsiteX79" fmla="*/ 4672961 w 4940931"/>
                <a:gd name="connsiteY79" fmla="*/ 94614 h 138429"/>
                <a:gd name="connsiteX80" fmla="*/ 4678676 w 4940931"/>
                <a:gd name="connsiteY80" fmla="*/ 88899 h 138429"/>
                <a:gd name="connsiteX81" fmla="*/ 4682486 w 4940931"/>
                <a:gd name="connsiteY81" fmla="*/ 80644 h 138429"/>
                <a:gd name="connsiteX82" fmla="*/ 4683756 w 4940931"/>
                <a:gd name="connsiteY82" fmla="*/ 70484 h 138429"/>
                <a:gd name="connsiteX83" fmla="*/ 4684391 w 4940931"/>
                <a:gd name="connsiteY83" fmla="*/ 69849 h 138429"/>
                <a:gd name="connsiteX84" fmla="*/ 4683121 w 4940931"/>
                <a:gd name="connsiteY84" fmla="*/ 59054 h 138429"/>
                <a:gd name="connsiteX85" fmla="*/ 4679311 w 4940931"/>
                <a:gd name="connsiteY85" fmla="*/ 50799 h 138429"/>
                <a:gd name="connsiteX86" fmla="*/ 4672961 w 4940931"/>
                <a:gd name="connsiteY86" fmla="*/ 45719 h 138429"/>
                <a:gd name="connsiteX87" fmla="*/ 4664706 w 4940931"/>
                <a:gd name="connsiteY87" fmla="*/ 43814 h 138429"/>
                <a:gd name="connsiteX88" fmla="*/ 4264020 w 4940931"/>
                <a:gd name="connsiteY88" fmla="*/ 43814 h 138429"/>
                <a:gd name="connsiteX89" fmla="*/ 4256400 w 4940931"/>
                <a:gd name="connsiteY89" fmla="*/ 45719 h 138429"/>
                <a:gd name="connsiteX90" fmla="*/ 4250685 w 4940931"/>
                <a:gd name="connsiteY90" fmla="*/ 50799 h 138429"/>
                <a:gd name="connsiteX91" fmla="*/ 4246875 w 4940931"/>
                <a:gd name="connsiteY91" fmla="*/ 59054 h 138429"/>
                <a:gd name="connsiteX92" fmla="*/ 4245605 w 4940931"/>
                <a:gd name="connsiteY92" fmla="*/ 69849 h 138429"/>
                <a:gd name="connsiteX93" fmla="*/ 4246875 w 4940931"/>
                <a:gd name="connsiteY93" fmla="*/ 81279 h 138429"/>
                <a:gd name="connsiteX94" fmla="*/ 4250685 w 4940931"/>
                <a:gd name="connsiteY94" fmla="*/ 89534 h 138429"/>
                <a:gd name="connsiteX95" fmla="*/ 4257035 w 4940931"/>
                <a:gd name="connsiteY95" fmla="*/ 94614 h 138429"/>
                <a:gd name="connsiteX96" fmla="*/ 4264655 w 4940931"/>
                <a:gd name="connsiteY96" fmla="*/ 96519 h 138429"/>
                <a:gd name="connsiteX97" fmla="*/ 4272275 w 4940931"/>
                <a:gd name="connsiteY97" fmla="*/ 94614 h 138429"/>
                <a:gd name="connsiteX98" fmla="*/ 4277990 w 4940931"/>
                <a:gd name="connsiteY98" fmla="*/ 88899 h 138429"/>
                <a:gd name="connsiteX99" fmla="*/ 4281800 w 4940931"/>
                <a:gd name="connsiteY99" fmla="*/ 80644 h 138429"/>
                <a:gd name="connsiteX100" fmla="*/ 4283070 w 4940931"/>
                <a:gd name="connsiteY100" fmla="*/ 70484 h 138429"/>
                <a:gd name="connsiteX101" fmla="*/ 4283705 w 4940931"/>
                <a:gd name="connsiteY101" fmla="*/ 69849 h 138429"/>
                <a:gd name="connsiteX102" fmla="*/ 4282435 w 4940931"/>
                <a:gd name="connsiteY102" fmla="*/ 59054 h 138429"/>
                <a:gd name="connsiteX103" fmla="*/ 4278625 w 4940931"/>
                <a:gd name="connsiteY103" fmla="*/ 50799 h 138429"/>
                <a:gd name="connsiteX104" fmla="*/ 4272275 w 4940931"/>
                <a:gd name="connsiteY104" fmla="*/ 45719 h 138429"/>
                <a:gd name="connsiteX105" fmla="*/ 4264020 w 4940931"/>
                <a:gd name="connsiteY105" fmla="*/ 43814 h 138429"/>
                <a:gd name="connsiteX106" fmla="*/ 1420495 w 4940931"/>
                <a:gd name="connsiteY106" fmla="*/ 43814 h 138429"/>
                <a:gd name="connsiteX107" fmla="*/ 1412875 w 4940931"/>
                <a:gd name="connsiteY107" fmla="*/ 45719 h 138429"/>
                <a:gd name="connsiteX108" fmla="*/ 1407160 w 4940931"/>
                <a:gd name="connsiteY108" fmla="*/ 50799 h 138429"/>
                <a:gd name="connsiteX109" fmla="*/ 1403350 w 4940931"/>
                <a:gd name="connsiteY109" fmla="*/ 59054 h 138429"/>
                <a:gd name="connsiteX110" fmla="*/ 1402080 w 4940931"/>
                <a:gd name="connsiteY110" fmla="*/ 69849 h 138429"/>
                <a:gd name="connsiteX111" fmla="*/ 1403350 w 4940931"/>
                <a:gd name="connsiteY111" fmla="*/ 81279 h 138429"/>
                <a:gd name="connsiteX112" fmla="*/ 1407160 w 4940931"/>
                <a:gd name="connsiteY112" fmla="*/ 89534 h 138429"/>
                <a:gd name="connsiteX113" fmla="*/ 1413510 w 4940931"/>
                <a:gd name="connsiteY113" fmla="*/ 94614 h 138429"/>
                <a:gd name="connsiteX114" fmla="*/ 1421130 w 4940931"/>
                <a:gd name="connsiteY114" fmla="*/ 96519 h 138429"/>
                <a:gd name="connsiteX115" fmla="*/ 1428750 w 4940931"/>
                <a:gd name="connsiteY115" fmla="*/ 94614 h 138429"/>
                <a:gd name="connsiteX116" fmla="*/ 1434465 w 4940931"/>
                <a:gd name="connsiteY116" fmla="*/ 88899 h 138429"/>
                <a:gd name="connsiteX117" fmla="*/ 1438275 w 4940931"/>
                <a:gd name="connsiteY117" fmla="*/ 80644 h 138429"/>
                <a:gd name="connsiteX118" fmla="*/ 1439545 w 4940931"/>
                <a:gd name="connsiteY118" fmla="*/ 70484 h 138429"/>
                <a:gd name="connsiteX119" fmla="*/ 1440180 w 4940931"/>
                <a:gd name="connsiteY119" fmla="*/ 69849 h 138429"/>
                <a:gd name="connsiteX120" fmla="*/ 1438910 w 4940931"/>
                <a:gd name="connsiteY120" fmla="*/ 59054 h 138429"/>
                <a:gd name="connsiteX121" fmla="*/ 1435100 w 4940931"/>
                <a:gd name="connsiteY121" fmla="*/ 50799 h 138429"/>
                <a:gd name="connsiteX122" fmla="*/ 1428750 w 4940931"/>
                <a:gd name="connsiteY122" fmla="*/ 45719 h 138429"/>
                <a:gd name="connsiteX123" fmla="*/ 1420495 w 4940931"/>
                <a:gd name="connsiteY123" fmla="*/ 43814 h 138429"/>
                <a:gd name="connsiteX124" fmla="*/ 4041770 w 4940931"/>
                <a:gd name="connsiteY124" fmla="*/ 43180 h 138429"/>
                <a:gd name="connsiteX125" fmla="*/ 4034785 w 4940931"/>
                <a:gd name="connsiteY125" fmla="*/ 44450 h 138429"/>
                <a:gd name="connsiteX126" fmla="*/ 4029705 w 4940931"/>
                <a:gd name="connsiteY126" fmla="*/ 48260 h 138429"/>
                <a:gd name="connsiteX127" fmla="*/ 4025895 w 4940931"/>
                <a:gd name="connsiteY127" fmla="*/ 54610 h 138429"/>
                <a:gd name="connsiteX128" fmla="*/ 4023990 w 4940931"/>
                <a:gd name="connsiteY128" fmla="*/ 62865 h 138429"/>
                <a:gd name="connsiteX129" fmla="*/ 4060185 w 4940931"/>
                <a:gd name="connsiteY129" fmla="*/ 62865 h 138429"/>
                <a:gd name="connsiteX130" fmla="*/ 4058915 w 4940931"/>
                <a:gd name="connsiteY130" fmla="*/ 55245 h 138429"/>
                <a:gd name="connsiteX131" fmla="*/ 4055740 w 4940931"/>
                <a:gd name="connsiteY131" fmla="*/ 48895 h 138429"/>
                <a:gd name="connsiteX132" fmla="*/ 4050025 w 4940931"/>
                <a:gd name="connsiteY132" fmla="*/ 44450 h 138429"/>
                <a:gd name="connsiteX133" fmla="*/ 4041770 w 4940931"/>
                <a:gd name="connsiteY133" fmla="*/ 43180 h 138429"/>
                <a:gd name="connsiteX134" fmla="*/ 3728081 w 4940931"/>
                <a:gd name="connsiteY134" fmla="*/ 43180 h 138429"/>
                <a:gd name="connsiteX135" fmla="*/ 3721096 w 4940931"/>
                <a:gd name="connsiteY135" fmla="*/ 44450 h 138429"/>
                <a:gd name="connsiteX136" fmla="*/ 3716016 w 4940931"/>
                <a:gd name="connsiteY136" fmla="*/ 48260 h 138429"/>
                <a:gd name="connsiteX137" fmla="*/ 3712206 w 4940931"/>
                <a:gd name="connsiteY137" fmla="*/ 54610 h 138429"/>
                <a:gd name="connsiteX138" fmla="*/ 3710301 w 4940931"/>
                <a:gd name="connsiteY138" fmla="*/ 62865 h 138429"/>
                <a:gd name="connsiteX139" fmla="*/ 3746496 w 4940931"/>
                <a:gd name="connsiteY139" fmla="*/ 62865 h 138429"/>
                <a:gd name="connsiteX140" fmla="*/ 3745226 w 4940931"/>
                <a:gd name="connsiteY140" fmla="*/ 55245 h 138429"/>
                <a:gd name="connsiteX141" fmla="*/ 3742051 w 4940931"/>
                <a:gd name="connsiteY141" fmla="*/ 48895 h 138429"/>
                <a:gd name="connsiteX142" fmla="*/ 3736336 w 4940931"/>
                <a:gd name="connsiteY142" fmla="*/ 44450 h 138429"/>
                <a:gd name="connsiteX143" fmla="*/ 3728081 w 4940931"/>
                <a:gd name="connsiteY143" fmla="*/ 43180 h 138429"/>
                <a:gd name="connsiteX144" fmla="*/ 3541391 w 4940931"/>
                <a:gd name="connsiteY144" fmla="*/ 43180 h 138429"/>
                <a:gd name="connsiteX145" fmla="*/ 3534406 w 4940931"/>
                <a:gd name="connsiteY145" fmla="*/ 44450 h 138429"/>
                <a:gd name="connsiteX146" fmla="*/ 3529326 w 4940931"/>
                <a:gd name="connsiteY146" fmla="*/ 48260 h 138429"/>
                <a:gd name="connsiteX147" fmla="*/ 3525516 w 4940931"/>
                <a:gd name="connsiteY147" fmla="*/ 54610 h 138429"/>
                <a:gd name="connsiteX148" fmla="*/ 3523611 w 4940931"/>
                <a:gd name="connsiteY148" fmla="*/ 62865 h 138429"/>
                <a:gd name="connsiteX149" fmla="*/ 3559806 w 4940931"/>
                <a:gd name="connsiteY149" fmla="*/ 62865 h 138429"/>
                <a:gd name="connsiteX150" fmla="*/ 3558536 w 4940931"/>
                <a:gd name="connsiteY150" fmla="*/ 55245 h 138429"/>
                <a:gd name="connsiteX151" fmla="*/ 3555361 w 4940931"/>
                <a:gd name="connsiteY151" fmla="*/ 48895 h 138429"/>
                <a:gd name="connsiteX152" fmla="*/ 3549646 w 4940931"/>
                <a:gd name="connsiteY152" fmla="*/ 44450 h 138429"/>
                <a:gd name="connsiteX153" fmla="*/ 3541391 w 4940931"/>
                <a:gd name="connsiteY153" fmla="*/ 43180 h 138429"/>
                <a:gd name="connsiteX154" fmla="*/ 3463285 w 4940931"/>
                <a:gd name="connsiteY154" fmla="*/ 43180 h 138429"/>
                <a:gd name="connsiteX155" fmla="*/ 3458205 w 4940931"/>
                <a:gd name="connsiteY155" fmla="*/ 43815 h 138429"/>
                <a:gd name="connsiteX156" fmla="*/ 3453125 w 4940931"/>
                <a:gd name="connsiteY156" fmla="*/ 45720 h 138429"/>
                <a:gd name="connsiteX157" fmla="*/ 3448680 w 4940931"/>
                <a:gd name="connsiteY157" fmla="*/ 48895 h 138429"/>
                <a:gd name="connsiteX158" fmla="*/ 3445505 w 4940931"/>
                <a:gd name="connsiteY158" fmla="*/ 52705 h 138429"/>
                <a:gd name="connsiteX159" fmla="*/ 3445505 w 4940931"/>
                <a:gd name="connsiteY159" fmla="*/ 85725 h 138429"/>
                <a:gd name="connsiteX160" fmla="*/ 3448680 w 4940931"/>
                <a:gd name="connsiteY160" fmla="*/ 89535 h 138429"/>
                <a:gd name="connsiteX161" fmla="*/ 3453125 w 4940931"/>
                <a:gd name="connsiteY161" fmla="*/ 92710 h 138429"/>
                <a:gd name="connsiteX162" fmla="*/ 3458205 w 4940931"/>
                <a:gd name="connsiteY162" fmla="*/ 95250 h 138429"/>
                <a:gd name="connsiteX163" fmla="*/ 3463920 w 4940931"/>
                <a:gd name="connsiteY163" fmla="*/ 95885 h 138429"/>
                <a:gd name="connsiteX164" fmla="*/ 3476620 w 4940931"/>
                <a:gd name="connsiteY164" fmla="*/ 89535 h 138429"/>
                <a:gd name="connsiteX165" fmla="*/ 3481065 w 4940931"/>
                <a:gd name="connsiteY165" fmla="*/ 71120 h 138429"/>
                <a:gd name="connsiteX166" fmla="*/ 3480430 w 4940931"/>
                <a:gd name="connsiteY166" fmla="*/ 71755 h 138429"/>
                <a:gd name="connsiteX167" fmla="*/ 3475985 w 4940931"/>
                <a:gd name="connsiteY167" fmla="*/ 50165 h 138429"/>
                <a:gd name="connsiteX168" fmla="*/ 3463285 w 4940931"/>
                <a:gd name="connsiteY168" fmla="*/ 43180 h 138429"/>
                <a:gd name="connsiteX169" fmla="*/ 3343271 w 4940931"/>
                <a:gd name="connsiteY169" fmla="*/ 43180 h 138429"/>
                <a:gd name="connsiteX170" fmla="*/ 3336286 w 4940931"/>
                <a:gd name="connsiteY170" fmla="*/ 44450 h 138429"/>
                <a:gd name="connsiteX171" fmla="*/ 3331206 w 4940931"/>
                <a:gd name="connsiteY171" fmla="*/ 48260 h 138429"/>
                <a:gd name="connsiteX172" fmla="*/ 3327396 w 4940931"/>
                <a:gd name="connsiteY172" fmla="*/ 54610 h 138429"/>
                <a:gd name="connsiteX173" fmla="*/ 3325491 w 4940931"/>
                <a:gd name="connsiteY173" fmla="*/ 62865 h 138429"/>
                <a:gd name="connsiteX174" fmla="*/ 3361686 w 4940931"/>
                <a:gd name="connsiteY174" fmla="*/ 62865 h 138429"/>
                <a:gd name="connsiteX175" fmla="*/ 3360416 w 4940931"/>
                <a:gd name="connsiteY175" fmla="*/ 55245 h 138429"/>
                <a:gd name="connsiteX176" fmla="*/ 3357241 w 4940931"/>
                <a:gd name="connsiteY176" fmla="*/ 48895 h 138429"/>
                <a:gd name="connsiteX177" fmla="*/ 3351526 w 4940931"/>
                <a:gd name="connsiteY177" fmla="*/ 44450 h 138429"/>
                <a:gd name="connsiteX178" fmla="*/ 3343271 w 4940931"/>
                <a:gd name="connsiteY178" fmla="*/ 43180 h 138429"/>
                <a:gd name="connsiteX179" fmla="*/ 2976876 w 4940931"/>
                <a:gd name="connsiteY179" fmla="*/ 43180 h 138429"/>
                <a:gd name="connsiteX180" fmla="*/ 2969891 w 4940931"/>
                <a:gd name="connsiteY180" fmla="*/ 44450 h 138429"/>
                <a:gd name="connsiteX181" fmla="*/ 2964811 w 4940931"/>
                <a:gd name="connsiteY181" fmla="*/ 48260 h 138429"/>
                <a:gd name="connsiteX182" fmla="*/ 2961001 w 4940931"/>
                <a:gd name="connsiteY182" fmla="*/ 54610 h 138429"/>
                <a:gd name="connsiteX183" fmla="*/ 2959096 w 4940931"/>
                <a:gd name="connsiteY183" fmla="*/ 62865 h 138429"/>
                <a:gd name="connsiteX184" fmla="*/ 2995291 w 4940931"/>
                <a:gd name="connsiteY184" fmla="*/ 62865 h 138429"/>
                <a:gd name="connsiteX185" fmla="*/ 2994021 w 4940931"/>
                <a:gd name="connsiteY185" fmla="*/ 55245 h 138429"/>
                <a:gd name="connsiteX186" fmla="*/ 2990846 w 4940931"/>
                <a:gd name="connsiteY186" fmla="*/ 48895 h 138429"/>
                <a:gd name="connsiteX187" fmla="*/ 2985131 w 4940931"/>
                <a:gd name="connsiteY187" fmla="*/ 44450 h 138429"/>
                <a:gd name="connsiteX188" fmla="*/ 2976876 w 4940931"/>
                <a:gd name="connsiteY188" fmla="*/ 43180 h 138429"/>
                <a:gd name="connsiteX189" fmla="*/ 2527930 w 4940931"/>
                <a:gd name="connsiteY189" fmla="*/ 43180 h 138429"/>
                <a:gd name="connsiteX190" fmla="*/ 2520945 w 4940931"/>
                <a:gd name="connsiteY190" fmla="*/ 44450 h 138429"/>
                <a:gd name="connsiteX191" fmla="*/ 2515865 w 4940931"/>
                <a:gd name="connsiteY191" fmla="*/ 48260 h 138429"/>
                <a:gd name="connsiteX192" fmla="*/ 2512055 w 4940931"/>
                <a:gd name="connsiteY192" fmla="*/ 54610 h 138429"/>
                <a:gd name="connsiteX193" fmla="*/ 2510150 w 4940931"/>
                <a:gd name="connsiteY193" fmla="*/ 62865 h 138429"/>
                <a:gd name="connsiteX194" fmla="*/ 2546345 w 4940931"/>
                <a:gd name="connsiteY194" fmla="*/ 62865 h 138429"/>
                <a:gd name="connsiteX195" fmla="*/ 2545075 w 4940931"/>
                <a:gd name="connsiteY195" fmla="*/ 55245 h 138429"/>
                <a:gd name="connsiteX196" fmla="*/ 2541900 w 4940931"/>
                <a:gd name="connsiteY196" fmla="*/ 48895 h 138429"/>
                <a:gd name="connsiteX197" fmla="*/ 2536185 w 4940931"/>
                <a:gd name="connsiteY197" fmla="*/ 44450 h 138429"/>
                <a:gd name="connsiteX198" fmla="*/ 2527930 w 4940931"/>
                <a:gd name="connsiteY198" fmla="*/ 43180 h 138429"/>
                <a:gd name="connsiteX199" fmla="*/ 2214240 w 4940931"/>
                <a:gd name="connsiteY199" fmla="*/ 43180 h 138429"/>
                <a:gd name="connsiteX200" fmla="*/ 2207255 w 4940931"/>
                <a:gd name="connsiteY200" fmla="*/ 44450 h 138429"/>
                <a:gd name="connsiteX201" fmla="*/ 2202175 w 4940931"/>
                <a:gd name="connsiteY201" fmla="*/ 48260 h 138429"/>
                <a:gd name="connsiteX202" fmla="*/ 2198365 w 4940931"/>
                <a:gd name="connsiteY202" fmla="*/ 54610 h 138429"/>
                <a:gd name="connsiteX203" fmla="*/ 2196460 w 4940931"/>
                <a:gd name="connsiteY203" fmla="*/ 62865 h 138429"/>
                <a:gd name="connsiteX204" fmla="*/ 2232655 w 4940931"/>
                <a:gd name="connsiteY204" fmla="*/ 62865 h 138429"/>
                <a:gd name="connsiteX205" fmla="*/ 2231385 w 4940931"/>
                <a:gd name="connsiteY205" fmla="*/ 55245 h 138429"/>
                <a:gd name="connsiteX206" fmla="*/ 2228210 w 4940931"/>
                <a:gd name="connsiteY206" fmla="*/ 48895 h 138429"/>
                <a:gd name="connsiteX207" fmla="*/ 2222495 w 4940931"/>
                <a:gd name="connsiteY207" fmla="*/ 44450 h 138429"/>
                <a:gd name="connsiteX208" fmla="*/ 2214240 w 4940931"/>
                <a:gd name="connsiteY208" fmla="*/ 43180 h 138429"/>
                <a:gd name="connsiteX209" fmla="*/ 2027551 w 4940931"/>
                <a:gd name="connsiteY209" fmla="*/ 43180 h 138429"/>
                <a:gd name="connsiteX210" fmla="*/ 2020566 w 4940931"/>
                <a:gd name="connsiteY210" fmla="*/ 44450 h 138429"/>
                <a:gd name="connsiteX211" fmla="*/ 2015486 w 4940931"/>
                <a:gd name="connsiteY211" fmla="*/ 48260 h 138429"/>
                <a:gd name="connsiteX212" fmla="*/ 2011676 w 4940931"/>
                <a:gd name="connsiteY212" fmla="*/ 54610 h 138429"/>
                <a:gd name="connsiteX213" fmla="*/ 2009771 w 4940931"/>
                <a:gd name="connsiteY213" fmla="*/ 62865 h 138429"/>
                <a:gd name="connsiteX214" fmla="*/ 2045966 w 4940931"/>
                <a:gd name="connsiteY214" fmla="*/ 62865 h 138429"/>
                <a:gd name="connsiteX215" fmla="*/ 2044696 w 4940931"/>
                <a:gd name="connsiteY215" fmla="*/ 55245 h 138429"/>
                <a:gd name="connsiteX216" fmla="*/ 2041521 w 4940931"/>
                <a:gd name="connsiteY216" fmla="*/ 48895 h 138429"/>
                <a:gd name="connsiteX217" fmla="*/ 2035806 w 4940931"/>
                <a:gd name="connsiteY217" fmla="*/ 44450 h 138429"/>
                <a:gd name="connsiteX218" fmla="*/ 2027551 w 4940931"/>
                <a:gd name="connsiteY218" fmla="*/ 43180 h 138429"/>
                <a:gd name="connsiteX219" fmla="*/ 1949445 w 4940931"/>
                <a:gd name="connsiteY219" fmla="*/ 43180 h 138429"/>
                <a:gd name="connsiteX220" fmla="*/ 1944365 w 4940931"/>
                <a:gd name="connsiteY220" fmla="*/ 43815 h 138429"/>
                <a:gd name="connsiteX221" fmla="*/ 1939285 w 4940931"/>
                <a:gd name="connsiteY221" fmla="*/ 45720 h 138429"/>
                <a:gd name="connsiteX222" fmla="*/ 1934840 w 4940931"/>
                <a:gd name="connsiteY222" fmla="*/ 48895 h 138429"/>
                <a:gd name="connsiteX223" fmla="*/ 1931665 w 4940931"/>
                <a:gd name="connsiteY223" fmla="*/ 52705 h 138429"/>
                <a:gd name="connsiteX224" fmla="*/ 1931665 w 4940931"/>
                <a:gd name="connsiteY224" fmla="*/ 85725 h 138429"/>
                <a:gd name="connsiteX225" fmla="*/ 1934840 w 4940931"/>
                <a:gd name="connsiteY225" fmla="*/ 89535 h 138429"/>
                <a:gd name="connsiteX226" fmla="*/ 1939285 w 4940931"/>
                <a:gd name="connsiteY226" fmla="*/ 92710 h 138429"/>
                <a:gd name="connsiteX227" fmla="*/ 1944365 w 4940931"/>
                <a:gd name="connsiteY227" fmla="*/ 95250 h 138429"/>
                <a:gd name="connsiteX228" fmla="*/ 1950080 w 4940931"/>
                <a:gd name="connsiteY228" fmla="*/ 95885 h 138429"/>
                <a:gd name="connsiteX229" fmla="*/ 1962780 w 4940931"/>
                <a:gd name="connsiteY229" fmla="*/ 89535 h 138429"/>
                <a:gd name="connsiteX230" fmla="*/ 1967225 w 4940931"/>
                <a:gd name="connsiteY230" fmla="*/ 71120 h 138429"/>
                <a:gd name="connsiteX231" fmla="*/ 1966590 w 4940931"/>
                <a:gd name="connsiteY231" fmla="*/ 71755 h 138429"/>
                <a:gd name="connsiteX232" fmla="*/ 1962145 w 4940931"/>
                <a:gd name="connsiteY232" fmla="*/ 50165 h 138429"/>
                <a:gd name="connsiteX233" fmla="*/ 1949445 w 4940931"/>
                <a:gd name="connsiteY233" fmla="*/ 43180 h 138429"/>
                <a:gd name="connsiteX234" fmla="*/ 1829431 w 4940931"/>
                <a:gd name="connsiteY234" fmla="*/ 43180 h 138429"/>
                <a:gd name="connsiteX235" fmla="*/ 1822446 w 4940931"/>
                <a:gd name="connsiteY235" fmla="*/ 44450 h 138429"/>
                <a:gd name="connsiteX236" fmla="*/ 1817366 w 4940931"/>
                <a:gd name="connsiteY236" fmla="*/ 48260 h 138429"/>
                <a:gd name="connsiteX237" fmla="*/ 1813556 w 4940931"/>
                <a:gd name="connsiteY237" fmla="*/ 54610 h 138429"/>
                <a:gd name="connsiteX238" fmla="*/ 1811651 w 4940931"/>
                <a:gd name="connsiteY238" fmla="*/ 62865 h 138429"/>
                <a:gd name="connsiteX239" fmla="*/ 1847846 w 4940931"/>
                <a:gd name="connsiteY239" fmla="*/ 62865 h 138429"/>
                <a:gd name="connsiteX240" fmla="*/ 1846576 w 4940931"/>
                <a:gd name="connsiteY240" fmla="*/ 55245 h 138429"/>
                <a:gd name="connsiteX241" fmla="*/ 1843401 w 4940931"/>
                <a:gd name="connsiteY241" fmla="*/ 48895 h 138429"/>
                <a:gd name="connsiteX242" fmla="*/ 1837686 w 4940931"/>
                <a:gd name="connsiteY242" fmla="*/ 44450 h 138429"/>
                <a:gd name="connsiteX243" fmla="*/ 1829431 w 4940931"/>
                <a:gd name="connsiteY243" fmla="*/ 43180 h 138429"/>
                <a:gd name="connsiteX244" fmla="*/ 1178561 w 4940931"/>
                <a:gd name="connsiteY244" fmla="*/ 43180 h 138429"/>
                <a:gd name="connsiteX245" fmla="*/ 1171576 w 4940931"/>
                <a:gd name="connsiteY245" fmla="*/ 44450 h 138429"/>
                <a:gd name="connsiteX246" fmla="*/ 1166496 w 4940931"/>
                <a:gd name="connsiteY246" fmla="*/ 48260 h 138429"/>
                <a:gd name="connsiteX247" fmla="*/ 1162686 w 4940931"/>
                <a:gd name="connsiteY247" fmla="*/ 54610 h 138429"/>
                <a:gd name="connsiteX248" fmla="*/ 1160781 w 4940931"/>
                <a:gd name="connsiteY248" fmla="*/ 62865 h 138429"/>
                <a:gd name="connsiteX249" fmla="*/ 1196976 w 4940931"/>
                <a:gd name="connsiteY249" fmla="*/ 62865 h 138429"/>
                <a:gd name="connsiteX250" fmla="*/ 1195706 w 4940931"/>
                <a:gd name="connsiteY250" fmla="*/ 55245 h 138429"/>
                <a:gd name="connsiteX251" fmla="*/ 1192531 w 4940931"/>
                <a:gd name="connsiteY251" fmla="*/ 48895 h 138429"/>
                <a:gd name="connsiteX252" fmla="*/ 1186816 w 4940931"/>
                <a:gd name="connsiteY252" fmla="*/ 44450 h 138429"/>
                <a:gd name="connsiteX253" fmla="*/ 1178561 w 4940931"/>
                <a:gd name="connsiteY253" fmla="*/ 43180 h 138429"/>
                <a:gd name="connsiteX254" fmla="*/ 898525 w 4940931"/>
                <a:gd name="connsiteY254" fmla="*/ 43180 h 138429"/>
                <a:gd name="connsiteX255" fmla="*/ 891540 w 4940931"/>
                <a:gd name="connsiteY255" fmla="*/ 44450 h 138429"/>
                <a:gd name="connsiteX256" fmla="*/ 886460 w 4940931"/>
                <a:gd name="connsiteY256" fmla="*/ 48260 h 138429"/>
                <a:gd name="connsiteX257" fmla="*/ 882650 w 4940931"/>
                <a:gd name="connsiteY257" fmla="*/ 54610 h 138429"/>
                <a:gd name="connsiteX258" fmla="*/ 880745 w 4940931"/>
                <a:gd name="connsiteY258" fmla="*/ 62865 h 138429"/>
                <a:gd name="connsiteX259" fmla="*/ 916940 w 4940931"/>
                <a:gd name="connsiteY259" fmla="*/ 62865 h 138429"/>
                <a:gd name="connsiteX260" fmla="*/ 915670 w 4940931"/>
                <a:gd name="connsiteY260" fmla="*/ 55245 h 138429"/>
                <a:gd name="connsiteX261" fmla="*/ 912495 w 4940931"/>
                <a:gd name="connsiteY261" fmla="*/ 48895 h 138429"/>
                <a:gd name="connsiteX262" fmla="*/ 906780 w 4940931"/>
                <a:gd name="connsiteY262" fmla="*/ 44450 h 138429"/>
                <a:gd name="connsiteX263" fmla="*/ 898525 w 4940931"/>
                <a:gd name="connsiteY263" fmla="*/ 43180 h 138429"/>
                <a:gd name="connsiteX264" fmla="*/ 584834 w 4940931"/>
                <a:gd name="connsiteY264" fmla="*/ 43180 h 138429"/>
                <a:gd name="connsiteX265" fmla="*/ 577849 w 4940931"/>
                <a:gd name="connsiteY265" fmla="*/ 44450 h 138429"/>
                <a:gd name="connsiteX266" fmla="*/ 572769 w 4940931"/>
                <a:gd name="connsiteY266" fmla="*/ 48260 h 138429"/>
                <a:gd name="connsiteX267" fmla="*/ 568959 w 4940931"/>
                <a:gd name="connsiteY267" fmla="*/ 54610 h 138429"/>
                <a:gd name="connsiteX268" fmla="*/ 567054 w 4940931"/>
                <a:gd name="connsiteY268" fmla="*/ 62865 h 138429"/>
                <a:gd name="connsiteX269" fmla="*/ 603249 w 4940931"/>
                <a:gd name="connsiteY269" fmla="*/ 62865 h 138429"/>
                <a:gd name="connsiteX270" fmla="*/ 601979 w 4940931"/>
                <a:gd name="connsiteY270" fmla="*/ 55245 h 138429"/>
                <a:gd name="connsiteX271" fmla="*/ 598804 w 4940931"/>
                <a:gd name="connsiteY271" fmla="*/ 48895 h 138429"/>
                <a:gd name="connsiteX272" fmla="*/ 593089 w 4940931"/>
                <a:gd name="connsiteY272" fmla="*/ 44450 h 138429"/>
                <a:gd name="connsiteX273" fmla="*/ 584834 w 4940931"/>
                <a:gd name="connsiteY273" fmla="*/ 43180 h 138429"/>
                <a:gd name="connsiteX274" fmla="*/ 398145 w 4940931"/>
                <a:gd name="connsiteY274" fmla="*/ 43180 h 138429"/>
                <a:gd name="connsiteX275" fmla="*/ 391160 w 4940931"/>
                <a:gd name="connsiteY275" fmla="*/ 44450 h 138429"/>
                <a:gd name="connsiteX276" fmla="*/ 386080 w 4940931"/>
                <a:gd name="connsiteY276" fmla="*/ 48260 h 138429"/>
                <a:gd name="connsiteX277" fmla="*/ 382270 w 4940931"/>
                <a:gd name="connsiteY277" fmla="*/ 54610 h 138429"/>
                <a:gd name="connsiteX278" fmla="*/ 380365 w 4940931"/>
                <a:gd name="connsiteY278" fmla="*/ 62865 h 138429"/>
                <a:gd name="connsiteX279" fmla="*/ 416560 w 4940931"/>
                <a:gd name="connsiteY279" fmla="*/ 62865 h 138429"/>
                <a:gd name="connsiteX280" fmla="*/ 415290 w 4940931"/>
                <a:gd name="connsiteY280" fmla="*/ 55245 h 138429"/>
                <a:gd name="connsiteX281" fmla="*/ 412115 w 4940931"/>
                <a:gd name="connsiteY281" fmla="*/ 48895 h 138429"/>
                <a:gd name="connsiteX282" fmla="*/ 406400 w 4940931"/>
                <a:gd name="connsiteY282" fmla="*/ 44450 h 138429"/>
                <a:gd name="connsiteX283" fmla="*/ 398145 w 4940931"/>
                <a:gd name="connsiteY283" fmla="*/ 43180 h 138429"/>
                <a:gd name="connsiteX284" fmla="*/ 320039 w 4940931"/>
                <a:gd name="connsiteY284" fmla="*/ 43180 h 138429"/>
                <a:gd name="connsiteX285" fmla="*/ 314959 w 4940931"/>
                <a:gd name="connsiteY285" fmla="*/ 43815 h 138429"/>
                <a:gd name="connsiteX286" fmla="*/ 309879 w 4940931"/>
                <a:gd name="connsiteY286" fmla="*/ 45720 h 138429"/>
                <a:gd name="connsiteX287" fmla="*/ 305434 w 4940931"/>
                <a:gd name="connsiteY287" fmla="*/ 48895 h 138429"/>
                <a:gd name="connsiteX288" fmla="*/ 302259 w 4940931"/>
                <a:gd name="connsiteY288" fmla="*/ 52705 h 138429"/>
                <a:gd name="connsiteX289" fmla="*/ 302259 w 4940931"/>
                <a:gd name="connsiteY289" fmla="*/ 85725 h 138429"/>
                <a:gd name="connsiteX290" fmla="*/ 305434 w 4940931"/>
                <a:gd name="connsiteY290" fmla="*/ 89535 h 138429"/>
                <a:gd name="connsiteX291" fmla="*/ 309879 w 4940931"/>
                <a:gd name="connsiteY291" fmla="*/ 92710 h 138429"/>
                <a:gd name="connsiteX292" fmla="*/ 314959 w 4940931"/>
                <a:gd name="connsiteY292" fmla="*/ 95250 h 138429"/>
                <a:gd name="connsiteX293" fmla="*/ 320674 w 4940931"/>
                <a:gd name="connsiteY293" fmla="*/ 95885 h 138429"/>
                <a:gd name="connsiteX294" fmla="*/ 333374 w 4940931"/>
                <a:gd name="connsiteY294" fmla="*/ 89535 h 138429"/>
                <a:gd name="connsiteX295" fmla="*/ 337819 w 4940931"/>
                <a:gd name="connsiteY295" fmla="*/ 71120 h 138429"/>
                <a:gd name="connsiteX296" fmla="*/ 337184 w 4940931"/>
                <a:gd name="connsiteY296" fmla="*/ 71755 h 138429"/>
                <a:gd name="connsiteX297" fmla="*/ 332739 w 4940931"/>
                <a:gd name="connsiteY297" fmla="*/ 50165 h 138429"/>
                <a:gd name="connsiteX298" fmla="*/ 320039 w 4940931"/>
                <a:gd name="connsiteY298" fmla="*/ 43180 h 138429"/>
                <a:gd name="connsiteX299" fmla="*/ 200025 w 4940931"/>
                <a:gd name="connsiteY299" fmla="*/ 43180 h 138429"/>
                <a:gd name="connsiteX300" fmla="*/ 193040 w 4940931"/>
                <a:gd name="connsiteY300" fmla="*/ 44450 h 138429"/>
                <a:gd name="connsiteX301" fmla="*/ 187960 w 4940931"/>
                <a:gd name="connsiteY301" fmla="*/ 48260 h 138429"/>
                <a:gd name="connsiteX302" fmla="*/ 184150 w 4940931"/>
                <a:gd name="connsiteY302" fmla="*/ 54610 h 138429"/>
                <a:gd name="connsiteX303" fmla="*/ 182245 w 4940931"/>
                <a:gd name="connsiteY303" fmla="*/ 62865 h 138429"/>
                <a:gd name="connsiteX304" fmla="*/ 218440 w 4940931"/>
                <a:gd name="connsiteY304" fmla="*/ 62865 h 138429"/>
                <a:gd name="connsiteX305" fmla="*/ 217170 w 4940931"/>
                <a:gd name="connsiteY305" fmla="*/ 55245 h 138429"/>
                <a:gd name="connsiteX306" fmla="*/ 213995 w 4940931"/>
                <a:gd name="connsiteY306" fmla="*/ 48895 h 138429"/>
                <a:gd name="connsiteX307" fmla="*/ 208280 w 4940931"/>
                <a:gd name="connsiteY307" fmla="*/ 44450 h 138429"/>
                <a:gd name="connsiteX308" fmla="*/ 200025 w 4940931"/>
                <a:gd name="connsiteY308" fmla="*/ 43180 h 138429"/>
                <a:gd name="connsiteX309" fmla="*/ 4439281 w 4940931"/>
                <a:gd name="connsiteY309" fmla="*/ 43179 h 138429"/>
                <a:gd name="connsiteX310" fmla="*/ 4426581 w 4940931"/>
                <a:gd name="connsiteY310" fmla="*/ 49529 h 138429"/>
                <a:gd name="connsiteX311" fmla="*/ 4422136 w 4940931"/>
                <a:gd name="connsiteY311" fmla="*/ 67944 h 138429"/>
                <a:gd name="connsiteX312" fmla="*/ 4423406 w 4940931"/>
                <a:gd name="connsiteY312" fmla="*/ 80644 h 138429"/>
                <a:gd name="connsiteX313" fmla="*/ 4426581 w 4940931"/>
                <a:gd name="connsiteY313" fmla="*/ 89534 h 138429"/>
                <a:gd name="connsiteX314" fmla="*/ 4432296 w 4940931"/>
                <a:gd name="connsiteY314" fmla="*/ 94614 h 138429"/>
                <a:gd name="connsiteX315" fmla="*/ 4439916 w 4940931"/>
                <a:gd name="connsiteY315" fmla="*/ 96519 h 138429"/>
                <a:gd name="connsiteX316" fmla="*/ 4444996 w 4940931"/>
                <a:gd name="connsiteY316" fmla="*/ 95884 h 138429"/>
                <a:gd name="connsiteX317" fmla="*/ 4450076 w 4940931"/>
                <a:gd name="connsiteY317" fmla="*/ 93344 h 138429"/>
                <a:gd name="connsiteX318" fmla="*/ 4454521 w 4940931"/>
                <a:gd name="connsiteY318" fmla="*/ 90169 h 138429"/>
                <a:gd name="connsiteX319" fmla="*/ 4457696 w 4940931"/>
                <a:gd name="connsiteY319" fmla="*/ 86359 h 138429"/>
                <a:gd name="connsiteX320" fmla="*/ 4457696 w 4940931"/>
                <a:gd name="connsiteY320" fmla="*/ 53339 h 138429"/>
                <a:gd name="connsiteX321" fmla="*/ 4454521 w 4940931"/>
                <a:gd name="connsiteY321" fmla="*/ 49529 h 138429"/>
                <a:gd name="connsiteX322" fmla="*/ 4450076 w 4940931"/>
                <a:gd name="connsiteY322" fmla="*/ 46354 h 138429"/>
                <a:gd name="connsiteX323" fmla="*/ 4444996 w 4940931"/>
                <a:gd name="connsiteY323" fmla="*/ 43814 h 138429"/>
                <a:gd name="connsiteX324" fmla="*/ 4439281 w 4940931"/>
                <a:gd name="connsiteY324" fmla="*/ 43179 h 138429"/>
                <a:gd name="connsiteX325" fmla="*/ 1014731 w 4940931"/>
                <a:gd name="connsiteY325" fmla="*/ 43179 h 138429"/>
                <a:gd name="connsiteX326" fmla="*/ 1002032 w 4940931"/>
                <a:gd name="connsiteY326" fmla="*/ 49529 h 138429"/>
                <a:gd name="connsiteX327" fmla="*/ 997587 w 4940931"/>
                <a:gd name="connsiteY327" fmla="*/ 67944 h 138429"/>
                <a:gd name="connsiteX328" fmla="*/ 1002032 w 4940931"/>
                <a:gd name="connsiteY328" fmla="*/ 88899 h 138429"/>
                <a:gd name="connsiteX329" fmla="*/ 1015367 w 4940931"/>
                <a:gd name="connsiteY329" fmla="*/ 95884 h 138429"/>
                <a:gd name="connsiteX330" fmla="*/ 1024891 w 4940931"/>
                <a:gd name="connsiteY330" fmla="*/ 93344 h 138429"/>
                <a:gd name="connsiteX331" fmla="*/ 1033147 w 4940931"/>
                <a:gd name="connsiteY331" fmla="*/ 86359 h 138429"/>
                <a:gd name="connsiteX332" fmla="*/ 1033147 w 4940931"/>
                <a:gd name="connsiteY332" fmla="*/ 53339 h 138429"/>
                <a:gd name="connsiteX333" fmla="*/ 1029971 w 4940931"/>
                <a:gd name="connsiteY333" fmla="*/ 49529 h 138429"/>
                <a:gd name="connsiteX334" fmla="*/ 1025526 w 4940931"/>
                <a:gd name="connsiteY334" fmla="*/ 46354 h 138429"/>
                <a:gd name="connsiteX335" fmla="*/ 1020446 w 4940931"/>
                <a:gd name="connsiteY335" fmla="*/ 43814 h 138429"/>
                <a:gd name="connsiteX336" fmla="*/ 1014731 w 4940931"/>
                <a:gd name="connsiteY336" fmla="*/ 43179 h 138429"/>
                <a:gd name="connsiteX337" fmla="*/ 4524370 w 4940931"/>
                <a:gd name="connsiteY337" fmla="*/ 31114 h 138429"/>
                <a:gd name="connsiteX338" fmla="*/ 4538975 w 4940931"/>
                <a:gd name="connsiteY338" fmla="*/ 31114 h 138429"/>
                <a:gd name="connsiteX339" fmla="*/ 4552310 w 4940931"/>
                <a:gd name="connsiteY339" fmla="*/ 84454 h 138429"/>
                <a:gd name="connsiteX340" fmla="*/ 4566915 w 4940931"/>
                <a:gd name="connsiteY340" fmla="*/ 31114 h 138429"/>
                <a:gd name="connsiteX341" fmla="*/ 4579615 w 4940931"/>
                <a:gd name="connsiteY341" fmla="*/ 31114 h 138429"/>
                <a:gd name="connsiteX342" fmla="*/ 4594220 w 4940931"/>
                <a:gd name="connsiteY342" fmla="*/ 84454 h 138429"/>
                <a:gd name="connsiteX343" fmla="*/ 4606920 w 4940931"/>
                <a:gd name="connsiteY343" fmla="*/ 31114 h 138429"/>
                <a:gd name="connsiteX344" fmla="*/ 4622160 w 4940931"/>
                <a:gd name="connsiteY344" fmla="*/ 31114 h 138429"/>
                <a:gd name="connsiteX345" fmla="*/ 4600570 w 4940931"/>
                <a:gd name="connsiteY345" fmla="*/ 108584 h 138429"/>
                <a:gd name="connsiteX346" fmla="*/ 4587235 w 4940931"/>
                <a:gd name="connsiteY346" fmla="*/ 108584 h 138429"/>
                <a:gd name="connsiteX347" fmla="*/ 4572630 w 4940931"/>
                <a:gd name="connsiteY347" fmla="*/ 54609 h 138429"/>
                <a:gd name="connsiteX348" fmla="*/ 4558660 w 4940931"/>
                <a:gd name="connsiteY348" fmla="*/ 108584 h 138429"/>
                <a:gd name="connsiteX349" fmla="*/ 4545325 w 4940931"/>
                <a:gd name="connsiteY349" fmla="*/ 108584 h 138429"/>
                <a:gd name="connsiteX350" fmla="*/ 4123686 w 4940931"/>
                <a:gd name="connsiteY350" fmla="*/ 31114 h 138429"/>
                <a:gd name="connsiteX351" fmla="*/ 4138926 w 4940931"/>
                <a:gd name="connsiteY351" fmla="*/ 31114 h 138429"/>
                <a:gd name="connsiteX352" fmla="*/ 4152261 w 4940931"/>
                <a:gd name="connsiteY352" fmla="*/ 84454 h 138429"/>
                <a:gd name="connsiteX353" fmla="*/ 4166866 w 4940931"/>
                <a:gd name="connsiteY353" fmla="*/ 31114 h 138429"/>
                <a:gd name="connsiteX354" fmla="*/ 4178931 w 4940931"/>
                <a:gd name="connsiteY354" fmla="*/ 31114 h 138429"/>
                <a:gd name="connsiteX355" fmla="*/ 4193536 w 4940931"/>
                <a:gd name="connsiteY355" fmla="*/ 84454 h 138429"/>
                <a:gd name="connsiteX356" fmla="*/ 4206871 w 4940931"/>
                <a:gd name="connsiteY356" fmla="*/ 31114 h 138429"/>
                <a:gd name="connsiteX357" fmla="*/ 4222111 w 4940931"/>
                <a:gd name="connsiteY357" fmla="*/ 31114 h 138429"/>
                <a:gd name="connsiteX358" fmla="*/ 4200521 w 4940931"/>
                <a:gd name="connsiteY358" fmla="*/ 108584 h 138429"/>
                <a:gd name="connsiteX359" fmla="*/ 4187186 w 4940931"/>
                <a:gd name="connsiteY359" fmla="*/ 108584 h 138429"/>
                <a:gd name="connsiteX360" fmla="*/ 4172581 w 4940931"/>
                <a:gd name="connsiteY360" fmla="*/ 54609 h 138429"/>
                <a:gd name="connsiteX361" fmla="*/ 4157976 w 4940931"/>
                <a:gd name="connsiteY361" fmla="*/ 108584 h 138429"/>
                <a:gd name="connsiteX362" fmla="*/ 4145276 w 4940931"/>
                <a:gd name="connsiteY362" fmla="*/ 108584 h 138429"/>
                <a:gd name="connsiteX363" fmla="*/ 2837811 w 4940931"/>
                <a:gd name="connsiteY363" fmla="*/ 31114 h 138429"/>
                <a:gd name="connsiteX364" fmla="*/ 2852416 w 4940931"/>
                <a:gd name="connsiteY364" fmla="*/ 31114 h 138429"/>
                <a:gd name="connsiteX365" fmla="*/ 2865751 w 4940931"/>
                <a:gd name="connsiteY365" fmla="*/ 84454 h 138429"/>
                <a:gd name="connsiteX366" fmla="*/ 2880356 w 4940931"/>
                <a:gd name="connsiteY366" fmla="*/ 31114 h 138429"/>
                <a:gd name="connsiteX367" fmla="*/ 2893056 w 4940931"/>
                <a:gd name="connsiteY367" fmla="*/ 31114 h 138429"/>
                <a:gd name="connsiteX368" fmla="*/ 2907661 w 4940931"/>
                <a:gd name="connsiteY368" fmla="*/ 84454 h 138429"/>
                <a:gd name="connsiteX369" fmla="*/ 2920361 w 4940931"/>
                <a:gd name="connsiteY369" fmla="*/ 31114 h 138429"/>
                <a:gd name="connsiteX370" fmla="*/ 2935601 w 4940931"/>
                <a:gd name="connsiteY370" fmla="*/ 31114 h 138429"/>
                <a:gd name="connsiteX371" fmla="*/ 2914011 w 4940931"/>
                <a:gd name="connsiteY371" fmla="*/ 108584 h 138429"/>
                <a:gd name="connsiteX372" fmla="*/ 2900676 w 4940931"/>
                <a:gd name="connsiteY372" fmla="*/ 108584 h 138429"/>
                <a:gd name="connsiteX373" fmla="*/ 2886706 w 4940931"/>
                <a:gd name="connsiteY373" fmla="*/ 54609 h 138429"/>
                <a:gd name="connsiteX374" fmla="*/ 2872101 w 4940931"/>
                <a:gd name="connsiteY374" fmla="*/ 108584 h 138429"/>
                <a:gd name="connsiteX375" fmla="*/ 2858766 w 4940931"/>
                <a:gd name="connsiteY375" fmla="*/ 108584 h 138429"/>
                <a:gd name="connsiteX376" fmla="*/ 1354455 w 4940931"/>
                <a:gd name="connsiteY376" fmla="*/ 31114 h 138429"/>
                <a:gd name="connsiteX377" fmla="*/ 1369695 w 4940931"/>
                <a:gd name="connsiteY377" fmla="*/ 31114 h 138429"/>
                <a:gd name="connsiteX378" fmla="*/ 1369695 w 4940931"/>
                <a:gd name="connsiteY378" fmla="*/ 109219 h 138429"/>
                <a:gd name="connsiteX379" fmla="*/ 1354455 w 4940931"/>
                <a:gd name="connsiteY379" fmla="*/ 109219 h 138429"/>
                <a:gd name="connsiteX380" fmla="*/ 2646040 w 4940931"/>
                <a:gd name="connsiteY380" fmla="*/ 29844 h 138429"/>
                <a:gd name="connsiteX381" fmla="*/ 2658105 w 4940931"/>
                <a:gd name="connsiteY381" fmla="*/ 31749 h 138429"/>
                <a:gd name="connsiteX382" fmla="*/ 2667630 w 4940931"/>
                <a:gd name="connsiteY382" fmla="*/ 36829 h 138429"/>
                <a:gd name="connsiteX383" fmla="*/ 2673345 w 4940931"/>
                <a:gd name="connsiteY383" fmla="*/ 45084 h 138429"/>
                <a:gd name="connsiteX384" fmla="*/ 2675250 w 4940931"/>
                <a:gd name="connsiteY384" fmla="*/ 56514 h 138429"/>
                <a:gd name="connsiteX385" fmla="*/ 2675250 w 4940931"/>
                <a:gd name="connsiteY385" fmla="*/ 109854 h 138429"/>
                <a:gd name="connsiteX386" fmla="*/ 2660010 w 4940931"/>
                <a:gd name="connsiteY386" fmla="*/ 109854 h 138429"/>
                <a:gd name="connsiteX387" fmla="*/ 2660010 w 4940931"/>
                <a:gd name="connsiteY387" fmla="*/ 108584 h 138429"/>
                <a:gd name="connsiteX388" fmla="*/ 2660010 w 4940931"/>
                <a:gd name="connsiteY388" fmla="*/ 100964 h 138429"/>
                <a:gd name="connsiteX389" fmla="*/ 2654930 w 4940931"/>
                <a:gd name="connsiteY389" fmla="*/ 104774 h 138429"/>
                <a:gd name="connsiteX390" fmla="*/ 2651120 w 4940931"/>
                <a:gd name="connsiteY390" fmla="*/ 107314 h 138429"/>
                <a:gd name="connsiteX391" fmla="*/ 2646040 w 4940931"/>
                <a:gd name="connsiteY391" fmla="*/ 109219 h 138429"/>
                <a:gd name="connsiteX392" fmla="*/ 2639055 w 4940931"/>
                <a:gd name="connsiteY392" fmla="*/ 109854 h 138429"/>
                <a:gd name="connsiteX393" fmla="*/ 2629530 w 4940931"/>
                <a:gd name="connsiteY393" fmla="*/ 108584 h 138429"/>
                <a:gd name="connsiteX394" fmla="*/ 2620640 w 4940931"/>
                <a:gd name="connsiteY394" fmla="*/ 104139 h 138429"/>
                <a:gd name="connsiteX395" fmla="*/ 2614290 w 4940931"/>
                <a:gd name="connsiteY395" fmla="*/ 95884 h 138429"/>
                <a:gd name="connsiteX396" fmla="*/ 2611750 w 4940931"/>
                <a:gd name="connsiteY396" fmla="*/ 83819 h 138429"/>
                <a:gd name="connsiteX397" fmla="*/ 2614290 w 4940931"/>
                <a:gd name="connsiteY397" fmla="*/ 72389 h 138429"/>
                <a:gd name="connsiteX398" fmla="*/ 2620640 w 4940931"/>
                <a:gd name="connsiteY398" fmla="*/ 64769 h 138429"/>
                <a:gd name="connsiteX399" fmla="*/ 2630800 w 4940931"/>
                <a:gd name="connsiteY399" fmla="*/ 60324 h 138429"/>
                <a:gd name="connsiteX400" fmla="*/ 2642865 w 4940931"/>
                <a:gd name="connsiteY400" fmla="*/ 59054 h 138429"/>
                <a:gd name="connsiteX401" fmla="*/ 2653025 w 4940931"/>
                <a:gd name="connsiteY401" fmla="*/ 59689 h 138429"/>
                <a:gd name="connsiteX402" fmla="*/ 2660010 w 4940931"/>
                <a:gd name="connsiteY402" fmla="*/ 61594 h 138429"/>
                <a:gd name="connsiteX403" fmla="*/ 2660010 w 4940931"/>
                <a:gd name="connsiteY403" fmla="*/ 55879 h 138429"/>
                <a:gd name="connsiteX404" fmla="*/ 2656200 w 4940931"/>
                <a:gd name="connsiteY404" fmla="*/ 46354 h 138429"/>
                <a:gd name="connsiteX405" fmla="*/ 2645405 w 4940931"/>
                <a:gd name="connsiteY405" fmla="*/ 43179 h 138429"/>
                <a:gd name="connsiteX406" fmla="*/ 2634610 w 4940931"/>
                <a:gd name="connsiteY406" fmla="*/ 44449 h 138429"/>
                <a:gd name="connsiteX407" fmla="*/ 2625085 w 4940931"/>
                <a:gd name="connsiteY407" fmla="*/ 48259 h 138429"/>
                <a:gd name="connsiteX408" fmla="*/ 2619370 w 4940931"/>
                <a:gd name="connsiteY408" fmla="*/ 36829 h 138429"/>
                <a:gd name="connsiteX409" fmla="*/ 2631435 w 4940931"/>
                <a:gd name="connsiteY409" fmla="*/ 31749 h 138429"/>
                <a:gd name="connsiteX410" fmla="*/ 2646040 w 4940931"/>
                <a:gd name="connsiteY410" fmla="*/ 29844 h 138429"/>
                <a:gd name="connsiteX411" fmla="*/ 1114426 w 4940931"/>
                <a:gd name="connsiteY411" fmla="*/ 29844 h 138429"/>
                <a:gd name="connsiteX412" fmla="*/ 1129666 w 4940931"/>
                <a:gd name="connsiteY412" fmla="*/ 29844 h 138429"/>
                <a:gd name="connsiteX413" fmla="*/ 1129666 w 4940931"/>
                <a:gd name="connsiteY413" fmla="*/ 107949 h 138429"/>
                <a:gd name="connsiteX414" fmla="*/ 1114426 w 4940931"/>
                <a:gd name="connsiteY414" fmla="*/ 107949 h 138429"/>
                <a:gd name="connsiteX415" fmla="*/ 1114426 w 4940931"/>
                <a:gd name="connsiteY415" fmla="*/ 100964 h 138429"/>
                <a:gd name="connsiteX416" fmla="*/ 1106171 w 4940931"/>
                <a:gd name="connsiteY416" fmla="*/ 107314 h 138429"/>
                <a:gd name="connsiteX417" fmla="*/ 1094741 w 4940931"/>
                <a:gd name="connsiteY417" fmla="*/ 109854 h 138429"/>
                <a:gd name="connsiteX418" fmla="*/ 1073786 w 4940931"/>
                <a:gd name="connsiteY418" fmla="*/ 100964 h 138429"/>
                <a:gd name="connsiteX419" fmla="*/ 1066800 w 4940931"/>
                <a:gd name="connsiteY419" fmla="*/ 74929 h 138429"/>
                <a:gd name="connsiteX420" fmla="*/ 1066800 w 4940931"/>
                <a:gd name="connsiteY420" fmla="*/ 30479 h 138429"/>
                <a:gd name="connsiteX421" fmla="*/ 1082040 w 4940931"/>
                <a:gd name="connsiteY421" fmla="*/ 30479 h 138429"/>
                <a:gd name="connsiteX422" fmla="*/ 1082040 w 4940931"/>
                <a:gd name="connsiteY422" fmla="*/ 74294 h 138429"/>
                <a:gd name="connsiteX423" fmla="*/ 1085851 w 4940931"/>
                <a:gd name="connsiteY423" fmla="*/ 90169 h 138429"/>
                <a:gd name="connsiteX424" fmla="*/ 1097916 w 4940931"/>
                <a:gd name="connsiteY424" fmla="*/ 95249 h 138429"/>
                <a:gd name="connsiteX425" fmla="*/ 1109981 w 4940931"/>
                <a:gd name="connsiteY425" fmla="*/ 90169 h 138429"/>
                <a:gd name="connsiteX426" fmla="*/ 1114426 w 4940931"/>
                <a:gd name="connsiteY426" fmla="*/ 75564 h 138429"/>
                <a:gd name="connsiteX427" fmla="*/ 1011556 w 4940931"/>
                <a:gd name="connsiteY427" fmla="*/ 29844 h 138429"/>
                <a:gd name="connsiteX428" fmla="*/ 1017272 w 4940931"/>
                <a:gd name="connsiteY428" fmla="*/ 30479 h 138429"/>
                <a:gd name="connsiteX429" fmla="*/ 1022352 w 4940931"/>
                <a:gd name="connsiteY429" fmla="*/ 32384 h 138429"/>
                <a:gd name="connsiteX430" fmla="*/ 1026797 w 4940931"/>
                <a:gd name="connsiteY430" fmla="*/ 35559 h 138429"/>
                <a:gd name="connsiteX431" fmla="*/ 1030607 w 4940931"/>
                <a:gd name="connsiteY431" fmla="*/ 38734 h 138429"/>
                <a:gd name="connsiteX432" fmla="*/ 1030607 w 4940931"/>
                <a:gd name="connsiteY432" fmla="*/ 31749 h 138429"/>
                <a:gd name="connsiteX433" fmla="*/ 1045847 w 4940931"/>
                <a:gd name="connsiteY433" fmla="*/ 31749 h 138429"/>
                <a:gd name="connsiteX434" fmla="*/ 1045847 w 4940931"/>
                <a:gd name="connsiteY434" fmla="*/ 130809 h 138429"/>
                <a:gd name="connsiteX435" fmla="*/ 1032512 w 4940931"/>
                <a:gd name="connsiteY435" fmla="*/ 137477 h 138429"/>
                <a:gd name="connsiteX436" fmla="*/ 1032512 w 4940931"/>
                <a:gd name="connsiteY436" fmla="*/ 101599 h 138429"/>
                <a:gd name="connsiteX437" fmla="*/ 1022986 w 4940931"/>
                <a:gd name="connsiteY437" fmla="*/ 107949 h 138429"/>
                <a:gd name="connsiteX438" fmla="*/ 1011556 w 4940931"/>
                <a:gd name="connsiteY438" fmla="*/ 110489 h 138429"/>
                <a:gd name="connsiteX439" fmla="*/ 999491 w 4940931"/>
                <a:gd name="connsiteY439" fmla="*/ 107949 h 138429"/>
                <a:gd name="connsiteX440" fmla="*/ 989966 w 4940931"/>
                <a:gd name="connsiteY440" fmla="*/ 100329 h 138429"/>
                <a:gd name="connsiteX441" fmla="*/ 983616 w 4940931"/>
                <a:gd name="connsiteY441" fmla="*/ 87629 h 138429"/>
                <a:gd name="connsiteX442" fmla="*/ 981076 w 4940931"/>
                <a:gd name="connsiteY442" fmla="*/ 68579 h 138429"/>
                <a:gd name="connsiteX443" fmla="*/ 983616 w 4940931"/>
                <a:gd name="connsiteY443" fmla="*/ 51434 h 138429"/>
                <a:gd name="connsiteX444" fmla="*/ 990601 w 4940931"/>
                <a:gd name="connsiteY444" fmla="*/ 39369 h 138429"/>
                <a:gd name="connsiteX445" fmla="*/ 1000126 w 4940931"/>
                <a:gd name="connsiteY445" fmla="*/ 32384 h 138429"/>
                <a:gd name="connsiteX446" fmla="*/ 1011556 w 4940931"/>
                <a:gd name="connsiteY446" fmla="*/ 29844 h 138429"/>
                <a:gd name="connsiteX447" fmla="*/ 4871716 w 4940931"/>
                <a:gd name="connsiteY447" fmla="*/ 29210 h 138429"/>
                <a:gd name="connsiteX448" fmla="*/ 4885686 w 4940931"/>
                <a:gd name="connsiteY448" fmla="*/ 31750 h 138429"/>
                <a:gd name="connsiteX449" fmla="*/ 4897751 w 4940931"/>
                <a:gd name="connsiteY449" fmla="*/ 38100 h 138429"/>
                <a:gd name="connsiteX450" fmla="*/ 4899021 w 4940931"/>
                <a:gd name="connsiteY450" fmla="*/ 38100 h 138429"/>
                <a:gd name="connsiteX451" fmla="*/ 4892036 w 4940931"/>
                <a:gd name="connsiteY451" fmla="*/ 50165 h 138429"/>
                <a:gd name="connsiteX452" fmla="*/ 4882511 w 4940931"/>
                <a:gd name="connsiteY452" fmla="*/ 45085 h 138429"/>
                <a:gd name="connsiteX453" fmla="*/ 4872351 w 4940931"/>
                <a:gd name="connsiteY453" fmla="*/ 43180 h 138429"/>
                <a:gd name="connsiteX454" fmla="*/ 4864096 w 4940931"/>
                <a:gd name="connsiteY454" fmla="*/ 45085 h 138429"/>
                <a:gd name="connsiteX455" fmla="*/ 4861556 w 4940931"/>
                <a:gd name="connsiteY455" fmla="*/ 50165 h 138429"/>
                <a:gd name="connsiteX456" fmla="*/ 4861556 w 4940931"/>
                <a:gd name="connsiteY456" fmla="*/ 52705 h 138429"/>
                <a:gd name="connsiteX457" fmla="*/ 4863461 w 4940931"/>
                <a:gd name="connsiteY457" fmla="*/ 55245 h 138429"/>
                <a:gd name="connsiteX458" fmla="*/ 4867906 w 4940931"/>
                <a:gd name="connsiteY458" fmla="*/ 57785 h 138429"/>
                <a:gd name="connsiteX459" fmla="*/ 4874891 w 4940931"/>
                <a:gd name="connsiteY459" fmla="*/ 60960 h 138429"/>
                <a:gd name="connsiteX460" fmla="*/ 4886321 w 4940931"/>
                <a:gd name="connsiteY460" fmla="*/ 66040 h 138429"/>
                <a:gd name="connsiteX461" fmla="*/ 4894576 w 4940931"/>
                <a:gd name="connsiteY461" fmla="*/ 71120 h 138429"/>
                <a:gd name="connsiteX462" fmla="*/ 4899656 w 4940931"/>
                <a:gd name="connsiteY462" fmla="*/ 78105 h 138429"/>
                <a:gd name="connsiteX463" fmla="*/ 4901561 w 4940931"/>
                <a:gd name="connsiteY463" fmla="*/ 87630 h 138429"/>
                <a:gd name="connsiteX464" fmla="*/ 4899021 w 4940931"/>
                <a:gd name="connsiteY464" fmla="*/ 98425 h 138429"/>
                <a:gd name="connsiteX465" fmla="*/ 4892671 w 4940931"/>
                <a:gd name="connsiteY465" fmla="*/ 105410 h 138429"/>
                <a:gd name="connsiteX466" fmla="*/ 4883146 w 4940931"/>
                <a:gd name="connsiteY466" fmla="*/ 109220 h 138429"/>
                <a:gd name="connsiteX467" fmla="*/ 4872351 w 4940931"/>
                <a:gd name="connsiteY467" fmla="*/ 110490 h 138429"/>
                <a:gd name="connsiteX468" fmla="*/ 4857111 w 4940931"/>
                <a:gd name="connsiteY468" fmla="*/ 107950 h 138429"/>
                <a:gd name="connsiteX469" fmla="*/ 4842506 w 4940931"/>
                <a:gd name="connsiteY469" fmla="*/ 100965 h 138429"/>
                <a:gd name="connsiteX470" fmla="*/ 4849491 w 4940931"/>
                <a:gd name="connsiteY470" fmla="*/ 89535 h 138429"/>
                <a:gd name="connsiteX471" fmla="*/ 4860921 w 4940931"/>
                <a:gd name="connsiteY471" fmla="*/ 95250 h 138429"/>
                <a:gd name="connsiteX472" fmla="*/ 4872351 w 4940931"/>
                <a:gd name="connsiteY472" fmla="*/ 97155 h 138429"/>
                <a:gd name="connsiteX473" fmla="*/ 4883146 w 4940931"/>
                <a:gd name="connsiteY473" fmla="*/ 94615 h 138429"/>
                <a:gd name="connsiteX474" fmla="*/ 4886321 w 4940931"/>
                <a:gd name="connsiteY474" fmla="*/ 88265 h 138429"/>
                <a:gd name="connsiteX475" fmla="*/ 4885051 w 4940931"/>
                <a:gd name="connsiteY475" fmla="*/ 84455 h 138429"/>
                <a:gd name="connsiteX476" fmla="*/ 4881241 w 4940931"/>
                <a:gd name="connsiteY476" fmla="*/ 81280 h 138429"/>
                <a:gd name="connsiteX477" fmla="*/ 4875526 w 4940931"/>
                <a:gd name="connsiteY477" fmla="*/ 78105 h 138429"/>
                <a:gd name="connsiteX478" fmla="*/ 4867906 w 4940931"/>
                <a:gd name="connsiteY478" fmla="*/ 74930 h 138429"/>
                <a:gd name="connsiteX479" fmla="*/ 4857111 w 4940931"/>
                <a:gd name="connsiteY479" fmla="*/ 69850 h 138429"/>
                <a:gd name="connsiteX480" fmla="*/ 4850126 w 4940931"/>
                <a:gd name="connsiteY480" fmla="*/ 64770 h 138429"/>
                <a:gd name="connsiteX481" fmla="*/ 4846316 w 4940931"/>
                <a:gd name="connsiteY481" fmla="*/ 58420 h 138429"/>
                <a:gd name="connsiteX482" fmla="*/ 4845046 w 4940931"/>
                <a:gd name="connsiteY482" fmla="*/ 50165 h 138429"/>
                <a:gd name="connsiteX483" fmla="*/ 4846951 w 4940931"/>
                <a:gd name="connsiteY483" fmla="*/ 40640 h 138429"/>
                <a:gd name="connsiteX484" fmla="*/ 4852666 w 4940931"/>
                <a:gd name="connsiteY484" fmla="*/ 34290 h 138429"/>
                <a:gd name="connsiteX485" fmla="*/ 4860921 w 4940931"/>
                <a:gd name="connsiteY485" fmla="*/ 30480 h 138429"/>
                <a:gd name="connsiteX486" fmla="*/ 4871716 w 4940931"/>
                <a:gd name="connsiteY486" fmla="*/ 29210 h 138429"/>
                <a:gd name="connsiteX487" fmla="*/ 4749796 w 4940931"/>
                <a:gd name="connsiteY487" fmla="*/ 29210 h 138429"/>
                <a:gd name="connsiteX488" fmla="*/ 4757416 w 4940931"/>
                <a:gd name="connsiteY488" fmla="*/ 29845 h 138429"/>
                <a:gd name="connsiteX489" fmla="*/ 4763131 w 4940931"/>
                <a:gd name="connsiteY489" fmla="*/ 32385 h 138429"/>
                <a:gd name="connsiteX490" fmla="*/ 4759321 w 4940931"/>
                <a:gd name="connsiteY490" fmla="*/ 46990 h 138429"/>
                <a:gd name="connsiteX491" fmla="*/ 4758051 w 4940931"/>
                <a:gd name="connsiteY491" fmla="*/ 46990 h 138429"/>
                <a:gd name="connsiteX492" fmla="*/ 4752971 w 4940931"/>
                <a:gd name="connsiteY492" fmla="*/ 45085 h 138429"/>
                <a:gd name="connsiteX493" fmla="*/ 4746621 w 4940931"/>
                <a:gd name="connsiteY493" fmla="*/ 44450 h 138429"/>
                <a:gd name="connsiteX494" fmla="*/ 4735191 w 4940931"/>
                <a:gd name="connsiteY494" fmla="*/ 49530 h 138429"/>
                <a:gd name="connsiteX495" fmla="*/ 4731381 w 4940931"/>
                <a:gd name="connsiteY495" fmla="*/ 64770 h 138429"/>
                <a:gd name="connsiteX496" fmla="*/ 4731381 w 4940931"/>
                <a:gd name="connsiteY496" fmla="*/ 109220 h 138429"/>
                <a:gd name="connsiteX497" fmla="*/ 4716141 w 4940931"/>
                <a:gd name="connsiteY497" fmla="*/ 109220 h 138429"/>
                <a:gd name="connsiteX498" fmla="*/ 4716141 w 4940931"/>
                <a:gd name="connsiteY498" fmla="*/ 31115 h 138429"/>
                <a:gd name="connsiteX499" fmla="*/ 4731381 w 4940931"/>
                <a:gd name="connsiteY499" fmla="*/ 31115 h 138429"/>
                <a:gd name="connsiteX500" fmla="*/ 4731381 w 4940931"/>
                <a:gd name="connsiteY500" fmla="*/ 38735 h 138429"/>
                <a:gd name="connsiteX501" fmla="*/ 4734556 w 4940931"/>
                <a:gd name="connsiteY501" fmla="*/ 34925 h 138429"/>
                <a:gd name="connsiteX502" fmla="*/ 4739001 w 4940931"/>
                <a:gd name="connsiteY502" fmla="*/ 31750 h 138429"/>
                <a:gd name="connsiteX503" fmla="*/ 4744081 w 4940931"/>
                <a:gd name="connsiteY503" fmla="*/ 29845 h 138429"/>
                <a:gd name="connsiteX504" fmla="*/ 4749796 w 4940931"/>
                <a:gd name="connsiteY504" fmla="*/ 29210 h 138429"/>
                <a:gd name="connsiteX505" fmla="*/ 4349110 w 4940931"/>
                <a:gd name="connsiteY505" fmla="*/ 29210 h 138429"/>
                <a:gd name="connsiteX506" fmla="*/ 4356730 w 4940931"/>
                <a:gd name="connsiteY506" fmla="*/ 29845 h 138429"/>
                <a:gd name="connsiteX507" fmla="*/ 4362445 w 4940931"/>
                <a:gd name="connsiteY507" fmla="*/ 32385 h 138429"/>
                <a:gd name="connsiteX508" fmla="*/ 4358635 w 4940931"/>
                <a:gd name="connsiteY508" fmla="*/ 46990 h 138429"/>
                <a:gd name="connsiteX509" fmla="*/ 4357365 w 4940931"/>
                <a:gd name="connsiteY509" fmla="*/ 46990 h 138429"/>
                <a:gd name="connsiteX510" fmla="*/ 4352285 w 4940931"/>
                <a:gd name="connsiteY510" fmla="*/ 45085 h 138429"/>
                <a:gd name="connsiteX511" fmla="*/ 4345935 w 4940931"/>
                <a:gd name="connsiteY511" fmla="*/ 44450 h 138429"/>
                <a:gd name="connsiteX512" fmla="*/ 4334505 w 4940931"/>
                <a:gd name="connsiteY512" fmla="*/ 49530 h 138429"/>
                <a:gd name="connsiteX513" fmla="*/ 4330695 w 4940931"/>
                <a:gd name="connsiteY513" fmla="*/ 64770 h 138429"/>
                <a:gd name="connsiteX514" fmla="*/ 4330695 w 4940931"/>
                <a:gd name="connsiteY514" fmla="*/ 109220 h 138429"/>
                <a:gd name="connsiteX515" fmla="*/ 4315455 w 4940931"/>
                <a:gd name="connsiteY515" fmla="*/ 109220 h 138429"/>
                <a:gd name="connsiteX516" fmla="*/ 4315455 w 4940931"/>
                <a:gd name="connsiteY516" fmla="*/ 31115 h 138429"/>
                <a:gd name="connsiteX517" fmla="*/ 4330695 w 4940931"/>
                <a:gd name="connsiteY517" fmla="*/ 31115 h 138429"/>
                <a:gd name="connsiteX518" fmla="*/ 4330695 w 4940931"/>
                <a:gd name="connsiteY518" fmla="*/ 38735 h 138429"/>
                <a:gd name="connsiteX519" fmla="*/ 4333870 w 4940931"/>
                <a:gd name="connsiteY519" fmla="*/ 34925 h 138429"/>
                <a:gd name="connsiteX520" fmla="*/ 4338315 w 4940931"/>
                <a:gd name="connsiteY520" fmla="*/ 31750 h 138429"/>
                <a:gd name="connsiteX521" fmla="*/ 4343395 w 4940931"/>
                <a:gd name="connsiteY521" fmla="*/ 29845 h 138429"/>
                <a:gd name="connsiteX522" fmla="*/ 4349110 w 4940931"/>
                <a:gd name="connsiteY522" fmla="*/ 29210 h 138429"/>
                <a:gd name="connsiteX523" fmla="*/ 4044310 w 4940931"/>
                <a:gd name="connsiteY523" fmla="*/ 29210 h 138429"/>
                <a:gd name="connsiteX524" fmla="*/ 4058915 w 4940931"/>
                <a:gd name="connsiteY524" fmla="*/ 32385 h 138429"/>
                <a:gd name="connsiteX525" fmla="*/ 4069075 w 4940931"/>
                <a:gd name="connsiteY525" fmla="*/ 40640 h 138429"/>
                <a:gd name="connsiteX526" fmla="*/ 4075425 w 4940931"/>
                <a:gd name="connsiteY526" fmla="*/ 53340 h 138429"/>
                <a:gd name="connsiteX527" fmla="*/ 4077330 w 4940931"/>
                <a:gd name="connsiteY527" fmla="*/ 68580 h 138429"/>
                <a:gd name="connsiteX528" fmla="*/ 4076060 w 4940931"/>
                <a:gd name="connsiteY528" fmla="*/ 68580 h 138429"/>
                <a:gd name="connsiteX529" fmla="*/ 4076060 w 4940931"/>
                <a:gd name="connsiteY529" fmla="*/ 72390 h 138429"/>
                <a:gd name="connsiteX530" fmla="*/ 4076060 w 4940931"/>
                <a:gd name="connsiteY530" fmla="*/ 75565 h 138429"/>
                <a:gd name="connsiteX531" fmla="*/ 4024625 w 4940931"/>
                <a:gd name="connsiteY531" fmla="*/ 75565 h 138429"/>
                <a:gd name="connsiteX532" fmla="*/ 4027165 w 4940931"/>
                <a:gd name="connsiteY532" fmla="*/ 85090 h 138429"/>
                <a:gd name="connsiteX533" fmla="*/ 4031610 w 4940931"/>
                <a:gd name="connsiteY533" fmla="*/ 91440 h 138429"/>
                <a:gd name="connsiteX534" fmla="*/ 4037325 w 4940931"/>
                <a:gd name="connsiteY534" fmla="*/ 95250 h 138429"/>
                <a:gd name="connsiteX535" fmla="*/ 4044310 w 4940931"/>
                <a:gd name="connsiteY535" fmla="*/ 96520 h 138429"/>
                <a:gd name="connsiteX536" fmla="*/ 4049390 w 4940931"/>
                <a:gd name="connsiteY536" fmla="*/ 96520 h 138429"/>
                <a:gd name="connsiteX537" fmla="*/ 4053835 w 4940931"/>
                <a:gd name="connsiteY537" fmla="*/ 95250 h 138429"/>
                <a:gd name="connsiteX538" fmla="*/ 4057645 w 4940931"/>
                <a:gd name="connsiteY538" fmla="*/ 93345 h 138429"/>
                <a:gd name="connsiteX539" fmla="*/ 4062090 w 4940931"/>
                <a:gd name="connsiteY539" fmla="*/ 90805 h 138429"/>
                <a:gd name="connsiteX540" fmla="*/ 4070980 w 4940931"/>
                <a:gd name="connsiteY540" fmla="*/ 100330 h 138429"/>
                <a:gd name="connsiteX541" fmla="*/ 4065265 w 4940931"/>
                <a:gd name="connsiteY541" fmla="*/ 104775 h 138429"/>
                <a:gd name="connsiteX542" fmla="*/ 4059550 w 4940931"/>
                <a:gd name="connsiteY542" fmla="*/ 107950 h 138429"/>
                <a:gd name="connsiteX543" fmla="*/ 4052565 w 4940931"/>
                <a:gd name="connsiteY543" fmla="*/ 109855 h 138429"/>
                <a:gd name="connsiteX544" fmla="*/ 4043675 w 4940931"/>
                <a:gd name="connsiteY544" fmla="*/ 110490 h 138429"/>
                <a:gd name="connsiteX545" fmla="*/ 4034150 w 4940931"/>
                <a:gd name="connsiteY545" fmla="*/ 109220 h 138429"/>
                <a:gd name="connsiteX546" fmla="*/ 4026530 w 4940931"/>
                <a:gd name="connsiteY546" fmla="*/ 105410 h 138429"/>
                <a:gd name="connsiteX547" fmla="*/ 4020180 w 4940931"/>
                <a:gd name="connsiteY547" fmla="*/ 100330 h 138429"/>
                <a:gd name="connsiteX548" fmla="*/ 4015100 w 4940931"/>
                <a:gd name="connsiteY548" fmla="*/ 92710 h 138429"/>
                <a:gd name="connsiteX549" fmla="*/ 4011290 w 4940931"/>
                <a:gd name="connsiteY549" fmla="*/ 82550 h 138429"/>
                <a:gd name="connsiteX550" fmla="*/ 4010020 w 4940931"/>
                <a:gd name="connsiteY550" fmla="*/ 69850 h 138429"/>
                <a:gd name="connsiteX551" fmla="*/ 4012560 w 4940931"/>
                <a:gd name="connsiteY551" fmla="*/ 52070 h 138429"/>
                <a:gd name="connsiteX552" fmla="*/ 4019545 w 4940931"/>
                <a:gd name="connsiteY552" fmla="*/ 39370 h 138429"/>
                <a:gd name="connsiteX553" fmla="*/ 4030340 w 4940931"/>
                <a:gd name="connsiteY553" fmla="*/ 31750 h 138429"/>
                <a:gd name="connsiteX554" fmla="*/ 4044310 w 4940931"/>
                <a:gd name="connsiteY554" fmla="*/ 29210 h 138429"/>
                <a:gd name="connsiteX555" fmla="*/ 3811900 w 4940931"/>
                <a:gd name="connsiteY555" fmla="*/ 29210 h 138429"/>
                <a:gd name="connsiteX556" fmla="*/ 3819520 w 4940931"/>
                <a:gd name="connsiteY556" fmla="*/ 29845 h 138429"/>
                <a:gd name="connsiteX557" fmla="*/ 3825235 w 4940931"/>
                <a:gd name="connsiteY557" fmla="*/ 32385 h 138429"/>
                <a:gd name="connsiteX558" fmla="*/ 3821425 w 4940931"/>
                <a:gd name="connsiteY558" fmla="*/ 46990 h 138429"/>
                <a:gd name="connsiteX559" fmla="*/ 3820155 w 4940931"/>
                <a:gd name="connsiteY559" fmla="*/ 46990 h 138429"/>
                <a:gd name="connsiteX560" fmla="*/ 3815075 w 4940931"/>
                <a:gd name="connsiteY560" fmla="*/ 45085 h 138429"/>
                <a:gd name="connsiteX561" fmla="*/ 3808725 w 4940931"/>
                <a:gd name="connsiteY561" fmla="*/ 44450 h 138429"/>
                <a:gd name="connsiteX562" fmla="*/ 3797295 w 4940931"/>
                <a:gd name="connsiteY562" fmla="*/ 49530 h 138429"/>
                <a:gd name="connsiteX563" fmla="*/ 3793485 w 4940931"/>
                <a:gd name="connsiteY563" fmla="*/ 64770 h 138429"/>
                <a:gd name="connsiteX564" fmla="*/ 3793485 w 4940931"/>
                <a:gd name="connsiteY564" fmla="*/ 109220 h 138429"/>
                <a:gd name="connsiteX565" fmla="*/ 3778245 w 4940931"/>
                <a:gd name="connsiteY565" fmla="*/ 109220 h 138429"/>
                <a:gd name="connsiteX566" fmla="*/ 3778245 w 4940931"/>
                <a:gd name="connsiteY566" fmla="*/ 31115 h 138429"/>
                <a:gd name="connsiteX567" fmla="*/ 3793485 w 4940931"/>
                <a:gd name="connsiteY567" fmla="*/ 31115 h 138429"/>
                <a:gd name="connsiteX568" fmla="*/ 3793485 w 4940931"/>
                <a:gd name="connsiteY568" fmla="*/ 38735 h 138429"/>
                <a:gd name="connsiteX569" fmla="*/ 3796660 w 4940931"/>
                <a:gd name="connsiteY569" fmla="*/ 34925 h 138429"/>
                <a:gd name="connsiteX570" fmla="*/ 3801105 w 4940931"/>
                <a:gd name="connsiteY570" fmla="*/ 31750 h 138429"/>
                <a:gd name="connsiteX571" fmla="*/ 3806185 w 4940931"/>
                <a:gd name="connsiteY571" fmla="*/ 29845 h 138429"/>
                <a:gd name="connsiteX572" fmla="*/ 3811900 w 4940931"/>
                <a:gd name="connsiteY572" fmla="*/ 29210 h 138429"/>
                <a:gd name="connsiteX573" fmla="*/ 3729986 w 4940931"/>
                <a:gd name="connsiteY573" fmla="*/ 29210 h 138429"/>
                <a:gd name="connsiteX574" fmla="*/ 3744591 w 4940931"/>
                <a:gd name="connsiteY574" fmla="*/ 32385 h 138429"/>
                <a:gd name="connsiteX575" fmla="*/ 3754751 w 4940931"/>
                <a:gd name="connsiteY575" fmla="*/ 40640 h 138429"/>
                <a:gd name="connsiteX576" fmla="*/ 3761101 w 4940931"/>
                <a:gd name="connsiteY576" fmla="*/ 53340 h 138429"/>
                <a:gd name="connsiteX577" fmla="*/ 3763006 w 4940931"/>
                <a:gd name="connsiteY577" fmla="*/ 68580 h 138429"/>
                <a:gd name="connsiteX578" fmla="*/ 3761736 w 4940931"/>
                <a:gd name="connsiteY578" fmla="*/ 68580 h 138429"/>
                <a:gd name="connsiteX579" fmla="*/ 3761736 w 4940931"/>
                <a:gd name="connsiteY579" fmla="*/ 72390 h 138429"/>
                <a:gd name="connsiteX580" fmla="*/ 3761736 w 4940931"/>
                <a:gd name="connsiteY580" fmla="*/ 75565 h 138429"/>
                <a:gd name="connsiteX581" fmla="*/ 3710301 w 4940931"/>
                <a:gd name="connsiteY581" fmla="*/ 75565 h 138429"/>
                <a:gd name="connsiteX582" fmla="*/ 3712841 w 4940931"/>
                <a:gd name="connsiteY582" fmla="*/ 85090 h 138429"/>
                <a:gd name="connsiteX583" fmla="*/ 3717286 w 4940931"/>
                <a:gd name="connsiteY583" fmla="*/ 91440 h 138429"/>
                <a:gd name="connsiteX584" fmla="*/ 3723001 w 4940931"/>
                <a:gd name="connsiteY584" fmla="*/ 95250 h 138429"/>
                <a:gd name="connsiteX585" fmla="*/ 3729986 w 4940931"/>
                <a:gd name="connsiteY585" fmla="*/ 96520 h 138429"/>
                <a:gd name="connsiteX586" fmla="*/ 3735066 w 4940931"/>
                <a:gd name="connsiteY586" fmla="*/ 96520 h 138429"/>
                <a:gd name="connsiteX587" fmla="*/ 3739511 w 4940931"/>
                <a:gd name="connsiteY587" fmla="*/ 95250 h 138429"/>
                <a:gd name="connsiteX588" fmla="*/ 3743321 w 4940931"/>
                <a:gd name="connsiteY588" fmla="*/ 93345 h 138429"/>
                <a:gd name="connsiteX589" fmla="*/ 3747766 w 4940931"/>
                <a:gd name="connsiteY589" fmla="*/ 90805 h 138429"/>
                <a:gd name="connsiteX590" fmla="*/ 3756656 w 4940931"/>
                <a:gd name="connsiteY590" fmla="*/ 100330 h 138429"/>
                <a:gd name="connsiteX591" fmla="*/ 3750941 w 4940931"/>
                <a:gd name="connsiteY591" fmla="*/ 104775 h 138429"/>
                <a:gd name="connsiteX592" fmla="*/ 3745226 w 4940931"/>
                <a:gd name="connsiteY592" fmla="*/ 107950 h 138429"/>
                <a:gd name="connsiteX593" fmla="*/ 3738241 w 4940931"/>
                <a:gd name="connsiteY593" fmla="*/ 109855 h 138429"/>
                <a:gd name="connsiteX594" fmla="*/ 3729351 w 4940931"/>
                <a:gd name="connsiteY594" fmla="*/ 110490 h 138429"/>
                <a:gd name="connsiteX595" fmla="*/ 3719826 w 4940931"/>
                <a:gd name="connsiteY595" fmla="*/ 109220 h 138429"/>
                <a:gd name="connsiteX596" fmla="*/ 3712206 w 4940931"/>
                <a:gd name="connsiteY596" fmla="*/ 105410 h 138429"/>
                <a:gd name="connsiteX597" fmla="*/ 3705856 w 4940931"/>
                <a:gd name="connsiteY597" fmla="*/ 100330 h 138429"/>
                <a:gd name="connsiteX598" fmla="*/ 3700776 w 4940931"/>
                <a:gd name="connsiteY598" fmla="*/ 92710 h 138429"/>
                <a:gd name="connsiteX599" fmla="*/ 3696966 w 4940931"/>
                <a:gd name="connsiteY599" fmla="*/ 82550 h 138429"/>
                <a:gd name="connsiteX600" fmla="*/ 3695696 w 4940931"/>
                <a:gd name="connsiteY600" fmla="*/ 69850 h 138429"/>
                <a:gd name="connsiteX601" fmla="*/ 3698236 w 4940931"/>
                <a:gd name="connsiteY601" fmla="*/ 52070 h 138429"/>
                <a:gd name="connsiteX602" fmla="*/ 3705221 w 4940931"/>
                <a:gd name="connsiteY602" fmla="*/ 39370 h 138429"/>
                <a:gd name="connsiteX603" fmla="*/ 3716016 w 4940931"/>
                <a:gd name="connsiteY603" fmla="*/ 31750 h 138429"/>
                <a:gd name="connsiteX604" fmla="*/ 3729986 w 4940931"/>
                <a:gd name="connsiteY604" fmla="*/ 29210 h 138429"/>
                <a:gd name="connsiteX605" fmla="*/ 3543296 w 4940931"/>
                <a:gd name="connsiteY605" fmla="*/ 29210 h 138429"/>
                <a:gd name="connsiteX606" fmla="*/ 3557901 w 4940931"/>
                <a:gd name="connsiteY606" fmla="*/ 32385 h 138429"/>
                <a:gd name="connsiteX607" fmla="*/ 3568061 w 4940931"/>
                <a:gd name="connsiteY607" fmla="*/ 40640 h 138429"/>
                <a:gd name="connsiteX608" fmla="*/ 3574411 w 4940931"/>
                <a:gd name="connsiteY608" fmla="*/ 53340 h 138429"/>
                <a:gd name="connsiteX609" fmla="*/ 3576316 w 4940931"/>
                <a:gd name="connsiteY609" fmla="*/ 68580 h 138429"/>
                <a:gd name="connsiteX610" fmla="*/ 3575046 w 4940931"/>
                <a:gd name="connsiteY610" fmla="*/ 68580 h 138429"/>
                <a:gd name="connsiteX611" fmla="*/ 3575046 w 4940931"/>
                <a:gd name="connsiteY611" fmla="*/ 72390 h 138429"/>
                <a:gd name="connsiteX612" fmla="*/ 3575046 w 4940931"/>
                <a:gd name="connsiteY612" fmla="*/ 75565 h 138429"/>
                <a:gd name="connsiteX613" fmla="*/ 3523611 w 4940931"/>
                <a:gd name="connsiteY613" fmla="*/ 75565 h 138429"/>
                <a:gd name="connsiteX614" fmla="*/ 3526151 w 4940931"/>
                <a:gd name="connsiteY614" fmla="*/ 85090 h 138429"/>
                <a:gd name="connsiteX615" fmla="*/ 3530596 w 4940931"/>
                <a:gd name="connsiteY615" fmla="*/ 91440 h 138429"/>
                <a:gd name="connsiteX616" fmla="*/ 3536311 w 4940931"/>
                <a:gd name="connsiteY616" fmla="*/ 95250 h 138429"/>
                <a:gd name="connsiteX617" fmla="*/ 3543296 w 4940931"/>
                <a:gd name="connsiteY617" fmla="*/ 96520 h 138429"/>
                <a:gd name="connsiteX618" fmla="*/ 3548376 w 4940931"/>
                <a:gd name="connsiteY618" fmla="*/ 96520 h 138429"/>
                <a:gd name="connsiteX619" fmla="*/ 3552821 w 4940931"/>
                <a:gd name="connsiteY619" fmla="*/ 95250 h 138429"/>
                <a:gd name="connsiteX620" fmla="*/ 3556631 w 4940931"/>
                <a:gd name="connsiteY620" fmla="*/ 93345 h 138429"/>
                <a:gd name="connsiteX621" fmla="*/ 3561076 w 4940931"/>
                <a:gd name="connsiteY621" fmla="*/ 90805 h 138429"/>
                <a:gd name="connsiteX622" fmla="*/ 3569966 w 4940931"/>
                <a:gd name="connsiteY622" fmla="*/ 100330 h 138429"/>
                <a:gd name="connsiteX623" fmla="*/ 3564251 w 4940931"/>
                <a:gd name="connsiteY623" fmla="*/ 104775 h 138429"/>
                <a:gd name="connsiteX624" fmla="*/ 3558536 w 4940931"/>
                <a:gd name="connsiteY624" fmla="*/ 107950 h 138429"/>
                <a:gd name="connsiteX625" fmla="*/ 3551551 w 4940931"/>
                <a:gd name="connsiteY625" fmla="*/ 109855 h 138429"/>
                <a:gd name="connsiteX626" fmla="*/ 3542661 w 4940931"/>
                <a:gd name="connsiteY626" fmla="*/ 110490 h 138429"/>
                <a:gd name="connsiteX627" fmla="*/ 3533136 w 4940931"/>
                <a:gd name="connsiteY627" fmla="*/ 109220 h 138429"/>
                <a:gd name="connsiteX628" fmla="*/ 3525516 w 4940931"/>
                <a:gd name="connsiteY628" fmla="*/ 105410 h 138429"/>
                <a:gd name="connsiteX629" fmla="*/ 3519166 w 4940931"/>
                <a:gd name="connsiteY629" fmla="*/ 100330 h 138429"/>
                <a:gd name="connsiteX630" fmla="*/ 3514086 w 4940931"/>
                <a:gd name="connsiteY630" fmla="*/ 92710 h 138429"/>
                <a:gd name="connsiteX631" fmla="*/ 3510276 w 4940931"/>
                <a:gd name="connsiteY631" fmla="*/ 82550 h 138429"/>
                <a:gd name="connsiteX632" fmla="*/ 3509006 w 4940931"/>
                <a:gd name="connsiteY632" fmla="*/ 69850 h 138429"/>
                <a:gd name="connsiteX633" fmla="*/ 3511546 w 4940931"/>
                <a:gd name="connsiteY633" fmla="*/ 52070 h 138429"/>
                <a:gd name="connsiteX634" fmla="*/ 3518531 w 4940931"/>
                <a:gd name="connsiteY634" fmla="*/ 39370 h 138429"/>
                <a:gd name="connsiteX635" fmla="*/ 3529326 w 4940931"/>
                <a:gd name="connsiteY635" fmla="*/ 31750 h 138429"/>
                <a:gd name="connsiteX636" fmla="*/ 3543296 w 4940931"/>
                <a:gd name="connsiteY636" fmla="*/ 29210 h 138429"/>
                <a:gd name="connsiteX637" fmla="*/ 3345176 w 4940931"/>
                <a:gd name="connsiteY637" fmla="*/ 29210 h 138429"/>
                <a:gd name="connsiteX638" fmla="*/ 3359781 w 4940931"/>
                <a:gd name="connsiteY638" fmla="*/ 32385 h 138429"/>
                <a:gd name="connsiteX639" fmla="*/ 3369941 w 4940931"/>
                <a:gd name="connsiteY639" fmla="*/ 40640 h 138429"/>
                <a:gd name="connsiteX640" fmla="*/ 3376291 w 4940931"/>
                <a:gd name="connsiteY640" fmla="*/ 53340 h 138429"/>
                <a:gd name="connsiteX641" fmla="*/ 3378196 w 4940931"/>
                <a:gd name="connsiteY641" fmla="*/ 68580 h 138429"/>
                <a:gd name="connsiteX642" fmla="*/ 3376926 w 4940931"/>
                <a:gd name="connsiteY642" fmla="*/ 68580 h 138429"/>
                <a:gd name="connsiteX643" fmla="*/ 3376926 w 4940931"/>
                <a:gd name="connsiteY643" fmla="*/ 72390 h 138429"/>
                <a:gd name="connsiteX644" fmla="*/ 3376926 w 4940931"/>
                <a:gd name="connsiteY644" fmla="*/ 75565 h 138429"/>
                <a:gd name="connsiteX645" fmla="*/ 3325491 w 4940931"/>
                <a:gd name="connsiteY645" fmla="*/ 75565 h 138429"/>
                <a:gd name="connsiteX646" fmla="*/ 3328031 w 4940931"/>
                <a:gd name="connsiteY646" fmla="*/ 85090 h 138429"/>
                <a:gd name="connsiteX647" fmla="*/ 3332476 w 4940931"/>
                <a:gd name="connsiteY647" fmla="*/ 91440 h 138429"/>
                <a:gd name="connsiteX648" fmla="*/ 3338191 w 4940931"/>
                <a:gd name="connsiteY648" fmla="*/ 95250 h 138429"/>
                <a:gd name="connsiteX649" fmla="*/ 3345176 w 4940931"/>
                <a:gd name="connsiteY649" fmla="*/ 96520 h 138429"/>
                <a:gd name="connsiteX650" fmla="*/ 3350256 w 4940931"/>
                <a:gd name="connsiteY650" fmla="*/ 96520 h 138429"/>
                <a:gd name="connsiteX651" fmla="*/ 3354701 w 4940931"/>
                <a:gd name="connsiteY651" fmla="*/ 95250 h 138429"/>
                <a:gd name="connsiteX652" fmla="*/ 3358511 w 4940931"/>
                <a:gd name="connsiteY652" fmla="*/ 93345 h 138429"/>
                <a:gd name="connsiteX653" fmla="*/ 3362956 w 4940931"/>
                <a:gd name="connsiteY653" fmla="*/ 90805 h 138429"/>
                <a:gd name="connsiteX654" fmla="*/ 3371846 w 4940931"/>
                <a:gd name="connsiteY654" fmla="*/ 100330 h 138429"/>
                <a:gd name="connsiteX655" fmla="*/ 3366131 w 4940931"/>
                <a:gd name="connsiteY655" fmla="*/ 104775 h 138429"/>
                <a:gd name="connsiteX656" fmla="*/ 3360416 w 4940931"/>
                <a:gd name="connsiteY656" fmla="*/ 107950 h 138429"/>
                <a:gd name="connsiteX657" fmla="*/ 3353431 w 4940931"/>
                <a:gd name="connsiteY657" fmla="*/ 109855 h 138429"/>
                <a:gd name="connsiteX658" fmla="*/ 3344541 w 4940931"/>
                <a:gd name="connsiteY658" fmla="*/ 110490 h 138429"/>
                <a:gd name="connsiteX659" fmla="*/ 3335016 w 4940931"/>
                <a:gd name="connsiteY659" fmla="*/ 109220 h 138429"/>
                <a:gd name="connsiteX660" fmla="*/ 3327396 w 4940931"/>
                <a:gd name="connsiteY660" fmla="*/ 105410 h 138429"/>
                <a:gd name="connsiteX661" fmla="*/ 3321046 w 4940931"/>
                <a:gd name="connsiteY661" fmla="*/ 100330 h 138429"/>
                <a:gd name="connsiteX662" fmla="*/ 3315966 w 4940931"/>
                <a:gd name="connsiteY662" fmla="*/ 92710 h 138429"/>
                <a:gd name="connsiteX663" fmla="*/ 3312156 w 4940931"/>
                <a:gd name="connsiteY663" fmla="*/ 82550 h 138429"/>
                <a:gd name="connsiteX664" fmla="*/ 3310886 w 4940931"/>
                <a:gd name="connsiteY664" fmla="*/ 69850 h 138429"/>
                <a:gd name="connsiteX665" fmla="*/ 3313426 w 4940931"/>
                <a:gd name="connsiteY665" fmla="*/ 52070 h 138429"/>
                <a:gd name="connsiteX666" fmla="*/ 3320411 w 4940931"/>
                <a:gd name="connsiteY666" fmla="*/ 39370 h 138429"/>
                <a:gd name="connsiteX667" fmla="*/ 3331206 w 4940931"/>
                <a:gd name="connsiteY667" fmla="*/ 31750 h 138429"/>
                <a:gd name="connsiteX668" fmla="*/ 3345176 w 4940931"/>
                <a:gd name="connsiteY668" fmla="*/ 29210 h 138429"/>
                <a:gd name="connsiteX669" fmla="*/ 3060696 w 4940931"/>
                <a:gd name="connsiteY669" fmla="*/ 29210 h 138429"/>
                <a:gd name="connsiteX670" fmla="*/ 3068316 w 4940931"/>
                <a:gd name="connsiteY670" fmla="*/ 29845 h 138429"/>
                <a:gd name="connsiteX671" fmla="*/ 3074031 w 4940931"/>
                <a:gd name="connsiteY671" fmla="*/ 32385 h 138429"/>
                <a:gd name="connsiteX672" fmla="*/ 3070221 w 4940931"/>
                <a:gd name="connsiteY672" fmla="*/ 46990 h 138429"/>
                <a:gd name="connsiteX673" fmla="*/ 3068951 w 4940931"/>
                <a:gd name="connsiteY673" fmla="*/ 46990 h 138429"/>
                <a:gd name="connsiteX674" fmla="*/ 3063871 w 4940931"/>
                <a:gd name="connsiteY674" fmla="*/ 45085 h 138429"/>
                <a:gd name="connsiteX675" fmla="*/ 3057521 w 4940931"/>
                <a:gd name="connsiteY675" fmla="*/ 44450 h 138429"/>
                <a:gd name="connsiteX676" fmla="*/ 3046091 w 4940931"/>
                <a:gd name="connsiteY676" fmla="*/ 49530 h 138429"/>
                <a:gd name="connsiteX677" fmla="*/ 3042281 w 4940931"/>
                <a:gd name="connsiteY677" fmla="*/ 64770 h 138429"/>
                <a:gd name="connsiteX678" fmla="*/ 3042281 w 4940931"/>
                <a:gd name="connsiteY678" fmla="*/ 109220 h 138429"/>
                <a:gd name="connsiteX679" fmla="*/ 3027041 w 4940931"/>
                <a:gd name="connsiteY679" fmla="*/ 109220 h 138429"/>
                <a:gd name="connsiteX680" fmla="*/ 3027041 w 4940931"/>
                <a:gd name="connsiteY680" fmla="*/ 31115 h 138429"/>
                <a:gd name="connsiteX681" fmla="*/ 3042281 w 4940931"/>
                <a:gd name="connsiteY681" fmla="*/ 31115 h 138429"/>
                <a:gd name="connsiteX682" fmla="*/ 3042281 w 4940931"/>
                <a:gd name="connsiteY682" fmla="*/ 38735 h 138429"/>
                <a:gd name="connsiteX683" fmla="*/ 3045456 w 4940931"/>
                <a:gd name="connsiteY683" fmla="*/ 34925 h 138429"/>
                <a:gd name="connsiteX684" fmla="*/ 3049901 w 4940931"/>
                <a:gd name="connsiteY684" fmla="*/ 31750 h 138429"/>
                <a:gd name="connsiteX685" fmla="*/ 3054981 w 4940931"/>
                <a:gd name="connsiteY685" fmla="*/ 29845 h 138429"/>
                <a:gd name="connsiteX686" fmla="*/ 3060696 w 4940931"/>
                <a:gd name="connsiteY686" fmla="*/ 29210 h 138429"/>
                <a:gd name="connsiteX687" fmla="*/ 2978781 w 4940931"/>
                <a:gd name="connsiteY687" fmla="*/ 29210 h 138429"/>
                <a:gd name="connsiteX688" fmla="*/ 2993386 w 4940931"/>
                <a:gd name="connsiteY688" fmla="*/ 32385 h 138429"/>
                <a:gd name="connsiteX689" fmla="*/ 3003546 w 4940931"/>
                <a:gd name="connsiteY689" fmla="*/ 40640 h 138429"/>
                <a:gd name="connsiteX690" fmla="*/ 3009896 w 4940931"/>
                <a:gd name="connsiteY690" fmla="*/ 53340 h 138429"/>
                <a:gd name="connsiteX691" fmla="*/ 3011801 w 4940931"/>
                <a:gd name="connsiteY691" fmla="*/ 68580 h 138429"/>
                <a:gd name="connsiteX692" fmla="*/ 3010531 w 4940931"/>
                <a:gd name="connsiteY692" fmla="*/ 68580 h 138429"/>
                <a:gd name="connsiteX693" fmla="*/ 3010531 w 4940931"/>
                <a:gd name="connsiteY693" fmla="*/ 72390 h 138429"/>
                <a:gd name="connsiteX694" fmla="*/ 3010531 w 4940931"/>
                <a:gd name="connsiteY694" fmla="*/ 75565 h 138429"/>
                <a:gd name="connsiteX695" fmla="*/ 2959096 w 4940931"/>
                <a:gd name="connsiteY695" fmla="*/ 75565 h 138429"/>
                <a:gd name="connsiteX696" fmla="*/ 2961636 w 4940931"/>
                <a:gd name="connsiteY696" fmla="*/ 85090 h 138429"/>
                <a:gd name="connsiteX697" fmla="*/ 2966081 w 4940931"/>
                <a:gd name="connsiteY697" fmla="*/ 91440 h 138429"/>
                <a:gd name="connsiteX698" fmla="*/ 2971796 w 4940931"/>
                <a:gd name="connsiteY698" fmla="*/ 95250 h 138429"/>
                <a:gd name="connsiteX699" fmla="*/ 2978781 w 4940931"/>
                <a:gd name="connsiteY699" fmla="*/ 96520 h 138429"/>
                <a:gd name="connsiteX700" fmla="*/ 2983861 w 4940931"/>
                <a:gd name="connsiteY700" fmla="*/ 96520 h 138429"/>
                <a:gd name="connsiteX701" fmla="*/ 2988306 w 4940931"/>
                <a:gd name="connsiteY701" fmla="*/ 95250 h 138429"/>
                <a:gd name="connsiteX702" fmla="*/ 2992116 w 4940931"/>
                <a:gd name="connsiteY702" fmla="*/ 93345 h 138429"/>
                <a:gd name="connsiteX703" fmla="*/ 2996561 w 4940931"/>
                <a:gd name="connsiteY703" fmla="*/ 90805 h 138429"/>
                <a:gd name="connsiteX704" fmla="*/ 3005451 w 4940931"/>
                <a:gd name="connsiteY704" fmla="*/ 100330 h 138429"/>
                <a:gd name="connsiteX705" fmla="*/ 2999736 w 4940931"/>
                <a:gd name="connsiteY705" fmla="*/ 104775 h 138429"/>
                <a:gd name="connsiteX706" fmla="*/ 2994021 w 4940931"/>
                <a:gd name="connsiteY706" fmla="*/ 107950 h 138429"/>
                <a:gd name="connsiteX707" fmla="*/ 2987036 w 4940931"/>
                <a:gd name="connsiteY707" fmla="*/ 109855 h 138429"/>
                <a:gd name="connsiteX708" fmla="*/ 2978146 w 4940931"/>
                <a:gd name="connsiteY708" fmla="*/ 110490 h 138429"/>
                <a:gd name="connsiteX709" fmla="*/ 2968621 w 4940931"/>
                <a:gd name="connsiteY709" fmla="*/ 109220 h 138429"/>
                <a:gd name="connsiteX710" fmla="*/ 2961001 w 4940931"/>
                <a:gd name="connsiteY710" fmla="*/ 105410 h 138429"/>
                <a:gd name="connsiteX711" fmla="*/ 2954651 w 4940931"/>
                <a:gd name="connsiteY711" fmla="*/ 100330 h 138429"/>
                <a:gd name="connsiteX712" fmla="*/ 2949571 w 4940931"/>
                <a:gd name="connsiteY712" fmla="*/ 92710 h 138429"/>
                <a:gd name="connsiteX713" fmla="*/ 2945761 w 4940931"/>
                <a:gd name="connsiteY713" fmla="*/ 82550 h 138429"/>
                <a:gd name="connsiteX714" fmla="*/ 2944491 w 4940931"/>
                <a:gd name="connsiteY714" fmla="*/ 69850 h 138429"/>
                <a:gd name="connsiteX715" fmla="*/ 2947031 w 4940931"/>
                <a:gd name="connsiteY715" fmla="*/ 52070 h 138429"/>
                <a:gd name="connsiteX716" fmla="*/ 2954016 w 4940931"/>
                <a:gd name="connsiteY716" fmla="*/ 39370 h 138429"/>
                <a:gd name="connsiteX717" fmla="*/ 2964811 w 4940931"/>
                <a:gd name="connsiteY717" fmla="*/ 31750 h 138429"/>
                <a:gd name="connsiteX718" fmla="*/ 2978781 w 4940931"/>
                <a:gd name="connsiteY718" fmla="*/ 29210 h 138429"/>
                <a:gd name="connsiteX719" fmla="*/ 2798440 w 4940931"/>
                <a:gd name="connsiteY719" fmla="*/ 29210 h 138429"/>
                <a:gd name="connsiteX720" fmla="*/ 2813045 w 4940931"/>
                <a:gd name="connsiteY720" fmla="*/ 31750 h 138429"/>
                <a:gd name="connsiteX721" fmla="*/ 2825110 w 4940931"/>
                <a:gd name="connsiteY721" fmla="*/ 38100 h 138429"/>
                <a:gd name="connsiteX722" fmla="*/ 2827015 w 4940931"/>
                <a:gd name="connsiteY722" fmla="*/ 38100 h 138429"/>
                <a:gd name="connsiteX723" fmla="*/ 2820030 w 4940931"/>
                <a:gd name="connsiteY723" fmla="*/ 50165 h 138429"/>
                <a:gd name="connsiteX724" fmla="*/ 2810505 w 4940931"/>
                <a:gd name="connsiteY724" fmla="*/ 45085 h 138429"/>
                <a:gd name="connsiteX725" fmla="*/ 2799710 w 4940931"/>
                <a:gd name="connsiteY725" fmla="*/ 43180 h 138429"/>
                <a:gd name="connsiteX726" fmla="*/ 2791455 w 4940931"/>
                <a:gd name="connsiteY726" fmla="*/ 45085 h 138429"/>
                <a:gd name="connsiteX727" fmla="*/ 2788915 w 4940931"/>
                <a:gd name="connsiteY727" fmla="*/ 50165 h 138429"/>
                <a:gd name="connsiteX728" fmla="*/ 2788915 w 4940931"/>
                <a:gd name="connsiteY728" fmla="*/ 52705 h 138429"/>
                <a:gd name="connsiteX729" fmla="*/ 2790820 w 4940931"/>
                <a:gd name="connsiteY729" fmla="*/ 55245 h 138429"/>
                <a:gd name="connsiteX730" fmla="*/ 2795265 w 4940931"/>
                <a:gd name="connsiteY730" fmla="*/ 57785 h 138429"/>
                <a:gd name="connsiteX731" fmla="*/ 2802250 w 4940931"/>
                <a:gd name="connsiteY731" fmla="*/ 60960 h 138429"/>
                <a:gd name="connsiteX732" fmla="*/ 2813680 w 4940931"/>
                <a:gd name="connsiteY732" fmla="*/ 66040 h 138429"/>
                <a:gd name="connsiteX733" fmla="*/ 2821935 w 4940931"/>
                <a:gd name="connsiteY733" fmla="*/ 71120 h 138429"/>
                <a:gd name="connsiteX734" fmla="*/ 2827015 w 4940931"/>
                <a:gd name="connsiteY734" fmla="*/ 78105 h 138429"/>
                <a:gd name="connsiteX735" fmla="*/ 2828920 w 4940931"/>
                <a:gd name="connsiteY735" fmla="*/ 87630 h 138429"/>
                <a:gd name="connsiteX736" fmla="*/ 2826380 w 4940931"/>
                <a:gd name="connsiteY736" fmla="*/ 98425 h 138429"/>
                <a:gd name="connsiteX737" fmla="*/ 2820030 w 4940931"/>
                <a:gd name="connsiteY737" fmla="*/ 105410 h 138429"/>
                <a:gd name="connsiteX738" fmla="*/ 2810505 w 4940931"/>
                <a:gd name="connsiteY738" fmla="*/ 109220 h 138429"/>
                <a:gd name="connsiteX739" fmla="*/ 2799710 w 4940931"/>
                <a:gd name="connsiteY739" fmla="*/ 110490 h 138429"/>
                <a:gd name="connsiteX740" fmla="*/ 2783835 w 4940931"/>
                <a:gd name="connsiteY740" fmla="*/ 107950 h 138429"/>
                <a:gd name="connsiteX741" fmla="*/ 2769230 w 4940931"/>
                <a:gd name="connsiteY741" fmla="*/ 100965 h 138429"/>
                <a:gd name="connsiteX742" fmla="*/ 2776215 w 4940931"/>
                <a:gd name="connsiteY742" fmla="*/ 89535 h 138429"/>
                <a:gd name="connsiteX743" fmla="*/ 2787645 w 4940931"/>
                <a:gd name="connsiteY743" fmla="*/ 95250 h 138429"/>
                <a:gd name="connsiteX744" fmla="*/ 2799075 w 4940931"/>
                <a:gd name="connsiteY744" fmla="*/ 97155 h 138429"/>
                <a:gd name="connsiteX745" fmla="*/ 2809870 w 4940931"/>
                <a:gd name="connsiteY745" fmla="*/ 94615 h 138429"/>
                <a:gd name="connsiteX746" fmla="*/ 2813045 w 4940931"/>
                <a:gd name="connsiteY746" fmla="*/ 88265 h 138429"/>
                <a:gd name="connsiteX747" fmla="*/ 2811775 w 4940931"/>
                <a:gd name="connsiteY747" fmla="*/ 84455 h 138429"/>
                <a:gd name="connsiteX748" fmla="*/ 2807965 w 4940931"/>
                <a:gd name="connsiteY748" fmla="*/ 81280 h 138429"/>
                <a:gd name="connsiteX749" fmla="*/ 2802250 w 4940931"/>
                <a:gd name="connsiteY749" fmla="*/ 78105 h 138429"/>
                <a:gd name="connsiteX750" fmla="*/ 2794630 w 4940931"/>
                <a:gd name="connsiteY750" fmla="*/ 74930 h 138429"/>
                <a:gd name="connsiteX751" fmla="*/ 2783835 w 4940931"/>
                <a:gd name="connsiteY751" fmla="*/ 69850 h 138429"/>
                <a:gd name="connsiteX752" fmla="*/ 2776850 w 4940931"/>
                <a:gd name="connsiteY752" fmla="*/ 64770 h 138429"/>
                <a:gd name="connsiteX753" fmla="*/ 2773040 w 4940931"/>
                <a:gd name="connsiteY753" fmla="*/ 58420 h 138429"/>
                <a:gd name="connsiteX754" fmla="*/ 2771770 w 4940931"/>
                <a:gd name="connsiteY754" fmla="*/ 50165 h 138429"/>
                <a:gd name="connsiteX755" fmla="*/ 2773675 w 4940931"/>
                <a:gd name="connsiteY755" fmla="*/ 40640 h 138429"/>
                <a:gd name="connsiteX756" fmla="*/ 2779390 w 4940931"/>
                <a:gd name="connsiteY756" fmla="*/ 34290 h 138429"/>
                <a:gd name="connsiteX757" fmla="*/ 2787645 w 4940931"/>
                <a:gd name="connsiteY757" fmla="*/ 30480 h 138429"/>
                <a:gd name="connsiteX758" fmla="*/ 2798440 w 4940931"/>
                <a:gd name="connsiteY758" fmla="*/ 29210 h 138429"/>
                <a:gd name="connsiteX759" fmla="*/ 2723510 w 4940931"/>
                <a:gd name="connsiteY759" fmla="*/ 29210 h 138429"/>
                <a:gd name="connsiteX760" fmla="*/ 2729225 w 4940931"/>
                <a:gd name="connsiteY760" fmla="*/ 29210 h 138429"/>
                <a:gd name="connsiteX761" fmla="*/ 2741290 w 4940931"/>
                <a:gd name="connsiteY761" fmla="*/ 31750 h 138429"/>
                <a:gd name="connsiteX762" fmla="*/ 2750180 w 4940931"/>
                <a:gd name="connsiteY762" fmla="*/ 38100 h 138429"/>
                <a:gd name="connsiteX763" fmla="*/ 2755260 w 4940931"/>
                <a:gd name="connsiteY763" fmla="*/ 48895 h 138429"/>
                <a:gd name="connsiteX764" fmla="*/ 2757165 w 4940931"/>
                <a:gd name="connsiteY764" fmla="*/ 64135 h 138429"/>
                <a:gd name="connsiteX765" fmla="*/ 2757165 w 4940931"/>
                <a:gd name="connsiteY765" fmla="*/ 108585 h 138429"/>
                <a:gd name="connsiteX766" fmla="*/ 2741925 w 4940931"/>
                <a:gd name="connsiteY766" fmla="*/ 108585 h 138429"/>
                <a:gd name="connsiteX767" fmla="*/ 2741290 w 4940931"/>
                <a:gd name="connsiteY767" fmla="*/ 108585 h 138429"/>
                <a:gd name="connsiteX768" fmla="*/ 2741290 w 4940931"/>
                <a:gd name="connsiteY768" fmla="*/ 64770 h 138429"/>
                <a:gd name="connsiteX769" fmla="*/ 2737480 w 4940931"/>
                <a:gd name="connsiteY769" fmla="*/ 48895 h 138429"/>
                <a:gd name="connsiteX770" fmla="*/ 2725415 w 4940931"/>
                <a:gd name="connsiteY770" fmla="*/ 43180 h 138429"/>
                <a:gd name="connsiteX771" fmla="*/ 2718430 w 4940931"/>
                <a:gd name="connsiteY771" fmla="*/ 44450 h 138429"/>
                <a:gd name="connsiteX772" fmla="*/ 2713350 w 4940931"/>
                <a:gd name="connsiteY772" fmla="*/ 48260 h 138429"/>
                <a:gd name="connsiteX773" fmla="*/ 2710175 w 4940931"/>
                <a:gd name="connsiteY773" fmla="*/ 54610 h 138429"/>
                <a:gd name="connsiteX774" fmla="*/ 2709540 w 4940931"/>
                <a:gd name="connsiteY774" fmla="*/ 62865 h 138429"/>
                <a:gd name="connsiteX775" fmla="*/ 2709540 w 4940931"/>
                <a:gd name="connsiteY775" fmla="*/ 108585 h 138429"/>
                <a:gd name="connsiteX776" fmla="*/ 2694300 w 4940931"/>
                <a:gd name="connsiteY776" fmla="*/ 108585 h 138429"/>
                <a:gd name="connsiteX777" fmla="*/ 2694300 w 4940931"/>
                <a:gd name="connsiteY777" fmla="*/ 30480 h 138429"/>
                <a:gd name="connsiteX778" fmla="*/ 2709540 w 4940931"/>
                <a:gd name="connsiteY778" fmla="*/ 30480 h 138429"/>
                <a:gd name="connsiteX779" fmla="*/ 2709540 w 4940931"/>
                <a:gd name="connsiteY779" fmla="*/ 38100 h 138429"/>
                <a:gd name="connsiteX780" fmla="*/ 2713350 w 4940931"/>
                <a:gd name="connsiteY780" fmla="*/ 34290 h 138429"/>
                <a:gd name="connsiteX781" fmla="*/ 2717795 w 4940931"/>
                <a:gd name="connsiteY781" fmla="*/ 31115 h 138429"/>
                <a:gd name="connsiteX782" fmla="*/ 2723510 w 4940931"/>
                <a:gd name="connsiteY782" fmla="*/ 29210 h 138429"/>
                <a:gd name="connsiteX783" fmla="*/ 2530470 w 4940931"/>
                <a:gd name="connsiteY783" fmla="*/ 29210 h 138429"/>
                <a:gd name="connsiteX784" fmla="*/ 2545075 w 4940931"/>
                <a:gd name="connsiteY784" fmla="*/ 32385 h 138429"/>
                <a:gd name="connsiteX785" fmla="*/ 2555235 w 4940931"/>
                <a:gd name="connsiteY785" fmla="*/ 40640 h 138429"/>
                <a:gd name="connsiteX786" fmla="*/ 2561585 w 4940931"/>
                <a:gd name="connsiteY786" fmla="*/ 53340 h 138429"/>
                <a:gd name="connsiteX787" fmla="*/ 2563490 w 4940931"/>
                <a:gd name="connsiteY787" fmla="*/ 68580 h 138429"/>
                <a:gd name="connsiteX788" fmla="*/ 2562220 w 4940931"/>
                <a:gd name="connsiteY788" fmla="*/ 68580 h 138429"/>
                <a:gd name="connsiteX789" fmla="*/ 2562220 w 4940931"/>
                <a:gd name="connsiteY789" fmla="*/ 72390 h 138429"/>
                <a:gd name="connsiteX790" fmla="*/ 2562220 w 4940931"/>
                <a:gd name="connsiteY790" fmla="*/ 75565 h 138429"/>
                <a:gd name="connsiteX791" fmla="*/ 2510785 w 4940931"/>
                <a:gd name="connsiteY791" fmla="*/ 75565 h 138429"/>
                <a:gd name="connsiteX792" fmla="*/ 2513325 w 4940931"/>
                <a:gd name="connsiteY792" fmla="*/ 85090 h 138429"/>
                <a:gd name="connsiteX793" fmla="*/ 2517770 w 4940931"/>
                <a:gd name="connsiteY793" fmla="*/ 91440 h 138429"/>
                <a:gd name="connsiteX794" fmla="*/ 2523485 w 4940931"/>
                <a:gd name="connsiteY794" fmla="*/ 95250 h 138429"/>
                <a:gd name="connsiteX795" fmla="*/ 2530470 w 4940931"/>
                <a:gd name="connsiteY795" fmla="*/ 96520 h 138429"/>
                <a:gd name="connsiteX796" fmla="*/ 2535550 w 4940931"/>
                <a:gd name="connsiteY796" fmla="*/ 96520 h 138429"/>
                <a:gd name="connsiteX797" fmla="*/ 2539995 w 4940931"/>
                <a:gd name="connsiteY797" fmla="*/ 95250 h 138429"/>
                <a:gd name="connsiteX798" fmla="*/ 2543805 w 4940931"/>
                <a:gd name="connsiteY798" fmla="*/ 93345 h 138429"/>
                <a:gd name="connsiteX799" fmla="*/ 2548250 w 4940931"/>
                <a:gd name="connsiteY799" fmla="*/ 90805 h 138429"/>
                <a:gd name="connsiteX800" fmla="*/ 2557140 w 4940931"/>
                <a:gd name="connsiteY800" fmla="*/ 100330 h 138429"/>
                <a:gd name="connsiteX801" fmla="*/ 2551425 w 4940931"/>
                <a:gd name="connsiteY801" fmla="*/ 104775 h 138429"/>
                <a:gd name="connsiteX802" fmla="*/ 2545710 w 4940931"/>
                <a:gd name="connsiteY802" fmla="*/ 107950 h 138429"/>
                <a:gd name="connsiteX803" fmla="*/ 2538725 w 4940931"/>
                <a:gd name="connsiteY803" fmla="*/ 109855 h 138429"/>
                <a:gd name="connsiteX804" fmla="*/ 2529835 w 4940931"/>
                <a:gd name="connsiteY804" fmla="*/ 110490 h 138429"/>
                <a:gd name="connsiteX805" fmla="*/ 2520310 w 4940931"/>
                <a:gd name="connsiteY805" fmla="*/ 109220 h 138429"/>
                <a:gd name="connsiteX806" fmla="*/ 2512690 w 4940931"/>
                <a:gd name="connsiteY806" fmla="*/ 105410 h 138429"/>
                <a:gd name="connsiteX807" fmla="*/ 2506340 w 4940931"/>
                <a:gd name="connsiteY807" fmla="*/ 100330 h 138429"/>
                <a:gd name="connsiteX808" fmla="*/ 2501260 w 4940931"/>
                <a:gd name="connsiteY808" fmla="*/ 92710 h 138429"/>
                <a:gd name="connsiteX809" fmla="*/ 2497450 w 4940931"/>
                <a:gd name="connsiteY809" fmla="*/ 82550 h 138429"/>
                <a:gd name="connsiteX810" fmla="*/ 2496180 w 4940931"/>
                <a:gd name="connsiteY810" fmla="*/ 69850 h 138429"/>
                <a:gd name="connsiteX811" fmla="*/ 2498720 w 4940931"/>
                <a:gd name="connsiteY811" fmla="*/ 52070 h 138429"/>
                <a:gd name="connsiteX812" fmla="*/ 2505705 w 4940931"/>
                <a:gd name="connsiteY812" fmla="*/ 39370 h 138429"/>
                <a:gd name="connsiteX813" fmla="*/ 2516500 w 4940931"/>
                <a:gd name="connsiteY813" fmla="*/ 31750 h 138429"/>
                <a:gd name="connsiteX814" fmla="*/ 2530470 w 4940931"/>
                <a:gd name="connsiteY814" fmla="*/ 29210 h 138429"/>
                <a:gd name="connsiteX815" fmla="*/ 2298061 w 4940931"/>
                <a:gd name="connsiteY815" fmla="*/ 29210 h 138429"/>
                <a:gd name="connsiteX816" fmla="*/ 2305681 w 4940931"/>
                <a:gd name="connsiteY816" fmla="*/ 29845 h 138429"/>
                <a:gd name="connsiteX817" fmla="*/ 2311396 w 4940931"/>
                <a:gd name="connsiteY817" fmla="*/ 32385 h 138429"/>
                <a:gd name="connsiteX818" fmla="*/ 2307586 w 4940931"/>
                <a:gd name="connsiteY818" fmla="*/ 46990 h 138429"/>
                <a:gd name="connsiteX819" fmla="*/ 2306316 w 4940931"/>
                <a:gd name="connsiteY819" fmla="*/ 46990 h 138429"/>
                <a:gd name="connsiteX820" fmla="*/ 2301236 w 4940931"/>
                <a:gd name="connsiteY820" fmla="*/ 45085 h 138429"/>
                <a:gd name="connsiteX821" fmla="*/ 2294886 w 4940931"/>
                <a:gd name="connsiteY821" fmla="*/ 44450 h 138429"/>
                <a:gd name="connsiteX822" fmla="*/ 2283456 w 4940931"/>
                <a:gd name="connsiteY822" fmla="*/ 49530 h 138429"/>
                <a:gd name="connsiteX823" fmla="*/ 2279646 w 4940931"/>
                <a:gd name="connsiteY823" fmla="*/ 64770 h 138429"/>
                <a:gd name="connsiteX824" fmla="*/ 2279646 w 4940931"/>
                <a:gd name="connsiteY824" fmla="*/ 109220 h 138429"/>
                <a:gd name="connsiteX825" fmla="*/ 2264406 w 4940931"/>
                <a:gd name="connsiteY825" fmla="*/ 109220 h 138429"/>
                <a:gd name="connsiteX826" fmla="*/ 2264406 w 4940931"/>
                <a:gd name="connsiteY826" fmla="*/ 31115 h 138429"/>
                <a:gd name="connsiteX827" fmla="*/ 2279646 w 4940931"/>
                <a:gd name="connsiteY827" fmla="*/ 31115 h 138429"/>
                <a:gd name="connsiteX828" fmla="*/ 2279646 w 4940931"/>
                <a:gd name="connsiteY828" fmla="*/ 38735 h 138429"/>
                <a:gd name="connsiteX829" fmla="*/ 2282821 w 4940931"/>
                <a:gd name="connsiteY829" fmla="*/ 34925 h 138429"/>
                <a:gd name="connsiteX830" fmla="*/ 2287266 w 4940931"/>
                <a:gd name="connsiteY830" fmla="*/ 31750 h 138429"/>
                <a:gd name="connsiteX831" fmla="*/ 2292346 w 4940931"/>
                <a:gd name="connsiteY831" fmla="*/ 29845 h 138429"/>
                <a:gd name="connsiteX832" fmla="*/ 2298061 w 4940931"/>
                <a:gd name="connsiteY832" fmla="*/ 29210 h 138429"/>
                <a:gd name="connsiteX833" fmla="*/ 2216145 w 4940931"/>
                <a:gd name="connsiteY833" fmla="*/ 29210 h 138429"/>
                <a:gd name="connsiteX834" fmla="*/ 2230750 w 4940931"/>
                <a:gd name="connsiteY834" fmla="*/ 32385 h 138429"/>
                <a:gd name="connsiteX835" fmla="*/ 2240910 w 4940931"/>
                <a:gd name="connsiteY835" fmla="*/ 40640 h 138429"/>
                <a:gd name="connsiteX836" fmla="*/ 2247260 w 4940931"/>
                <a:gd name="connsiteY836" fmla="*/ 53340 h 138429"/>
                <a:gd name="connsiteX837" fmla="*/ 2249165 w 4940931"/>
                <a:gd name="connsiteY837" fmla="*/ 68580 h 138429"/>
                <a:gd name="connsiteX838" fmla="*/ 2247895 w 4940931"/>
                <a:gd name="connsiteY838" fmla="*/ 68580 h 138429"/>
                <a:gd name="connsiteX839" fmla="*/ 2247895 w 4940931"/>
                <a:gd name="connsiteY839" fmla="*/ 72390 h 138429"/>
                <a:gd name="connsiteX840" fmla="*/ 2247895 w 4940931"/>
                <a:gd name="connsiteY840" fmla="*/ 75565 h 138429"/>
                <a:gd name="connsiteX841" fmla="*/ 2196460 w 4940931"/>
                <a:gd name="connsiteY841" fmla="*/ 75565 h 138429"/>
                <a:gd name="connsiteX842" fmla="*/ 2199000 w 4940931"/>
                <a:gd name="connsiteY842" fmla="*/ 85090 h 138429"/>
                <a:gd name="connsiteX843" fmla="*/ 2203445 w 4940931"/>
                <a:gd name="connsiteY843" fmla="*/ 91440 h 138429"/>
                <a:gd name="connsiteX844" fmla="*/ 2209160 w 4940931"/>
                <a:gd name="connsiteY844" fmla="*/ 95250 h 138429"/>
                <a:gd name="connsiteX845" fmla="*/ 2216145 w 4940931"/>
                <a:gd name="connsiteY845" fmla="*/ 96520 h 138429"/>
                <a:gd name="connsiteX846" fmla="*/ 2221225 w 4940931"/>
                <a:gd name="connsiteY846" fmla="*/ 96520 h 138429"/>
                <a:gd name="connsiteX847" fmla="*/ 2225670 w 4940931"/>
                <a:gd name="connsiteY847" fmla="*/ 95250 h 138429"/>
                <a:gd name="connsiteX848" fmla="*/ 2229480 w 4940931"/>
                <a:gd name="connsiteY848" fmla="*/ 93345 h 138429"/>
                <a:gd name="connsiteX849" fmla="*/ 2233925 w 4940931"/>
                <a:gd name="connsiteY849" fmla="*/ 90805 h 138429"/>
                <a:gd name="connsiteX850" fmla="*/ 2242815 w 4940931"/>
                <a:gd name="connsiteY850" fmla="*/ 100330 h 138429"/>
                <a:gd name="connsiteX851" fmla="*/ 2237100 w 4940931"/>
                <a:gd name="connsiteY851" fmla="*/ 104775 h 138429"/>
                <a:gd name="connsiteX852" fmla="*/ 2231385 w 4940931"/>
                <a:gd name="connsiteY852" fmla="*/ 107950 h 138429"/>
                <a:gd name="connsiteX853" fmla="*/ 2224400 w 4940931"/>
                <a:gd name="connsiteY853" fmla="*/ 109855 h 138429"/>
                <a:gd name="connsiteX854" fmla="*/ 2215510 w 4940931"/>
                <a:gd name="connsiteY854" fmla="*/ 110490 h 138429"/>
                <a:gd name="connsiteX855" fmla="*/ 2205985 w 4940931"/>
                <a:gd name="connsiteY855" fmla="*/ 109220 h 138429"/>
                <a:gd name="connsiteX856" fmla="*/ 2198365 w 4940931"/>
                <a:gd name="connsiteY856" fmla="*/ 105410 h 138429"/>
                <a:gd name="connsiteX857" fmla="*/ 2192015 w 4940931"/>
                <a:gd name="connsiteY857" fmla="*/ 100330 h 138429"/>
                <a:gd name="connsiteX858" fmla="*/ 2186935 w 4940931"/>
                <a:gd name="connsiteY858" fmla="*/ 92710 h 138429"/>
                <a:gd name="connsiteX859" fmla="*/ 2183125 w 4940931"/>
                <a:gd name="connsiteY859" fmla="*/ 82550 h 138429"/>
                <a:gd name="connsiteX860" fmla="*/ 2181855 w 4940931"/>
                <a:gd name="connsiteY860" fmla="*/ 69850 h 138429"/>
                <a:gd name="connsiteX861" fmla="*/ 2184395 w 4940931"/>
                <a:gd name="connsiteY861" fmla="*/ 52070 h 138429"/>
                <a:gd name="connsiteX862" fmla="*/ 2191380 w 4940931"/>
                <a:gd name="connsiteY862" fmla="*/ 39370 h 138429"/>
                <a:gd name="connsiteX863" fmla="*/ 2202175 w 4940931"/>
                <a:gd name="connsiteY863" fmla="*/ 31750 h 138429"/>
                <a:gd name="connsiteX864" fmla="*/ 2216145 w 4940931"/>
                <a:gd name="connsiteY864" fmla="*/ 29210 h 138429"/>
                <a:gd name="connsiteX865" fmla="*/ 2029456 w 4940931"/>
                <a:gd name="connsiteY865" fmla="*/ 29210 h 138429"/>
                <a:gd name="connsiteX866" fmla="*/ 2044061 w 4940931"/>
                <a:gd name="connsiteY866" fmla="*/ 32385 h 138429"/>
                <a:gd name="connsiteX867" fmla="*/ 2054221 w 4940931"/>
                <a:gd name="connsiteY867" fmla="*/ 40640 h 138429"/>
                <a:gd name="connsiteX868" fmla="*/ 2060571 w 4940931"/>
                <a:gd name="connsiteY868" fmla="*/ 53340 h 138429"/>
                <a:gd name="connsiteX869" fmla="*/ 2062476 w 4940931"/>
                <a:gd name="connsiteY869" fmla="*/ 68580 h 138429"/>
                <a:gd name="connsiteX870" fmla="*/ 2061206 w 4940931"/>
                <a:gd name="connsiteY870" fmla="*/ 68580 h 138429"/>
                <a:gd name="connsiteX871" fmla="*/ 2061206 w 4940931"/>
                <a:gd name="connsiteY871" fmla="*/ 72390 h 138429"/>
                <a:gd name="connsiteX872" fmla="*/ 2061206 w 4940931"/>
                <a:gd name="connsiteY872" fmla="*/ 75565 h 138429"/>
                <a:gd name="connsiteX873" fmla="*/ 2009771 w 4940931"/>
                <a:gd name="connsiteY873" fmla="*/ 75565 h 138429"/>
                <a:gd name="connsiteX874" fmla="*/ 2012311 w 4940931"/>
                <a:gd name="connsiteY874" fmla="*/ 85090 h 138429"/>
                <a:gd name="connsiteX875" fmla="*/ 2016756 w 4940931"/>
                <a:gd name="connsiteY875" fmla="*/ 91440 h 138429"/>
                <a:gd name="connsiteX876" fmla="*/ 2022471 w 4940931"/>
                <a:gd name="connsiteY876" fmla="*/ 95250 h 138429"/>
                <a:gd name="connsiteX877" fmla="*/ 2029456 w 4940931"/>
                <a:gd name="connsiteY877" fmla="*/ 96520 h 138429"/>
                <a:gd name="connsiteX878" fmla="*/ 2034536 w 4940931"/>
                <a:gd name="connsiteY878" fmla="*/ 96520 h 138429"/>
                <a:gd name="connsiteX879" fmla="*/ 2038981 w 4940931"/>
                <a:gd name="connsiteY879" fmla="*/ 95250 h 138429"/>
                <a:gd name="connsiteX880" fmla="*/ 2042791 w 4940931"/>
                <a:gd name="connsiteY880" fmla="*/ 93345 h 138429"/>
                <a:gd name="connsiteX881" fmla="*/ 2047236 w 4940931"/>
                <a:gd name="connsiteY881" fmla="*/ 90805 h 138429"/>
                <a:gd name="connsiteX882" fmla="*/ 2056126 w 4940931"/>
                <a:gd name="connsiteY882" fmla="*/ 100330 h 138429"/>
                <a:gd name="connsiteX883" fmla="*/ 2050411 w 4940931"/>
                <a:gd name="connsiteY883" fmla="*/ 104775 h 138429"/>
                <a:gd name="connsiteX884" fmla="*/ 2044696 w 4940931"/>
                <a:gd name="connsiteY884" fmla="*/ 107950 h 138429"/>
                <a:gd name="connsiteX885" fmla="*/ 2037711 w 4940931"/>
                <a:gd name="connsiteY885" fmla="*/ 109855 h 138429"/>
                <a:gd name="connsiteX886" fmla="*/ 2028821 w 4940931"/>
                <a:gd name="connsiteY886" fmla="*/ 110490 h 138429"/>
                <a:gd name="connsiteX887" fmla="*/ 2019296 w 4940931"/>
                <a:gd name="connsiteY887" fmla="*/ 109220 h 138429"/>
                <a:gd name="connsiteX888" fmla="*/ 2011676 w 4940931"/>
                <a:gd name="connsiteY888" fmla="*/ 105410 h 138429"/>
                <a:gd name="connsiteX889" fmla="*/ 2005326 w 4940931"/>
                <a:gd name="connsiteY889" fmla="*/ 100330 h 138429"/>
                <a:gd name="connsiteX890" fmla="*/ 2000246 w 4940931"/>
                <a:gd name="connsiteY890" fmla="*/ 92710 h 138429"/>
                <a:gd name="connsiteX891" fmla="*/ 1996436 w 4940931"/>
                <a:gd name="connsiteY891" fmla="*/ 82550 h 138429"/>
                <a:gd name="connsiteX892" fmla="*/ 1995166 w 4940931"/>
                <a:gd name="connsiteY892" fmla="*/ 69850 h 138429"/>
                <a:gd name="connsiteX893" fmla="*/ 1997706 w 4940931"/>
                <a:gd name="connsiteY893" fmla="*/ 52070 h 138429"/>
                <a:gd name="connsiteX894" fmla="*/ 2004691 w 4940931"/>
                <a:gd name="connsiteY894" fmla="*/ 39370 h 138429"/>
                <a:gd name="connsiteX895" fmla="*/ 2015486 w 4940931"/>
                <a:gd name="connsiteY895" fmla="*/ 31750 h 138429"/>
                <a:gd name="connsiteX896" fmla="*/ 2029456 w 4940931"/>
                <a:gd name="connsiteY896" fmla="*/ 29210 h 138429"/>
                <a:gd name="connsiteX897" fmla="*/ 1831336 w 4940931"/>
                <a:gd name="connsiteY897" fmla="*/ 29210 h 138429"/>
                <a:gd name="connsiteX898" fmla="*/ 1845941 w 4940931"/>
                <a:gd name="connsiteY898" fmla="*/ 32385 h 138429"/>
                <a:gd name="connsiteX899" fmla="*/ 1856101 w 4940931"/>
                <a:gd name="connsiteY899" fmla="*/ 40640 h 138429"/>
                <a:gd name="connsiteX900" fmla="*/ 1862451 w 4940931"/>
                <a:gd name="connsiteY900" fmla="*/ 53340 h 138429"/>
                <a:gd name="connsiteX901" fmla="*/ 1864356 w 4940931"/>
                <a:gd name="connsiteY901" fmla="*/ 68580 h 138429"/>
                <a:gd name="connsiteX902" fmla="*/ 1863086 w 4940931"/>
                <a:gd name="connsiteY902" fmla="*/ 68580 h 138429"/>
                <a:gd name="connsiteX903" fmla="*/ 1863086 w 4940931"/>
                <a:gd name="connsiteY903" fmla="*/ 72390 h 138429"/>
                <a:gd name="connsiteX904" fmla="*/ 1863086 w 4940931"/>
                <a:gd name="connsiteY904" fmla="*/ 75565 h 138429"/>
                <a:gd name="connsiteX905" fmla="*/ 1811651 w 4940931"/>
                <a:gd name="connsiteY905" fmla="*/ 75565 h 138429"/>
                <a:gd name="connsiteX906" fmla="*/ 1814191 w 4940931"/>
                <a:gd name="connsiteY906" fmla="*/ 85090 h 138429"/>
                <a:gd name="connsiteX907" fmla="*/ 1818636 w 4940931"/>
                <a:gd name="connsiteY907" fmla="*/ 91440 h 138429"/>
                <a:gd name="connsiteX908" fmla="*/ 1824351 w 4940931"/>
                <a:gd name="connsiteY908" fmla="*/ 95250 h 138429"/>
                <a:gd name="connsiteX909" fmla="*/ 1831336 w 4940931"/>
                <a:gd name="connsiteY909" fmla="*/ 96520 h 138429"/>
                <a:gd name="connsiteX910" fmla="*/ 1836416 w 4940931"/>
                <a:gd name="connsiteY910" fmla="*/ 96520 h 138429"/>
                <a:gd name="connsiteX911" fmla="*/ 1840861 w 4940931"/>
                <a:gd name="connsiteY911" fmla="*/ 95250 h 138429"/>
                <a:gd name="connsiteX912" fmla="*/ 1844671 w 4940931"/>
                <a:gd name="connsiteY912" fmla="*/ 93345 h 138429"/>
                <a:gd name="connsiteX913" fmla="*/ 1849116 w 4940931"/>
                <a:gd name="connsiteY913" fmla="*/ 90805 h 138429"/>
                <a:gd name="connsiteX914" fmla="*/ 1858006 w 4940931"/>
                <a:gd name="connsiteY914" fmla="*/ 100330 h 138429"/>
                <a:gd name="connsiteX915" fmla="*/ 1852291 w 4940931"/>
                <a:gd name="connsiteY915" fmla="*/ 104775 h 138429"/>
                <a:gd name="connsiteX916" fmla="*/ 1846576 w 4940931"/>
                <a:gd name="connsiteY916" fmla="*/ 107950 h 138429"/>
                <a:gd name="connsiteX917" fmla="*/ 1839591 w 4940931"/>
                <a:gd name="connsiteY917" fmla="*/ 109855 h 138429"/>
                <a:gd name="connsiteX918" fmla="*/ 1830701 w 4940931"/>
                <a:gd name="connsiteY918" fmla="*/ 110490 h 138429"/>
                <a:gd name="connsiteX919" fmla="*/ 1821176 w 4940931"/>
                <a:gd name="connsiteY919" fmla="*/ 109220 h 138429"/>
                <a:gd name="connsiteX920" fmla="*/ 1813556 w 4940931"/>
                <a:gd name="connsiteY920" fmla="*/ 105410 h 138429"/>
                <a:gd name="connsiteX921" fmla="*/ 1807206 w 4940931"/>
                <a:gd name="connsiteY921" fmla="*/ 100330 h 138429"/>
                <a:gd name="connsiteX922" fmla="*/ 1802126 w 4940931"/>
                <a:gd name="connsiteY922" fmla="*/ 92710 h 138429"/>
                <a:gd name="connsiteX923" fmla="*/ 1798316 w 4940931"/>
                <a:gd name="connsiteY923" fmla="*/ 82550 h 138429"/>
                <a:gd name="connsiteX924" fmla="*/ 1797046 w 4940931"/>
                <a:gd name="connsiteY924" fmla="*/ 69850 h 138429"/>
                <a:gd name="connsiteX925" fmla="*/ 1799586 w 4940931"/>
                <a:gd name="connsiteY925" fmla="*/ 52070 h 138429"/>
                <a:gd name="connsiteX926" fmla="*/ 1806571 w 4940931"/>
                <a:gd name="connsiteY926" fmla="*/ 39370 h 138429"/>
                <a:gd name="connsiteX927" fmla="*/ 1817366 w 4940931"/>
                <a:gd name="connsiteY927" fmla="*/ 31750 h 138429"/>
                <a:gd name="connsiteX928" fmla="*/ 1831336 w 4940931"/>
                <a:gd name="connsiteY928" fmla="*/ 29210 h 138429"/>
                <a:gd name="connsiteX929" fmla="*/ 1501140 w 4940931"/>
                <a:gd name="connsiteY929" fmla="*/ 29210 h 138429"/>
                <a:gd name="connsiteX930" fmla="*/ 1506856 w 4940931"/>
                <a:gd name="connsiteY930" fmla="*/ 29210 h 138429"/>
                <a:gd name="connsiteX931" fmla="*/ 1518920 w 4940931"/>
                <a:gd name="connsiteY931" fmla="*/ 31750 h 138429"/>
                <a:gd name="connsiteX932" fmla="*/ 1527811 w 4940931"/>
                <a:gd name="connsiteY932" fmla="*/ 38100 h 138429"/>
                <a:gd name="connsiteX933" fmla="*/ 1532891 w 4940931"/>
                <a:gd name="connsiteY933" fmla="*/ 48895 h 138429"/>
                <a:gd name="connsiteX934" fmla="*/ 1534796 w 4940931"/>
                <a:gd name="connsiteY934" fmla="*/ 64135 h 138429"/>
                <a:gd name="connsiteX935" fmla="*/ 1534796 w 4940931"/>
                <a:gd name="connsiteY935" fmla="*/ 108585 h 138429"/>
                <a:gd name="connsiteX936" fmla="*/ 1519556 w 4940931"/>
                <a:gd name="connsiteY936" fmla="*/ 108585 h 138429"/>
                <a:gd name="connsiteX937" fmla="*/ 1518920 w 4940931"/>
                <a:gd name="connsiteY937" fmla="*/ 108585 h 138429"/>
                <a:gd name="connsiteX938" fmla="*/ 1518920 w 4940931"/>
                <a:gd name="connsiteY938" fmla="*/ 64770 h 138429"/>
                <a:gd name="connsiteX939" fmla="*/ 1515111 w 4940931"/>
                <a:gd name="connsiteY939" fmla="*/ 48895 h 138429"/>
                <a:gd name="connsiteX940" fmla="*/ 1503046 w 4940931"/>
                <a:gd name="connsiteY940" fmla="*/ 43180 h 138429"/>
                <a:gd name="connsiteX941" fmla="*/ 1496061 w 4940931"/>
                <a:gd name="connsiteY941" fmla="*/ 44450 h 138429"/>
                <a:gd name="connsiteX942" fmla="*/ 1490981 w 4940931"/>
                <a:gd name="connsiteY942" fmla="*/ 48260 h 138429"/>
                <a:gd name="connsiteX943" fmla="*/ 1487806 w 4940931"/>
                <a:gd name="connsiteY943" fmla="*/ 54610 h 138429"/>
                <a:gd name="connsiteX944" fmla="*/ 1487170 w 4940931"/>
                <a:gd name="connsiteY944" fmla="*/ 62865 h 138429"/>
                <a:gd name="connsiteX945" fmla="*/ 1487170 w 4940931"/>
                <a:gd name="connsiteY945" fmla="*/ 108585 h 138429"/>
                <a:gd name="connsiteX946" fmla="*/ 1471931 w 4940931"/>
                <a:gd name="connsiteY946" fmla="*/ 108585 h 138429"/>
                <a:gd name="connsiteX947" fmla="*/ 1471931 w 4940931"/>
                <a:gd name="connsiteY947" fmla="*/ 30480 h 138429"/>
                <a:gd name="connsiteX948" fmla="*/ 1487170 w 4940931"/>
                <a:gd name="connsiteY948" fmla="*/ 30480 h 138429"/>
                <a:gd name="connsiteX949" fmla="*/ 1487170 w 4940931"/>
                <a:gd name="connsiteY949" fmla="*/ 38100 h 138429"/>
                <a:gd name="connsiteX950" fmla="*/ 1490981 w 4940931"/>
                <a:gd name="connsiteY950" fmla="*/ 34290 h 138429"/>
                <a:gd name="connsiteX951" fmla="*/ 1495426 w 4940931"/>
                <a:gd name="connsiteY951" fmla="*/ 31115 h 138429"/>
                <a:gd name="connsiteX952" fmla="*/ 1501140 w 4940931"/>
                <a:gd name="connsiteY952" fmla="*/ 29210 h 138429"/>
                <a:gd name="connsiteX953" fmla="*/ 1250316 w 4940931"/>
                <a:gd name="connsiteY953" fmla="*/ 29210 h 138429"/>
                <a:gd name="connsiteX954" fmla="*/ 1264286 w 4940931"/>
                <a:gd name="connsiteY954" fmla="*/ 31750 h 138429"/>
                <a:gd name="connsiteX955" fmla="*/ 1276350 w 4940931"/>
                <a:gd name="connsiteY955" fmla="*/ 38100 h 138429"/>
                <a:gd name="connsiteX956" fmla="*/ 1278256 w 4940931"/>
                <a:gd name="connsiteY956" fmla="*/ 38100 h 138429"/>
                <a:gd name="connsiteX957" fmla="*/ 1271271 w 4940931"/>
                <a:gd name="connsiteY957" fmla="*/ 50165 h 138429"/>
                <a:gd name="connsiteX958" fmla="*/ 1261746 w 4940931"/>
                <a:gd name="connsiteY958" fmla="*/ 45085 h 138429"/>
                <a:gd name="connsiteX959" fmla="*/ 1250951 w 4940931"/>
                <a:gd name="connsiteY959" fmla="*/ 43180 h 138429"/>
                <a:gd name="connsiteX960" fmla="*/ 1242696 w 4940931"/>
                <a:gd name="connsiteY960" fmla="*/ 45085 h 138429"/>
                <a:gd name="connsiteX961" fmla="*/ 1240156 w 4940931"/>
                <a:gd name="connsiteY961" fmla="*/ 50165 h 138429"/>
                <a:gd name="connsiteX962" fmla="*/ 1240156 w 4940931"/>
                <a:gd name="connsiteY962" fmla="*/ 52705 h 138429"/>
                <a:gd name="connsiteX963" fmla="*/ 1242061 w 4940931"/>
                <a:gd name="connsiteY963" fmla="*/ 55245 h 138429"/>
                <a:gd name="connsiteX964" fmla="*/ 1246506 w 4940931"/>
                <a:gd name="connsiteY964" fmla="*/ 57785 h 138429"/>
                <a:gd name="connsiteX965" fmla="*/ 1253491 w 4940931"/>
                <a:gd name="connsiteY965" fmla="*/ 60960 h 138429"/>
                <a:gd name="connsiteX966" fmla="*/ 1264921 w 4940931"/>
                <a:gd name="connsiteY966" fmla="*/ 66040 h 138429"/>
                <a:gd name="connsiteX967" fmla="*/ 1273176 w 4940931"/>
                <a:gd name="connsiteY967" fmla="*/ 71120 h 138429"/>
                <a:gd name="connsiteX968" fmla="*/ 1278256 w 4940931"/>
                <a:gd name="connsiteY968" fmla="*/ 78105 h 138429"/>
                <a:gd name="connsiteX969" fmla="*/ 1280161 w 4940931"/>
                <a:gd name="connsiteY969" fmla="*/ 87630 h 138429"/>
                <a:gd name="connsiteX970" fmla="*/ 1277621 w 4940931"/>
                <a:gd name="connsiteY970" fmla="*/ 98425 h 138429"/>
                <a:gd name="connsiteX971" fmla="*/ 1271271 w 4940931"/>
                <a:gd name="connsiteY971" fmla="*/ 105410 h 138429"/>
                <a:gd name="connsiteX972" fmla="*/ 1261746 w 4940931"/>
                <a:gd name="connsiteY972" fmla="*/ 109220 h 138429"/>
                <a:gd name="connsiteX973" fmla="*/ 1250951 w 4940931"/>
                <a:gd name="connsiteY973" fmla="*/ 110490 h 138429"/>
                <a:gd name="connsiteX974" fmla="*/ 1235711 w 4940931"/>
                <a:gd name="connsiteY974" fmla="*/ 107950 h 138429"/>
                <a:gd name="connsiteX975" fmla="*/ 1221106 w 4940931"/>
                <a:gd name="connsiteY975" fmla="*/ 100965 h 138429"/>
                <a:gd name="connsiteX976" fmla="*/ 1228091 w 4940931"/>
                <a:gd name="connsiteY976" fmla="*/ 89535 h 138429"/>
                <a:gd name="connsiteX977" fmla="*/ 1239521 w 4940931"/>
                <a:gd name="connsiteY977" fmla="*/ 95250 h 138429"/>
                <a:gd name="connsiteX978" fmla="*/ 1250951 w 4940931"/>
                <a:gd name="connsiteY978" fmla="*/ 97155 h 138429"/>
                <a:gd name="connsiteX979" fmla="*/ 1261746 w 4940931"/>
                <a:gd name="connsiteY979" fmla="*/ 94615 h 138429"/>
                <a:gd name="connsiteX980" fmla="*/ 1264921 w 4940931"/>
                <a:gd name="connsiteY980" fmla="*/ 88265 h 138429"/>
                <a:gd name="connsiteX981" fmla="*/ 1263650 w 4940931"/>
                <a:gd name="connsiteY981" fmla="*/ 84455 h 138429"/>
                <a:gd name="connsiteX982" fmla="*/ 1259841 w 4940931"/>
                <a:gd name="connsiteY982" fmla="*/ 81280 h 138429"/>
                <a:gd name="connsiteX983" fmla="*/ 1254125 w 4940931"/>
                <a:gd name="connsiteY983" fmla="*/ 78105 h 138429"/>
                <a:gd name="connsiteX984" fmla="*/ 1246506 w 4940931"/>
                <a:gd name="connsiteY984" fmla="*/ 74930 h 138429"/>
                <a:gd name="connsiteX985" fmla="*/ 1235711 w 4940931"/>
                <a:gd name="connsiteY985" fmla="*/ 69850 h 138429"/>
                <a:gd name="connsiteX986" fmla="*/ 1228726 w 4940931"/>
                <a:gd name="connsiteY986" fmla="*/ 64770 h 138429"/>
                <a:gd name="connsiteX987" fmla="*/ 1224916 w 4940931"/>
                <a:gd name="connsiteY987" fmla="*/ 58420 h 138429"/>
                <a:gd name="connsiteX988" fmla="*/ 1223646 w 4940931"/>
                <a:gd name="connsiteY988" fmla="*/ 50165 h 138429"/>
                <a:gd name="connsiteX989" fmla="*/ 1225551 w 4940931"/>
                <a:gd name="connsiteY989" fmla="*/ 40640 h 138429"/>
                <a:gd name="connsiteX990" fmla="*/ 1231266 w 4940931"/>
                <a:gd name="connsiteY990" fmla="*/ 34290 h 138429"/>
                <a:gd name="connsiteX991" fmla="*/ 1239521 w 4940931"/>
                <a:gd name="connsiteY991" fmla="*/ 30480 h 138429"/>
                <a:gd name="connsiteX992" fmla="*/ 1250316 w 4940931"/>
                <a:gd name="connsiteY992" fmla="*/ 29210 h 138429"/>
                <a:gd name="connsiteX993" fmla="*/ 1180466 w 4940931"/>
                <a:gd name="connsiteY993" fmla="*/ 29210 h 138429"/>
                <a:gd name="connsiteX994" fmla="*/ 1195071 w 4940931"/>
                <a:gd name="connsiteY994" fmla="*/ 32385 h 138429"/>
                <a:gd name="connsiteX995" fmla="*/ 1205231 w 4940931"/>
                <a:gd name="connsiteY995" fmla="*/ 40640 h 138429"/>
                <a:gd name="connsiteX996" fmla="*/ 1211581 w 4940931"/>
                <a:gd name="connsiteY996" fmla="*/ 53340 h 138429"/>
                <a:gd name="connsiteX997" fmla="*/ 1213486 w 4940931"/>
                <a:gd name="connsiteY997" fmla="*/ 68580 h 138429"/>
                <a:gd name="connsiteX998" fmla="*/ 1212216 w 4940931"/>
                <a:gd name="connsiteY998" fmla="*/ 68580 h 138429"/>
                <a:gd name="connsiteX999" fmla="*/ 1212216 w 4940931"/>
                <a:gd name="connsiteY999" fmla="*/ 72390 h 138429"/>
                <a:gd name="connsiteX1000" fmla="*/ 1212216 w 4940931"/>
                <a:gd name="connsiteY1000" fmla="*/ 75565 h 138429"/>
                <a:gd name="connsiteX1001" fmla="*/ 1160781 w 4940931"/>
                <a:gd name="connsiteY1001" fmla="*/ 75565 h 138429"/>
                <a:gd name="connsiteX1002" fmla="*/ 1163321 w 4940931"/>
                <a:gd name="connsiteY1002" fmla="*/ 85090 h 138429"/>
                <a:gd name="connsiteX1003" fmla="*/ 1167766 w 4940931"/>
                <a:gd name="connsiteY1003" fmla="*/ 91440 h 138429"/>
                <a:gd name="connsiteX1004" fmla="*/ 1173481 w 4940931"/>
                <a:gd name="connsiteY1004" fmla="*/ 95250 h 138429"/>
                <a:gd name="connsiteX1005" fmla="*/ 1180466 w 4940931"/>
                <a:gd name="connsiteY1005" fmla="*/ 96520 h 138429"/>
                <a:gd name="connsiteX1006" fmla="*/ 1185546 w 4940931"/>
                <a:gd name="connsiteY1006" fmla="*/ 96520 h 138429"/>
                <a:gd name="connsiteX1007" fmla="*/ 1189991 w 4940931"/>
                <a:gd name="connsiteY1007" fmla="*/ 95250 h 138429"/>
                <a:gd name="connsiteX1008" fmla="*/ 1193801 w 4940931"/>
                <a:gd name="connsiteY1008" fmla="*/ 93345 h 138429"/>
                <a:gd name="connsiteX1009" fmla="*/ 1198246 w 4940931"/>
                <a:gd name="connsiteY1009" fmla="*/ 90805 h 138429"/>
                <a:gd name="connsiteX1010" fmla="*/ 1207136 w 4940931"/>
                <a:gd name="connsiteY1010" fmla="*/ 100330 h 138429"/>
                <a:gd name="connsiteX1011" fmla="*/ 1201421 w 4940931"/>
                <a:gd name="connsiteY1011" fmla="*/ 104775 h 138429"/>
                <a:gd name="connsiteX1012" fmla="*/ 1195706 w 4940931"/>
                <a:gd name="connsiteY1012" fmla="*/ 107950 h 138429"/>
                <a:gd name="connsiteX1013" fmla="*/ 1188721 w 4940931"/>
                <a:gd name="connsiteY1013" fmla="*/ 109855 h 138429"/>
                <a:gd name="connsiteX1014" fmla="*/ 1179831 w 4940931"/>
                <a:gd name="connsiteY1014" fmla="*/ 110490 h 138429"/>
                <a:gd name="connsiteX1015" fmla="*/ 1170306 w 4940931"/>
                <a:gd name="connsiteY1015" fmla="*/ 109220 h 138429"/>
                <a:gd name="connsiteX1016" fmla="*/ 1162686 w 4940931"/>
                <a:gd name="connsiteY1016" fmla="*/ 105410 h 138429"/>
                <a:gd name="connsiteX1017" fmla="*/ 1156336 w 4940931"/>
                <a:gd name="connsiteY1017" fmla="*/ 100330 h 138429"/>
                <a:gd name="connsiteX1018" fmla="*/ 1151256 w 4940931"/>
                <a:gd name="connsiteY1018" fmla="*/ 92710 h 138429"/>
                <a:gd name="connsiteX1019" fmla="*/ 1147446 w 4940931"/>
                <a:gd name="connsiteY1019" fmla="*/ 82550 h 138429"/>
                <a:gd name="connsiteX1020" fmla="*/ 1146176 w 4940931"/>
                <a:gd name="connsiteY1020" fmla="*/ 69850 h 138429"/>
                <a:gd name="connsiteX1021" fmla="*/ 1148716 w 4940931"/>
                <a:gd name="connsiteY1021" fmla="*/ 52070 h 138429"/>
                <a:gd name="connsiteX1022" fmla="*/ 1155701 w 4940931"/>
                <a:gd name="connsiteY1022" fmla="*/ 39370 h 138429"/>
                <a:gd name="connsiteX1023" fmla="*/ 1166496 w 4940931"/>
                <a:gd name="connsiteY1023" fmla="*/ 31750 h 138429"/>
                <a:gd name="connsiteX1024" fmla="*/ 1180466 w 4940931"/>
                <a:gd name="connsiteY1024" fmla="*/ 29210 h 138429"/>
                <a:gd name="connsiteX1025" fmla="*/ 901065 w 4940931"/>
                <a:gd name="connsiteY1025" fmla="*/ 29210 h 138429"/>
                <a:gd name="connsiteX1026" fmla="*/ 915670 w 4940931"/>
                <a:gd name="connsiteY1026" fmla="*/ 32385 h 138429"/>
                <a:gd name="connsiteX1027" fmla="*/ 925830 w 4940931"/>
                <a:gd name="connsiteY1027" fmla="*/ 40640 h 138429"/>
                <a:gd name="connsiteX1028" fmla="*/ 932180 w 4940931"/>
                <a:gd name="connsiteY1028" fmla="*/ 53340 h 138429"/>
                <a:gd name="connsiteX1029" fmla="*/ 934085 w 4940931"/>
                <a:gd name="connsiteY1029" fmla="*/ 68580 h 138429"/>
                <a:gd name="connsiteX1030" fmla="*/ 932815 w 4940931"/>
                <a:gd name="connsiteY1030" fmla="*/ 68580 h 138429"/>
                <a:gd name="connsiteX1031" fmla="*/ 932815 w 4940931"/>
                <a:gd name="connsiteY1031" fmla="*/ 72390 h 138429"/>
                <a:gd name="connsiteX1032" fmla="*/ 932815 w 4940931"/>
                <a:gd name="connsiteY1032" fmla="*/ 75565 h 138429"/>
                <a:gd name="connsiteX1033" fmla="*/ 881380 w 4940931"/>
                <a:gd name="connsiteY1033" fmla="*/ 75565 h 138429"/>
                <a:gd name="connsiteX1034" fmla="*/ 883920 w 4940931"/>
                <a:gd name="connsiteY1034" fmla="*/ 85090 h 138429"/>
                <a:gd name="connsiteX1035" fmla="*/ 888365 w 4940931"/>
                <a:gd name="connsiteY1035" fmla="*/ 91440 h 138429"/>
                <a:gd name="connsiteX1036" fmla="*/ 894080 w 4940931"/>
                <a:gd name="connsiteY1036" fmla="*/ 95250 h 138429"/>
                <a:gd name="connsiteX1037" fmla="*/ 901065 w 4940931"/>
                <a:gd name="connsiteY1037" fmla="*/ 96520 h 138429"/>
                <a:gd name="connsiteX1038" fmla="*/ 906145 w 4940931"/>
                <a:gd name="connsiteY1038" fmla="*/ 96520 h 138429"/>
                <a:gd name="connsiteX1039" fmla="*/ 910590 w 4940931"/>
                <a:gd name="connsiteY1039" fmla="*/ 95250 h 138429"/>
                <a:gd name="connsiteX1040" fmla="*/ 914400 w 4940931"/>
                <a:gd name="connsiteY1040" fmla="*/ 93345 h 138429"/>
                <a:gd name="connsiteX1041" fmla="*/ 918845 w 4940931"/>
                <a:gd name="connsiteY1041" fmla="*/ 90805 h 138429"/>
                <a:gd name="connsiteX1042" fmla="*/ 927735 w 4940931"/>
                <a:gd name="connsiteY1042" fmla="*/ 100330 h 138429"/>
                <a:gd name="connsiteX1043" fmla="*/ 922020 w 4940931"/>
                <a:gd name="connsiteY1043" fmla="*/ 104775 h 138429"/>
                <a:gd name="connsiteX1044" fmla="*/ 916305 w 4940931"/>
                <a:gd name="connsiteY1044" fmla="*/ 107950 h 138429"/>
                <a:gd name="connsiteX1045" fmla="*/ 909320 w 4940931"/>
                <a:gd name="connsiteY1045" fmla="*/ 109855 h 138429"/>
                <a:gd name="connsiteX1046" fmla="*/ 900430 w 4940931"/>
                <a:gd name="connsiteY1046" fmla="*/ 110490 h 138429"/>
                <a:gd name="connsiteX1047" fmla="*/ 890905 w 4940931"/>
                <a:gd name="connsiteY1047" fmla="*/ 109220 h 138429"/>
                <a:gd name="connsiteX1048" fmla="*/ 883285 w 4940931"/>
                <a:gd name="connsiteY1048" fmla="*/ 105410 h 138429"/>
                <a:gd name="connsiteX1049" fmla="*/ 876935 w 4940931"/>
                <a:gd name="connsiteY1049" fmla="*/ 100330 h 138429"/>
                <a:gd name="connsiteX1050" fmla="*/ 871855 w 4940931"/>
                <a:gd name="connsiteY1050" fmla="*/ 92710 h 138429"/>
                <a:gd name="connsiteX1051" fmla="*/ 868045 w 4940931"/>
                <a:gd name="connsiteY1051" fmla="*/ 82550 h 138429"/>
                <a:gd name="connsiteX1052" fmla="*/ 866775 w 4940931"/>
                <a:gd name="connsiteY1052" fmla="*/ 69850 h 138429"/>
                <a:gd name="connsiteX1053" fmla="*/ 869315 w 4940931"/>
                <a:gd name="connsiteY1053" fmla="*/ 52070 h 138429"/>
                <a:gd name="connsiteX1054" fmla="*/ 876300 w 4940931"/>
                <a:gd name="connsiteY1054" fmla="*/ 39370 h 138429"/>
                <a:gd name="connsiteX1055" fmla="*/ 887095 w 4940931"/>
                <a:gd name="connsiteY1055" fmla="*/ 31750 h 138429"/>
                <a:gd name="connsiteX1056" fmla="*/ 901065 w 4940931"/>
                <a:gd name="connsiteY1056" fmla="*/ 29210 h 138429"/>
                <a:gd name="connsiteX1057" fmla="*/ 668656 w 4940931"/>
                <a:gd name="connsiteY1057" fmla="*/ 29210 h 138429"/>
                <a:gd name="connsiteX1058" fmla="*/ 676275 w 4940931"/>
                <a:gd name="connsiteY1058" fmla="*/ 29845 h 138429"/>
                <a:gd name="connsiteX1059" fmla="*/ 681991 w 4940931"/>
                <a:gd name="connsiteY1059" fmla="*/ 32385 h 138429"/>
                <a:gd name="connsiteX1060" fmla="*/ 678181 w 4940931"/>
                <a:gd name="connsiteY1060" fmla="*/ 46990 h 138429"/>
                <a:gd name="connsiteX1061" fmla="*/ 676910 w 4940931"/>
                <a:gd name="connsiteY1061" fmla="*/ 46990 h 138429"/>
                <a:gd name="connsiteX1062" fmla="*/ 671830 w 4940931"/>
                <a:gd name="connsiteY1062" fmla="*/ 45085 h 138429"/>
                <a:gd name="connsiteX1063" fmla="*/ 665480 w 4940931"/>
                <a:gd name="connsiteY1063" fmla="*/ 44450 h 138429"/>
                <a:gd name="connsiteX1064" fmla="*/ 654050 w 4940931"/>
                <a:gd name="connsiteY1064" fmla="*/ 49530 h 138429"/>
                <a:gd name="connsiteX1065" fmla="*/ 650240 w 4940931"/>
                <a:gd name="connsiteY1065" fmla="*/ 64770 h 138429"/>
                <a:gd name="connsiteX1066" fmla="*/ 650240 w 4940931"/>
                <a:gd name="connsiteY1066" fmla="*/ 109220 h 138429"/>
                <a:gd name="connsiteX1067" fmla="*/ 635000 w 4940931"/>
                <a:gd name="connsiteY1067" fmla="*/ 109220 h 138429"/>
                <a:gd name="connsiteX1068" fmla="*/ 635000 w 4940931"/>
                <a:gd name="connsiteY1068" fmla="*/ 31115 h 138429"/>
                <a:gd name="connsiteX1069" fmla="*/ 650240 w 4940931"/>
                <a:gd name="connsiteY1069" fmla="*/ 31115 h 138429"/>
                <a:gd name="connsiteX1070" fmla="*/ 650240 w 4940931"/>
                <a:gd name="connsiteY1070" fmla="*/ 38735 h 138429"/>
                <a:gd name="connsiteX1071" fmla="*/ 653416 w 4940931"/>
                <a:gd name="connsiteY1071" fmla="*/ 34925 h 138429"/>
                <a:gd name="connsiteX1072" fmla="*/ 657861 w 4940931"/>
                <a:gd name="connsiteY1072" fmla="*/ 31750 h 138429"/>
                <a:gd name="connsiteX1073" fmla="*/ 662940 w 4940931"/>
                <a:gd name="connsiteY1073" fmla="*/ 29845 h 138429"/>
                <a:gd name="connsiteX1074" fmla="*/ 668656 w 4940931"/>
                <a:gd name="connsiteY1074" fmla="*/ 29210 h 138429"/>
                <a:gd name="connsiteX1075" fmla="*/ 586739 w 4940931"/>
                <a:gd name="connsiteY1075" fmla="*/ 29210 h 138429"/>
                <a:gd name="connsiteX1076" fmla="*/ 601344 w 4940931"/>
                <a:gd name="connsiteY1076" fmla="*/ 32385 h 138429"/>
                <a:gd name="connsiteX1077" fmla="*/ 611504 w 4940931"/>
                <a:gd name="connsiteY1077" fmla="*/ 40640 h 138429"/>
                <a:gd name="connsiteX1078" fmla="*/ 617854 w 4940931"/>
                <a:gd name="connsiteY1078" fmla="*/ 53340 h 138429"/>
                <a:gd name="connsiteX1079" fmla="*/ 619759 w 4940931"/>
                <a:gd name="connsiteY1079" fmla="*/ 68580 h 138429"/>
                <a:gd name="connsiteX1080" fmla="*/ 618489 w 4940931"/>
                <a:gd name="connsiteY1080" fmla="*/ 68580 h 138429"/>
                <a:gd name="connsiteX1081" fmla="*/ 618489 w 4940931"/>
                <a:gd name="connsiteY1081" fmla="*/ 72390 h 138429"/>
                <a:gd name="connsiteX1082" fmla="*/ 618489 w 4940931"/>
                <a:gd name="connsiteY1082" fmla="*/ 75565 h 138429"/>
                <a:gd name="connsiteX1083" fmla="*/ 567054 w 4940931"/>
                <a:gd name="connsiteY1083" fmla="*/ 75565 h 138429"/>
                <a:gd name="connsiteX1084" fmla="*/ 569594 w 4940931"/>
                <a:gd name="connsiteY1084" fmla="*/ 85090 h 138429"/>
                <a:gd name="connsiteX1085" fmla="*/ 574039 w 4940931"/>
                <a:gd name="connsiteY1085" fmla="*/ 91440 h 138429"/>
                <a:gd name="connsiteX1086" fmla="*/ 579754 w 4940931"/>
                <a:gd name="connsiteY1086" fmla="*/ 95250 h 138429"/>
                <a:gd name="connsiteX1087" fmla="*/ 586739 w 4940931"/>
                <a:gd name="connsiteY1087" fmla="*/ 96520 h 138429"/>
                <a:gd name="connsiteX1088" fmla="*/ 591819 w 4940931"/>
                <a:gd name="connsiteY1088" fmla="*/ 96520 h 138429"/>
                <a:gd name="connsiteX1089" fmla="*/ 596264 w 4940931"/>
                <a:gd name="connsiteY1089" fmla="*/ 95250 h 138429"/>
                <a:gd name="connsiteX1090" fmla="*/ 600074 w 4940931"/>
                <a:gd name="connsiteY1090" fmla="*/ 93345 h 138429"/>
                <a:gd name="connsiteX1091" fmla="*/ 604519 w 4940931"/>
                <a:gd name="connsiteY1091" fmla="*/ 90805 h 138429"/>
                <a:gd name="connsiteX1092" fmla="*/ 613409 w 4940931"/>
                <a:gd name="connsiteY1092" fmla="*/ 100330 h 138429"/>
                <a:gd name="connsiteX1093" fmla="*/ 607694 w 4940931"/>
                <a:gd name="connsiteY1093" fmla="*/ 104775 h 138429"/>
                <a:gd name="connsiteX1094" fmla="*/ 601979 w 4940931"/>
                <a:gd name="connsiteY1094" fmla="*/ 107950 h 138429"/>
                <a:gd name="connsiteX1095" fmla="*/ 594994 w 4940931"/>
                <a:gd name="connsiteY1095" fmla="*/ 109855 h 138429"/>
                <a:gd name="connsiteX1096" fmla="*/ 586104 w 4940931"/>
                <a:gd name="connsiteY1096" fmla="*/ 110490 h 138429"/>
                <a:gd name="connsiteX1097" fmla="*/ 576579 w 4940931"/>
                <a:gd name="connsiteY1097" fmla="*/ 109220 h 138429"/>
                <a:gd name="connsiteX1098" fmla="*/ 568959 w 4940931"/>
                <a:gd name="connsiteY1098" fmla="*/ 105410 h 138429"/>
                <a:gd name="connsiteX1099" fmla="*/ 562609 w 4940931"/>
                <a:gd name="connsiteY1099" fmla="*/ 100330 h 138429"/>
                <a:gd name="connsiteX1100" fmla="*/ 557529 w 4940931"/>
                <a:gd name="connsiteY1100" fmla="*/ 92710 h 138429"/>
                <a:gd name="connsiteX1101" fmla="*/ 553719 w 4940931"/>
                <a:gd name="connsiteY1101" fmla="*/ 82550 h 138429"/>
                <a:gd name="connsiteX1102" fmla="*/ 552449 w 4940931"/>
                <a:gd name="connsiteY1102" fmla="*/ 69850 h 138429"/>
                <a:gd name="connsiteX1103" fmla="*/ 554989 w 4940931"/>
                <a:gd name="connsiteY1103" fmla="*/ 52070 h 138429"/>
                <a:gd name="connsiteX1104" fmla="*/ 561974 w 4940931"/>
                <a:gd name="connsiteY1104" fmla="*/ 39370 h 138429"/>
                <a:gd name="connsiteX1105" fmla="*/ 572769 w 4940931"/>
                <a:gd name="connsiteY1105" fmla="*/ 31750 h 138429"/>
                <a:gd name="connsiteX1106" fmla="*/ 586739 w 4940931"/>
                <a:gd name="connsiteY1106" fmla="*/ 29210 h 138429"/>
                <a:gd name="connsiteX1107" fmla="*/ 400050 w 4940931"/>
                <a:gd name="connsiteY1107" fmla="*/ 29210 h 138429"/>
                <a:gd name="connsiteX1108" fmla="*/ 414655 w 4940931"/>
                <a:gd name="connsiteY1108" fmla="*/ 32385 h 138429"/>
                <a:gd name="connsiteX1109" fmla="*/ 424815 w 4940931"/>
                <a:gd name="connsiteY1109" fmla="*/ 40640 h 138429"/>
                <a:gd name="connsiteX1110" fmla="*/ 431165 w 4940931"/>
                <a:gd name="connsiteY1110" fmla="*/ 53340 h 138429"/>
                <a:gd name="connsiteX1111" fmla="*/ 433070 w 4940931"/>
                <a:gd name="connsiteY1111" fmla="*/ 68580 h 138429"/>
                <a:gd name="connsiteX1112" fmla="*/ 431800 w 4940931"/>
                <a:gd name="connsiteY1112" fmla="*/ 68580 h 138429"/>
                <a:gd name="connsiteX1113" fmla="*/ 431800 w 4940931"/>
                <a:gd name="connsiteY1113" fmla="*/ 72390 h 138429"/>
                <a:gd name="connsiteX1114" fmla="*/ 431800 w 4940931"/>
                <a:gd name="connsiteY1114" fmla="*/ 75565 h 138429"/>
                <a:gd name="connsiteX1115" fmla="*/ 380365 w 4940931"/>
                <a:gd name="connsiteY1115" fmla="*/ 75565 h 138429"/>
                <a:gd name="connsiteX1116" fmla="*/ 382905 w 4940931"/>
                <a:gd name="connsiteY1116" fmla="*/ 85090 h 138429"/>
                <a:gd name="connsiteX1117" fmla="*/ 387350 w 4940931"/>
                <a:gd name="connsiteY1117" fmla="*/ 91440 h 138429"/>
                <a:gd name="connsiteX1118" fmla="*/ 393065 w 4940931"/>
                <a:gd name="connsiteY1118" fmla="*/ 95250 h 138429"/>
                <a:gd name="connsiteX1119" fmla="*/ 400050 w 4940931"/>
                <a:gd name="connsiteY1119" fmla="*/ 96520 h 138429"/>
                <a:gd name="connsiteX1120" fmla="*/ 405130 w 4940931"/>
                <a:gd name="connsiteY1120" fmla="*/ 96520 h 138429"/>
                <a:gd name="connsiteX1121" fmla="*/ 409575 w 4940931"/>
                <a:gd name="connsiteY1121" fmla="*/ 95250 h 138429"/>
                <a:gd name="connsiteX1122" fmla="*/ 413385 w 4940931"/>
                <a:gd name="connsiteY1122" fmla="*/ 93345 h 138429"/>
                <a:gd name="connsiteX1123" fmla="*/ 417830 w 4940931"/>
                <a:gd name="connsiteY1123" fmla="*/ 90805 h 138429"/>
                <a:gd name="connsiteX1124" fmla="*/ 426720 w 4940931"/>
                <a:gd name="connsiteY1124" fmla="*/ 100330 h 138429"/>
                <a:gd name="connsiteX1125" fmla="*/ 421005 w 4940931"/>
                <a:gd name="connsiteY1125" fmla="*/ 104775 h 138429"/>
                <a:gd name="connsiteX1126" fmla="*/ 415290 w 4940931"/>
                <a:gd name="connsiteY1126" fmla="*/ 107950 h 138429"/>
                <a:gd name="connsiteX1127" fmla="*/ 408305 w 4940931"/>
                <a:gd name="connsiteY1127" fmla="*/ 109855 h 138429"/>
                <a:gd name="connsiteX1128" fmla="*/ 399415 w 4940931"/>
                <a:gd name="connsiteY1128" fmla="*/ 110490 h 138429"/>
                <a:gd name="connsiteX1129" fmla="*/ 389890 w 4940931"/>
                <a:gd name="connsiteY1129" fmla="*/ 109220 h 138429"/>
                <a:gd name="connsiteX1130" fmla="*/ 382270 w 4940931"/>
                <a:gd name="connsiteY1130" fmla="*/ 105410 h 138429"/>
                <a:gd name="connsiteX1131" fmla="*/ 375920 w 4940931"/>
                <a:gd name="connsiteY1131" fmla="*/ 100330 h 138429"/>
                <a:gd name="connsiteX1132" fmla="*/ 370840 w 4940931"/>
                <a:gd name="connsiteY1132" fmla="*/ 92710 h 138429"/>
                <a:gd name="connsiteX1133" fmla="*/ 367030 w 4940931"/>
                <a:gd name="connsiteY1133" fmla="*/ 82550 h 138429"/>
                <a:gd name="connsiteX1134" fmla="*/ 365760 w 4940931"/>
                <a:gd name="connsiteY1134" fmla="*/ 69850 h 138429"/>
                <a:gd name="connsiteX1135" fmla="*/ 368300 w 4940931"/>
                <a:gd name="connsiteY1135" fmla="*/ 52070 h 138429"/>
                <a:gd name="connsiteX1136" fmla="*/ 375285 w 4940931"/>
                <a:gd name="connsiteY1136" fmla="*/ 39370 h 138429"/>
                <a:gd name="connsiteX1137" fmla="*/ 386080 w 4940931"/>
                <a:gd name="connsiteY1137" fmla="*/ 31750 h 138429"/>
                <a:gd name="connsiteX1138" fmla="*/ 400050 w 4940931"/>
                <a:gd name="connsiteY1138" fmla="*/ 29210 h 138429"/>
                <a:gd name="connsiteX1139" fmla="*/ 201930 w 4940931"/>
                <a:gd name="connsiteY1139" fmla="*/ 29210 h 138429"/>
                <a:gd name="connsiteX1140" fmla="*/ 216535 w 4940931"/>
                <a:gd name="connsiteY1140" fmla="*/ 32385 h 138429"/>
                <a:gd name="connsiteX1141" fmla="*/ 226695 w 4940931"/>
                <a:gd name="connsiteY1141" fmla="*/ 40640 h 138429"/>
                <a:gd name="connsiteX1142" fmla="*/ 233045 w 4940931"/>
                <a:gd name="connsiteY1142" fmla="*/ 53340 h 138429"/>
                <a:gd name="connsiteX1143" fmla="*/ 234950 w 4940931"/>
                <a:gd name="connsiteY1143" fmla="*/ 68580 h 138429"/>
                <a:gd name="connsiteX1144" fmla="*/ 233680 w 4940931"/>
                <a:gd name="connsiteY1144" fmla="*/ 68580 h 138429"/>
                <a:gd name="connsiteX1145" fmla="*/ 233680 w 4940931"/>
                <a:gd name="connsiteY1145" fmla="*/ 72390 h 138429"/>
                <a:gd name="connsiteX1146" fmla="*/ 233680 w 4940931"/>
                <a:gd name="connsiteY1146" fmla="*/ 75565 h 138429"/>
                <a:gd name="connsiteX1147" fmla="*/ 182245 w 4940931"/>
                <a:gd name="connsiteY1147" fmla="*/ 75565 h 138429"/>
                <a:gd name="connsiteX1148" fmla="*/ 184785 w 4940931"/>
                <a:gd name="connsiteY1148" fmla="*/ 85090 h 138429"/>
                <a:gd name="connsiteX1149" fmla="*/ 189230 w 4940931"/>
                <a:gd name="connsiteY1149" fmla="*/ 91440 h 138429"/>
                <a:gd name="connsiteX1150" fmla="*/ 194945 w 4940931"/>
                <a:gd name="connsiteY1150" fmla="*/ 95250 h 138429"/>
                <a:gd name="connsiteX1151" fmla="*/ 201930 w 4940931"/>
                <a:gd name="connsiteY1151" fmla="*/ 96520 h 138429"/>
                <a:gd name="connsiteX1152" fmla="*/ 207010 w 4940931"/>
                <a:gd name="connsiteY1152" fmla="*/ 96520 h 138429"/>
                <a:gd name="connsiteX1153" fmla="*/ 211455 w 4940931"/>
                <a:gd name="connsiteY1153" fmla="*/ 95250 h 138429"/>
                <a:gd name="connsiteX1154" fmla="*/ 215265 w 4940931"/>
                <a:gd name="connsiteY1154" fmla="*/ 93345 h 138429"/>
                <a:gd name="connsiteX1155" fmla="*/ 219710 w 4940931"/>
                <a:gd name="connsiteY1155" fmla="*/ 90805 h 138429"/>
                <a:gd name="connsiteX1156" fmla="*/ 228600 w 4940931"/>
                <a:gd name="connsiteY1156" fmla="*/ 100330 h 138429"/>
                <a:gd name="connsiteX1157" fmla="*/ 222885 w 4940931"/>
                <a:gd name="connsiteY1157" fmla="*/ 104775 h 138429"/>
                <a:gd name="connsiteX1158" fmla="*/ 217170 w 4940931"/>
                <a:gd name="connsiteY1158" fmla="*/ 107950 h 138429"/>
                <a:gd name="connsiteX1159" fmla="*/ 210185 w 4940931"/>
                <a:gd name="connsiteY1159" fmla="*/ 109855 h 138429"/>
                <a:gd name="connsiteX1160" fmla="*/ 201295 w 4940931"/>
                <a:gd name="connsiteY1160" fmla="*/ 110490 h 138429"/>
                <a:gd name="connsiteX1161" fmla="*/ 191770 w 4940931"/>
                <a:gd name="connsiteY1161" fmla="*/ 109220 h 138429"/>
                <a:gd name="connsiteX1162" fmla="*/ 184150 w 4940931"/>
                <a:gd name="connsiteY1162" fmla="*/ 105410 h 138429"/>
                <a:gd name="connsiteX1163" fmla="*/ 177800 w 4940931"/>
                <a:gd name="connsiteY1163" fmla="*/ 100330 h 138429"/>
                <a:gd name="connsiteX1164" fmla="*/ 172720 w 4940931"/>
                <a:gd name="connsiteY1164" fmla="*/ 92710 h 138429"/>
                <a:gd name="connsiteX1165" fmla="*/ 168910 w 4940931"/>
                <a:gd name="connsiteY1165" fmla="*/ 82550 h 138429"/>
                <a:gd name="connsiteX1166" fmla="*/ 167640 w 4940931"/>
                <a:gd name="connsiteY1166" fmla="*/ 69850 h 138429"/>
                <a:gd name="connsiteX1167" fmla="*/ 170180 w 4940931"/>
                <a:gd name="connsiteY1167" fmla="*/ 52070 h 138429"/>
                <a:gd name="connsiteX1168" fmla="*/ 177165 w 4940931"/>
                <a:gd name="connsiteY1168" fmla="*/ 39370 h 138429"/>
                <a:gd name="connsiteX1169" fmla="*/ 187960 w 4940931"/>
                <a:gd name="connsiteY1169" fmla="*/ 31750 h 138429"/>
                <a:gd name="connsiteX1170" fmla="*/ 201930 w 4940931"/>
                <a:gd name="connsiteY1170" fmla="*/ 29210 h 138429"/>
                <a:gd name="connsiteX1171" fmla="*/ 4664706 w 4940931"/>
                <a:gd name="connsiteY1171" fmla="*/ 28574 h 138429"/>
                <a:gd name="connsiteX1172" fmla="*/ 4678676 w 4940931"/>
                <a:gd name="connsiteY1172" fmla="*/ 31749 h 138429"/>
                <a:gd name="connsiteX1173" fmla="*/ 4689471 w 4940931"/>
                <a:gd name="connsiteY1173" fmla="*/ 40004 h 138429"/>
                <a:gd name="connsiteX1174" fmla="*/ 4696456 w 4940931"/>
                <a:gd name="connsiteY1174" fmla="*/ 52704 h 138429"/>
                <a:gd name="connsiteX1175" fmla="*/ 4698996 w 4940931"/>
                <a:gd name="connsiteY1175" fmla="*/ 69214 h 138429"/>
                <a:gd name="connsiteX1176" fmla="*/ 4699631 w 4940931"/>
                <a:gd name="connsiteY1176" fmla="*/ 69214 h 138429"/>
                <a:gd name="connsiteX1177" fmla="*/ 4697091 w 4940931"/>
                <a:gd name="connsiteY1177" fmla="*/ 86359 h 138429"/>
                <a:gd name="connsiteX1178" fmla="*/ 4689471 w 4940931"/>
                <a:gd name="connsiteY1178" fmla="*/ 99059 h 138429"/>
                <a:gd name="connsiteX1179" fmla="*/ 4678041 w 4940931"/>
                <a:gd name="connsiteY1179" fmla="*/ 107314 h 138429"/>
                <a:gd name="connsiteX1180" fmla="*/ 4664071 w 4940931"/>
                <a:gd name="connsiteY1180" fmla="*/ 109854 h 138429"/>
                <a:gd name="connsiteX1181" fmla="*/ 4650101 w 4940931"/>
                <a:gd name="connsiteY1181" fmla="*/ 106679 h 138429"/>
                <a:gd name="connsiteX1182" fmla="*/ 4639306 w 4940931"/>
                <a:gd name="connsiteY1182" fmla="*/ 98424 h 138429"/>
                <a:gd name="connsiteX1183" fmla="*/ 4632321 w 4940931"/>
                <a:gd name="connsiteY1183" fmla="*/ 85724 h 138429"/>
                <a:gd name="connsiteX1184" fmla="*/ 4629781 w 4940931"/>
                <a:gd name="connsiteY1184" fmla="*/ 69214 h 138429"/>
                <a:gd name="connsiteX1185" fmla="*/ 4632321 w 4940931"/>
                <a:gd name="connsiteY1185" fmla="*/ 52069 h 138429"/>
                <a:gd name="connsiteX1186" fmla="*/ 4639941 w 4940931"/>
                <a:gd name="connsiteY1186" fmla="*/ 39369 h 138429"/>
                <a:gd name="connsiteX1187" fmla="*/ 4650736 w 4940931"/>
                <a:gd name="connsiteY1187" fmla="*/ 31114 h 138429"/>
                <a:gd name="connsiteX1188" fmla="*/ 4664706 w 4940931"/>
                <a:gd name="connsiteY1188" fmla="*/ 28574 h 138429"/>
                <a:gd name="connsiteX1189" fmla="*/ 4264655 w 4940931"/>
                <a:gd name="connsiteY1189" fmla="*/ 28574 h 138429"/>
                <a:gd name="connsiteX1190" fmla="*/ 4278625 w 4940931"/>
                <a:gd name="connsiteY1190" fmla="*/ 31749 h 138429"/>
                <a:gd name="connsiteX1191" fmla="*/ 4289420 w 4940931"/>
                <a:gd name="connsiteY1191" fmla="*/ 40004 h 138429"/>
                <a:gd name="connsiteX1192" fmla="*/ 4296405 w 4940931"/>
                <a:gd name="connsiteY1192" fmla="*/ 52704 h 138429"/>
                <a:gd name="connsiteX1193" fmla="*/ 4298945 w 4940931"/>
                <a:gd name="connsiteY1193" fmla="*/ 69214 h 138429"/>
                <a:gd name="connsiteX1194" fmla="*/ 4299580 w 4940931"/>
                <a:gd name="connsiteY1194" fmla="*/ 69214 h 138429"/>
                <a:gd name="connsiteX1195" fmla="*/ 4297040 w 4940931"/>
                <a:gd name="connsiteY1195" fmla="*/ 86359 h 138429"/>
                <a:gd name="connsiteX1196" fmla="*/ 4289420 w 4940931"/>
                <a:gd name="connsiteY1196" fmla="*/ 99059 h 138429"/>
                <a:gd name="connsiteX1197" fmla="*/ 4277990 w 4940931"/>
                <a:gd name="connsiteY1197" fmla="*/ 107314 h 138429"/>
                <a:gd name="connsiteX1198" fmla="*/ 4264020 w 4940931"/>
                <a:gd name="connsiteY1198" fmla="*/ 109854 h 138429"/>
                <a:gd name="connsiteX1199" fmla="*/ 4250050 w 4940931"/>
                <a:gd name="connsiteY1199" fmla="*/ 106679 h 138429"/>
                <a:gd name="connsiteX1200" fmla="*/ 4239255 w 4940931"/>
                <a:gd name="connsiteY1200" fmla="*/ 98424 h 138429"/>
                <a:gd name="connsiteX1201" fmla="*/ 4232270 w 4940931"/>
                <a:gd name="connsiteY1201" fmla="*/ 85724 h 138429"/>
                <a:gd name="connsiteX1202" fmla="*/ 4229730 w 4940931"/>
                <a:gd name="connsiteY1202" fmla="*/ 69214 h 138429"/>
                <a:gd name="connsiteX1203" fmla="*/ 4232270 w 4940931"/>
                <a:gd name="connsiteY1203" fmla="*/ 52069 h 138429"/>
                <a:gd name="connsiteX1204" fmla="*/ 4239890 w 4940931"/>
                <a:gd name="connsiteY1204" fmla="*/ 39369 h 138429"/>
                <a:gd name="connsiteX1205" fmla="*/ 4250685 w 4940931"/>
                <a:gd name="connsiteY1205" fmla="*/ 31114 h 138429"/>
                <a:gd name="connsiteX1206" fmla="*/ 4264655 w 4940931"/>
                <a:gd name="connsiteY1206" fmla="*/ 28574 h 138429"/>
                <a:gd name="connsiteX1207" fmla="*/ 1420495 w 4940931"/>
                <a:gd name="connsiteY1207" fmla="*/ 28574 h 138429"/>
                <a:gd name="connsiteX1208" fmla="*/ 1434465 w 4940931"/>
                <a:gd name="connsiteY1208" fmla="*/ 31749 h 138429"/>
                <a:gd name="connsiteX1209" fmla="*/ 1445260 w 4940931"/>
                <a:gd name="connsiteY1209" fmla="*/ 40004 h 138429"/>
                <a:gd name="connsiteX1210" fmla="*/ 1452245 w 4940931"/>
                <a:gd name="connsiteY1210" fmla="*/ 52704 h 138429"/>
                <a:gd name="connsiteX1211" fmla="*/ 1454785 w 4940931"/>
                <a:gd name="connsiteY1211" fmla="*/ 69214 h 138429"/>
                <a:gd name="connsiteX1212" fmla="*/ 1455420 w 4940931"/>
                <a:gd name="connsiteY1212" fmla="*/ 69214 h 138429"/>
                <a:gd name="connsiteX1213" fmla="*/ 1452880 w 4940931"/>
                <a:gd name="connsiteY1213" fmla="*/ 86359 h 138429"/>
                <a:gd name="connsiteX1214" fmla="*/ 1445260 w 4940931"/>
                <a:gd name="connsiteY1214" fmla="*/ 99059 h 138429"/>
                <a:gd name="connsiteX1215" fmla="*/ 1433830 w 4940931"/>
                <a:gd name="connsiteY1215" fmla="*/ 107314 h 138429"/>
                <a:gd name="connsiteX1216" fmla="*/ 1419860 w 4940931"/>
                <a:gd name="connsiteY1216" fmla="*/ 109854 h 138429"/>
                <a:gd name="connsiteX1217" fmla="*/ 1405890 w 4940931"/>
                <a:gd name="connsiteY1217" fmla="*/ 106679 h 138429"/>
                <a:gd name="connsiteX1218" fmla="*/ 1395095 w 4940931"/>
                <a:gd name="connsiteY1218" fmla="*/ 98424 h 138429"/>
                <a:gd name="connsiteX1219" fmla="*/ 1388110 w 4940931"/>
                <a:gd name="connsiteY1219" fmla="*/ 85724 h 138429"/>
                <a:gd name="connsiteX1220" fmla="*/ 1385570 w 4940931"/>
                <a:gd name="connsiteY1220" fmla="*/ 69214 h 138429"/>
                <a:gd name="connsiteX1221" fmla="*/ 1388110 w 4940931"/>
                <a:gd name="connsiteY1221" fmla="*/ 52069 h 138429"/>
                <a:gd name="connsiteX1222" fmla="*/ 1395730 w 4940931"/>
                <a:gd name="connsiteY1222" fmla="*/ 39369 h 138429"/>
                <a:gd name="connsiteX1223" fmla="*/ 1406525 w 4940931"/>
                <a:gd name="connsiteY1223" fmla="*/ 31114 h 138429"/>
                <a:gd name="connsiteX1224" fmla="*/ 1420495 w 4940931"/>
                <a:gd name="connsiteY1224" fmla="*/ 28574 h 138429"/>
                <a:gd name="connsiteX1225" fmla="*/ 3143245 w 4940931"/>
                <a:gd name="connsiteY1225" fmla="*/ 5079 h 138429"/>
                <a:gd name="connsiteX1226" fmla="*/ 3219445 w 4940931"/>
                <a:gd name="connsiteY1226" fmla="*/ 5079 h 138429"/>
                <a:gd name="connsiteX1227" fmla="*/ 3219445 w 4940931"/>
                <a:gd name="connsiteY1227" fmla="*/ 20319 h 138429"/>
                <a:gd name="connsiteX1228" fmla="*/ 3188965 w 4940931"/>
                <a:gd name="connsiteY1228" fmla="*/ 20319 h 138429"/>
                <a:gd name="connsiteX1229" fmla="*/ 3188965 w 4940931"/>
                <a:gd name="connsiteY1229" fmla="*/ 108584 h 138429"/>
                <a:gd name="connsiteX1230" fmla="*/ 3173090 w 4940931"/>
                <a:gd name="connsiteY1230" fmla="*/ 108584 h 138429"/>
                <a:gd name="connsiteX1231" fmla="*/ 3173090 w 4940931"/>
                <a:gd name="connsiteY1231" fmla="*/ 20319 h 138429"/>
                <a:gd name="connsiteX1232" fmla="*/ 3143245 w 4940931"/>
                <a:gd name="connsiteY1232" fmla="*/ 20319 h 138429"/>
                <a:gd name="connsiteX1233" fmla="*/ 1628774 w 4940931"/>
                <a:gd name="connsiteY1233" fmla="*/ 5079 h 138429"/>
                <a:gd name="connsiteX1234" fmla="*/ 1704970 w 4940931"/>
                <a:gd name="connsiteY1234" fmla="*/ 5079 h 138429"/>
                <a:gd name="connsiteX1235" fmla="*/ 1704970 w 4940931"/>
                <a:gd name="connsiteY1235" fmla="*/ 20319 h 138429"/>
                <a:gd name="connsiteX1236" fmla="*/ 1675129 w 4940931"/>
                <a:gd name="connsiteY1236" fmla="*/ 20319 h 138429"/>
                <a:gd name="connsiteX1237" fmla="*/ 1675129 w 4940931"/>
                <a:gd name="connsiteY1237" fmla="*/ 108584 h 138429"/>
                <a:gd name="connsiteX1238" fmla="*/ 1659255 w 4940931"/>
                <a:gd name="connsiteY1238" fmla="*/ 108584 h 138429"/>
                <a:gd name="connsiteX1239" fmla="*/ 1659255 w 4940931"/>
                <a:gd name="connsiteY1239" fmla="*/ 20319 h 138429"/>
                <a:gd name="connsiteX1240" fmla="*/ 1628774 w 4940931"/>
                <a:gd name="connsiteY1240" fmla="*/ 20319 h 138429"/>
                <a:gd name="connsiteX1241" fmla="*/ 0 w 4940931"/>
                <a:gd name="connsiteY1241" fmla="*/ 5079 h 138429"/>
                <a:gd name="connsiteX1242" fmla="*/ 76200 w 4940931"/>
                <a:gd name="connsiteY1242" fmla="*/ 5079 h 138429"/>
                <a:gd name="connsiteX1243" fmla="*/ 76200 w 4940931"/>
                <a:gd name="connsiteY1243" fmla="*/ 20319 h 138429"/>
                <a:gd name="connsiteX1244" fmla="*/ 45720 w 4940931"/>
                <a:gd name="connsiteY1244" fmla="*/ 20319 h 138429"/>
                <a:gd name="connsiteX1245" fmla="*/ 45720 w 4940931"/>
                <a:gd name="connsiteY1245" fmla="*/ 108584 h 138429"/>
                <a:gd name="connsiteX1246" fmla="*/ 29845 w 4940931"/>
                <a:gd name="connsiteY1246" fmla="*/ 108584 h 138429"/>
                <a:gd name="connsiteX1247" fmla="*/ 29845 w 4940931"/>
                <a:gd name="connsiteY1247" fmla="*/ 20319 h 138429"/>
                <a:gd name="connsiteX1248" fmla="*/ 0 w 4940931"/>
                <a:gd name="connsiteY1248" fmla="*/ 20319 h 138429"/>
                <a:gd name="connsiteX1249" fmla="*/ 1362075 w 4940931"/>
                <a:gd name="connsiteY1249" fmla="*/ 1269 h 138429"/>
                <a:gd name="connsiteX1250" fmla="*/ 1365885 w 4940931"/>
                <a:gd name="connsiteY1250" fmla="*/ 1904 h 138429"/>
                <a:gd name="connsiteX1251" fmla="*/ 1369060 w 4940931"/>
                <a:gd name="connsiteY1251" fmla="*/ 3809 h 138429"/>
                <a:gd name="connsiteX1252" fmla="*/ 1370965 w 4940931"/>
                <a:gd name="connsiteY1252" fmla="*/ 6984 h 138429"/>
                <a:gd name="connsiteX1253" fmla="*/ 1371600 w 4940931"/>
                <a:gd name="connsiteY1253" fmla="*/ 10794 h 138429"/>
                <a:gd name="connsiteX1254" fmla="*/ 1370965 w 4940931"/>
                <a:gd name="connsiteY1254" fmla="*/ 14604 h 138429"/>
                <a:gd name="connsiteX1255" fmla="*/ 1369060 w 4940931"/>
                <a:gd name="connsiteY1255" fmla="*/ 17779 h 138429"/>
                <a:gd name="connsiteX1256" fmla="*/ 1365885 w 4940931"/>
                <a:gd name="connsiteY1256" fmla="*/ 19684 h 138429"/>
                <a:gd name="connsiteX1257" fmla="*/ 1362075 w 4940931"/>
                <a:gd name="connsiteY1257" fmla="*/ 20319 h 138429"/>
                <a:gd name="connsiteX1258" fmla="*/ 1358265 w 4940931"/>
                <a:gd name="connsiteY1258" fmla="*/ 19684 h 138429"/>
                <a:gd name="connsiteX1259" fmla="*/ 1355090 w 4940931"/>
                <a:gd name="connsiteY1259" fmla="*/ 17779 h 138429"/>
                <a:gd name="connsiteX1260" fmla="*/ 1353185 w 4940931"/>
                <a:gd name="connsiteY1260" fmla="*/ 14604 h 138429"/>
                <a:gd name="connsiteX1261" fmla="*/ 1352550 w 4940931"/>
                <a:gd name="connsiteY1261" fmla="*/ 10794 h 138429"/>
                <a:gd name="connsiteX1262" fmla="*/ 1353185 w 4940931"/>
                <a:gd name="connsiteY1262" fmla="*/ 6984 h 138429"/>
                <a:gd name="connsiteX1263" fmla="*/ 1355090 w 4940931"/>
                <a:gd name="connsiteY1263" fmla="*/ 3809 h 138429"/>
                <a:gd name="connsiteX1264" fmla="*/ 1358265 w 4940931"/>
                <a:gd name="connsiteY1264" fmla="*/ 1904 h 138429"/>
                <a:gd name="connsiteX1265" fmla="*/ 1362075 w 4940931"/>
                <a:gd name="connsiteY1265" fmla="*/ 1269 h 138429"/>
                <a:gd name="connsiteX1266" fmla="*/ 4789801 w 4940931"/>
                <a:gd name="connsiteY1266" fmla="*/ 634 h 138429"/>
                <a:gd name="connsiteX1267" fmla="*/ 4789801 w 4940931"/>
                <a:gd name="connsiteY1267" fmla="*/ 65404 h 138429"/>
                <a:gd name="connsiteX1268" fmla="*/ 4814566 w 4940931"/>
                <a:gd name="connsiteY1268" fmla="*/ 31114 h 138429"/>
                <a:gd name="connsiteX1269" fmla="*/ 4831711 w 4940931"/>
                <a:gd name="connsiteY1269" fmla="*/ 31114 h 138429"/>
                <a:gd name="connsiteX1270" fmla="*/ 4812026 w 4940931"/>
                <a:gd name="connsiteY1270" fmla="*/ 57149 h 138429"/>
                <a:gd name="connsiteX1271" fmla="*/ 4835521 w 4940931"/>
                <a:gd name="connsiteY1271" fmla="*/ 108584 h 138429"/>
                <a:gd name="connsiteX1272" fmla="*/ 4819011 w 4940931"/>
                <a:gd name="connsiteY1272" fmla="*/ 108584 h 138429"/>
                <a:gd name="connsiteX1273" fmla="*/ 4801866 w 4940931"/>
                <a:gd name="connsiteY1273" fmla="*/ 69849 h 138429"/>
                <a:gd name="connsiteX1274" fmla="*/ 4789801 w 4940931"/>
                <a:gd name="connsiteY1274" fmla="*/ 85724 h 138429"/>
                <a:gd name="connsiteX1275" fmla="*/ 4789801 w 4940931"/>
                <a:gd name="connsiteY1275" fmla="*/ 108584 h 138429"/>
                <a:gd name="connsiteX1276" fmla="*/ 4774561 w 4940931"/>
                <a:gd name="connsiteY1276" fmla="*/ 108584 h 138429"/>
                <a:gd name="connsiteX1277" fmla="*/ 4774561 w 4940931"/>
                <a:gd name="connsiteY1277" fmla="*/ 8889 h 138429"/>
                <a:gd name="connsiteX1278" fmla="*/ 4472301 w 4940931"/>
                <a:gd name="connsiteY1278" fmla="*/ 634 h 138429"/>
                <a:gd name="connsiteX1279" fmla="*/ 4472301 w 4940931"/>
                <a:gd name="connsiteY1279" fmla="*/ 109219 h 138429"/>
                <a:gd name="connsiteX1280" fmla="*/ 4457061 w 4940931"/>
                <a:gd name="connsiteY1280" fmla="*/ 109219 h 138429"/>
                <a:gd name="connsiteX1281" fmla="*/ 4457696 w 4940931"/>
                <a:gd name="connsiteY1281" fmla="*/ 108584 h 138429"/>
                <a:gd name="connsiteX1282" fmla="*/ 4457696 w 4940931"/>
                <a:gd name="connsiteY1282" fmla="*/ 100964 h 138429"/>
                <a:gd name="connsiteX1283" fmla="*/ 4453251 w 4940931"/>
                <a:gd name="connsiteY1283" fmla="*/ 104774 h 138429"/>
                <a:gd name="connsiteX1284" fmla="*/ 4448171 w 4940931"/>
                <a:gd name="connsiteY1284" fmla="*/ 107949 h 138429"/>
                <a:gd name="connsiteX1285" fmla="*/ 4443091 w 4940931"/>
                <a:gd name="connsiteY1285" fmla="*/ 109854 h 138429"/>
                <a:gd name="connsiteX1286" fmla="*/ 4437376 w 4940931"/>
                <a:gd name="connsiteY1286" fmla="*/ 109854 h 138429"/>
                <a:gd name="connsiteX1287" fmla="*/ 4425946 w 4940931"/>
                <a:gd name="connsiteY1287" fmla="*/ 107314 h 138429"/>
                <a:gd name="connsiteX1288" fmla="*/ 4416421 w 4940931"/>
                <a:gd name="connsiteY1288" fmla="*/ 99694 h 138429"/>
                <a:gd name="connsiteX1289" fmla="*/ 4410071 w 4940931"/>
                <a:gd name="connsiteY1289" fmla="*/ 86994 h 138429"/>
                <a:gd name="connsiteX1290" fmla="*/ 4407531 w 4940931"/>
                <a:gd name="connsiteY1290" fmla="*/ 67944 h 138429"/>
                <a:gd name="connsiteX1291" fmla="*/ 4410071 w 4940931"/>
                <a:gd name="connsiteY1291" fmla="*/ 50799 h 138429"/>
                <a:gd name="connsiteX1292" fmla="*/ 4417056 w 4940931"/>
                <a:gd name="connsiteY1292" fmla="*/ 38734 h 138429"/>
                <a:gd name="connsiteX1293" fmla="*/ 4426581 w 4940931"/>
                <a:gd name="connsiteY1293" fmla="*/ 31749 h 138429"/>
                <a:gd name="connsiteX1294" fmla="*/ 4438011 w 4940931"/>
                <a:gd name="connsiteY1294" fmla="*/ 29209 h 138429"/>
                <a:gd name="connsiteX1295" fmla="*/ 4443726 w 4940931"/>
                <a:gd name="connsiteY1295" fmla="*/ 29844 h 138429"/>
                <a:gd name="connsiteX1296" fmla="*/ 4448806 w 4940931"/>
                <a:gd name="connsiteY1296" fmla="*/ 31749 h 138429"/>
                <a:gd name="connsiteX1297" fmla="*/ 4453251 w 4940931"/>
                <a:gd name="connsiteY1297" fmla="*/ 34924 h 138429"/>
                <a:gd name="connsiteX1298" fmla="*/ 4457061 w 4940931"/>
                <a:gd name="connsiteY1298" fmla="*/ 38099 h 138429"/>
                <a:gd name="connsiteX1299" fmla="*/ 4457061 w 4940931"/>
                <a:gd name="connsiteY1299" fmla="*/ 8254 h 138429"/>
                <a:gd name="connsiteX1300" fmla="*/ 4390385 w 4940931"/>
                <a:gd name="connsiteY1300" fmla="*/ 634 h 138429"/>
                <a:gd name="connsiteX1301" fmla="*/ 4390385 w 4940931"/>
                <a:gd name="connsiteY1301" fmla="*/ 108584 h 138429"/>
                <a:gd name="connsiteX1302" fmla="*/ 4375145 w 4940931"/>
                <a:gd name="connsiteY1302" fmla="*/ 108584 h 138429"/>
                <a:gd name="connsiteX1303" fmla="*/ 4375145 w 4940931"/>
                <a:gd name="connsiteY1303" fmla="*/ 8889 h 138429"/>
                <a:gd name="connsiteX1304" fmla="*/ 3946521 w 4940931"/>
                <a:gd name="connsiteY1304" fmla="*/ 634 h 138429"/>
                <a:gd name="connsiteX1305" fmla="*/ 3946521 w 4940931"/>
                <a:gd name="connsiteY1305" fmla="*/ 38099 h 138429"/>
                <a:gd name="connsiteX1306" fmla="*/ 3950331 w 4940931"/>
                <a:gd name="connsiteY1306" fmla="*/ 34289 h 138429"/>
                <a:gd name="connsiteX1307" fmla="*/ 3954776 w 4940931"/>
                <a:gd name="connsiteY1307" fmla="*/ 31114 h 138429"/>
                <a:gd name="connsiteX1308" fmla="*/ 3960491 w 4940931"/>
                <a:gd name="connsiteY1308" fmla="*/ 29209 h 138429"/>
                <a:gd name="connsiteX1309" fmla="*/ 3966206 w 4940931"/>
                <a:gd name="connsiteY1309" fmla="*/ 29209 h 138429"/>
                <a:gd name="connsiteX1310" fmla="*/ 3978271 w 4940931"/>
                <a:gd name="connsiteY1310" fmla="*/ 31749 h 138429"/>
                <a:gd name="connsiteX1311" fmla="*/ 3987161 w 4940931"/>
                <a:gd name="connsiteY1311" fmla="*/ 38099 h 138429"/>
                <a:gd name="connsiteX1312" fmla="*/ 3992241 w 4940931"/>
                <a:gd name="connsiteY1312" fmla="*/ 49529 h 138429"/>
                <a:gd name="connsiteX1313" fmla="*/ 3994146 w 4940931"/>
                <a:gd name="connsiteY1313" fmla="*/ 64134 h 138429"/>
                <a:gd name="connsiteX1314" fmla="*/ 3994146 w 4940931"/>
                <a:gd name="connsiteY1314" fmla="*/ 108584 h 138429"/>
                <a:gd name="connsiteX1315" fmla="*/ 3978906 w 4940931"/>
                <a:gd name="connsiteY1315" fmla="*/ 108584 h 138429"/>
                <a:gd name="connsiteX1316" fmla="*/ 3978271 w 4940931"/>
                <a:gd name="connsiteY1316" fmla="*/ 108584 h 138429"/>
                <a:gd name="connsiteX1317" fmla="*/ 3978271 w 4940931"/>
                <a:gd name="connsiteY1317" fmla="*/ 64769 h 138429"/>
                <a:gd name="connsiteX1318" fmla="*/ 3974461 w 4940931"/>
                <a:gd name="connsiteY1318" fmla="*/ 48894 h 138429"/>
                <a:gd name="connsiteX1319" fmla="*/ 3962396 w 4940931"/>
                <a:gd name="connsiteY1319" fmla="*/ 43814 h 138429"/>
                <a:gd name="connsiteX1320" fmla="*/ 3956046 w 4940931"/>
                <a:gd name="connsiteY1320" fmla="*/ 45084 h 138429"/>
                <a:gd name="connsiteX1321" fmla="*/ 3950966 w 4940931"/>
                <a:gd name="connsiteY1321" fmla="*/ 48894 h 138429"/>
                <a:gd name="connsiteX1322" fmla="*/ 3947791 w 4940931"/>
                <a:gd name="connsiteY1322" fmla="*/ 55244 h 138429"/>
                <a:gd name="connsiteX1323" fmla="*/ 3946521 w 4940931"/>
                <a:gd name="connsiteY1323" fmla="*/ 63499 h 138429"/>
                <a:gd name="connsiteX1324" fmla="*/ 3946521 w 4940931"/>
                <a:gd name="connsiteY1324" fmla="*/ 109219 h 138429"/>
                <a:gd name="connsiteX1325" fmla="*/ 3931281 w 4940931"/>
                <a:gd name="connsiteY1325" fmla="*/ 109219 h 138429"/>
                <a:gd name="connsiteX1326" fmla="*/ 3931281 w 4940931"/>
                <a:gd name="connsiteY1326" fmla="*/ 8889 h 138429"/>
                <a:gd name="connsiteX1327" fmla="*/ 3248021 w 4940931"/>
                <a:gd name="connsiteY1327" fmla="*/ 634 h 138429"/>
                <a:gd name="connsiteX1328" fmla="*/ 3248021 w 4940931"/>
                <a:gd name="connsiteY1328" fmla="*/ 38099 h 138429"/>
                <a:gd name="connsiteX1329" fmla="*/ 3251831 w 4940931"/>
                <a:gd name="connsiteY1329" fmla="*/ 34289 h 138429"/>
                <a:gd name="connsiteX1330" fmla="*/ 3256276 w 4940931"/>
                <a:gd name="connsiteY1330" fmla="*/ 31114 h 138429"/>
                <a:gd name="connsiteX1331" fmla="*/ 3261991 w 4940931"/>
                <a:gd name="connsiteY1331" fmla="*/ 29209 h 138429"/>
                <a:gd name="connsiteX1332" fmla="*/ 3267706 w 4940931"/>
                <a:gd name="connsiteY1332" fmla="*/ 29209 h 138429"/>
                <a:gd name="connsiteX1333" fmla="*/ 3279771 w 4940931"/>
                <a:gd name="connsiteY1333" fmla="*/ 31749 h 138429"/>
                <a:gd name="connsiteX1334" fmla="*/ 3288661 w 4940931"/>
                <a:gd name="connsiteY1334" fmla="*/ 38099 h 138429"/>
                <a:gd name="connsiteX1335" fmla="*/ 3293741 w 4940931"/>
                <a:gd name="connsiteY1335" fmla="*/ 49529 h 138429"/>
                <a:gd name="connsiteX1336" fmla="*/ 3295646 w 4940931"/>
                <a:gd name="connsiteY1336" fmla="*/ 64134 h 138429"/>
                <a:gd name="connsiteX1337" fmla="*/ 3295646 w 4940931"/>
                <a:gd name="connsiteY1337" fmla="*/ 108584 h 138429"/>
                <a:gd name="connsiteX1338" fmla="*/ 3280406 w 4940931"/>
                <a:gd name="connsiteY1338" fmla="*/ 108584 h 138429"/>
                <a:gd name="connsiteX1339" fmla="*/ 3279771 w 4940931"/>
                <a:gd name="connsiteY1339" fmla="*/ 108584 h 138429"/>
                <a:gd name="connsiteX1340" fmla="*/ 3279771 w 4940931"/>
                <a:gd name="connsiteY1340" fmla="*/ 64769 h 138429"/>
                <a:gd name="connsiteX1341" fmla="*/ 3275961 w 4940931"/>
                <a:gd name="connsiteY1341" fmla="*/ 48894 h 138429"/>
                <a:gd name="connsiteX1342" fmla="*/ 3263896 w 4940931"/>
                <a:gd name="connsiteY1342" fmla="*/ 43814 h 138429"/>
                <a:gd name="connsiteX1343" fmla="*/ 3257546 w 4940931"/>
                <a:gd name="connsiteY1343" fmla="*/ 45084 h 138429"/>
                <a:gd name="connsiteX1344" fmla="*/ 3252466 w 4940931"/>
                <a:gd name="connsiteY1344" fmla="*/ 48894 h 138429"/>
                <a:gd name="connsiteX1345" fmla="*/ 3249291 w 4940931"/>
                <a:gd name="connsiteY1345" fmla="*/ 55244 h 138429"/>
                <a:gd name="connsiteX1346" fmla="*/ 3248021 w 4940931"/>
                <a:gd name="connsiteY1346" fmla="*/ 63499 h 138429"/>
                <a:gd name="connsiteX1347" fmla="*/ 3248021 w 4940931"/>
                <a:gd name="connsiteY1347" fmla="*/ 109219 h 138429"/>
                <a:gd name="connsiteX1348" fmla="*/ 3232781 w 4940931"/>
                <a:gd name="connsiteY1348" fmla="*/ 109219 h 138429"/>
                <a:gd name="connsiteX1349" fmla="*/ 3232781 w 4940931"/>
                <a:gd name="connsiteY1349" fmla="*/ 8889 h 138429"/>
                <a:gd name="connsiteX1350" fmla="*/ 2432681 w 4940931"/>
                <a:gd name="connsiteY1350" fmla="*/ 634 h 138429"/>
                <a:gd name="connsiteX1351" fmla="*/ 2432681 w 4940931"/>
                <a:gd name="connsiteY1351" fmla="*/ 38099 h 138429"/>
                <a:gd name="connsiteX1352" fmla="*/ 2436491 w 4940931"/>
                <a:gd name="connsiteY1352" fmla="*/ 34289 h 138429"/>
                <a:gd name="connsiteX1353" fmla="*/ 2440936 w 4940931"/>
                <a:gd name="connsiteY1353" fmla="*/ 31114 h 138429"/>
                <a:gd name="connsiteX1354" fmla="*/ 2446651 w 4940931"/>
                <a:gd name="connsiteY1354" fmla="*/ 29209 h 138429"/>
                <a:gd name="connsiteX1355" fmla="*/ 2452366 w 4940931"/>
                <a:gd name="connsiteY1355" fmla="*/ 29209 h 138429"/>
                <a:gd name="connsiteX1356" fmla="*/ 2464431 w 4940931"/>
                <a:gd name="connsiteY1356" fmla="*/ 31749 h 138429"/>
                <a:gd name="connsiteX1357" fmla="*/ 2473321 w 4940931"/>
                <a:gd name="connsiteY1357" fmla="*/ 38099 h 138429"/>
                <a:gd name="connsiteX1358" fmla="*/ 2478401 w 4940931"/>
                <a:gd name="connsiteY1358" fmla="*/ 49529 h 138429"/>
                <a:gd name="connsiteX1359" fmla="*/ 2480306 w 4940931"/>
                <a:gd name="connsiteY1359" fmla="*/ 64134 h 138429"/>
                <a:gd name="connsiteX1360" fmla="*/ 2480306 w 4940931"/>
                <a:gd name="connsiteY1360" fmla="*/ 108584 h 138429"/>
                <a:gd name="connsiteX1361" fmla="*/ 2465066 w 4940931"/>
                <a:gd name="connsiteY1361" fmla="*/ 108584 h 138429"/>
                <a:gd name="connsiteX1362" fmla="*/ 2464431 w 4940931"/>
                <a:gd name="connsiteY1362" fmla="*/ 108584 h 138429"/>
                <a:gd name="connsiteX1363" fmla="*/ 2464431 w 4940931"/>
                <a:gd name="connsiteY1363" fmla="*/ 64769 h 138429"/>
                <a:gd name="connsiteX1364" fmla="*/ 2460621 w 4940931"/>
                <a:gd name="connsiteY1364" fmla="*/ 48894 h 138429"/>
                <a:gd name="connsiteX1365" fmla="*/ 2448556 w 4940931"/>
                <a:gd name="connsiteY1365" fmla="*/ 43814 h 138429"/>
                <a:gd name="connsiteX1366" fmla="*/ 2442206 w 4940931"/>
                <a:gd name="connsiteY1366" fmla="*/ 45084 h 138429"/>
                <a:gd name="connsiteX1367" fmla="*/ 2437126 w 4940931"/>
                <a:gd name="connsiteY1367" fmla="*/ 48894 h 138429"/>
                <a:gd name="connsiteX1368" fmla="*/ 2433951 w 4940931"/>
                <a:gd name="connsiteY1368" fmla="*/ 55244 h 138429"/>
                <a:gd name="connsiteX1369" fmla="*/ 2432681 w 4940931"/>
                <a:gd name="connsiteY1369" fmla="*/ 63499 h 138429"/>
                <a:gd name="connsiteX1370" fmla="*/ 2432681 w 4940931"/>
                <a:gd name="connsiteY1370" fmla="*/ 109219 h 138429"/>
                <a:gd name="connsiteX1371" fmla="*/ 2417441 w 4940931"/>
                <a:gd name="connsiteY1371" fmla="*/ 109219 h 138429"/>
                <a:gd name="connsiteX1372" fmla="*/ 2417441 w 4940931"/>
                <a:gd name="connsiteY1372" fmla="*/ 8889 h 138429"/>
                <a:gd name="connsiteX1373" fmla="*/ 1734181 w 4940931"/>
                <a:gd name="connsiteY1373" fmla="*/ 634 h 138429"/>
                <a:gd name="connsiteX1374" fmla="*/ 1734181 w 4940931"/>
                <a:gd name="connsiteY1374" fmla="*/ 38099 h 138429"/>
                <a:gd name="connsiteX1375" fmla="*/ 1737991 w 4940931"/>
                <a:gd name="connsiteY1375" fmla="*/ 34289 h 138429"/>
                <a:gd name="connsiteX1376" fmla="*/ 1742436 w 4940931"/>
                <a:gd name="connsiteY1376" fmla="*/ 31114 h 138429"/>
                <a:gd name="connsiteX1377" fmla="*/ 1748151 w 4940931"/>
                <a:gd name="connsiteY1377" fmla="*/ 29209 h 138429"/>
                <a:gd name="connsiteX1378" fmla="*/ 1753866 w 4940931"/>
                <a:gd name="connsiteY1378" fmla="*/ 29209 h 138429"/>
                <a:gd name="connsiteX1379" fmla="*/ 1765931 w 4940931"/>
                <a:gd name="connsiteY1379" fmla="*/ 31749 h 138429"/>
                <a:gd name="connsiteX1380" fmla="*/ 1774821 w 4940931"/>
                <a:gd name="connsiteY1380" fmla="*/ 38099 h 138429"/>
                <a:gd name="connsiteX1381" fmla="*/ 1779901 w 4940931"/>
                <a:gd name="connsiteY1381" fmla="*/ 49529 h 138429"/>
                <a:gd name="connsiteX1382" fmla="*/ 1781806 w 4940931"/>
                <a:gd name="connsiteY1382" fmla="*/ 64134 h 138429"/>
                <a:gd name="connsiteX1383" fmla="*/ 1781806 w 4940931"/>
                <a:gd name="connsiteY1383" fmla="*/ 108584 h 138429"/>
                <a:gd name="connsiteX1384" fmla="*/ 1766566 w 4940931"/>
                <a:gd name="connsiteY1384" fmla="*/ 108584 h 138429"/>
                <a:gd name="connsiteX1385" fmla="*/ 1765931 w 4940931"/>
                <a:gd name="connsiteY1385" fmla="*/ 108584 h 138429"/>
                <a:gd name="connsiteX1386" fmla="*/ 1765931 w 4940931"/>
                <a:gd name="connsiteY1386" fmla="*/ 64769 h 138429"/>
                <a:gd name="connsiteX1387" fmla="*/ 1762121 w 4940931"/>
                <a:gd name="connsiteY1387" fmla="*/ 48894 h 138429"/>
                <a:gd name="connsiteX1388" fmla="*/ 1750056 w 4940931"/>
                <a:gd name="connsiteY1388" fmla="*/ 43814 h 138429"/>
                <a:gd name="connsiteX1389" fmla="*/ 1743706 w 4940931"/>
                <a:gd name="connsiteY1389" fmla="*/ 45084 h 138429"/>
                <a:gd name="connsiteX1390" fmla="*/ 1738626 w 4940931"/>
                <a:gd name="connsiteY1390" fmla="*/ 48894 h 138429"/>
                <a:gd name="connsiteX1391" fmla="*/ 1735451 w 4940931"/>
                <a:gd name="connsiteY1391" fmla="*/ 55244 h 138429"/>
                <a:gd name="connsiteX1392" fmla="*/ 1734181 w 4940931"/>
                <a:gd name="connsiteY1392" fmla="*/ 63499 h 138429"/>
                <a:gd name="connsiteX1393" fmla="*/ 1734181 w 4940931"/>
                <a:gd name="connsiteY1393" fmla="*/ 109219 h 138429"/>
                <a:gd name="connsiteX1394" fmla="*/ 1718941 w 4940931"/>
                <a:gd name="connsiteY1394" fmla="*/ 109219 h 138429"/>
                <a:gd name="connsiteX1395" fmla="*/ 1718941 w 4940931"/>
                <a:gd name="connsiteY1395" fmla="*/ 8889 h 138429"/>
                <a:gd name="connsiteX1396" fmla="*/ 803275 w 4940931"/>
                <a:gd name="connsiteY1396" fmla="*/ 634 h 138429"/>
                <a:gd name="connsiteX1397" fmla="*/ 803275 w 4940931"/>
                <a:gd name="connsiteY1397" fmla="*/ 38099 h 138429"/>
                <a:gd name="connsiteX1398" fmla="*/ 807085 w 4940931"/>
                <a:gd name="connsiteY1398" fmla="*/ 34289 h 138429"/>
                <a:gd name="connsiteX1399" fmla="*/ 811530 w 4940931"/>
                <a:gd name="connsiteY1399" fmla="*/ 31114 h 138429"/>
                <a:gd name="connsiteX1400" fmla="*/ 817245 w 4940931"/>
                <a:gd name="connsiteY1400" fmla="*/ 29209 h 138429"/>
                <a:gd name="connsiteX1401" fmla="*/ 822960 w 4940931"/>
                <a:gd name="connsiteY1401" fmla="*/ 29209 h 138429"/>
                <a:gd name="connsiteX1402" fmla="*/ 835025 w 4940931"/>
                <a:gd name="connsiteY1402" fmla="*/ 31749 h 138429"/>
                <a:gd name="connsiteX1403" fmla="*/ 843915 w 4940931"/>
                <a:gd name="connsiteY1403" fmla="*/ 38099 h 138429"/>
                <a:gd name="connsiteX1404" fmla="*/ 848995 w 4940931"/>
                <a:gd name="connsiteY1404" fmla="*/ 49529 h 138429"/>
                <a:gd name="connsiteX1405" fmla="*/ 850900 w 4940931"/>
                <a:gd name="connsiteY1405" fmla="*/ 64134 h 138429"/>
                <a:gd name="connsiteX1406" fmla="*/ 850900 w 4940931"/>
                <a:gd name="connsiteY1406" fmla="*/ 108584 h 138429"/>
                <a:gd name="connsiteX1407" fmla="*/ 835660 w 4940931"/>
                <a:gd name="connsiteY1407" fmla="*/ 108584 h 138429"/>
                <a:gd name="connsiteX1408" fmla="*/ 835025 w 4940931"/>
                <a:gd name="connsiteY1408" fmla="*/ 108584 h 138429"/>
                <a:gd name="connsiteX1409" fmla="*/ 835025 w 4940931"/>
                <a:gd name="connsiteY1409" fmla="*/ 64769 h 138429"/>
                <a:gd name="connsiteX1410" fmla="*/ 831215 w 4940931"/>
                <a:gd name="connsiteY1410" fmla="*/ 48894 h 138429"/>
                <a:gd name="connsiteX1411" fmla="*/ 819150 w 4940931"/>
                <a:gd name="connsiteY1411" fmla="*/ 43814 h 138429"/>
                <a:gd name="connsiteX1412" fmla="*/ 812800 w 4940931"/>
                <a:gd name="connsiteY1412" fmla="*/ 45084 h 138429"/>
                <a:gd name="connsiteX1413" fmla="*/ 807720 w 4940931"/>
                <a:gd name="connsiteY1413" fmla="*/ 48894 h 138429"/>
                <a:gd name="connsiteX1414" fmla="*/ 804545 w 4940931"/>
                <a:gd name="connsiteY1414" fmla="*/ 55244 h 138429"/>
                <a:gd name="connsiteX1415" fmla="*/ 803275 w 4940931"/>
                <a:gd name="connsiteY1415" fmla="*/ 63499 h 138429"/>
                <a:gd name="connsiteX1416" fmla="*/ 803275 w 4940931"/>
                <a:gd name="connsiteY1416" fmla="*/ 109219 h 138429"/>
                <a:gd name="connsiteX1417" fmla="*/ 788035 w 4940931"/>
                <a:gd name="connsiteY1417" fmla="*/ 109219 h 138429"/>
                <a:gd name="connsiteX1418" fmla="*/ 788035 w 4940931"/>
                <a:gd name="connsiteY1418" fmla="*/ 8889 h 138429"/>
                <a:gd name="connsiteX1419" fmla="*/ 104774 w 4940931"/>
                <a:gd name="connsiteY1419" fmla="*/ 634 h 138429"/>
                <a:gd name="connsiteX1420" fmla="*/ 104774 w 4940931"/>
                <a:gd name="connsiteY1420" fmla="*/ 38099 h 138429"/>
                <a:gd name="connsiteX1421" fmla="*/ 108584 w 4940931"/>
                <a:gd name="connsiteY1421" fmla="*/ 34289 h 138429"/>
                <a:gd name="connsiteX1422" fmla="*/ 113029 w 4940931"/>
                <a:gd name="connsiteY1422" fmla="*/ 31114 h 138429"/>
                <a:gd name="connsiteX1423" fmla="*/ 118744 w 4940931"/>
                <a:gd name="connsiteY1423" fmla="*/ 29209 h 138429"/>
                <a:gd name="connsiteX1424" fmla="*/ 124459 w 4940931"/>
                <a:gd name="connsiteY1424" fmla="*/ 29209 h 138429"/>
                <a:gd name="connsiteX1425" fmla="*/ 136524 w 4940931"/>
                <a:gd name="connsiteY1425" fmla="*/ 31749 h 138429"/>
                <a:gd name="connsiteX1426" fmla="*/ 145414 w 4940931"/>
                <a:gd name="connsiteY1426" fmla="*/ 38099 h 138429"/>
                <a:gd name="connsiteX1427" fmla="*/ 150494 w 4940931"/>
                <a:gd name="connsiteY1427" fmla="*/ 49529 h 138429"/>
                <a:gd name="connsiteX1428" fmla="*/ 152399 w 4940931"/>
                <a:gd name="connsiteY1428" fmla="*/ 64134 h 138429"/>
                <a:gd name="connsiteX1429" fmla="*/ 152399 w 4940931"/>
                <a:gd name="connsiteY1429" fmla="*/ 108584 h 138429"/>
                <a:gd name="connsiteX1430" fmla="*/ 137159 w 4940931"/>
                <a:gd name="connsiteY1430" fmla="*/ 108584 h 138429"/>
                <a:gd name="connsiteX1431" fmla="*/ 136524 w 4940931"/>
                <a:gd name="connsiteY1431" fmla="*/ 108584 h 138429"/>
                <a:gd name="connsiteX1432" fmla="*/ 136524 w 4940931"/>
                <a:gd name="connsiteY1432" fmla="*/ 64769 h 138429"/>
                <a:gd name="connsiteX1433" fmla="*/ 132714 w 4940931"/>
                <a:gd name="connsiteY1433" fmla="*/ 48894 h 138429"/>
                <a:gd name="connsiteX1434" fmla="*/ 120649 w 4940931"/>
                <a:gd name="connsiteY1434" fmla="*/ 43814 h 138429"/>
                <a:gd name="connsiteX1435" fmla="*/ 114299 w 4940931"/>
                <a:gd name="connsiteY1435" fmla="*/ 45084 h 138429"/>
                <a:gd name="connsiteX1436" fmla="*/ 109219 w 4940931"/>
                <a:gd name="connsiteY1436" fmla="*/ 48894 h 138429"/>
                <a:gd name="connsiteX1437" fmla="*/ 106044 w 4940931"/>
                <a:gd name="connsiteY1437" fmla="*/ 55244 h 138429"/>
                <a:gd name="connsiteX1438" fmla="*/ 104774 w 4940931"/>
                <a:gd name="connsiteY1438" fmla="*/ 63499 h 138429"/>
                <a:gd name="connsiteX1439" fmla="*/ 104774 w 4940931"/>
                <a:gd name="connsiteY1439" fmla="*/ 109219 h 138429"/>
                <a:gd name="connsiteX1440" fmla="*/ 89534 w 4940931"/>
                <a:gd name="connsiteY1440" fmla="*/ 109219 h 138429"/>
                <a:gd name="connsiteX1441" fmla="*/ 89534 w 4940931"/>
                <a:gd name="connsiteY1441" fmla="*/ 8889 h 138429"/>
                <a:gd name="connsiteX1442" fmla="*/ 3894450 w 4940931"/>
                <a:gd name="connsiteY1442" fmla="*/ 0 h 138429"/>
                <a:gd name="connsiteX1443" fmla="*/ 3894450 w 4940931"/>
                <a:gd name="connsiteY1443" fmla="*/ 30480 h 138429"/>
                <a:gd name="connsiteX1444" fmla="*/ 3913500 w 4940931"/>
                <a:gd name="connsiteY1444" fmla="*/ 30480 h 138429"/>
                <a:gd name="connsiteX1445" fmla="*/ 3913500 w 4940931"/>
                <a:gd name="connsiteY1445" fmla="*/ 44450 h 138429"/>
                <a:gd name="connsiteX1446" fmla="*/ 3894450 w 4940931"/>
                <a:gd name="connsiteY1446" fmla="*/ 44450 h 138429"/>
                <a:gd name="connsiteX1447" fmla="*/ 3894450 w 4940931"/>
                <a:gd name="connsiteY1447" fmla="*/ 86995 h 138429"/>
                <a:gd name="connsiteX1448" fmla="*/ 3894450 w 4940931"/>
                <a:gd name="connsiteY1448" fmla="*/ 91440 h 138429"/>
                <a:gd name="connsiteX1449" fmla="*/ 3895720 w 4940931"/>
                <a:gd name="connsiteY1449" fmla="*/ 94615 h 138429"/>
                <a:gd name="connsiteX1450" fmla="*/ 3898260 w 4940931"/>
                <a:gd name="connsiteY1450" fmla="*/ 95885 h 138429"/>
                <a:gd name="connsiteX1451" fmla="*/ 3902070 w 4940931"/>
                <a:gd name="connsiteY1451" fmla="*/ 95885 h 138429"/>
                <a:gd name="connsiteX1452" fmla="*/ 3908420 w 4940931"/>
                <a:gd name="connsiteY1452" fmla="*/ 95250 h 138429"/>
                <a:gd name="connsiteX1453" fmla="*/ 3913500 w 4940931"/>
                <a:gd name="connsiteY1453" fmla="*/ 93345 h 138429"/>
                <a:gd name="connsiteX1454" fmla="*/ 3911595 w 4940931"/>
                <a:gd name="connsiteY1454" fmla="*/ 106680 h 138429"/>
                <a:gd name="connsiteX1455" fmla="*/ 3905245 w 4940931"/>
                <a:gd name="connsiteY1455" fmla="*/ 109220 h 138429"/>
                <a:gd name="connsiteX1456" fmla="*/ 3896990 w 4940931"/>
                <a:gd name="connsiteY1456" fmla="*/ 110490 h 138429"/>
                <a:gd name="connsiteX1457" fmla="*/ 3890005 w 4940931"/>
                <a:gd name="connsiteY1457" fmla="*/ 109220 h 138429"/>
                <a:gd name="connsiteX1458" fmla="*/ 3884290 w 4940931"/>
                <a:gd name="connsiteY1458" fmla="*/ 105410 h 138429"/>
                <a:gd name="connsiteX1459" fmla="*/ 3880480 w 4940931"/>
                <a:gd name="connsiteY1459" fmla="*/ 99060 h 138429"/>
                <a:gd name="connsiteX1460" fmla="*/ 3879210 w 4940931"/>
                <a:gd name="connsiteY1460" fmla="*/ 89535 h 138429"/>
                <a:gd name="connsiteX1461" fmla="*/ 3879210 w 4940931"/>
                <a:gd name="connsiteY1461" fmla="*/ 44450 h 138429"/>
                <a:gd name="connsiteX1462" fmla="*/ 3868415 w 4940931"/>
                <a:gd name="connsiteY1462" fmla="*/ 44450 h 138429"/>
                <a:gd name="connsiteX1463" fmla="*/ 3868415 w 4940931"/>
                <a:gd name="connsiteY1463" fmla="*/ 30480 h 138429"/>
                <a:gd name="connsiteX1464" fmla="*/ 3879210 w 4940931"/>
                <a:gd name="connsiteY1464" fmla="*/ 30480 h 138429"/>
                <a:gd name="connsiteX1465" fmla="*/ 3879210 w 4940931"/>
                <a:gd name="connsiteY1465" fmla="*/ 8255 h 138429"/>
                <a:gd name="connsiteX1466" fmla="*/ 3664581 w 4940931"/>
                <a:gd name="connsiteY1466" fmla="*/ 0 h 138429"/>
                <a:gd name="connsiteX1467" fmla="*/ 3664581 w 4940931"/>
                <a:gd name="connsiteY1467" fmla="*/ 30480 h 138429"/>
                <a:gd name="connsiteX1468" fmla="*/ 3683631 w 4940931"/>
                <a:gd name="connsiteY1468" fmla="*/ 30480 h 138429"/>
                <a:gd name="connsiteX1469" fmla="*/ 3683631 w 4940931"/>
                <a:gd name="connsiteY1469" fmla="*/ 44450 h 138429"/>
                <a:gd name="connsiteX1470" fmla="*/ 3664581 w 4940931"/>
                <a:gd name="connsiteY1470" fmla="*/ 44450 h 138429"/>
                <a:gd name="connsiteX1471" fmla="*/ 3664581 w 4940931"/>
                <a:gd name="connsiteY1471" fmla="*/ 86995 h 138429"/>
                <a:gd name="connsiteX1472" fmla="*/ 3664581 w 4940931"/>
                <a:gd name="connsiteY1472" fmla="*/ 91440 h 138429"/>
                <a:gd name="connsiteX1473" fmla="*/ 3665851 w 4940931"/>
                <a:gd name="connsiteY1473" fmla="*/ 94615 h 138429"/>
                <a:gd name="connsiteX1474" fmla="*/ 3668391 w 4940931"/>
                <a:gd name="connsiteY1474" fmla="*/ 95885 h 138429"/>
                <a:gd name="connsiteX1475" fmla="*/ 3672201 w 4940931"/>
                <a:gd name="connsiteY1475" fmla="*/ 95885 h 138429"/>
                <a:gd name="connsiteX1476" fmla="*/ 3678551 w 4940931"/>
                <a:gd name="connsiteY1476" fmla="*/ 95250 h 138429"/>
                <a:gd name="connsiteX1477" fmla="*/ 3683631 w 4940931"/>
                <a:gd name="connsiteY1477" fmla="*/ 93345 h 138429"/>
                <a:gd name="connsiteX1478" fmla="*/ 3681726 w 4940931"/>
                <a:gd name="connsiteY1478" fmla="*/ 106680 h 138429"/>
                <a:gd name="connsiteX1479" fmla="*/ 3675376 w 4940931"/>
                <a:gd name="connsiteY1479" fmla="*/ 109220 h 138429"/>
                <a:gd name="connsiteX1480" fmla="*/ 3667121 w 4940931"/>
                <a:gd name="connsiteY1480" fmla="*/ 110490 h 138429"/>
                <a:gd name="connsiteX1481" fmla="*/ 3660136 w 4940931"/>
                <a:gd name="connsiteY1481" fmla="*/ 109220 h 138429"/>
                <a:gd name="connsiteX1482" fmla="*/ 3654421 w 4940931"/>
                <a:gd name="connsiteY1482" fmla="*/ 105410 h 138429"/>
                <a:gd name="connsiteX1483" fmla="*/ 3650611 w 4940931"/>
                <a:gd name="connsiteY1483" fmla="*/ 99060 h 138429"/>
                <a:gd name="connsiteX1484" fmla="*/ 3649341 w 4940931"/>
                <a:gd name="connsiteY1484" fmla="*/ 89535 h 138429"/>
                <a:gd name="connsiteX1485" fmla="*/ 3649341 w 4940931"/>
                <a:gd name="connsiteY1485" fmla="*/ 44450 h 138429"/>
                <a:gd name="connsiteX1486" fmla="*/ 3638546 w 4940931"/>
                <a:gd name="connsiteY1486" fmla="*/ 44450 h 138429"/>
                <a:gd name="connsiteX1487" fmla="*/ 3638546 w 4940931"/>
                <a:gd name="connsiteY1487" fmla="*/ 30480 h 138429"/>
                <a:gd name="connsiteX1488" fmla="*/ 3649341 w 4940931"/>
                <a:gd name="connsiteY1488" fmla="*/ 30480 h 138429"/>
                <a:gd name="connsiteX1489" fmla="*/ 3649341 w 4940931"/>
                <a:gd name="connsiteY1489" fmla="*/ 8255 h 138429"/>
                <a:gd name="connsiteX1490" fmla="*/ 3610605 w 4940931"/>
                <a:gd name="connsiteY1490" fmla="*/ 0 h 138429"/>
                <a:gd name="connsiteX1491" fmla="*/ 3610605 w 4940931"/>
                <a:gd name="connsiteY1491" fmla="*/ 30480 h 138429"/>
                <a:gd name="connsiteX1492" fmla="*/ 3629655 w 4940931"/>
                <a:gd name="connsiteY1492" fmla="*/ 30480 h 138429"/>
                <a:gd name="connsiteX1493" fmla="*/ 3629655 w 4940931"/>
                <a:gd name="connsiteY1493" fmla="*/ 44450 h 138429"/>
                <a:gd name="connsiteX1494" fmla="*/ 3610605 w 4940931"/>
                <a:gd name="connsiteY1494" fmla="*/ 44450 h 138429"/>
                <a:gd name="connsiteX1495" fmla="*/ 3610605 w 4940931"/>
                <a:gd name="connsiteY1495" fmla="*/ 86995 h 138429"/>
                <a:gd name="connsiteX1496" fmla="*/ 3610605 w 4940931"/>
                <a:gd name="connsiteY1496" fmla="*/ 91440 h 138429"/>
                <a:gd name="connsiteX1497" fmla="*/ 3611875 w 4940931"/>
                <a:gd name="connsiteY1497" fmla="*/ 94615 h 138429"/>
                <a:gd name="connsiteX1498" fmla="*/ 3614415 w 4940931"/>
                <a:gd name="connsiteY1498" fmla="*/ 95885 h 138429"/>
                <a:gd name="connsiteX1499" fmla="*/ 3618225 w 4940931"/>
                <a:gd name="connsiteY1499" fmla="*/ 95885 h 138429"/>
                <a:gd name="connsiteX1500" fmla="*/ 3624575 w 4940931"/>
                <a:gd name="connsiteY1500" fmla="*/ 95250 h 138429"/>
                <a:gd name="connsiteX1501" fmla="*/ 3629655 w 4940931"/>
                <a:gd name="connsiteY1501" fmla="*/ 93345 h 138429"/>
                <a:gd name="connsiteX1502" fmla="*/ 3627750 w 4940931"/>
                <a:gd name="connsiteY1502" fmla="*/ 106680 h 138429"/>
                <a:gd name="connsiteX1503" fmla="*/ 3621400 w 4940931"/>
                <a:gd name="connsiteY1503" fmla="*/ 109220 h 138429"/>
                <a:gd name="connsiteX1504" fmla="*/ 3613145 w 4940931"/>
                <a:gd name="connsiteY1504" fmla="*/ 110490 h 138429"/>
                <a:gd name="connsiteX1505" fmla="*/ 3606160 w 4940931"/>
                <a:gd name="connsiteY1505" fmla="*/ 109220 h 138429"/>
                <a:gd name="connsiteX1506" fmla="*/ 3600445 w 4940931"/>
                <a:gd name="connsiteY1506" fmla="*/ 105410 h 138429"/>
                <a:gd name="connsiteX1507" fmla="*/ 3596635 w 4940931"/>
                <a:gd name="connsiteY1507" fmla="*/ 99060 h 138429"/>
                <a:gd name="connsiteX1508" fmla="*/ 3595365 w 4940931"/>
                <a:gd name="connsiteY1508" fmla="*/ 89535 h 138429"/>
                <a:gd name="connsiteX1509" fmla="*/ 3595365 w 4940931"/>
                <a:gd name="connsiteY1509" fmla="*/ 44450 h 138429"/>
                <a:gd name="connsiteX1510" fmla="*/ 3584570 w 4940931"/>
                <a:gd name="connsiteY1510" fmla="*/ 44450 h 138429"/>
                <a:gd name="connsiteX1511" fmla="*/ 3584570 w 4940931"/>
                <a:gd name="connsiteY1511" fmla="*/ 30480 h 138429"/>
                <a:gd name="connsiteX1512" fmla="*/ 3595365 w 4940931"/>
                <a:gd name="connsiteY1512" fmla="*/ 30480 h 138429"/>
                <a:gd name="connsiteX1513" fmla="*/ 3595365 w 4940931"/>
                <a:gd name="connsiteY1513" fmla="*/ 8255 h 138429"/>
                <a:gd name="connsiteX1514" fmla="*/ 3445505 w 4940931"/>
                <a:gd name="connsiteY1514" fmla="*/ 0 h 138429"/>
                <a:gd name="connsiteX1515" fmla="*/ 3445505 w 4940931"/>
                <a:gd name="connsiteY1515" fmla="*/ 37465 h 138429"/>
                <a:gd name="connsiteX1516" fmla="*/ 3449950 w 4940931"/>
                <a:gd name="connsiteY1516" fmla="*/ 33655 h 138429"/>
                <a:gd name="connsiteX1517" fmla="*/ 3453760 w 4940931"/>
                <a:gd name="connsiteY1517" fmla="*/ 31115 h 138429"/>
                <a:gd name="connsiteX1518" fmla="*/ 3458840 w 4940931"/>
                <a:gd name="connsiteY1518" fmla="*/ 29210 h 138429"/>
                <a:gd name="connsiteX1519" fmla="*/ 3465825 w 4940931"/>
                <a:gd name="connsiteY1519" fmla="*/ 28575 h 138429"/>
                <a:gd name="connsiteX1520" fmla="*/ 3477890 w 4940931"/>
                <a:gd name="connsiteY1520" fmla="*/ 31115 h 138429"/>
                <a:gd name="connsiteX1521" fmla="*/ 3487415 w 4940931"/>
                <a:gd name="connsiteY1521" fmla="*/ 38735 h 138429"/>
                <a:gd name="connsiteX1522" fmla="*/ 3493765 w 4940931"/>
                <a:gd name="connsiteY1522" fmla="*/ 51435 h 138429"/>
                <a:gd name="connsiteX1523" fmla="*/ 3496305 w 4940931"/>
                <a:gd name="connsiteY1523" fmla="*/ 70485 h 138429"/>
                <a:gd name="connsiteX1524" fmla="*/ 3495670 w 4940931"/>
                <a:gd name="connsiteY1524" fmla="*/ 71120 h 138429"/>
                <a:gd name="connsiteX1525" fmla="*/ 3493130 w 4940931"/>
                <a:gd name="connsiteY1525" fmla="*/ 88265 h 138429"/>
                <a:gd name="connsiteX1526" fmla="*/ 3486145 w 4940931"/>
                <a:gd name="connsiteY1526" fmla="*/ 100330 h 138429"/>
                <a:gd name="connsiteX1527" fmla="*/ 3476620 w 4940931"/>
                <a:gd name="connsiteY1527" fmla="*/ 107315 h 138429"/>
                <a:gd name="connsiteX1528" fmla="*/ 3465190 w 4940931"/>
                <a:gd name="connsiteY1528" fmla="*/ 109855 h 138429"/>
                <a:gd name="connsiteX1529" fmla="*/ 3454395 w 4940931"/>
                <a:gd name="connsiteY1529" fmla="*/ 107315 h 138429"/>
                <a:gd name="connsiteX1530" fmla="*/ 3445505 w 4940931"/>
                <a:gd name="connsiteY1530" fmla="*/ 100965 h 138429"/>
                <a:gd name="connsiteX1531" fmla="*/ 3445505 w 4940931"/>
                <a:gd name="connsiteY1531" fmla="*/ 107950 h 138429"/>
                <a:gd name="connsiteX1532" fmla="*/ 3430265 w 4940931"/>
                <a:gd name="connsiteY1532" fmla="*/ 107950 h 138429"/>
                <a:gd name="connsiteX1533" fmla="*/ 3430265 w 4940931"/>
                <a:gd name="connsiteY1533" fmla="*/ 7620 h 138429"/>
                <a:gd name="connsiteX1534" fmla="*/ 2380611 w 4940931"/>
                <a:gd name="connsiteY1534" fmla="*/ 0 h 138429"/>
                <a:gd name="connsiteX1535" fmla="*/ 2380611 w 4940931"/>
                <a:gd name="connsiteY1535" fmla="*/ 30480 h 138429"/>
                <a:gd name="connsiteX1536" fmla="*/ 2399661 w 4940931"/>
                <a:gd name="connsiteY1536" fmla="*/ 30480 h 138429"/>
                <a:gd name="connsiteX1537" fmla="*/ 2399661 w 4940931"/>
                <a:gd name="connsiteY1537" fmla="*/ 44450 h 138429"/>
                <a:gd name="connsiteX1538" fmla="*/ 2380611 w 4940931"/>
                <a:gd name="connsiteY1538" fmla="*/ 44450 h 138429"/>
                <a:gd name="connsiteX1539" fmla="*/ 2380611 w 4940931"/>
                <a:gd name="connsiteY1539" fmla="*/ 86995 h 138429"/>
                <a:gd name="connsiteX1540" fmla="*/ 2380611 w 4940931"/>
                <a:gd name="connsiteY1540" fmla="*/ 91440 h 138429"/>
                <a:gd name="connsiteX1541" fmla="*/ 2381881 w 4940931"/>
                <a:gd name="connsiteY1541" fmla="*/ 94615 h 138429"/>
                <a:gd name="connsiteX1542" fmla="*/ 2384421 w 4940931"/>
                <a:gd name="connsiteY1542" fmla="*/ 95885 h 138429"/>
                <a:gd name="connsiteX1543" fmla="*/ 2388231 w 4940931"/>
                <a:gd name="connsiteY1543" fmla="*/ 95885 h 138429"/>
                <a:gd name="connsiteX1544" fmla="*/ 2394581 w 4940931"/>
                <a:gd name="connsiteY1544" fmla="*/ 95250 h 138429"/>
                <a:gd name="connsiteX1545" fmla="*/ 2399661 w 4940931"/>
                <a:gd name="connsiteY1545" fmla="*/ 93345 h 138429"/>
                <a:gd name="connsiteX1546" fmla="*/ 2397756 w 4940931"/>
                <a:gd name="connsiteY1546" fmla="*/ 106680 h 138429"/>
                <a:gd name="connsiteX1547" fmla="*/ 2391406 w 4940931"/>
                <a:gd name="connsiteY1547" fmla="*/ 109220 h 138429"/>
                <a:gd name="connsiteX1548" fmla="*/ 2383151 w 4940931"/>
                <a:gd name="connsiteY1548" fmla="*/ 110490 h 138429"/>
                <a:gd name="connsiteX1549" fmla="*/ 2376166 w 4940931"/>
                <a:gd name="connsiteY1549" fmla="*/ 109220 h 138429"/>
                <a:gd name="connsiteX1550" fmla="*/ 2370451 w 4940931"/>
                <a:gd name="connsiteY1550" fmla="*/ 105410 h 138429"/>
                <a:gd name="connsiteX1551" fmla="*/ 2366641 w 4940931"/>
                <a:gd name="connsiteY1551" fmla="*/ 99060 h 138429"/>
                <a:gd name="connsiteX1552" fmla="*/ 2365371 w 4940931"/>
                <a:gd name="connsiteY1552" fmla="*/ 89535 h 138429"/>
                <a:gd name="connsiteX1553" fmla="*/ 2365371 w 4940931"/>
                <a:gd name="connsiteY1553" fmla="*/ 44450 h 138429"/>
                <a:gd name="connsiteX1554" fmla="*/ 2354576 w 4940931"/>
                <a:gd name="connsiteY1554" fmla="*/ 44450 h 138429"/>
                <a:gd name="connsiteX1555" fmla="*/ 2354576 w 4940931"/>
                <a:gd name="connsiteY1555" fmla="*/ 30480 h 138429"/>
                <a:gd name="connsiteX1556" fmla="*/ 2365371 w 4940931"/>
                <a:gd name="connsiteY1556" fmla="*/ 30480 h 138429"/>
                <a:gd name="connsiteX1557" fmla="*/ 2365371 w 4940931"/>
                <a:gd name="connsiteY1557" fmla="*/ 8255 h 138429"/>
                <a:gd name="connsiteX1558" fmla="*/ 2150741 w 4940931"/>
                <a:gd name="connsiteY1558" fmla="*/ 0 h 138429"/>
                <a:gd name="connsiteX1559" fmla="*/ 2150741 w 4940931"/>
                <a:gd name="connsiteY1559" fmla="*/ 30480 h 138429"/>
                <a:gd name="connsiteX1560" fmla="*/ 2169791 w 4940931"/>
                <a:gd name="connsiteY1560" fmla="*/ 30480 h 138429"/>
                <a:gd name="connsiteX1561" fmla="*/ 2169791 w 4940931"/>
                <a:gd name="connsiteY1561" fmla="*/ 44450 h 138429"/>
                <a:gd name="connsiteX1562" fmla="*/ 2150741 w 4940931"/>
                <a:gd name="connsiteY1562" fmla="*/ 44450 h 138429"/>
                <a:gd name="connsiteX1563" fmla="*/ 2150741 w 4940931"/>
                <a:gd name="connsiteY1563" fmla="*/ 86995 h 138429"/>
                <a:gd name="connsiteX1564" fmla="*/ 2150741 w 4940931"/>
                <a:gd name="connsiteY1564" fmla="*/ 91440 h 138429"/>
                <a:gd name="connsiteX1565" fmla="*/ 2152011 w 4940931"/>
                <a:gd name="connsiteY1565" fmla="*/ 94615 h 138429"/>
                <a:gd name="connsiteX1566" fmla="*/ 2154551 w 4940931"/>
                <a:gd name="connsiteY1566" fmla="*/ 95885 h 138429"/>
                <a:gd name="connsiteX1567" fmla="*/ 2158361 w 4940931"/>
                <a:gd name="connsiteY1567" fmla="*/ 95885 h 138429"/>
                <a:gd name="connsiteX1568" fmla="*/ 2164711 w 4940931"/>
                <a:gd name="connsiteY1568" fmla="*/ 95250 h 138429"/>
                <a:gd name="connsiteX1569" fmla="*/ 2169791 w 4940931"/>
                <a:gd name="connsiteY1569" fmla="*/ 93345 h 138429"/>
                <a:gd name="connsiteX1570" fmla="*/ 2167886 w 4940931"/>
                <a:gd name="connsiteY1570" fmla="*/ 106680 h 138429"/>
                <a:gd name="connsiteX1571" fmla="*/ 2161536 w 4940931"/>
                <a:gd name="connsiteY1571" fmla="*/ 109220 h 138429"/>
                <a:gd name="connsiteX1572" fmla="*/ 2153281 w 4940931"/>
                <a:gd name="connsiteY1572" fmla="*/ 110490 h 138429"/>
                <a:gd name="connsiteX1573" fmla="*/ 2146296 w 4940931"/>
                <a:gd name="connsiteY1573" fmla="*/ 109220 h 138429"/>
                <a:gd name="connsiteX1574" fmla="*/ 2140581 w 4940931"/>
                <a:gd name="connsiteY1574" fmla="*/ 105410 h 138429"/>
                <a:gd name="connsiteX1575" fmla="*/ 2136771 w 4940931"/>
                <a:gd name="connsiteY1575" fmla="*/ 99060 h 138429"/>
                <a:gd name="connsiteX1576" fmla="*/ 2135501 w 4940931"/>
                <a:gd name="connsiteY1576" fmla="*/ 89535 h 138429"/>
                <a:gd name="connsiteX1577" fmla="*/ 2135501 w 4940931"/>
                <a:gd name="connsiteY1577" fmla="*/ 44450 h 138429"/>
                <a:gd name="connsiteX1578" fmla="*/ 2124706 w 4940931"/>
                <a:gd name="connsiteY1578" fmla="*/ 44450 h 138429"/>
                <a:gd name="connsiteX1579" fmla="*/ 2124706 w 4940931"/>
                <a:gd name="connsiteY1579" fmla="*/ 30480 h 138429"/>
                <a:gd name="connsiteX1580" fmla="*/ 2135501 w 4940931"/>
                <a:gd name="connsiteY1580" fmla="*/ 30480 h 138429"/>
                <a:gd name="connsiteX1581" fmla="*/ 2135501 w 4940931"/>
                <a:gd name="connsiteY1581" fmla="*/ 8255 h 138429"/>
                <a:gd name="connsiteX1582" fmla="*/ 2096131 w 4940931"/>
                <a:gd name="connsiteY1582" fmla="*/ 0 h 138429"/>
                <a:gd name="connsiteX1583" fmla="*/ 2096131 w 4940931"/>
                <a:gd name="connsiteY1583" fmla="*/ 30480 h 138429"/>
                <a:gd name="connsiteX1584" fmla="*/ 2115181 w 4940931"/>
                <a:gd name="connsiteY1584" fmla="*/ 30480 h 138429"/>
                <a:gd name="connsiteX1585" fmla="*/ 2115181 w 4940931"/>
                <a:gd name="connsiteY1585" fmla="*/ 44450 h 138429"/>
                <a:gd name="connsiteX1586" fmla="*/ 2096131 w 4940931"/>
                <a:gd name="connsiteY1586" fmla="*/ 44450 h 138429"/>
                <a:gd name="connsiteX1587" fmla="*/ 2096131 w 4940931"/>
                <a:gd name="connsiteY1587" fmla="*/ 86995 h 138429"/>
                <a:gd name="connsiteX1588" fmla="*/ 2096131 w 4940931"/>
                <a:gd name="connsiteY1588" fmla="*/ 91440 h 138429"/>
                <a:gd name="connsiteX1589" fmla="*/ 2097401 w 4940931"/>
                <a:gd name="connsiteY1589" fmla="*/ 94615 h 138429"/>
                <a:gd name="connsiteX1590" fmla="*/ 2099941 w 4940931"/>
                <a:gd name="connsiteY1590" fmla="*/ 95885 h 138429"/>
                <a:gd name="connsiteX1591" fmla="*/ 2103751 w 4940931"/>
                <a:gd name="connsiteY1591" fmla="*/ 95885 h 138429"/>
                <a:gd name="connsiteX1592" fmla="*/ 2110101 w 4940931"/>
                <a:gd name="connsiteY1592" fmla="*/ 95250 h 138429"/>
                <a:gd name="connsiteX1593" fmla="*/ 2115181 w 4940931"/>
                <a:gd name="connsiteY1593" fmla="*/ 93345 h 138429"/>
                <a:gd name="connsiteX1594" fmla="*/ 2113276 w 4940931"/>
                <a:gd name="connsiteY1594" fmla="*/ 106680 h 138429"/>
                <a:gd name="connsiteX1595" fmla="*/ 2106926 w 4940931"/>
                <a:gd name="connsiteY1595" fmla="*/ 109220 h 138429"/>
                <a:gd name="connsiteX1596" fmla="*/ 2098671 w 4940931"/>
                <a:gd name="connsiteY1596" fmla="*/ 110490 h 138429"/>
                <a:gd name="connsiteX1597" fmla="*/ 2091686 w 4940931"/>
                <a:gd name="connsiteY1597" fmla="*/ 109220 h 138429"/>
                <a:gd name="connsiteX1598" fmla="*/ 2085971 w 4940931"/>
                <a:gd name="connsiteY1598" fmla="*/ 105410 h 138429"/>
                <a:gd name="connsiteX1599" fmla="*/ 2082161 w 4940931"/>
                <a:gd name="connsiteY1599" fmla="*/ 99060 h 138429"/>
                <a:gd name="connsiteX1600" fmla="*/ 2080891 w 4940931"/>
                <a:gd name="connsiteY1600" fmla="*/ 89535 h 138429"/>
                <a:gd name="connsiteX1601" fmla="*/ 2080891 w 4940931"/>
                <a:gd name="connsiteY1601" fmla="*/ 44450 h 138429"/>
                <a:gd name="connsiteX1602" fmla="*/ 2070096 w 4940931"/>
                <a:gd name="connsiteY1602" fmla="*/ 44450 h 138429"/>
                <a:gd name="connsiteX1603" fmla="*/ 2070096 w 4940931"/>
                <a:gd name="connsiteY1603" fmla="*/ 30480 h 138429"/>
                <a:gd name="connsiteX1604" fmla="*/ 2080891 w 4940931"/>
                <a:gd name="connsiteY1604" fmla="*/ 30480 h 138429"/>
                <a:gd name="connsiteX1605" fmla="*/ 2080891 w 4940931"/>
                <a:gd name="connsiteY1605" fmla="*/ 8255 h 138429"/>
                <a:gd name="connsiteX1606" fmla="*/ 1931665 w 4940931"/>
                <a:gd name="connsiteY1606" fmla="*/ 0 h 138429"/>
                <a:gd name="connsiteX1607" fmla="*/ 1931665 w 4940931"/>
                <a:gd name="connsiteY1607" fmla="*/ 37465 h 138429"/>
                <a:gd name="connsiteX1608" fmla="*/ 1936110 w 4940931"/>
                <a:gd name="connsiteY1608" fmla="*/ 33655 h 138429"/>
                <a:gd name="connsiteX1609" fmla="*/ 1939920 w 4940931"/>
                <a:gd name="connsiteY1609" fmla="*/ 31115 h 138429"/>
                <a:gd name="connsiteX1610" fmla="*/ 1945000 w 4940931"/>
                <a:gd name="connsiteY1610" fmla="*/ 29210 h 138429"/>
                <a:gd name="connsiteX1611" fmla="*/ 1951985 w 4940931"/>
                <a:gd name="connsiteY1611" fmla="*/ 28575 h 138429"/>
                <a:gd name="connsiteX1612" fmla="*/ 1964050 w 4940931"/>
                <a:gd name="connsiteY1612" fmla="*/ 31115 h 138429"/>
                <a:gd name="connsiteX1613" fmla="*/ 1973575 w 4940931"/>
                <a:gd name="connsiteY1613" fmla="*/ 38735 h 138429"/>
                <a:gd name="connsiteX1614" fmla="*/ 1979925 w 4940931"/>
                <a:gd name="connsiteY1614" fmla="*/ 51435 h 138429"/>
                <a:gd name="connsiteX1615" fmla="*/ 1982465 w 4940931"/>
                <a:gd name="connsiteY1615" fmla="*/ 70485 h 138429"/>
                <a:gd name="connsiteX1616" fmla="*/ 1981830 w 4940931"/>
                <a:gd name="connsiteY1616" fmla="*/ 71120 h 138429"/>
                <a:gd name="connsiteX1617" fmla="*/ 1979290 w 4940931"/>
                <a:gd name="connsiteY1617" fmla="*/ 88265 h 138429"/>
                <a:gd name="connsiteX1618" fmla="*/ 1972305 w 4940931"/>
                <a:gd name="connsiteY1618" fmla="*/ 100330 h 138429"/>
                <a:gd name="connsiteX1619" fmla="*/ 1962780 w 4940931"/>
                <a:gd name="connsiteY1619" fmla="*/ 107315 h 138429"/>
                <a:gd name="connsiteX1620" fmla="*/ 1951350 w 4940931"/>
                <a:gd name="connsiteY1620" fmla="*/ 109855 h 138429"/>
                <a:gd name="connsiteX1621" fmla="*/ 1940555 w 4940931"/>
                <a:gd name="connsiteY1621" fmla="*/ 107315 h 138429"/>
                <a:gd name="connsiteX1622" fmla="*/ 1931665 w 4940931"/>
                <a:gd name="connsiteY1622" fmla="*/ 100965 h 138429"/>
                <a:gd name="connsiteX1623" fmla="*/ 1931665 w 4940931"/>
                <a:gd name="connsiteY1623" fmla="*/ 107950 h 138429"/>
                <a:gd name="connsiteX1624" fmla="*/ 1916425 w 4940931"/>
                <a:gd name="connsiteY1624" fmla="*/ 107950 h 138429"/>
                <a:gd name="connsiteX1625" fmla="*/ 1916425 w 4940931"/>
                <a:gd name="connsiteY1625" fmla="*/ 7620 h 138429"/>
                <a:gd name="connsiteX1626" fmla="*/ 1316991 w 4940931"/>
                <a:gd name="connsiteY1626" fmla="*/ 0 h 138429"/>
                <a:gd name="connsiteX1627" fmla="*/ 1316991 w 4940931"/>
                <a:gd name="connsiteY1627" fmla="*/ 30480 h 138429"/>
                <a:gd name="connsiteX1628" fmla="*/ 1336041 w 4940931"/>
                <a:gd name="connsiteY1628" fmla="*/ 30480 h 138429"/>
                <a:gd name="connsiteX1629" fmla="*/ 1336041 w 4940931"/>
                <a:gd name="connsiteY1629" fmla="*/ 44450 h 138429"/>
                <a:gd name="connsiteX1630" fmla="*/ 1316991 w 4940931"/>
                <a:gd name="connsiteY1630" fmla="*/ 44450 h 138429"/>
                <a:gd name="connsiteX1631" fmla="*/ 1316991 w 4940931"/>
                <a:gd name="connsiteY1631" fmla="*/ 86995 h 138429"/>
                <a:gd name="connsiteX1632" fmla="*/ 1316991 w 4940931"/>
                <a:gd name="connsiteY1632" fmla="*/ 91440 h 138429"/>
                <a:gd name="connsiteX1633" fmla="*/ 1318261 w 4940931"/>
                <a:gd name="connsiteY1633" fmla="*/ 94615 h 138429"/>
                <a:gd name="connsiteX1634" fmla="*/ 1320801 w 4940931"/>
                <a:gd name="connsiteY1634" fmla="*/ 95885 h 138429"/>
                <a:gd name="connsiteX1635" fmla="*/ 1324611 w 4940931"/>
                <a:gd name="connsiteY1635" fmla="*/ 95885 h 138429"/>
                <a:gd name="connsiteX1636" fmla="*/ 1330961 w 4940931"/>
                <a:gd name="connsiteY1636" fmla="*/ 95250 h 138429"/>
                <a:gd name="connsiteX1637" fmla="*/ 1336041 w 4940931"/>
                <a:gd name="connsiteY1637" fmla="*/ 93345 h 138429"/>
                <a:gd name="connsiteX1638" fmla="*/ 1334136 w 4940931"/>
                <a:gd name="connsiteY1638" fmla="*/ 106680 h 138429"/>
                <a:gd name="connsiteX1639" fmla="*/ 1327786 w 4940931"/>
                <a:gd name="connsiteY1639" fmla="*/ 109220 h 138429"/>
                <a:gd name="connsiteX1640" fmla="*/ 1319531 w 4940931"/>
                <a:gd name="connsiteY1640" fmla="*/ 110490 h 138429"/>
                <a:gd name="connsiteX1641" fmla="*/ 1312546 w 4940931"/>
                <a:gd name="connsiteY1641" fmla="*/ 109220 h 138429"/>
                <a:gd name="connsiteX1642" fmla="*/ 1306831 w 4940931"/>
                <a:gd name="connsiteY1642" fmla="*/ 105410 h 138429"/>
                <a:gd name="connsiteX1643" fmla="*/ 1303021 w 4940931"/>
                <a:gd name="connsiteY1643" fmla="*/ 99060 h 138429"/>
                <a:gd name="connsiteX1644" fmla="*/ 1301751 w 4940931"/>
                <a:gd name="connsiteY1644" fmla="*/ 89535 h 138429"/>
                <a:gd name="connsiteX1645" fmla="*/ 1301751 w 4940931"/>
                <a:gd name="connsiteY1645" fmla="*/ 44450 h 138429"/>
                <a:gd name="connsiteX1646" fmla="*/ 1290956 w 4940931"/>
                <a:gd name="connsiteY1646" fmla="*/ 44450 h 138429"/>
                <a:gd name="connsiteX1647" fmla="*/ 1290956 w 4940931"/>
                <a:gd name="connsiteY1647" fmla="*/ 30480 h 138429"/>
                <a:gd name="connsiteX1648" fmla="*/ 1301751 w 4940931"/>
                <a:gd name="connsiteY1648" fmla="*/ 30480 h 138429"/>
                <a:gd name="connsiteX1649" fmla="*/ 1301751 w 4940931"/>
                <a:gd name="connsiteY1649" fmla="*/ 8255 h 138429"/>
                <a:gd name="connsiteX1650" fmla="*/ 751206 w 4940931"/>
                <a:gd name="connsiteY1650" fmla="*/ 0 h 138429"/>
                <a:gd name="connsiteX1651" fmla="*/ 751206 w 4940931"/>
                <a:gd name="connsiteY1651" fmla="*/ 30480 h 138429"/>
                <a:gd name="connsiteX1652" fmla="*/ 770256 w 4940931"/>
                <a:gd name="connsiteY1652" fmla="*/ 30480 h 138429"/>
                <a:gd name="connsiteX1653" fmla="*/ 770256 w 4940931"/>
                <a:gd name="connsiteY1653" fmla="*/ 44450 h 138429"/>
                <a:gd name="connsiteX1654" fmla="*/ 751206 w 4940931"/>
                <a:gd name="connsiteY1654" fmla="*/ 44450 h 138429"/>
                <a:gd name="connsiteX1655" fmla="*/ 751206 w 4940931"/>
                <a:gd name="connsiteY1655" fmla="*/ 86995 h 138429"/>
                <a:gd name="connsiteX1656" fmla="*/ 751206 w 4940931"/>
                <a:gd name="connsiteY1656" fmla="*/ 91440 h 138429"/>
                <a:gd name="connsiteX1657" fmla="*/ 752476 w 4940931"/>
                <a:gd name="connsiteY1657" fmla="*/ 94615 h 138429"/>
                <a:gd name="connsiteX1658" fmla="*/ 755016 w 4940931"/>
                <a:gd name="connsiteY1658" fmla="*/ 95885 h 138429"/>
                <a:gd name="connsiteX1659" fmla="*/ 758826 w 4940931"/>
                <a:gd name="connsiteY1659" fmla="*/ 95885 h 138429"/>
                <a:gd name="connsiteX1660" fmla="*/ 765176 w 4940931"/>
                <a:gd name="connsiteY1660" fmla="*/ 95250 h 138429"/>
                <a:gd name="connsiteX1661" fmla="*/ 770256 w 4940931"/>
                <a:gd name="connsiteY1661" fmla="*/ 93345 h 138429"/>
                <a:gd name="connsiteX1662" fmla="*/ 768351 w 4940931"/>
                <a:gd name="connsiteY1662" fmla="*/ 106680 h 138429"/>
                <a:gd name="connsiteX1663" fmla="*/ 762001 w 4940931"/>
                <a:gd name="connsiteY1663" fmla="*/ 109220 h 138429"/>
                <a:gd name="connsiteX1664" fmla="*/ 753746 w 4940931"/>
                <a:gd name="connsiteY1664" fmla="*/ 110490 h 138429"/>
                <a:gd name="connsiteX1665" fmla="*/ 746761 w 4940931"/>
                <a:gd name="connsiteY1665" fmla="*/ 109220 h 138429"/>
                <a:gd name="connsiteX1666" fmla="*/ 741045 w 4940931"/>
                <a:gd name="connsiteY1666" fmla="*/ 105410 h 138429"/>
                <a:gd name="connsiteX1667" fmla="*/ 737236 w 4940931"/>
                <a:gd name="connsiteY1667" fmla="*/ 99060 h 138429"/>
                <a:gd name="connsiteX1668" fmla="*/ 735966 w 4940931"/>
                <a:gd name="connsiteY1668" fmla="*/ 89535 h 138429"/>
                <a:gd name="connsiteX1669" fmla="*/ 735966 w 4940931"/>
                <a:gd name="connsiteY1669" fmla="*/ 44450 h 138429"/>
                <a:gd name="connsiteX1670" fmla="*/ 725171 w 4940931"/>
                <a:gd name="connsiteY1670" fmla="*/ 44450 h 138429"/>
                <a:gd name="connsiteX1671" fmla="*/ 725171 w 4940931"/>
                <a:gd name="connsiteY1671" fmla="*/ 30480 h 138429"/>
                <a:gd name="connsiteX1672" fmla="*/ 735966 w 4940931"/>
                <a:gd name="connsiteY1672" fmla="*/ 30480 h 138429"/>
                <a:gd name="connsiteX1673" fmla="*/ 735966 w 4940931"/>
                <a:gd name="connsiteY1673" fmla="*/ 8255 h 138429"/>
                <a:gd name="connsiteX1674" fmla="*/ 521335 w 4940931"/>
                <a:gd name="connsiteY1674" fmla="*/ 0 h 138429"/>
                <a:gd name="connsiteX1675" fmla="*/ 521335 w 4940931"/>
                <a:gd name="connsiteY1675" fmla="*/ 30480 h 138429"/>
                <a:gd name="connsiteX1676" fmla="*/ 540385 w 4940931"/>
                <a:gd name="connsiteY1676" fmla="*/ 30480 h 138429"/>
                <a:gd name="connsiteX1677" fmla="*/ 540385 w 4940931"/>
                <a:gd name="connsiteY1677" fmla="*/ 44450 h 138429"/>
                <a:gd name="connsiteX1678" fmla="*/ 521335 w 4940931"/>
                <a:gd name="connsiteY1678" fmla="*/ 44450 h 138429"/>
                <a:gd name="connsiteX1679" fmla="*/ 521335 w 4940931"/>
                <a:gd name="connsiteY1679" fmla="*/ 86995 h 138429"/>
                <a:gd name="connsiteX1680" fmla="*/ 521335 w 4940931"/>
                <a:gd name="connsiteY1680" fmla="*/ 91440 h 138429"/>
                <a:gd name="connsiteX1681" fmla="*/ 522605 w 4940931"/>
                <a:gd name="connsiteY1681" fmla="*/ 94615 h 138429"/>
                <a:gd name="connsiteX1682" fmla="*/ 525145 w 4940931"/>
                <a:gd name="connsiteY1682" fmla="*/ 95885 h 138429"/>
                <a:gd name="connsiteX1683" fmla="*/ 528955 w 4940931"/>
                <a:gd name="connsiteY1683" fmla="*/ 95885 h 138429"/>
                <a:gd name="connsiteX1684" fmla="*/ 535305 w 4940931"/>
                <a:gd name="connsiteY1684" fmla="*/ 95250 h 138429"/>
                <a:gd name="connsiteX1685" fmla="*/ 540385 w 4940931"/>
                <a:gd name="connsiteY1685" fmla="*/ 93345 h 138429"/>
                <a:gd name="connsiteX1686" fmla="*/ 538480 w 4940931"/>
                <a:gd name="connsiteY1686" fmla="*/ 106680 h 138429"/>
                <a:gd name="connsiteX1687" fmla="*/ 532130 w 4940931"/>
                <a:gd name="connsiteY1687" fmla="*/ 109220 h 138429"/>
                <a:gd name="connsiteX1688" fmla="*/ 523875 w 4940931"/>
                <a:gd name="connsiteY1688" fmla="*/ 110490 h 138429"/>
                <a:gd name="connsiteX1689" fmla="*/ 516890 w 4940931"/>
                <a:gd name="connsiteY1689" fmla="*/ 109220 h 138429"/>
                <a:gd name="connsiteX1690" fmla="*/ 511175 w 4940931"/>
                <a:gd name="connsiteY1690" fmla="*/ 105410 h 138429"/>
                <a:gd name="connsiteX1691" fmla="*/ 507365 w 4940931"/>
                <a:gd name="connsiteY1691" fmla="*/ 99060 h 138429"/>
                <a:gd name="connsiteX1692" fmla="*/ 506095 w 4940931"/>
                <a:gd name="connsiteY1692" fmla="*/ 89535 h 138429"/>
                <a:gd name="connsiteX1693" fmla="*/ 506095 w 4940931"/>
                <a:gd name="connsiteY1693" fmla="*/ 44450 h 138429"/>
                <a:gd name="connsiteX1694" fmla="*/ 495300 w 4940931"/>
                <a:gd name="connsiteY1694" fmla="*/ 44450 h 138429"/>
                <a:gd name="connsiteX1695" fmla="*/ 495300 w 4940931"/>
                <a:gd name="connsiteY1695" fmla="*/ 30480 h 138429"/>
                <a:gd name="connsiteX1696" fmla="*/ 506095 w 4940931"/>
                <a:gd name="connsiteY1696" fmla="*/ 30480 h 138429"/>
                <a:gd name="connsiteX1697" fmla="*/ 506095 w 4940931"/>
                <a:gd name="connsiteY1697" fmla="*/ 8255 h 138429"/>
                <a:gd name="connsiteX1698" fmla="*/ 466724 w 4940931"/>
                <a:gd name="connsiteY1698" fmla="*/ 0 h 138429"/>
                <a:gd name="connsiteX1699" fmla="*/ 466724 w 4940931"/>
                <a:gd name="connsiteY1699" fmla="*/ 30480 h 138429"/>
                <a:gd name="connsiteX1700" fmla="*/ 485774 w 4940931"/>
                <a:gd name="connsiteY1700" fmla="*/ 30480 h 138429"/>
                <a:gd name="connsiteX1701" fmla="*/ 485774 w 4940931"/>
                <a:gd name="connsiteY1701" fmla="*/ 44450 h 138429"/>
                <a:gd name="connsiteX1702" fmla="*/ 466724 w 4940931"/>
                <a:gd name="connsiteY1702" fmla="*/ 44450 h 138429"/>
                <a:gd name="connsiteX1703" fmla="*/ 466724 w 4940931"/>
                <a:gd name="connsiteY1703" fmla="*/ 86995 h 138429"/>
                <a:gd name="connsiteX1704" fmla="*/ 466724 w 4940931"/>
                <a:gd name="connsiteY1704" fmla="*/ 91440 h 138429"/>
                <a:gd name="connsiteX1705" fmla="*/ 467994 w 4940931"/>
                <a:gd name="connsiteY1705" fmla="*/ 94615 h 138429"/>
                <a:gd name="connsiteX1706" fmla="*/ 470534 w 4940931"/>
                <a:gd name="connsiteY1706" fmla="*/ 95885 h 138429"/>
                <a:gd name="connsiteX1707" fmla="*/ 474344 w 4940931"/>
                <a:gd name="connsiteY1707" fmla="*/ 95885 h 138429"/>
                <a:gd name="connsiteX1708" fmla="*/ 480694 w 4940931"/>
                <a:gd name="connsiteY1708" fmla="*/ 95250 h 138429"/>
                <a:gd name="connsiteX1709" fmla="*/ 485774 w 4940931"/>
                <a:gd name="connsiteY1709" fmla="*/ 93345 h 138429"/>
                <a:gd name="connsiteX1710" fmla="*/ 483869 w 4940931"/>
                <a:gd name="connsiteY1710" fmla="*/ 106680 h 138429"/>
                <a:gd name="connsiteX1711" fmla="*/ 477519 w 4940931"/>
                <a:gd name="connsiteY1711" fmla="*/ 109220 h 138429"/>
                <a:gd name="connsiteX1712" fmla="*/ 469264 w 4940931"/>
                <a:gd name="connsiteY1712" fmla="*/ 110490 h 138429"/>
                <a:gd name="connsiteX1713" fmla="*/ 462279 w 4940931"/>
                <a:gd name="connsiteY1713" fmla="*/ 109220 h 138429"/>
                <a:gd name="connsiteX1714" fmla="*/ 456564 w 4940931"/>
                <a:gd name="connsiteY1714" fmla="*/ 105410 h 138429"/>
                <a:gd name="connsiteX1715" fmla="*/ 452754 w 4940931"/>
                <a:gd name="connsiteY1715" fmla="*/ 99060 h 138429"/>
                <a:gd name="connsiteX1716" fmla="*/ 451484 w 4940931"/>
                <a:gd name="connsiteY1716" fmla="*/ 89535 h 138429"/>
                <a:gd name="connsiteX1717" fmla="*/ 451484 w 4940931"/>
                <a:gd name="connsiteY1717" fmla="*/ 44450 h 138429"/>
                <a:gd name="connsiteX1718" fmla="*/ 440689 w 4940931"/>
                <a:gd name="connsiteY1718" fmla="*/ 44450 h 138429"/>
                <a:gd name="connsiteX1719" fmla="*/ 440689 w 4940931"/>
                <a:gd name="connsiteY1719" fmla="*/ 30480 h 138429"/>
                <a:gd name="connsiteX1720" fmla="*/ 451484 w 4940931"/>
                <a:gd name="connsiteY1720" fmla="*/ 30480 h 138429"/>
                <a:gd name="connsiteX1721" fmla="*/ 451484 w 4940931"/>
                <a:gd name="connsiteY1721" fmla="*/ 8255 h 138429"/>
                <a:gd name="connsiteX1722" fmla="*/ 302259 w 4940931"/>
                <a:gd name="connsiteY1722" fmla="*/ 0 h 138429"/>
                <a:gd name="connsiteX1723" fmla="*/ 302259 w 4940931"/>
                <a:gd name="connsiteY1723" fmla="*/ 37465 h 138429"/>
                <a:gd name="connsiteX1724" fmla="*/ 306704 w 4940931"/>
                <a:gd name="connsiteY1724" fmla="*/ 33655 h 138429"/>
                <a:gd name="connsiteX1725" fmla="*/ 310514 w 4940931"/>
                <a:gd name="connsiteY1725" fmla="*/ 31115 h 138429"/>
                <a:gd name="connsiteX1726" fmla="*/ 315594 w 4940931"/>
                <a:gd name="connsiteY1726" fmla="*/ 29210 h 138429"/>
                <a:gd name="connsiteX1727" fmla="*/ 322579 w 4940931"/>
                <a:gd name="connsiteY1727" fmla="*/ 28575 h 138429"/>
                <a:gd name="connsiteX1728" fmla="*/ 334644 w 4940931"/>
                <a:gd name="connsiteY1728" fmla="*/ 31115 h 138429"/>
                <a:gd name="connsiteX1729" fmla="*/ 344169 w 4940931"/>
                <a:gd name="connsiteY1729" fmla="*/ 38735 h 138429"/>
                <a:gd name="connsiteX1730" fmla="*/ 350519 w 4940931"/>
                <a:gd name="connsiteY1730" fmla="*/ 51435 h 138429"/>
                <a:gd name="connsiteX1731" fmla="*/ 353059 w 4940931"/>
                <a:gd name="connsiteY1731" fmla="*/ 70485 h 138429"/>
                <a:gd name="connsiteX1732" fmla="*/ 352424 w 4940931"/>
                <a:gd name="connsiteY1732" fmla="*/ 71120 h 138429"/>
                <a:gd name="connsiteX1733" fmla="*/ 349884 w 4940931"/>
                <a:gd name="connsiteY1733" fmla="*/ 88265 h 138429"/>
                <a:gd name="connsiteX1734" fmla="*/ 342899 w 4940931"/>
                <a:gd name="connsiteY1734" fmla="*/ 100330 h 138429"/>
                <a:gd name="connsiteX1735" fmla="*/ 333374 w 4940931"/>
                <a:gd name="connsiteY1735" fmla="*/ 107315 h 138429"/>
                <a:gd name="connsiteX1736" fmla="*/ 321944 w 4940931"/>
                <a:gd name="connsiteY1736" fmla="*/ 109855 h 138429"/>
                <a:gd name="connsiteX1737" fmla="*/ 311149 w 4940931"/>
                <a:gd name="connsiteY1737" fmla="*/ 107315 h 138429"/>
                <a:gd name="connsiteX1738" fmla="*/ 302259 w 4940931"/>
                <a:gd name="connsiteY1738" fmla="*/ 100965 h 138429"/>
                <a:gd name="connsiteX1739" fmla="*/ 302259 w 4940931"/>
                <a:gd name="connsiteY1739" fmla="*/ 107950 h 138429"/>
                <a:gd name="connsiteX1740" fmla="*/ 287019 w 4940931"/>
                <a:gd name="connsiteY1740" fmla="*/ 107950 h 138429"/>
                <a:gd name="connsiteX1741" fmla="*/ 287019 w 4940931"/>
                <a:gd name="connsiteY1741" fmla="*/ 7620 h 138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  <a:cxn ang="0">
                  <a:pos x="connsiteX1535" y="connsiteY1535"/>
                </a:cxn>
                <a:cxn ang="0">
                  <a:pos x="connsiteX1536" y="connsiteY1536"/>
                </a:cxn>
                <a:cxn ang="0">
                  <a:pos x="connsiteX1537" y="connsiteY1537"/>
                </a:cxn>
                <a:cxn ang="0">
                  <a:pos x="connsiteX1538" y="connsiteY1538"/>
                </a:cxn>
                <a:cxn ang="0">
                  <a:pos x="connsiteX1539" y="connsiteY1539"/>
                </a:cxn>
                <a:cxn ang="0">
                  <a:pos x="connsiteX1540" y="connsiteY1540"/>
                </a:cxn>
                <a:cxn ang="0">
                  <a:pos x="connsiteX1541" y="connsiteY1541"/>
                </a:cxn>
                <a:cxn ang="0">
                  <a:pos x="connsiteX1542" y="connsiteY1542"/>
                </a:cxn>
                <a:cxn ang="0">
                  <a:pos x="connsiteX1543" y="connsiteY1543"/>
                </a:cxn>
                <a:cxn ang="0">
                  <a:pos x="connsiteX1544" y="connsiteY1544"/>
                </a:cxn>
                <a:cxn ang="0">
                  <a:pos x="connsiteX1545" y="connsiteY1545"/>
                </a:cxn>
                <a:cxn ang="0">
                  <a:pos x="connsiteX1546" y="connsiteY1546"/>
                </a:cxn>
                <a:cxn ang="0">
                  <a:pos x="connsiteX1547" y="connsiteY1547"/>
                </a:cxn>
                <a:cxn ang="0">
                  <a:pos x="connsiteX1548" y="connsiteY1548"/>
                </a:cxn>
                <a:cxn ang="0">
                  <a:pos x="connsiteX1549" y="connsiteY1549"/>
                </a:cxn>
                <a:cxn ang="0">
                  <a:pos x="connsiteX1550" y="connsiteY1550"/>
                </a:cxn>
                <a:cxn ang="0">
                  <a:pos x="connsiteX1551" y="connsiteY1551"/>
                </a:cxn>
                <a:cxn ang="0">
                  <a:pos x="connsiteX1552" y="connsiteY1552"/>
                </a:cxn>
                <a:cxn ang="0">
                  <a:pos x="connsiteX1553" y="connsiteY1553"/>
                </a:cxn>
                <a:cxn ang="0">
                  <a:pos x="connsiteX1554" y="connsiteY1554"/>
                </a:cxn>
                <a:cxn ang="0">
                  <a:pos x="connsiteX1555" y="connsiteY1555"/>
                </a:cxn>
                <a:cxn ang="0">
                  <a:pos x="connsiteX1556" y="connsiteY1556"/>
                </a:cxn>
                <a:cxn ang="0">
                  <a:pos x="connsiteX1557" y="connsiteY1557"/>
                </a:cxn>
                <a:cxn ang="0">
                  <a:pos x="connsiteX1558" y="connsiteY1558"/>
                </a:cxn>
                <a:cxn ang="0">
                  <a:pos x="connsiteX1559" y="connsiteY1559"/>
                </a:cxn>
                <a:cxn ang="0">
                  <a:pos x="connsiteX1560" y="connsiteY1560"/>
                </a:cxn>
                <a:cxn ang="0">
                  <a:pos x="connsiteX1561" y="connsiteY1561"/>
                </a:cxn>
                <a:cxn ang="0">
                  <a:pos x="connsiteX1562" y="connsiteY1562"/>
                </a:cxn>
                <a:cxn ang="0">
                  <a:pos x="connsiteX1563" y="connsiteY1563"/>
                </a:cxn>
                <a:cxn ang="0">
                  <a:pos x="connsiteX1564" y="connsiteY1564"/>
                </a:cxn>
                <a:cxn ang="0">
                  <a:pos x="connsiteX1565" y="connsiteY1565"/>
                </a:cxn>
                <a:cxn ang="0">
                  <a:pos x="connsiteX1566" y="connsiteY1566"/>
                </a:cxn>
                <a:cxn ang="0">
                  <a:pos x="connsiteX1567" y="connsiteY1567"/>
                </a:cxn>
                <a:cxn ang="0">
                  <a:pos x="connsiteX1568" y="connsiteY1568"/>
                </a:cxn>
                <a:cxn ang="0">
                  <a:pos x="connsiteX1569" y="connsiteY1569"/>
                </a:cxn>
                <a:cxn ang="0">
                  <a:pos x="connsiteX1570" y="connsiteY1570"/>
                </a:cxn>
                <a:cxn ang="0">
                  <a:pos x="connsiteX1571" y="connsiteY1571"/>
                </a:cxn>
                <a:cxn ang="0">
                  <a:pos x="connsiteX1572" y="connsiteY1572"/>
                </a:cxn>
                <a:cxn ang="0">
                  <a:pos x="connsiteX1573" y="connsiteY1573"/>
                </a:cxn>
                <a:cxn ang="0">
                  <a:pos x="connsiteX1574" y="connsiteY1574"/>
                </a:cxn>
                <a:cxn ang="0">
                  <a:pos x="connsiteX1575" y="connsiteY1575"/>
                </a:cxn>
                <a:cxn ang="0">
                  <a:pos x="connsiteX1576" y="connsiteY1576"/>
                </a:cxn>
                <a:cxn ang="0">
                  <a:pos x="connsiteX1577" y="connsiteY1577"/>
                </a:cxn>
                <a:cxn ang="0">
                  <a:pos x="connsiteX1578" y="connsiteY1578"/>
                </a:cxn>
                <a:cxn ang="0">
                  <a:pos x="connsiteX1579" y="connsiteY1579"/>
                </a:cxn>
                <a:cxn ang="0">
                  <a:pos x="connsiteX1580" y="connsiteY1580"/>
                </a:cxn>
                <a:cxn ang="0">
                  <a:pos x="connsiteX1581" y="connsiteY1581"/>
                </a:cxn>
                <a:cxn ang="0">
                  <a:pos x="connsiteX1582" y="connsiteY1582"/>
                </a:cxn>
                <a:cxn ang="0">
                  <a:pos x="connsiteX1583" y="connsiteY1583"/>
                </a:cxn>
                <a:cxn ang="0">
                  <a:pos x="connsiteX1584" y="connsiteY1584"/>
                </a:cxn>
                <a:cxn ang="0">
                  <a:pos x="connsiteX1585" y="connsiteY1585"/>
                </a:cxn>
                <a:cxn ang="0">
                  <a:pos x="connsiteX1586" y="connsiteY1586"/>
                </a:cxn>
                <a:cxn ang="0">
                  <a:pos x="connsiteX1587" y="connsiteY1587"/>
                </a:cxn>
                <a:cxn ang="0">
                  <a:pos x="connsiteX1588" y="connsiteY1588"/>
                </a:cxn>
                <a:cxn ang="0">
                  <a:pos x="connsiteX1589" y="connsiteY1589"/>
                </a:cxn>
                <a:cxn ang="0">
                  <a:pos x="connsiteX1590" y="connsiteY1590"/>
                </a:cxn>
                <a:cxn ang="0">
                  <a:pos x="connsiteX1591" y="connsiteY1591"/>
                </a:cxn>
                <a:cxn ang="0">
                  <a:pos x="connsiteX1592" y="connsiteY1592"/>
                </a:cxn>
                <a:cxn ang="0">
                  <a:pos x="connsiteX1593" y="connsiteY1593"/>
                </a:cxn>
                <a:cxn ang="0">
                  <a:pos x="connsiteX1594" y="connsiteY1594"/>
                </a:cxn>
                <a:cxn ang="0">
                  <a:pos x="connsiteX1595" y="connsiteY1595"/>
                </a:cxn>
                <a:cxn ang="0">
                  <a:pos x="connsiteX1596" y="connsiteY1596"/>
                </a:cxn>
                <a:cxn ang="0">
                  <a:pos x="connsiteX1597" y="connsiteY1597"/>
                </a:cxn>
                <a:cxn ang="0">
                  <a:pos x="connsiteX1598" y="connsiteY1598"/>
                </a:cxn>
                <a:cxn ang="0">
                  <a:pos x="connsiteX1599" y="connsiteY1599"/>
                </a:cxn>
                <a:cxn ang="0">
                  <a:pos x="connsiteX1600" y="connsiteY1600"/>
                </a:cxn>
                <a:cxn ang="0">
                  <a:pos x="connsiteX1601" y="connsiteY1601"/>
                </a:cxn>
                <a:cxn ang="0">
                  <a:pos x="connsiteX1602" y="connsiteY1602"/>
                </a:cxn>
                <a:cxn ang="0">
                  <a:pos x="connsiteX1603" y="connsiteY1603"/>
                </a:cxn>
                <a:cxn ang="0">
                  <a:pos x="connsiteX1604" y="connsiteY1604"/>
                </a:cxn>
                <a:cxn ang="0">
                  <a:pos x="connsiteX1605" y="connsiteY1605"/>
                </a:cxn>
                <a:cxn ang="0">
                  <a:pos x="connsiteX1606" y="connsiteY1606"/>
                </a:cxn>
                <a:cxn ang="0">
                  <a:pos x="connsiteX1607" y="connsiteY1607"/>
                </a:cxn>
                <a:cxn ang="0">
                  <a:pos x="connsiteX1608" y="connsiteY1608"/>
                </a:cxn>
                <a:cxn ang="0">
                  <a:pos x="connsiteX1609" y="connsiteY1609"/>
                </a:cxn>
                <a:cxn ang="0">
                  <a:pos x="connsiteX1610" y="connsiteY1610"/>
                </a:cxn>
                <a:cxn ang="0">
                  <a:pos x="connsiteX1611" y="connsiteY1611"/>
                </a:cxn>
                <a:cxn ang="0">
                  <a:pos x="connsiteX1612" y="connsiteY1612"/>
                </a:cxn>
                <a:cxn ang="0">
                  <a:pos x="connsiteX1613" y="connsiteY1613"/>
                </a:cxn>
                <a:cxn ang="0">
                  <a:pos x="connsiteX1614" y="connsiteY1614"/>
                </a:cxn>
                <a:cxn ang="0">
                  <a:pos x="connsiteX1615" y="connsiteY1615"/>
                </a:cxn>
                <a:cxn ang="0">
                  <a:pos x="connsiteX1616" y="connsiteY1616"/>
                </a:cxn>
                <a:cxn ang="0">
                  <a:pos x="connsiteX1617" y="connsiteY1617"/>
                </a:cxn>
                <a:cxn ang="0">
                  <a:pos x="connsiteX1618" y="connsiteY1618"/>
                </a:cxn>
                <a:cxn ang="0">
                  <a:pos x="connsiteX1619" y="connsiteY1619"/>
                </a:cxn>
                <a:cxn ang="0">
                  <a:pos x="connsiteX1620" y="connsiteY1620"/>
                </a:cxn>
                <a:cxn ang="0">
                  <a:pos x="connsiteX1621" y="connsiteY1621"/>
                </a:cxn>
                <a:cxn ang="0">
                  <a:pos x="connsiteX1622" y="connsiteY1622"/>
                </a:cxn>
                <a:cxn ang="0">
                  <a:pos x="connsiteX1623" y="connsiteY1623"/>
                </a:cxn>
                <a:cxn ang="0">
                  <a:pos x="connsiteX1624" y="connsiteY1624"/>
                </a:cxn>
                <a:cxn ang="0">
                  <a:pos x="connsiteX1625" y="connsiteY1625"/>
                </a:cxn>
                <a:cxn ang="0">
                  <a:pos x="connsiteX1626" y="connsiteY1626"/>
                </a:cxn>
                <a:cxn ang="0">
                  <a:pos x="connsiteX1627" y="connsiteY1627"/>
                </a:cxn>
                <a:cxn ang="0">
                  <a:pos x="connsiteX1628" y="connsiteY1628"/>
                </a:cxn>
                <a:cxn ang="0">
                  <a:pos x="connsiteX1629" y="connsiteY1629"/>
                </a:cxn>
                <a:cxn ang="0">
                  <a:pos x="connsiteX1630" y="connsiteY1630"/>
                </a:cxn>
                <a:cxn ang="0">
                  <a:pos x="connsiteX1631" y="connsiteY1631"/>
                </a:cxn>
                <a:cxn ang="0">
                  <a:pos x="connsiteX1632" y="connsiteY1632"/>
                </a:cxn>
                <a:cxn ang="0">
                  <a:pos x="connsiteX1633" y="connsiteY1633"/>
                </a:cxn>
                <a:cxn ang="0">
                  <a:pos x="connsiteX1634" y="connsiteY1634"/>
                </a:cxn>
                <a:cxn ang="0">
                  <a:pos x="connsiteX1635" y="connsiteY1635"/>
                </a:cxn>
                <a:cxn ang="0">
                  <a:pos x="connsiteX1636" y="connsiteY1636"/>
                </a:cxn>
                <a:cxn ang="0">
                  <a:pos x="connsiteX1637" y="connsiteY1637"/>
                </a:cxn>
                <a:cxn ang="0">
                  <a:pos x="connsiteX1638" y="connsiteY1638"/>
                </a:cxn>
                <a:cxn ang="0">
                  <a:pos x="connsiteX1639" y="connsiteY1639"/>
                </a:cxn>
                <a:cxn ang="0">
                  <a:pos x="connsiteX1640" y="connsiteY1640"/>
                </a:cxn>
                <a:cxn ang="0">
                  <a:pos x="connsiteX1641" y="connsiteY1641"/>
                </a:cxn>
                <a:cxn ang="0">
                  <a:pos x="connsiteX1642" y="connsiteY1642"/>
                </a:cxn>
                <a:cxn ang="0">
                  <a:pos x="connsiteX1643" y="connsiteY1643"/>
                </a:cxn>
                <a:cxn ang="0">
                  <a:pos x="connsiteX1644" y="connsiteY1644"/>
                </a:cxn>
                <a:cxn ang="0">
                  <a:pos x="connsiteX1645" y="connsiteY1645"/>
                </a:cxn>
                <a:cxn ang="0">
                  <a:pos x="connsiteX1646" y="connsiteY1646"/>
                </a:cxn>
                <a:cxn ang="0">
                  <a:pos x="connsiteX1647" y="connsiteY1647"/>
                </a:cxn>
                <a:cxn ang="0">
                  <a:pos x="connsiteX1648" y="connsiteY1648"/>
                </a:cxn>
                <a:cxn ang="0">
                  <a:pos x="connsiteX1649" y="connsiteY1649"/>
                </a:cxn>
                <a:cxn ang="0">
                  <a:pos x="connsiteX1650" y="connsiteY1650"/>
                </a:cxn>
                <a:cxn ang="0">
                  <a:pos x="connsiteX1651" y="connsiteY1651"/>
                </a:cxn>
                <a:cxn ang="0">
                  <a:pos x="connsiteX1652" y="connsiteY1652"/>
                </a:cxn>
                <a:cxn ang="0">
                  <a:pos x="connsiteX1653" y="connsiteY1653"/>
                </a:cxn>
                <a:cxn ang="0">
                  <a:pos x="connsiteX1654" y="connsiteY1654"/>
                </a:cxn>
                <a:cxn ang="0">
                  <a:pos x="connsiteX1655" y="connsiteY1655"/>
                </a:cxn>
                <a:cxn ang="0">
                  <a:pos x="connsiteX1656" y="connsiteY1656"/>
                </a:cxn>
                <a:cxn ang="0">
                  <a:pos x="connsiteX1657" y="connsiteY1657"/>
                </a:cxn>
                <a:cxn ang="0">
                  <a:pos x="connsiteX1658" y="connsiteY1658"/>
                </a:cxn>
                <a:cxn ang="0">
                  <a:pos x="connsiteX1659" y="connsiteY1659"/>
                </a:cxn>
                <a:cxn ang="0">
                  <a:pos x="connsiteX1660" y="connsiteY1660"/>
                </a:cxn>
                <a:cxn ang="0">
                  <a:pos x="connsiteX1661" y="connsiteY1661"/>
                </a:cxn>
                <a:cxn ang="0">
                  <a:pos x="connsiteX1662" y="connsiteY1662"/>
                </a:cxn>
                <a:cxn ang="0">
                  <a:pos x="connsiteX1663" y="connsiteY1663"/>
                </a:cxn>
                <a:cxn ang="0">
                  <a:pos x="connsiteX1664" y="connsiteY1664"/>
                </a:cxn>
                <a:cxn ang="0">
                  <a:pos x="connsiteX1665" y="connsiteY1665"/>
                </a:cxn>
                <a:cxn ang="0">
                  <a:pos x="connsiteX1666" y="connsiteY1666"/>
                </a:cxn>
                <a:cxn ang="0">
                  <a:pos x="connsiteX1667" y="connsiteY1667"/>
                </a:cxn>
                <a:cxn ang="0">
                  <a:pos x="connsiteX1668" y="connsiteY1668"/>
                </a:cxn>
                <a:cxn ang="0">
                  <a:pos x="connsiteX1669" y="connsiteY1669"/>
                </a:cxn>
                <a:cxn ang="0">
                  <a:pos x="connsiteX1670" y="connsiteY1670"/>
                </a:cxn>
                <a:cxn ang="0">
                  <a:pos x="connsiteX1671" y="connsiteY1671"/>
                </a:cxn>
                <a:cxn ang="0">
                  <a:pos x="connsiteX1672" y="connsiteY1672"/>
                </a:cxn>
                <a:cxn ang="0">
                  <a:pos x="connsiteX1673" y="connsiteY1673"/>
                </a:cxn>
                <a:cxn ang="0">
                  <a:pos x="connsiteX1674" y="connsiteY1674"/>
                </a:cxn>
                <a:cxn ang="0">
                  <a:pos x="connsiteX1675" y="connsiteY1675"/>
                </a:cxn>
                <a:cxn ang="0">
                  <a:pos x="connsiteX1676" y="connsiteY1676"/>
                </a:cxn>
                <a:cxn ang="0">
                  <a:pos x="connsiteX1677" y="connsiteY1677"/>
                </a:cxn>
                <a:cxn ang="0">
                  <a:pos x="connsiteX1678" y="connsiteY1678"/>
                </a:cxn>
                <a:cxn ang="0">
                  <a:pos x="connsiteX1679" y="connsiteY1679"/>
                </a:cxn>
                <a:cxn ang="0">
                  <a:pos x="connsiteX1680" y="connsiteY1680"/>
                </a:cxn>
                <a:cxn ang="0">
                  <a:pos x="connsiteX1681" y="connsiteY1681"/>
                </a:cxn>
                <a:cxn ang="0">
                  <a:pos x="connsiteX1682" y="connsiteY1682"/>
                </a:cxn>
                <a:cxn ang="0">
                  <a:pos x="connsiteX1683" y="connsiteY1683"/>
                </a:cxn>
                <a:cxn ang="0">
                  <a:pos x="connsiteX1684" y="connsiteY1684"/>
                </a:cxn>
                <a:cxn ang="0">
                  <a:pos x="connsiteX1685" y="connsiteY1685"/>
                </a:cxn>
                <a:cxn ang="0">
                  <a:pos x="connsiteX1686" y="connsiteY1686"/>
                </a:cxn>
                <a:cxn ang="0">
                  <a:pos x="connsiteX1687" y="connsiteY1687"/>
                </a:cxn>
                <a:cxn ang="0">
                  <a:pos x="connsiteX1688" y="connsiteY1688"/>
                </a:cxn>
                <a:cxn ang="0">
                  <a:pos x="connsiteX1689" y="connsiteY1689"/>
                </a:cxn>
                <a:cxn ang="0">
                  <a:pos x="connsiteX1690" y="connsiteY1690"/>
                </a:cxn>
                <a:cxn ang="0">
                  <a:pos x="connsiteX1691" y="connsiteY1691"/>
                </a:cxn>
                <a:cxn ang="0">
                  <a:pos x="connsiteX1692" y="connsiteY1692"/>
                </a:cxn>
                <a:cxn ang="0">
                  <a:pos x="connsiteX1693" y="connsiteY1693"/>
                </a:cxn>
                <a:cxn ang="0">
                  <a:pos x="connsiteX1694" y="connsiteY1694"/>
                </a:cxn>
                <a:cxn ang="0">
                  <a:pos x="connsiteX1695" y="connsiteY1695"/>
                </a:cxn>
                <a:cxn ang="0">
                  <a:pos x="connsiteX1696" y="connsiteY1696"/>
                </a:cxn>
                <a:cxn ang="0">
                  <a:pos x="connsiteX1697" y="connsiteY1697"/>
                </a:cxn>
                <a:cxn ang="0">
                  <a:pos x="connsiteX1698" y="connsiteY1698"/>
                </a:cxn>
                <a:cxn ang="0">
                  <a:pos x="connsiteX1699" y="connsiteY1699"/>
                </a:cxn>
                <a:cxn ang="0">
                  <a:pos x="connsiteX1700" y="connsiteY1700"/>
                </a:cxn>
                <a:cxn ang="0">
                  <a:pos x="connsiteX1701" y="connsiteY1701"/>
                </a:cxn>
                <a:cxn ang="0">
                  <a:pos x="connsiteX1702" y="connsiteY1702"/>
                </a:cxn>
                <a:cxn ang="0">
                  <a:pos x="connsiteX1703" y="connsiteY1703"/>
                </a:cxn>
                <a:cxn ang="0">
                  <a:pos x="connsiteX1704" y="connsiteY1704"/>
                </a:cxn>
                <a:cxn ang="0">
                  <a:pos x="connsiteX1705" y="connsiteY1705"/>
                </a:cxn>
                <a:cxn ang="0">
                  <a:pos x="connsiteX1706" y="connsiteY1706"/>
                </a:cxn>
                <a:cxn ang="0">
                  <a:pos x="connsiteX1707" y="connsiteY1707"/>
                </a:cxn>
                <a:cxn ang="0">
                  <a:pos x="connsiteX1708" y="connsiteY1708"/>
                </a:cxn>
                <a:cxn ang="0">
                  <a:pos x="connsiteX1709" y="connsiteY1709"/>
                </a:cxn>
                <a:cxn ang="0">
                  <a:pos x="connsiteX1710" y="connsiteY1710"/>
                </a:cxn>
                <a:cxn ang="0">
                  <a:pos x="connsiteX1711" y="connsiteY1711"/>
                </a:cxn>
                <a:cxn ang="0">
                  <a:pos x="connsiteX1712" y="connsiteY1712"/>
                </a:cxn>
                <a:cxn ang="0">
                  <a:pos x="connsiteX1713" y="connsiteY1713"/>
                </a:cxn>
                <a:cxn ang="0">
                  <a:pos x="connsiteX1714" y="connsiteY1714"/>
                </a:cxn>
                <a:cxn ang="0">
                  <a:pos x="connsiteX1715" y="connsiteY1715"/>
                </a:cxn>
                <a:cxn ang="0">
                  <a:pos x="connsiteX1716" y="connsiteY1716"/>
                </a:cxn>
                <a:cxn ang="0">
                  <a:pos x="connsiteX1717" y="connsiteY1717"/>
                </a:cxn>
                <a:cxn ang="0">
                  <a:pos x="connsiteX1718" y="connsiteY1718"/>
                </a:cxn>
                <a:cxn ang="0">
                  <a:pos x="connsiteX1719" y="connsiteY1719"/>
                </a:cxn>
                <a:cxn ang="0">
                  <a:pos x="connsiteX1720" y="connsiteY1720"/>
                </a:cxn>
                <a:cxn ang="0">
                  <a:pos x="connsiteX1721" y="connsiteY1721"/>
                </a:cxn>
                <a:cxn ang="0">
                  <a:pos x="connsiteX1722" y="connsiteY1722"/>
                </a:cxn>
                <a:cxn ang="0">
                  <a:pos x="connsiteX1723" y="connsiteY1723"/>
                </a:cxn>
                <a:cxn ang="0">
                  <a:pos x="connsiteX1724" y="connsiteY1724"/>
                </a:cxn>
                <a:cxn ang="0">
                  <a:pos x="connsiteX1725" y="connsiteY1725"/>
                </a:cxn>
                <a:cxn ang="0">
                  <a:pos x="connsiteX1726" y="connsiteY1726"/>
                </a:cxn>
                <a:cxn ang="0">
                  <a:pos x="connsiteX1727" y="connsiteY1727"/>
                </a:cxn>
                <a:cxn ang="0">
                  <a:pos x="connsiteX1728" y="connsiteY1728"/>
                </a:cxn>
                <a:cxn ang="0">
                  <a:pos x="connsiteX1729" y="connsiteY1729"/>
                </a:cxn>
                <a:cxn ang="0">
                  <a:pos x="connsiteX1730" y="connsiteY1730"/>
                </a:cxn>
                <a:cxn ang="0">
                  <a:pos x="connsiteX1731" y="connsiteY1731"/>
                </a:cxn>
                <a:cxn ang="0">
                  <a:pos x="connsiteX1732" y="connsiteY1732"/>
                </a:cxn>
                <a:cxn ang="0">
                  <a:pos x="connsiteX1733" y="connsiteY1733"/>
                </a:cxn>
                <a:cxn ang="0">
                  <a:pos x="connsiteX1734" y="connsiteY1734"/>
                </a:cxn>
                <a:cxn ang="0">
                  <a:pos x="connsiteX1735" y="connsiteY1735"/>
                </a:cxn>
                <a:cxn ang="0">
                  <a:pos x="connsiteX1736" y="connsiteY1736"/>
                </a:cxn>
                <a:cxn ang="0">
                  <a:pos x="connsiteX1737" y="connsiteY1737"/>
                </a:cxn>
                <a:cxn ang="0">
                  <a:pos x="connsiteX1738" y="connsiteY1738"/>
                </a:cxn>
                <a:cxn ang="0">
                  <a:pos x="connsiteX1739" y="connsiteY1739"/>
                </a:cxn>
                <a:cxn ang="0">
                  <a:pos x="connsiteX1740" y="connsiteY1740"/>
                </a:cxn>
                <a:cxn ang="0">
                  <a:pos x="connsiteX1741" y="connsiteY1741"/>
                </a:cxn>
              </a:cxnLst>
              <a:rect l="l" t="t" r="r" b="b"/>
              <a:pathLst>
                <a:path w="4940931" h="138429">
                  <a:moveTo>
                    <a:pt x="1032512" y="137477"/>
                  </a:moveTo>
                  <a:lnTo>
                    <a:pt x="1032512" y="137794"/>
                  </a:lnTo>
                  <a:lnTo>
                    <a:pt x="1030607" y="138429"/>
                  </a:lnTo>
                  <a:close/>
                  <a:moveTo>
                    <a:pt x="4929501" y="87629"/>
                  </a:moveTo>
                  <a:cubicBezTo>
                    <a:pt x="4930771" y="87629"/>
                    <a:pt x="4932676" y="87629"/>
                    <a:pt x="4933946" y="88264"/>
                  </a:cubicBezTo>
                  <a:cubicBezTo>
                    <a:pt x="4935216" y="88264"/>
                    <a:pt x="4936486" y="89534"/>
                    <a:pt x="4937756" y="90804"/>
                  </a:cubicBezTo>
                  <a:cubicBezTo>
                    <a:pt x="4939026" y="92074"/>
                    <a:pt x="4939661" y="93344"/>
                    <a:pt x="4940296" y="94614"/>
                  </a:cubicBezTo>
                  <a:cubicBezTo>
                    <a:pt x="4940296" y="95884"/>
                    <a:pt x="4940931" y="97789"/>
                    <a:pt x="4940931" y="99059"/>
                  </a:cubicBezTo>
                  <a:cubicBezTo>
                    <a:pt x="4940931" y="99059"/>
                    <a:pt x="4940931" y="102234"/>
                    <a:pt x="4940296" y="103504"/>
                  </a:cubicBezTo>
                  <a:cubicBezTo>
                    <a:pt x="4940296" y="104774"/>
                    <a:pt x="4939026" y="106044"/>
                    <a:pt x="4937756" y="107314"/>
                  </a:cubicBezTo>
                  <a:cubicBezTo>
                    <a:pt x="4936486" y="108584"/>
                    <a:pt x="4935216" y="109219"/>
                    <a:pt x="4933946" y="109854"/>
                  </a:cubicBezTo>
                  <a:cubicBezTo>
                    <a:pt x="4932676" y="109854"/>
                    <a:pt x="4930771" y="110489"/>
                    <a:pt x="4929501" y="110489"/>
                  </a:cubicBezTo>
                  <a:cubicBezTo>
                    <a:pt x="4928231" y="110489"/>
                    <a:pt x="4926326" y="110489"/>
                    <a:pt x="4925056" y="109854"/>
                  </a:cubicBezTo>
                  <a:cubicBezTo>
                    <a:pt x="4923786" y="109854"/>
                    <a:pt x="4922516" y="108584"/>
                    <a:pt x="4921246" y="107314"/>
                  </a:cubicBezTo>
                  <a:cubicBezTo>
                    <a:pt x="4919976" y="106044"/>
                    <a:pt x="4919341" y="104774"/>
                    <a:pt x="4918706" y="103504"/>
                  </a:cubicBezTo>
                  <a:cubicBezTo>
                    <a:pt x="4918706" y="102234"/>
                    <a:pt x="4918071" y="100329"/>
                    <a:pt x="4918071" y="99059"/>
                  </a:cubicBezTo>
                  <a:cubicBezTo>
                    <a:pt x="4918071" y="97789"/>
                    <a:pt x="4918071" y="95884"/>
                    <a:pt x="4918706" y="94614"/>
                  </a:cubicBezTo>
                  <a:cubicBezTo>
                    <a:pt x="4918706" y="93344"/>
                    <a:pt x="4919976" y="92074"/>
                    <a:pt x="4921246" y="90804"/>
                  </a:cubicBezTo>
                  <a:cubicBezTo>
                    <a:pt x="4922516" y="89534"/>
                    <a:pt x="4923786" y="88899"/>
                    <a:pt x="4925056" y="88264"/>
                  </a:cubicBezTo>
                  <a:cubicBezTo>
                    <a:pt x="4926326" y="88264"/>
                    <a:pt x="4928231" y="87629"/>
                    <a:pt x="4929501" y="87629"/>
                  </a:cubicBezTo>
                  <a:close/>
                  <a:moveTo>
                    <a:pt x="3079110" y="87629"/>
                  </a:moveTo>
                  <a:cubicBezTo>
                    <a:pt x="3080380" y="87629"/>
                    <a:pt x="3082285" y="87629"/>
                    <a:pt x="3083555" y="88264"/>
                  </a:cubicBezTo>
                  <a:cubicBezTo>
                    <a:pt x="3084825" y="88264"/>
                    <a:pt x="3086095" y="89534"/>
                    <a:pt x="3087365" y="90804"/>
                  </a:cubicBezTo>
                  <a:cubicBezTo>
                    <a:pt x="3088635" y="92074"/>
                    <a:pt x="3089270" y="93344"/>
                    <a:pt x="3089905" y="94614"/>
                  </a:cubicBezTo>
                  <a:cubicBezTo>
                    <a:pt x="3089905" y="95884"/>
                    <a:pt x="3090540" y="97789"/>
                    <a:pt x="3090540" y="99059"/>
                  </a:cubicBezTo>
                  <a:cubicBezTo>
                    <a:pt x="3090540" y="99059"/>
                    <a:pt x="3090540" y="102234"/>
                    <a:pt x="3089905" y="103504"/>
                  </a:cubicBezTo>
                  <a:cubicBezTo>
                    <a:pt x="3089905" y="104774"/>
                    <a:pt x="3088635" y="106044"/>
                    <a:pt x="3087365" y="107314"/>
                  </a:cubicBezTo>
                  <a:cubicBezTo>
                    <a:pt x="3086095" y="108584"/>
                    <a:pt x="3084825" y="109219"/>
                    <a:pt x="3083555" y="109854"/>
                  </a:cubicBezTo>
                  <a:cubicBezTo>
                    <a:pt x="3082285" y="109854"/>
                    <a:pt x="3080380" y="110489"/>
                    <a:pt x="3079110" y="110489"/>
                  </a:cubicBezTo>
                  <a:cubicBezTo>
                    <a:pt x="3077840" y="110489"/>
                    <a:pt x="3075935" y="110489"/>
                    <a:pt x="3074665" y="109854"/>
                  </a:cubicBezTo>
                  <a:cubicBezTo>
                    <a:pt x="3073395" y="109854"/>
                    <a:pt x="3072125" y="108584"/>
                    <a:pt x="3070855" y="107314"/>
                  </a:cubicBezTo>
                  <a:cubicBezTo>
                    <a:pt x="3069585" y="106044"/>
                    <a:pt x="3068950" y="104774"/>
                    <a:pt x="3068315" y="103504"/>
                  </a:cubicBezTo>
                  <a:cubicBezTo>
                    <a:pt x="3068315" y="102234"/>
                    <a:pt x="3067680" y="100329"/>
                    <a:pt x="3067680" y="99059"/>
                  </a:cubicBezTo>
                  <a:cubicBezTo>
                    <a:pt x="3067680" y="97789"/>
                    <a:pt x="3067680" y="95884"/>
                    <a:pt x="3068315" y="94614"/>
                  </a:cubicBezTo>
                  <a:cubicBezTo>
                    <a:pt x="3068315" y="93344"/>
                    <a:pt x="3069585" y="92074"/>
                    <a:pt x="3070855" y="90804"/>
                  </a:cubicBezTo>
                  <a:cubicBezTo>
                    <a:pt x="3072125" y="89534"/>
                    <a:pt x="3073395" y="88899"/>
                    <a:pt x="3074665" y="88264"/>
                  </a:cubicBezTo>
                  <a:cubicBezTo>
                    <a:pt x="3075935" y="88264"/>
                    <a:pt x="3077840" y="87629"/>
                    <a:pt x="3079110" y="87629"/>
                  </a:cubicBezTo>
                  <a:close/>
                  <a:moveTo>
                    <a:pt x="1565275" y="87629"/>
                  </a:moveTo>
                  <a:cubicBezTo>
                    <a:pt x="1566545" y="87629"/>
                    <a:pt x="1568450" y="87629"/>
                    <a:pt x="1569720" y="88264"/>
                  </a:cubicBezTo>
                  <a:cubicBezTo>
                    <a:pt x="1570990" y="88264"/>
                    <a:pt x="1572260" y="89534"/>
                    <a:pt x="1573529" y="90804"/>
                  </a:cubicBezTo>
                  <a:cubicBezTo>
                    <a:pt x="1574800" y="92074"/>
                    <a:pt x="1575435" y="93344"/>
                    <a:pt x="1576069" y="94614"/>
                  </a:cubicBezTo>
                  <a:cubicBezTo>
                    <a:pt x="1576069" y="95884"/>
                    <a:pt x="1576705" y="97789"/>
                    <a:pt x="1576705" y="99059"/>
                  </a:cubicBezTo>
                  <a:cubicBezTo>
                    <a:pt x="1576705" y="99059"/>
                    <a:pt x="1576705" y="102234"/>
                    <a:pt x="1576069" y="103504"/>
                  </a:cubicBezTo>
                  <a:cubicBezTo>
                    <a:pt x="1576069" y="104774"/>
                    <a:pt x="1574800" y="106044"/>
                    <a:pt x="1573529" y="107314"/>
                  </a:cubicBezTo>
                  <a:cubicBezTo>
                    <a:pt x="1572260" y="108584"/>
                    <a:pt x="1570990" y="109219"/>
                    <a:pt x="1569720" y="109854"/>
                  </a:cubicBezTo>
                  <a:cubicBezTo>
                    <a:pt x="1568450" y="109854"/>
                    <a:pt x="1566545" y="110489"/>
                    <a:pt x="1565275" y="110489"/>
                  </a:cubicBezTo>
                  <a:cubicBezTo>
                    <a:pt x="1564005" y="110489"/>
                    <a:pt x="1562099" y="110489"/>
                    <a:pt x="1560830" y="109854"/>
                  </a:cubicBezTo>
                  <a:cubicBezTo>
                    <a:pt x="1559559" y="109854"/>
                    <a:pt x="1558289" y="108584"/>
                    <a:pt x="1557020" y="107314"/>
                  </a:cubicBezTo>
                  <a:cubicBezTo>
                    <a:pt x="1555750" y="106044"/>
                    <a:pt x="1555114" y="104774"/>
                    <a:pt x="1554479" y="103504"/>
                  </a:cubicBezTo>
                  <a:cubicBezTo>
                    <a:pt x="1554479" y="102234"/>
                    <a:pt x="1553844" y="100329"/>
                    <a:pt x="1553844" y="99059"/>
                  </a:cubicBezTo>
                  <a:cubicBezTo>
                    <a:pt x="1553844" y="97789"/>
                    <a:pt x="1553844" y="95884"/>
                    <a:pt x="1554479" y="94614"/>
                  </a:cubicBezTo>
                  <a:cubicBezTo>
                    <a:pt x="1554479" y="93344"/>
                    <a:pt x="1555750" y="92074"/>
                    <a:pt x="1557020" y="90804"/>
                  </a:cubicBezTo>
                  <a:cubicBezTo>
                    <a:pt x="1558289" y="89534"/>
                    <a:pt x="1559559" y="88899"/>
                    <a:pt x="1560830" y="88264"/>
                  </a:cubicBezTo>
                  <a:cubicBezTo>
                    <a:pt x="1562099" y="88264"/>
                    <a:pt x="1564005" y="87629"/>
                    <a:pt x="1565275" y="87629"/>
                  </a:cubicBezTo>
                  <a:close/>
                  <a:moveTo>
                    <a:pt x="2642230" y="73024"/>
                  </a:moveTo>
                  <a:cubicBezTo>
                    <a:pt x="2637150" y="73024"/>
                    <a:pt x="2633340" y="74294"/>
                    <a:pt x="2630800" y="76199"/>
                  </a:cubicBezTo>
                  <a:cubicBezTo>
                    <a:pt x="2627625" y="78104"/>
                    <a:pt x="2626355" y="81279"/>
                    <a:pt x="2626355" y="84454"/>
                  </a:cubicBezTo>
                  <a:cubicBezTo>
                    <a:pt x="2626355" y="86994"/>
                    <a:pt x="2626355" y="88899"/>
                    <a:pt x="2627625" y="90169"/>
                  </a:cubicBezTo>
                  <a:cubicBezTo>
                    <a:pt x="2628260" y="92074"/>
                    <a:pt x="2629530" y="93344"/>
                    <a:pt x="2630800" y="93979"/>
                  </a:cubicBezTo>
                  <a:cubicBezTo>
                    <a:pt x="2632070" y="95249"/>
                    <a:pt x="2633340" y="95884"/>
                    <a:pt x="2635245" y="96519"/>
                  </a:cubicBezTo>
                  <a:cubicBezTo>
                    <a:pt x="2637150" y="96519"/>
                    <a:pt x="2639055" y="97154"/>
                    <a:pt x="2641595" y="97154"/>
                  </a:cubicBezTo>
                  <a:cubicBezTo>
                    <a:pt x="2643500" y="97154"/>
                    <a:pt x="2645405" y="97154"/>
                    <a:pt x="2647310" y="96519"/>
                  </a:cubicBezTo>
                  <a:cubicBezTo>
                    <a:pt x="2649215" y="96519"/>
                    <a:pt x="2651120" y="95249"/>
                    <a:pt x="2652390" y="93979"/>
                  </a:cubicBezTo>
                  <a:cubicBezTo>
                    <a:pt x="2654295" y="93344"/>
                    <a:pt x="2655565" y="92074"/>
                    <a:pt x="2656835" y="90804"/>
                  </a:cubicBezTo>
                  <a:cubicBezTo>
                    <a:pt x="2658105" y="89534"/>
                    <a:pt x="2659375" y="88264"/>
                    <a:pt x="2660010" y="86994"/>
                  </a:cubicBezTo>
                  <a:lnTo>
                    <a:pt x="2660010" y="75564"/>
                  </a:lnTo>
                  <a:cubicBezTo>
                    <a:pt x="2660010" y="75564"/>
                    <a:pt x="2657470" y="74294"/>
                    <a:pt x="2656200" y="74294"/>
                  </a:cubicBezTo>
                  <a:cubicBezTo>
                    <a:pt x="2654930" y="74294"/>
                    <a:pt x="2653660" y="73659"/>
                    <a:pt x="2652390" y="73659"/>
                  </a:cubicBezTo>
                  <a:cubicBezTo>
                    <a:pt x="2651120" y="73659"/>
                    <a:pt x="2649850" y="73659"/>
                    <a:pt x="2647945" y="73024"/>
                  </a:cubicBezTo>
                  <a:cubicBezTo>
                    <a:pt x="2646040" y="73024"/>
                    <a:pt x="2644135" y="73024"/>
                    <a:pt x="2642230" y="73024"/>
                  </a:cubicBezTo>
                  <a:close/>
                  <a:moveTo>
                    <a:pt x="4664706" y="43814"/>
                  </a:moveTo>
                  <a:cubicBezTo>
                    <a:pt x="4661531" y="43814"/>
                    <a:pt x="4658991" y="43814"/>
                    <a:pt x="4657086" y="45719"/>
                  </a:cubicBezTo>
                  <a:cubicBezTo>
                    <a:pt x="4654546" y="46989"/>
                    <a:pt x="4652641" y="48894"/>
                    <a:pt x="4651371" y="50799"/>
                  </a:cubicBezTo>
                  <a:cubicBezTo>
                    <a:pt x="4649466" y="53339"/>
                    <a:pt x="4648831" y="55879"/>
                    <a:pt x="4647561" y="59054"/>
                  </a:cubicBezTo>
                  <a:cubicBezTo>
                    <a:pt x="4646926" y="62229"/>
                    <a:pt x="4646291" y="65404"/>
                    <a:pt x="4646291" y="69849"/>
                  </a:cubicBezTo>
                  <a:cubicBezTo>
                    <a:pt x="4646291" y="74294"/>
                    <a:pt x="4646291" y="78104"/>
                    <a:pt x="4647561" y="81279"/>
                  </a:cubicBezTo>
                  <a:cubicBezTo>
                    <a:pt x="4648196" y="84454"/>
                    <a:pt x="4650101" y="87629"/>
                    <a:pt x="4651371" y="89534"/>
                  </a:cubicBezTo>
                  <a:cubicBezTo>
                    <a:pt x="4653276" y="92074"/>
                    <a:pt x="4655181" y="93344"/>
                    <a:pt x="4657721" y="94614"/>
                  </a:cubicBezTo>
                  <a:cubicBezTo>
                    <a:pt x="4660261" y="95884"/>
                    <a:pt x="4662801" y="96519"/>
                    <a:pt x="4665341" y="96519"/>
                  </a:cubicBezTo>
                  <a:cubicBezTo>
                    <a:pt x="4667881" y="96519"/>
                    <a:pt x="4671056" y="95884"/>
                    <a:pt x="4672961" y="94614"/>
                  </a:cubicBezTo>
                  <a:cubicBezTo>
                    <a:pt x="4675501" y="93344"/>
                    <a:pt x="4677406" y="91439"/>
                    <a:pt x="4678676" y="88899"/>
                  </a:cubicBezTo>
                  <a:cubicBezTo>
                    <a:pt x="4680581" y="86359"/>
                    <a:pt x="4681851" y="83819"/>
                    <a:pt x="4682486" y="80644"/>
                  </a:cubicBezTo>
                  <a:cubicBezTo>
                    <a:pt x="4683121" y="77469"/>
                    <a:pt x="4683756" y="74294"/>
                    <a:pt x="4683756" y="70484"/>
                  </a:cubicBezTo>
                  <a:lnTo>
                    <a:pt x="4684391" y="69849"/>
                  </a:lnTo>
                  <a:cubicBezTo>
                    <a:pt x="4684391" y="66039"/>
                    <a:pt x="4684391" y="62229"/>
                    <a:pt x="4683121" y="59054"/>
                  </a:cubicBezTo>
                  <a:cubicBezTo>
                    <a:pt x="4682486" y="55879"/>
                    <a:pt x="4680581" y="53339"/>
                    <a:pt x="4679311" y="50799"/>
                  </a:cubicBezTo>
                  <a:cubicBezTo>
                    <a:pt x="4677406" y="48259"/>
                    <a:pt x="4675501" y="46989"/>
                    <a:pt x="4672961" y="45719"/>
                  </a:cubicBezTo>
                  <a:cubicBezTo>
                    <a:pt x="4670421" y="44449"/>
                    <a:pt x="4667881" y="43814"/>
                    <a:pt x="4664706" y="43814"/>
                  </a:cubicBezTo>
                  <a:close/>
                  <a:moveTo>
                    <a:pt x="4264020" y="43814"/>
                  </a:moveTo>
                  <a:cubicBezTo>
                    <a:pt x="4260845" y="43814"/>
                    <a:pt x="4258305" y="43814"/>
                    <a:pt x="4256400" y="45719"/>
                  </a:cubicBezTo>
                  <a:cubicBezTo>
                    <a:pt x="4253860" y="46989"/>
                    <a:pt x="4251955" y="48894"/>
                    <a:pt x="4250685" y="50799"/>
                  </a:cubicBezTo>
                  <a:cubicBezTo>
                    <a:pt x="4248780" y="53339"/>
                    <a:pt x="4247510" y="55879"/>
                    <a:pt x="4246875" y="59054"/>
                  </a:cubicBezTo>
                  <a:cubicBezTo>
                    <a:pt x="4246240" y="62229"/>
                    <a:pt x="4245605" y="65404"/>
                    <a:pt x="4245605" y="69849"/>
                  </a:cubicBezTo>
                  <a:cubicBezTo>
                    <a:pt x="4245605" y="74294"/>
                    <a:pt x="4245605" y="78104"/>
                    <a:pt x="4246875" y="81279"/>
                  </a:cubicBezTo>
                  <a:cubicBezTo>
                    <a:pt x="4247510" y="84454"/>
                    <a:pt x="4249415" y="87629"/>
                    <a:pt x="4250685" y="89534"/>
                  </a:cubicBezTo>
                  <a:cubicBezTo>
                    <a:pt x="4252590" y="92074"/>
                    <a:pt x="4254495" y="93344"/>
                    <a:pt x="4257035" y="94614"/>
                  </a:cubicBezTo>
                  <a:cubicBezTo>
                    <a:pt x="4259575" y="95884"/>
                    <a:pt x="4262115" y="96519"/>
                    <a:pt x="4264655" y="96519"/>
                  </a:cubicBezTo>
                  <a:cubicBezTo>
                    <a:pt x="4267195" y="96519"/>
                    <a:pt x="4270370" y="95884"/>
                    <a:pt x="4272275" y="94614"/>
                  </a:cubicBezTo>
                  <a:cubicBezTo>
                    <a:pt x="4274815" y="93344"/>
                    <a:pt x="4276720" y="91439"/>
                    <a:pt x="4277990" y="88899"/>
                  </a:cubicBezTo>
                  <a:cubicBezTo>
                    <a:pt x="4279895" y="86359"/>
                    <a:pt x="4281165" y="83819"/>
                    <a:pt x="4281800" y="80644"/>
                  </a:cubicBezTo>
                  <a:cubicBezTo>
                    <a:pt x="4282435" y="77469"/>
                    <a:pt x="4283070" y="74294"/>
                    <a:pt x="4283070" y="70484"/>
                  </a:cubicBezTo>
                  <a:lnTo>
                    <a:pt x="4283705" y="69849"/>
                  </a:lnTo>
                  <a:cubicBezTo>
                    <a:pt x="4283705" y="66039"/>
                    <a:pt x="4283705" y="62229"/>
                    <a:pt x="4282435" y="59054"/>
                  </a:cubicBezTo>
                  <a:cubicBezTo>
                    <a:pt x="4281800" y="55879"/>
                    <a:pt x="4279895" y="53339"/>
                    <a:pt x="4278625" y="50799"/>
                  </a:cubicBezTo>
                  <a:cubicBezTo>
                    <a:pt x="4276720" y="48259"/>
                    <a:pt x="4274815" y="46989"/>
                    <a:pt x="4272275" y="45719"/>
                  </a:cubicBezTo>
                  <a:cubicBezTo>
                    <a:pt x="4269735" y="44449"/>
                    <a:pt x="4267195" y="43814"/>
                    <a:pt x="4264020" y="43814"/>
                  </a:cubicBezTo>
                  <a:close/>
                  <a:moveTo>
                    <a:pt x="1420495" y="43814"/>
                  </a:moveTo>
                  <a:cubicBezTo>
                    <a:pt x="1417320" y="43814"/>
                    <a:pt x="1414780" y="43814"/>
                    <a:pt x="1412875" y="45719"/>
                  </a:cubicBezTo>
                  <a:cubicBezTo>
                    <a:pt x="1410335" y="46989"/>
                    <a:pt x="1408430" y="48894"/>
                    <a:pt x="1407160" y="50799"/>
                  </a:cubicBezTo>
                  <a:cubicBezTo>
                    <a:pt x="1405255" y="53339"/>
                    <a:pt x="1403985" y="55879"/>
                    <a:pt x="1403350" y="59054"/>
                  </a:cubicBezTo>
                  <a:cubicBezTo>
                    <a:pt x="1402715" y="62229"/>
                    <a:pt x="1402080" y="65404"/>
                    <a:pt x="1402080" y="69849"/>
                  </a:cubicBezTo>
                  <a:cubicBezTo>
                    <a:pt x="1402080" y="74294"/>
                    <a:pt x="1402080" y="78104"/>
                    <a:pt x="1403350" y="81279"/>
                  </a:cubicBezTo>
                  <a:cubicBezTo>
                    <a:pt x="1403985" y="84454"/>
                    <a:pt x="1405890" y="87629"/>
                    <a:pt x="1407160" y="89534"/>
                  </a:cubicBezTo>
                  <a:cubicBezTo>
                    <a:pt x="1409065" y="92074"/>
                    <a:pt x="1410970" y="93344"/>
                    <a:pt x="1413510" y="94614"/>
                  </a:cubicBezTo>
                  <a:cubicBezTo>
                    <a:pt x="1416050" y="95884"/>
                    <a:pt x="1418590" y="96519"/>
                    <a:pt x="1421130" y="96519"/>
                  </a:cubicBezTo>
                  <a:cubicBezTo>
                    <a:pt x="1423670" y="96519"/>
                    <a:pt x="1426845" y="95884"/>
                    <a:pt x="1428750" y="94614"/>
                  </a:cubicBezTo>
                  <a:cubicBezTo>
                    <a:pt x="1431290" y="93344"/>
                    <a:pt x="1433195" y="91439"/>
                    <a:pt x="1434465" y="88899"/>
                  </a:cubicBezTo>
                  <a:cubicBezTo>
                    <a:pt x="1436370" y="86359"/>
                    <a:pt x="1437640" y="83819"/>
                    <a:pt x="1438275" y="80644"/>
                  </a:cubicBezTo>
                  <a:cubicBezTo>
                    <a:pt x="1438910" y="77469"/>
                    <a:pt x="1439545" y="74294"/>
                    <a:pt x="1439545" y="70484"/>
                  </a:cubicBezTo>
                  <a:lnTo>
                    <a:pt x="1440180" y="69849"/>
                  </a:lnTo>
                  <a:cubicBezTo>
                    <a:pt x="1440180" y="66039"/>
                    <a:pt x="1440180" y="62229"/>
                    <a:pt x="1438910" y="59054"/>
                  </a:cubicBezTo>
                  <a:cubicBezTo>
                    <a:pt x="1438275" y="55879"/>
                    <a:pt x="1436370" y="53339"/>
                    <a:pt x="1435100" y="50799"/>
                  </a:cubicBezTo>
                  <a:cubicBezTo>
                    <a:pt x="1433195" y="48259"/>
                    <a:pt x="1431290" y="46989"/>
                    <a:pt x="1428750" y="45719"/>
                  </a:cubicBezTo>
                  <a:cubicBezTo>
                    <a:pt x="1426210" y="44449"/>
                    <a:pt x="1423670" y="43814"/>
                    <a:pt x="1420495" y="43814"/>
                  </a:cubicBezTo>
                  <a:close/>
                  <a:moveTo>
                    <a:pt x="4041770" y="43180"/>
                  </a:moveTo>
                  <a:cubicBezTo>
                    <a:pt x="4039230" y="43180"/>
                    <a:pt x="4036690" y="43180"/>
                    <a:pt x="4034785" y="44450"/>
                  </a:cubicBezTo>
                  <a:cubicBezTo>
                    <a:pt x="4032880" y="45085"/>
                    <a:pt x="4030975" y="46355"/>
                    <a:pt x="4029705" y="48260"/>
                  </a:cubicBezTo>
                  <a:cubicBezTo>
                    <a:pt x="4028435" y="50165"/>
                    <a:pt x="4027165" y="52070"/>
                    <a:pt x="4025895" y="54610"/>
                  </a:cubicBezTo>
                  <a:cubicBezTo>
                    <a:pt x="4025260" y="57150"/>
                    <a:pt x="4023990" y="59690"/>
                    <a:pt x="4023990" y="62865"/>
                  </a:cubicBezTo>
                  <a:lnTo>
                    <a:pt x="4060185" y="62865"/>
                  </a:lnTo>
                  <a:cubicBezTo>
                    <a:pt x="4060185" y="62865"/>
                    <a:pt x="4059550" y="57785"/>
                    <a:pt x="4058915" y="55245"/>
                  </a:cubicBezTo>
                  <a:cubicBezTo>
                    <a:pt x="4058280" y="52705"/>
                    <a:pt x="4057010" y="50800"/>
                    <a:pt x="4055740" y="48895"/>
                  </a:cubicBezTo>
                  <a:cubicBezTo>
                    <a:pt x="4054470" y="46990"/>
                    <a:pt x="4052565" y="45720"/>
                    <a:pt x="4050025" y="44450"/>
                  </a:cubicBezTo>
                  <a:cubicBezTo>
                    <a:pt x="4047485" y="43180"/>
                    <a:pt x="4044945" y="43180"/>
                    <a:pt x="4041770" y="43180"/>
                  </a:cubicBezTo>
                  <a:close/>
                  <a:moveTo>
                    <a:pt x="3728081" y="43180"/>
                  </a:moveTo>
                  <a:cubicBezTo>
                    <a:pt x="3725541" y="43180"/>
                    <a:pt x="3723001" y="43180"/>
                    <a:pt x="3721096" y="44450"/>
                  </a:cubicBezTo>
                  <a:cubicBezTo>
                    <a:pt x="3719191" y="45085"/>
                    <a:pt x="3717286" y="46355"/>
                    <a:pt x="3716016" y="48260"/>
                  </a:cubicBezTo>
                  <a:cubicBezTo>
                    <a:pt x="3714746" y="50165"/>
                    <a:pt x="3713476" y="52070"/>
                    <a:pt x="3712206" y="54610"/>
                  </a:cubicBezTo>
                  <a:cubicBezTo>
                    <a:pt x="3711571" y="57150"/>
                    <a:pt x="3710301" y="59690"/>
                    <a:pt x="3710301" y="62865"/>
                  </a:cubicBezTo>
                  <a:lnTo>
                    <a:pt x="3746496" y="62865"/>
                  </a:lnTo>
                  <a:cubicBezTo>
                    <a:pt x="3746496" y="62865"/>
                    <a:pt x="3745861" y="57785"/>
                    <a:pt x="3745226" y="55245"/>
                  </a:cubicBezTo>
                  <a:cubicBezTo>
                    <a:pt x="3744591" y="52705"/>
                    <a:pt x="3743321" y="50800"/>
                    <a:pt x="3742051" y="48895"/>
                  </a:cubicBezTo>
                  <a:cubicBezTo>
                    <a:pt x="3740781" y="46990"/>
                    <a:pt x="3738876" y="45720"/>
                    <a:pt x="3736336" y="44450"/>
                  </a:cubicBezTo>
                  <a:cubicBezTo>
                    <a:pt x="3733796" y="43180"/>
                    <a:pt x="3731256" y="43180"/>
                    <a:pt x="3728081" y="43180"/>
                  </a:cubicBezTo>
                  <a:close/>
                  <a:moveTo>
                    <a:pt x="3541391" y="43180"/>
                  </a:moveTo>
                  <a:cubicBezTo>
                    <a:pt x="3538851" y="43180"/>
                    <a:pt x="3536311" y="43180"/>
                    <a:pt x="3534406" y="44450"/>
                  </a:cubicBezTo>
                  <a:cubicBezTo>
                    <a:pt x="3532501" y="45085"/>
                    <a:pt x="3530596" y="46355"/>
                    <a:pt x="3529326" y="48260"/>
                  </a:cubicBezTo>
                  <a:cubicBezTo>
                    <a:pt x="3528056" y="50165"/>
                    <a:pt x="3526786" y="52070"/>
                    <a:pt x="3525516" y="54610"/>
                  </a:cubicBezTo>
                  <a:cubicBezTo>
                    <a:pt x="3524881" y="57150"/>
                    <a:pt x="3524246" y="59690"/>
                    <a:pt x="3523611" y="62865"/>
                  </a:cubicBezTo>
                  <a:lnTo>
                    <a:pt x="3559806" y="62865"/>
                  </a:lnTo>
                  <a:cubicBezTo>
                    <a:pt x="3559806" y="62865"/>
                    <a:pt x="3559171" y="57785"/>
                    <a:pt x="3558536" y="55245"/>
                  </a:cubicBezTo>
                  <a:cubicBezTo>
                    <a:pt x="3557901" y="52705"/>
                    <a:pt x="3556631" y="50800"/>
                    <a:pt x="3555361" y="48895"/>
                  </a:cubicBezTo>
                  <a:cubicBezTo>
                    <a:pt x="3554091" y="46990"/>
                    <a:pt x="3552186" y="45720"/>
                    <a:pt x="3549646" y="44450"/>
                  </a:cubicBezTo>
                  <a:cubicBezTo>
                    <a:pt x="3547106" y="43180"/>
                    <a:pt x="3544566" y="43180"/>
                    <a:pt x="3541391" y="43180"/>
                  </a:cubicBezTo>
                  <a:close/>
                  <a:moveTo>
                    <a:pt x="3463285" y="43180"/>
                  </a:moveTo>
                  <a:cubicBezTo>
                    <a:pt x="3461380" y="43180"/>
                    <a:pt x="3459475" y="43180"/>
                    <a:pt x="3458205" y="43815"/>
                  </a:cubicBezTo>
                  <a:cubicBezTo>
                    <a:pt x="3456300" y="43815"/>
                    <a:pt x="3455030" y="45085"/>
                    <a:pt x="3453125" y="45720"/>
                  </a:cubicBezTo>
                  <a:cubicBezTo>
                    <a:pt x="3451855" y="46355"/>
                    <a:pt x="3449950" y="47625"/>
                    <a:pt x="3448680" y="48895"/>
                  </a:cubicBezTo>
                  <a:cubicBezTo>
                    <a:pt x="3447410" y="50165"/>
                    <a:pt x="3446140" y="51435"/>
                    <a:pt x="3445505" y="52705"/>
                  </a:cubicBezTo>
                  <a:lnTo>
                    <a:pt x="3445505" y="85725"/>
                  </a:lnTo>
                  <a:cubicBezTo>
                    <a:pt x="3445505" y="85725"/>
                    <a:pt x="3447410" y="88265"/>
                    <a:pt x="3448680" y="89535"/>
                  </a:cubicBezTo>
                  <a:cubicBezTo>
                    <a:pt x="3449950" y="90805"/>
                    <a:pt x="3451220" y="92075"/>
                    <a:pt x="3453125" y="92710"/>
                  </a:cubicBezTo>
                  <a:cubicBezTo>
                    <a:pt x="3455030" y="93980"/>
                    <a:pt x="3456300" y="94615"/>
                    <a:pt x="3458205" y="95250"/>
                  </a:cubicBezTo>
                  <a:cubicBezTo>
                    <a:pt x="3460110" y="95250"/>
                    <a:pt x="3462015" y="95885"/>
                    <a:pt x="3463920" y="95885"/>
                  </a:cubicBezTo>
                  <a:cubicBezTo>
                    <a:pt x="3469635" y="95885"/>
                    <a:pt x="3473445" y="93980"/>
                    <a:pt x="3476620" y="89535"/>
                  </a:cubicBezTo>
                  <a:cubicBezTo>
                    <a:pt x="3479795" y="85090"/>
                    <a:pt x="3481065" y="79375"/>
                    <a:pt x="3481065" y="71120"/>
                  </a:cubicBezTo>
                  <a:lnTo>
                    <a:pt x="3480430" y="71755"/>
                  </a:lnTo>
                  <a:cubicBezTo>
                    <a:pt x="3480430" y="62230"/>
                    <a:pt x="3479160" y="54610"/>
                    <a:pt x="3475985" y="50165"/>
                  </a:cubicBezTo>
                  <a:cubicBezTo>
                    <a:pt x="3472810" y="45720"/>
                    <a:pt x="3468365" y="43180"/>
                    <a:pt x="3463285" y="43180"/>
                  </a:cubicBezTo>
                  <a:close/>
                  <a:moveTo>
                    <a:pt x="3343271" y="43180"/>
                  </a:moveTo>
                  <a:cubicBezTo>
                    <a:pt x="3340731" y="43180"/>
                    <a:pt x="3338191" y="43180"/>
                    <a:pt x="3336286" y="44450"/>
                  </a:cubicBezTo>
                  <a:cubicBezTo>
                    <a:pt x="3334381" y="45085"/>
                    <a:pt x="3332476" y="46355"/>
                    <a:pt x="3331206" y="48260"/>
                  </a:cubicBezTo>
                  <a:cubicBezTo>
                    <a:pt x="3329936" y="50165"/>
                    <a:pt x="3328666" y="52070"/>
                    <a:pt x="3327396" y="54610"/>
                  </a:cubicBezTo>
                  <a:cubicBezTo>
                    <a:pt x="3326761" y="57150"/>
                    <a:pt x="3326126" y="59690"/>
                    <a:pt x="3325491" y="62865"/>
                  </a:cubicBezTo>
                  <a:lnTo>
                    <a:pt x="3361686" y="62865"/>
                  </a:lnTo>
                  <a:cubicBezTo>
                    <a:pt x="3361686" y="62865"/>
                    <a:pt x="3361051" y="57785"/>
                    <a:pt x="3360416" y="55245"/>
                  </a:cubicBezTo>
                  <a:cubicBezTo>
                    <a:pt x="3359781" y="52705"/>
                    <a:pt x="3358511" y="50800"/>
                    <a:pt x="3357241" y="48895"/>
                  </a:cubicBezTo>
                  <a:cubicBezTo>
                    <a:pt x="3355971" y="46990"/>
                    <a:pt x="3354066" y="45720"/>
                    <a:pt x="3351526" y="44450"/>
                  </a:cubicBezTo>
                  <a:cubicBezTo>
                    <a:pt x="3348986" y="43180"/>
                    <a:pt x="3346446" y="43180"/>
                    <a:pt x="3343271" y="43180"/>
                  </a:cubicBezTo>
                  <a:close/>
                  <a:moveTo>
                    <a:pt x="2976876" y="43180"/>
                  </a:moveTo>
                  <a:cubicBezTo>
                    <a:pt x="2974336" y="43180"/>
                    <a:pt x="2971796" y="43180"/>
                    <a:pt x="2969891" y="44450"/>
                  </a:cubicBezTo>
                  <a:cubicBezTo>
                    <a:pt x="2967986" y="45085"/>
                    <a:pt x="2966081" y="46355"/>
                    <a:pt x="2964811" y="48260"/>
                  </a:cubicBezTo>
                  <a:cubicBezTo>
                    <a:pt x="2963541" y="50165"/>
                    <a:pt x="2962271" y="52070"/>
                    <a:pt x="2961001" y="54610"/>
                  </a:cubicBezTo>
                  <a:cubicBezTo>
                    <a:pt x="2960366" y="57150"/>
                    <a:pt x="2959731" y="59690"/>
                    <a:pt x="2959096" y="62865"/>
                  </a:cubicBezTo>
                  <a:lnTo>
                    <a:pt x="2995291" y="62865"/>
                  </a:lnTo>
                  <a:cubicBezTo>
                    <a:pt x="2995291" y="62865"/>
                    <a:pt x="2994656" y="57785"/>
                    <a:pt x="2994021" y="55245"/>
                  </a:cubicBezTo>
                  <a:cubicBezTo>
                    <a:pt x="2993386" y="52705"/>
                    <a:pt x="2992116" y="50800"/>
                    <a:pt x="2990846" y="48895"/>
                  </a:cubicBezTo>
                  <a:cubicBezTo>
                    <a:pt x="2989576" y="46990"/>
                    <a:pt x="2987671" y="45720"/>
                    <a:pt x="2985131" y="44450"/>
                  </a:cubicBezTo>
                  <a:cubicBezTo>
                    <a:pt x="2982591" y="43180"/>
                    <a:pt x="2980051" y="43180"/>
                    <a:pt x="2976876" y="43180"/>
                  </a:cubicBezTo>
                  <a:close/>
                  <a:moveTo>
                    <a:pt x="2527930" y="43180"/>
                  </a:moveTo>
                  <a:cubicBezTo>
                    <a:pt x="2525390" y="43180"/>
                    <a:pt x="2522850" y="43180"/>
                    <a:pt x="2520945" y="44450"/>
                  </a:cubicBezTo>
                  <a:cubicBezTo>
                    <a:pt x="2519040" y="45085"/>
                    <a:pt x="2517135" y="46355"/>
                    <a:pt x="2515865" y="48260"/>
                  </a:cubicBezTo>
                  <a:cubicBezTo>
                    <a:pt x="2514595" y="50165"/>
                    <a:pt x="2513325" y="52070"/>
                    <a:pt x="2512055" y="54610"/>
                  </a:cubicBezTo>
                  <a:cubicBezTo>
                    <a:pt x="2511420" y="57150"/>
                    <a:pt x="2510150" y="59690"/>
                    <a:pt x="2510150" y="62865"/>
                  </a:cubicBezTo>
                  <a:lnTo>
                    <a:pt x="2546345" y="62865"/>
                  </a:lnTo>
                  <a:cubicBezTo>
                    <a:pt x="2546345" y="62865"/>
                    <a:pt x="2545710" y="57785"/>
                    <a:pt x="2545075" y="55245"/>
                  </a:cubicBezTo>
                  <a:cubicBezTo>
                    <a:pt x="2544440" y="52705"/>
                    <a:pt x="2543170" y="50800"/>
                    <a:pt x="2541900" y="48895"/>
                  </a:cubicBezTo>
                  <a:cubicBezTo>
                    <a:pt x="2540630" y="46990"/>
                    <a:pt x="2538725" y="45720"/>
                    <a:pt x="2536185" y="44450"/>
                  </a:cubicBezTo>
                  <a:cubicBezTo>
                    <a:pt x="2533645" y="43180"/>
                    <a:pt x="2531105" y="43180"/>
                    <a:pt x="2527930" y="43180"/>
                  </a:cubicBezTo>
                  <a:close/>
                  <a:moveTo>
                    <a:pt x="2214240" y="43180"/>
                  </a:moveTo>
                  <a:cubicBezTo>
                    <a:pt x="2211700" y="43180"/>
                    <a:pt x="2209160" y="43180"/>
                    <a:pt x="2207255" y="44450"/>
                  </a:cubicBezTo>
                  <a:cubicBezTo>
                    <a:pt x="2205350" y="45085"/>
                    <a:pt x="2203445" y="46355"/>
                    <a:pt x="2202175" y="48260"/>
                  </a:cubicBezTo>
                  <a:cubicBezTo>
                    <a:pt x="2200905" y="50165"/>
                    <a:pt x="2199635" y="52070"/>
                    <a:pt x="2198365" y="54610"/>
                  </a:cubicBezTo>
                  <a:cubicBezTo>
                    <a:pt x="2197730" y="57150"/>
                    <a:pt x="2196460" y="59690"/>
                    <a:pt x="2196460" y="62865"/>
                  </a:cubicBezTo>
                  <a:lnTo>
                    <a:pt x="2232655" y="62865"/>
                  </a:lnTo>
                  <a:cubicBezTo>
                    <a:pt x="2232655" y="62865"/>
                    <a:pt x="2232020" y="57785"/>
                    <a:pt x="2231385" y="55245"/>
                  </a:cubicBezTo>
                  <a:cubicBezTo>
                    <a:pt x="2230750" y="52705"/>
                    <a:pt x="2229480" y="50800"/>
                    <a:pt x="2228210" y="48895"/>
                  </a:cubicBezTo>
                  <a:cubicBezTo>
                    <a:pt x="2226940" y="46990"/>
                    <a:pt x="2225035" y="45720"/>
                    <a:pt x="2222495" y="44450"/>
                  </a:cubicBezTo>
                  <a:cubicBezTo>
                    <a:pt x="2219955" y="43180"/>
                    <a:pt x="2217415" y="43180"/>
                    <a:pt x="2214240" y="43180"/>
                  </a:cubicBezTo>
                  <a:close/>
                  <a:moveTo>
                    <a:pt x="2027551" y="43180"/>
                  </a:moveTo>
                  <a:cubicBezTo>
                    <a:pt x="2025011" y="43180"/>
                    <a:pt x="2022471" y="43180"/>
                    <a:pt x="2020566" y="44450"/>
                  </a:cubicBezTo>
                  <a:cubicBezTo>
                    <a:pt x="2018661" y="45085"/>
                    <a:pt x="2016756" y="46355"/>
                    <a:pt x="2015486" y="48260"/>
                  </a:cubicBezTo>
                  <a:cubicBezTo>
                    <a:pt x="2014216" y="50165"/>
                    <a:pt x="2012946" y="52070"/>
                    <a:pt x="2011676" y="54610"/>
                  </a:cubicBezTo>
                  <a:cubicBezTo>
                    <a:pt x="2011041" y="57150"/>
                    <a:pt x="2010406" y="59690"/>
                    <a:pt x="2009771" y="62865"/>
                  </a:cubicBezTo>
                  <a:lnTo>
                    <a:pt x="2045966" y="62865"/>
                  </a:lnTo>
                  <a:cubicBezTo>
                    <a:pt x="2045966" y="62865"/>
                    <a:pt x="2045331" y="57785"/>
                    <a:pt x="2044696" y="55245"/>
                  </a:cubicBezTo>
                  <a:cubicBezTo>
                    <a:pt x="2044061" y="52705"/>
                    <a:pt x="2042791" y="50800"/>
                    <a:pt x="2041521" y="48895"/>
                  </a:cubicBezTo>
                  <a:cubicBezTo>
                    <a:pt x="2040251" y="46990"/>
                    <a:pt x="2038346" y="45720"/>
                    <a:pt x="2035806" y="44450"/>
                  </a:cubicBezTo>
                  <a:cubicBezTo>
                    <a:pt x="2033266" y="43180"/>
                    <a:pt x="2030726" y="43180"/>
                    <a:pt x="2027551" y="43180"/>
                  </a:cubicBezTo>
                  <a:close/>
                  <a:moveTo>
                    <a:pt x="1949445" y="43180"/>
                  </a:moveTo>
                  <a:cubicBezTo>
                    <a:pt x="1947540" y="43180"/>
                    <a:pt x="1945635" y="43180"/>
                    <a:pt x="1944365" y="43815"/>
                  </a:cubicBezTo>
                  <a:cubicBezTo>
                    <a:pt x="1942460" y="43815"/>
                    <a:pt x="1941190" y="45085"/>
                    <a:pt x="1939285" y="45720"/>
                  </a:cubicBezTo>
                  <a:cubicBezTo>
                    <a:pt x="1938015" y="46355"/>
                    <a:pt x="1936110" y="47625"/>
                    <a:pt x="1934840" y="48895"/>
                  </a:cubicBezTo>
                  <a:cubicBezTo>
                    <a:pt x="1933570" y="50165"/>
                    <a:pt x="1932300" y="51435"/>
                    <a:pt x="1931665" y="52705"/>
                  </a:cubicBezTo>
                  <a:lnTo>
                    <a:pt x="1931665" y="85725"/>
                  </a:lnTo>
                  <a:cubicBezTo>
                    <a:pt x="1931665" y="85725"/>
                    <a:pt x="1933570" y="88265"/>
                    <a:pt x="1934840" y="89535"/>
                  </a:cubicBezTo>
                  <a:cubicBezTo>
                    <a:pt x="1936110" y="90805"/>
                    <a:pt x="1937380" y="92075"/>
                    <a:pt x="1939285" y="92710"/>
                  </a:cubicBezTo>
                  <a:cubicBezTo>
                    <a:pt x="1941190" y="93980"/>
                    <a:pt x="1942460" y="94615"/>
                    <a:pt x="1944365" y="95250"/>
                  </a:cubicBezTo>
                  <a:cubicBezTo>
                    <a:pt x="1946270" y="95250"/>
                    <a:pt x="1948175" y="95885"/>
                    <a:pt x="1950080" y="95885"/>
                  </a:cubicBezTo>
                  <a:cubicBezTo>
                    <a:pt x="1955795" y="95885"/>
                    <a:pt x="1959605" y="93980"/>
                    <a:pt x="1962780" y="89535"/>
                  </a:cubicBezTo>
                  <a:cubicBezTo>
                    <a:pt x="1965955" y="85090"/>
                    <a:pt x="1967225" y="79375"/>
                    <a:pt x="1967225" y="71120"/>
                  </a:cubicBezTo>
                  <a:lnTo>
                    <a:pt x="1966590" y="71755"/>
                  </a:lnTo>
                  <a:cubicBezTo>
                    <a:pt x="1966590" y="62230"/>
                    <a:pt x="1965320" y="54610"/>
                    <a:pt x="1962145" y="50165"/>
                  </a:cubicBezTo>
                  <a:cubicBezTo>
                    <a:pt x="1958970" y="45720"/>
                    <a:pt x="1954525" y="43180"/>
                    <a:pt x="1949445" y="43180"/>
                  </a:cubicBezTo>
                  <a:close/>
                  <a:moveTo>
                    <a:pt x="1829431" y="43180"/>
                  </a:moveTo>
                  <a:cubicBezTo>
                    <a:pt x="1826891" y="43180"/>
                    <a:pt x="1824351" y="43180"/>
                    <a:pt x="1822446" y="44450"/>
                  </a:cubicBezTo>
                  <a:cubicBezTo>
                    <a:pt x="1820541" y="45085"/>
                    <a:pt x="1818636" y="46355"/>
                    <a:pt x="1817366" y="48260"/>
                  </a:cubicBezTo>
                  <a:cubicBezTo>
                    <a:pt x="1816096" y="50165"/>
                    <a:pt x="1814826" y="52070"/>
                    <a:pt x="1813556" y="54610"/>
                  </a:cubicBezTo>
                  <a:cubicBezTo>
                    <a:pt x="1812921" y="57150"/>
                    <a:pt x="1811651" y="59690"/>
                    <a:pt x="1811651" y="62865"/>
                  </a:cubicBezTo>
                  <a:lnTo>
                    <a:pt x="1847846" y="62865"/>
                  </a:lnTo>
                  <a:cubicBezTo>
                    <a:pt x="1847846" y="62865"/>
                    <a:pt x="1847211" y="57785"/>
                    <a:pt x="1846576" y="55245"/>
                  </a:cubicBezTo>
                  <a:cubicBezTo>
                    <a:pt x="1845941" y="52705"/>
                    <a:pt x="1844671" y="50800"/>
                    <a:pt x="1843401" y="48895"/>
                  </a:cubicBezTo>
                  <a:cubicBezTo>
                    <a:pt x="1842131" y="46990"/>
                    <a:pt x="1840226" y="45720"/>
                    <a:pt x="1837686" y="44450"/>
                  </a:cubicBezTo>
                  <a:cubicBezTo>
                    <a:pt x="1835146" y="43180"/>
                    <a:pt x="1832606" y="43180"/>
                    <a:pt x="1829431" y="43180"/>
                  </a:cubicBezTo>
                  <a:close/>
                  <a:moveTo>
                    <a:pt x="1178561" y="43180"/>
                  </a:moveTo>
                  <a:cubicBezTo>
                    <a:pt x="1176021" y="43180"/>
                    <a:pt x="1173481" y="43180"/>
                    <a:pt x="1171576" y="44450"/>
                  </a:cubicBezTo>
                  <a:cubicBezTo>
                    <a:pt x="1169671" y="45085"/>
                    <a:pt x="1167766" y="46355"/>
                    <a:pt x="1166496" y="48260"/>
                  </a:cubicBezTo>
                  <a:cubicBezTo>
                    <a:pt x="1165226" y="50165"/>
                    <a:pt x="1163956" y="52070"/>
                    <a:pt x="1162686" y="54610"/>
                  </a:cubicBezTo>
                  <a:cubicBezTo>
                    <a:pt x="1162051" y="57150"/>
                    <a:pt x="1160781" y="59690"/>
                    <a:pt x="1160781" y="62865"/>
                  </a:cubicBezTo>
                  <a:lnTo>
                    <a:pt x="1196976" y="62865"/>
                  </a:lnTo>
                  <a:cubicBezTo>
                    <a:pt x="1196976" y="62865"/>
                    <a:pt x="1196341" y="57785"/>
                    <a:pt x="1195706" y="55245"/>
                  </a:cubicBezTo>
                  <a:cubicBezTo>
                    <a:pt x="1195071" y="52705"/>
                    <a:pt x="1193801" y="50800"/>
                    <a:pt x="1192531" y="48895"/>
                  </a:cubicBezTo>
                  <a:cubicBezTo>
                    <a:pt x="1191261" y="46990"/>
                    <a:pt x="1189356" y="45720"/>
                    <a:pt x="1186816" y="44450"/>
                  </a:cubicBezTo>
                  <a:cubicBezTo>
                    <a:pt x="1184276" y="43180"/>
                    <a:pt x="1181736" y="43180"/>
                    <a:pt x="1178561" y="43180"/>
                  </a:cubicBezTo>
                  <a:close/>
                  <a:moveTo>
                    <a:pt x="898525" y="43180"/>
                  </a:moveTo>
                  <a:cubicBezTo>
                    <a:pt x="895985" y="43180"/>
                    <a:pt x="893445" y="43180"/>
                    <a:pt x="891540" y="44450"/>
                  </a:cubicBezTo>
                  <a:cubicBezTo>
                    <a:pt x="889635" y="45085"/>
                    <a:pt x="887730" y="46355"/>
                    <a:pt x="886460" y="48260"/>
                  </a:cubicBezTo>
                  <a:cubicBezTo>
                    <a:pt x="885190" y="50165"/>
                    <a:pt x="883920" y="52070"/>
                    <a:pt x="882650" y="54610"/>
                  </a:cubicBezTo>
                  <a:cubicBezTo>
                    <a:pt x="882015" y="57150"/>
                    <a:pt x="881380" y="59690"/>
                    <a:pt x="880745" y="62865"/>
                  </a:cubicBezTo>
                  <a:lnTo>
                    <a:pt x="916940" y="62865"/>
                  </a:lnTo>
                  <a:cubicBezTo>
                    <a:pt x="916940" y="62865"/>
                    <a:pt x="916305" y="57785"/>
                    <a:pt x="915670" y="55245"/>
                  </a:cubicBezTo>
                  <a:cubicBezTo>
                    <a:pt x="915035" y="52705"/>
                    <a:pt x="913765" y="50800"/>
                    <a:pt x="912495" y="48895"/>
                  </a:cubicBezTo>
                  <a:cubicBezTo>
                    <a:pt x="911225" y="46990"/>
                    <a:pt x="909320" y="45720"/>
                    <a:pt x="906780" y="44450"/>
                  </a:cubicBezTo>
                  <a:cubicBezTo>
                    <a:pt x="904240" y="43180"/>
                    <a:pt x="901700" y="43180"/>
                    <a:pt x="898525" y="43180"/>
                  </a:cubicBezTo>
                  <a:close/>
                  <a:moveTo>
                    <a:pt x="584834" y="43180"/>
                  </a:moveTo>
                  <a:cubicBezTo>
                    <a:pt x="582294" y="43180"/>
                    <a:pt x="579754" y="43180"/>
                    <a:pt x="577849" y="44450"/>
                  </a:cubicBezTo>
                  <a:cubicBezTo>
                    <a:pt x="575944" y="45085"/>
                    <a:pt x="574039" y="46355"/>
                    <a:pt x="572769" y="48260"/>
                  </a:cubicBezTo>
                  <a:cubicBezTo>
                    <a:pt x="571499" y="50165"/>
                    <a:pt x="570229" y="52070"/>
                    <a:pt x="568959" y="54610"/>
                  </a:cubicBezTo>
                  <a:cubicBezTo>
                    <a:pt x="568324" y="57150"/>
                    <a:pt x="567689" y="59690"/>
                    <a:pt x="567054" y="62865"/>
                  </a:cubicBezTo>
                  <a:lnTo>
                    <a:pt x="603249" y="62865"/>
                  </a:lnTo>
                  <a:cubicBezTo>
                    <a:pt x="603249" y="62865"/>
                    <a:pt x="602614" y="57785"/>
                    <a:pt x="601979" y="55245"/>
                  </a:cubicBezTo>
                  <a:cubicBezTo>
                    <a:pt x="601344" y="52705"/>
                    <a:pt x="600074" y="50800"/>
                    <a:pt x="598804" y="48895"/>
                  </a:cubicBezTo>
                  <a:cubicBezTo>
                    <a:pt x="597534" y="46990"/>
                    <a:pt x="595629" y="45720"/>
                    <a:pt x="593089" y="44450"/>
                  </a:cubicBezTo>
                  <a:cubicBezTo>
                    <a:pt x="590549" y="43180"/>
                    <a:pt x="588009" y="43180"/>
                    <a:pt x="584834" y="43180"/>
                  </a:cubicBezTo>
                  <a:close/>
                  <a:moveTo>
                    <a:pt x="398145" y="43180"/>
                  </a:moveTo>
                  <a:cubicBezTo>
                    <a:pt x="395605" y="43180"/>
                    <a:pt x="393065" y="43180"/>
                    <a:pt x="391160" y="44450"/>
                  </a:cubicBezTo>
                  <a:cubicBezTo>
                    <a:pt x="389255" y="45085"/>
                    <a:pt x="387350" y="46355"/>
                    <a:pt x="386080" y="48260"/>
                  </a:cubicBezTo>
                  <a:cubicBezTo>
                    <a:pt x="384810" y="50165"/>
                    <a:pt x="383540" y="52070"/>
                    <a:pt x="382270" y="54610"/>
                  </a:cubicBezTo>
                  <a:cubicBezTo>
                    <a:pt x="381635" y="57150"/>
                    <a:pt x="380365" y="59690"/>
                    <a:pt x="380365" y="62865"/>
                  </a:cubicBezTo>
                  <a:lnTo>
                    <a:pt x="416560" y="62865"/>
                  </a:lnTo>
                  <a:cubicBezTo>
                    <a:pt x="416560" y="62865"/>
                    <a:pt x="415925" y="57785"/>
                    <a:pt x="415290" y="55245"/>
                  </a:cubicBezTo>
                  <a:cubicBezTo>
                    <a:pt x="414655" y="52705"/>
                    <a:pt x="413385" y="50800"/>
                    <a:pt x="412115" y="48895"/>
                  </a:cubicBezTo>
                  <a:cubicBezTo>
                    <a:pt x="410845" y="46990"/>
                    <a:pt x="408940" y="45720"/>
                    <a:pt x="406400" y="44450"/>
                  </a:cubicBezTo>
                  <a:cubicBezTo>
                    <a:pt x="403860" y="43180"/>
                    <a:pt x="401320" y="43180"/>
                    <a:pt x="398145" y="43180"/>
                  </a:cubicBezTo>
                  <a:close/>
                  <a:moveTo>
                    <a:pt x="320039" y="43180"/>
                  </a:moveTo>
                  <a:cubicBezTo>
                    <a:pt x="318134" y="43180"/>
                    <a:pt x="316229" y="43180"/>
                    <a:pt x="314959" y="43815"/>
                  </a:cubicBezTo>
                  <a:cubicBezTo>
                    <a:pt x="313054" y="43815"/>
                    <a:pt x="311784" y="45085"/>
                    <a:pt x="309879" y="45720"/>
                  </a:cubicBezTo>
                  <a:cubicBezTo>
                    <a:pt x="308609" y="46355"/>
                    <a:pt x="306704" y="47625"/>
                    <a:pt x="305434" y="48895"/>
                  </a:cubicBezTo>
                  <a:cubicBezTo>
                    <a:pt x="304164" y="50165"/>
                    <a:pt x="302894" y="51435"/>
                    <a:pt x="302259" y="52705"/>
                  </a:cubicBezTo>
                  <a:lnTo>
                    <a:pt x="302259" y="85725"/>
                  </a:lnTo>
                  <a:cubicBezTo>
                    <a:pt x="302259" y="85725"/>
                    <a:pt x="304164" y="88265"/>
                    <a:pt x="305434" y="89535"/>
                  </a:cubicBezTo>
                  <a:cubicBezTo>
                    <a:pt x="306704" y="90805"/>
                    <a:pt x="307974" y="92075"/>
                    <a:pt x="309879" y="92710"/>
                  </a:cubicBezTo>
                  <a:cubicBezTo>
                    <a:pt x="311784" y="93980"/>
                    <a:pt x="313054" y="94615"/>
                    <a:pt x="314959" y="95250"/>
                  </a:cubicBezTo>
                  <a:cubicBezTo>
                    <a:pt x="316864" y="95250"/>
                    <a:pt x="318769" y="95885"/>
                    <a:pt x="320674" y="95885"/>
                  </a:cubicBezTo>
                  <a:cubicBezTo>
                    <a:pt x="326389" y="95885"/>
                    <a:pt x="330199" y="93980"/>
                    <a:pt x="333374" y="89535"/>
                  </a:cubicBezTo>
                  <a:cubicBezTo>
                    <a:pt x="336549" y="85090"/>
                    <a:pt x="337819" y="79375"/>
                    <a:pt x="337819" y="71120"/>
                  </a:cubicBezTo>
                  <a:lnTo>
                    <a:pt x="337184" y="71755"/>
                  </a:lnTo>
                  <a:cubicBezTo>
                    <a:pt x="337184" y="62230"/>
                    <a:pt x="335914" y="54610"/>
                    <a:pt x="332739" y="50165"/>
                  </a:cubicBezTo>
                  <a:cubicBezTo>
                    <a:pt x="329564" y="45720"/>
                    <a:pt x="325119" y="43180"/>
                    <a:pt x="320039" y="43180"/>
                  </a:cubicBezTo>
                  <a:close/>
                  <a:moveTo>
                    <a:pt x="200025" y="43180"/>
                  </a:moveTo>
                  <a:cubicBezTo>
                    <a:pt x="197485" y="43180"/>
                    <a:pt x="194945" y="43180"/>
                    <a:pt x="193040" y="44450"/>
                  </a:cubicBezTo>
                  <a:cubicBezTo>
                    <a:pt x="191135" y="45085"/>
                    <a:pt x="189230" y="46355"/>
                    <a:pt x="187960" y="48260"/>
                  </a:cubicBezTo>
                  <a:cubicBezTo>
                    <a:pt x="186690" y="50165"/>
                    <a:pt x="185420" y="52070"/>
                    <a:pt x="184150" y="54610"/>
                  </a:cubicBezTo>
                  <a:cubicBezTo>
                    <a:pt x="183515" y="57150"/>
                    <a:pt x="182880" y="59690"/>
                    <a:pt x="182245" y="62865"/>
                  </a:cubicBezTo>
                  <a:lnTo>
                    <a:pt x="218440" y="62865"/>
                  </a:lnTo>
                  <a:cubicBezTo>
                    <a:pt x="218440" y="62865"/>
                    <a:pt x="217805" y="57785"/>
                    <a:pt x="217170" y="55245"/>
                  </a:cubicBezTo>
                  <a:cubicBezTo>
                    <a:pt x="216535" y="52705"/>
                    <a:pt x="215265" y="50800"/>
                    <a:pt x="213995" y="48895"/>
                  </a:cubicBezTo>
                  <a:cubicBezTo>
                    <a:pt x="212725" y="46990"/>
                    <a:pt x="210820" y="45720"/>
                    <a:pt x="208280" y="44450"/>
                  </a:cubicBezTo>
                  <a:cubicBezTo>
                    <a:pt x="205740" y="43180"/>
                    <a:pt x="203200" y="43180"/>
                    <a:pt x="200025" y="43180"/>
                  </a:cubicBezTo>
                  <a:close/>
                  <a:moveTo>
                    <a:pt x="4439281" y="43179"/>
                  </a:moveTo>
                  <a:cubicBezTo>
                    <a:pt x="4433566" y="43179"/>
                    <a:pt x="4429756" y="45084"/>
                    <a:pt x="4426581" y="49529"/>
                  </a:cubicBezTo>
                  <a:cubicBezTo>
                    <a:pt x="4423406" y="53974"/>
                    <a:pt x="4422136" y="59689"/>
                    <a:pt x="4422136" y="67944"/>
                  </a:cubicBezTo>
                  <a:cubicBezTo>
                    <a:pt x="4422136" y="73024"/>
                    <a:pt x="4422136" y="76834"/>
                    <a:pt x="4423406" y="80644"/>
                  </a:cubicBezTo>
                  <a:cubicBezTo>
                    <a:pt x="4424041" y="84454"/>
                    <a:pt x="4425311" y="86994"/>
                    <a:pt x="4426581" y="89534"/>
                  </a:cubicBezTo>
                  <a:cubicBezTo>
                    <a:pt x="4427851" y="92074"/>
                    <a:pt x="4429756" y="93344"/>
                    <a:pt x="4432296" y="94614"/>
                  </a:cubicBezTo>
                  <a:cubicBezTo>
                    <a:pt x="4434201" y="95884"/>
                    <a:pt x="4436741" y="96519"/>
                    <a:pt x="4439916" y="96519"/>
                  </a:cubicBezTo>
                  <a:cubicBezTo>
                    <a:pt x="4441821" y="96519"/>
                    <a:pt x="4443726" y="96519"/>
                    <a:pt x="4444996" y="95884"/>
                  </a:cubicBezTo>
                  <a:cubicBezTo>
                    <a:pt x="4446901" y="95884"/>
                    <a:pt x="4448171" y="94614"/>
                    <a:pt x="4450076" y="93344"/>
                  </a:cubicBezTo>
                  <a:cubicBezTo>
                    <a:pt x="4451346" y="92709"/>
                    <a:pt x="4453251" y="91439"/>
                    <a:pt x="4454521" y="90169"/>
                  </a:cubicBezTo>
                  <a:cubicBezTo>
                    <a:pt x="4455791" y="88899"/>
                    <a:pt x="4457061" y="87629"/>
                    <a:pt x="4457696" y="86359"/>
                  </a:cubicBezTo>
                  <a:lnTo>
                    <a:pt x="4457696" y="53339"/>
                  </a:lnTo>
                  <a:cubicBezTo>
                    <a:pt x="4457696" y="53339"/>
                    <a:pt x="4455791" y="50799"/>
                    <a:pt x="4454521" y="49529"/>
                  </a:cubicBezTo>
                  <a:cubicBezTo>
                    <a:pt x="4453251" y="48259"/>
                    <a:pt x="4451981" y="46989"/>
                    <a:pt x="4450076" y="46354"/>
                  </a:cubicBezTo>
                  <a:cubicBezTo>
                    <a:pt x="4448806" y="45084"/>
                    <a:pt x="4446901" y="44449"/>
                    <a:pt x="4444996" y="43814"/>
                  </a:cubicBezTo>
                  <a:cubicBezTo>
                    <a:pt x="4443091" y="43814"/>
                    <a:pt x="4441186" y="43179"/>
                    <a:pt x="4439281" y="43179"/>
                  </a:cubicBezTo>
                  <a:close/>
                  <a:moveTo>
                    <a:pt x="1014731" y="43179"/>
                  </a:moveTo>
                  <a:cubicBezTo>
                    <a:pt x="1009016" y="43179"/>
                    <a:pt x="1005206" y="45084"/>
                    <a:pt x="1002032" y="49529"/>
                  </a:cubicBezTo>
                  <a:cubicBezTo>
                    <a:pt x="998856" y="53974"/>
                    <a:pt x="997587" y="59689"/>
                    <a:pt x="997587" y="67944"/>
                  </a:cubicBezTo>
                  <a:cubicBezTo>
                    <a:pt x="997587" y="77469"/>
                    <a:pt x="998856" y="84454"/>
                    <a:pt x="1002032" y="88899"/>
                  </a:cubicBezTo>
                  <a:cubicBezTo>
                    <a:pt x="1005206" y="93979"/>
                    <a:pt x="1009016" y="95884"/>
                    <a:pt x="1015367" y="95884"/>
                  </a:cubicBezTo>
                  <a:cubicBezTo>
                    <a:pt x="1018541" y="95884"/>
                    <a:pt x="1022352" y="95249"/>
                    <a:pt x="1024891" y="93344"/>
                  </a:cubicBezTo>
                  <a:cubicBezTo>
                    <a:pt x="1028067" y="91439"/>
                    <a:pt x="1030607" y="88899"/>
                    <a:pt x="1033147" y="86359"/>
                  </a:cubicBezTo>
                  <a:lnTo>
                    <a:pt x="1033147" y="53339"/>
                  </a:lnTo>
                  <a:cubicBezTo>
                    <a:pt x="1033147" y="53339"/>
                    <a:pt x="1031242" y="50799"/>
                    <a:pt x="1029971" y="49529"/>
                  </a:cubicBezTo>
                  <a:cubicBezTo>
                    <a:pt x="1028702" y="48259"/>
                    <a:pt x="1027431" y="46989"/>
                    <a:pt x="1025526" y="46354"/>
                  </a:cubicBezTo>
                  <a:cubicBezTo>
                    <a:pt x="1023621" y="45084"/>
                    <a:pt x="1022352" y="44449"/>
                    <a:pt x="1020446" y="43814"/>
                  </a:cubicBezTo>
                  <a:cubicBezTo>
                    <a:pt x="1018541" y="43179"/>
                    <a:pt x="1016636" y="43179"/>
                    <a:pt x="1014731" y="43179"/>
                  </a:cubicBezTo>
                  <a:close/>
                  <a:moveTo>
                    <a:pt x="4524370" y="31114"/>
                  </a:moveTo>
                  <a:lnTo>
                    <a:pt x="4538975" y="31114"/>
                  </a:lnTo>
                  <a:lnTo>
                    <a:pt x="4552310" y="84454"/>
                  </a:lnTo>
                  <a:lnTo>
                    <a:pt x="4566915" y="31114"/>
                  </a:lnTo>
                  <a:lnTo>
                    <a:pt x="4579615" y="31114"/>
                  </a:lnTo>
                  <a:lnTo>
                    <a:pt x="4594220" y="84454"/>
                  </a:lnTo>
                  <a:lnTo>
                    <a:pt x="4606920" y="31114"/>
                  </a:lnTo>
                  <a:lnTo>
                    <a:pt x="4622160" y="31114"/>
                  </a:lnTo>
                  <a:lnTo>
                    <a:pt x="4600570" y="108584"/>
                  </a:lnTo>
                  <a:lnTo>
                    <a:pt x="4587235" y="108584"/>
                  </a:lnTo>
                  <a:lnTo>
                    <a:pt x="4572630" y="54609"/>
                  </a:lnTo>
                  <a:lnTo>
                    <a:pt x="4558660" y="108584"/>
                  </a:lnTo>
                  <a:lnTo>
                    <a:pt x="4545325" y="108584"/>
                  </a:lnTo>
                  <a:close/>
                  <a:moveTo>
                    <a:pt x="4123686" y="31114"/>
                  </a:moveTo>
                  <a:lnTo>
                    <a:pt x="4138926" y="31114"/>
                  </a:lnTo>
                  <a:lnTo>
                    <a:pt x="4152261" y="84454"/>
                  </a:lnTo>
                  <a:lnTo>
                    <a:pt x="4166866" y="31114"/>
                  </a:lnTo>
                  <a:lnTo>
                    <a:pt x="4178931" y="31114"/>
                  </a:lnTo>
                  <a:lnTo>
                    <a:pt x="4193536" y="84454"/>
                  </a:lnTo>
                  <a:lnTo>
                    <a:pt x="4206871" y="31114"/>
                  </a:lnTo>
                  <a:lnTo>
                    <a:pt x="4222111" y="31114"/>
                  </a:lnTo>
                  <a:lnTo>
                    <a:pt x="4200521" y="108584"/>
                  </a:lnTo>
                  <a:lnTo>
                    <a:pt x="4187186" y="108584"/>
                  </a:lnTo>
                  <a:lnTo>
                    <a:pt x="4172581" y="54609"/>
                  </a:lnTo>
                  <a:lnTo>
                    <a:pt x="4157976" y="108584"/>
                  </a:lnTo>
                  <a:lnTo>
                    <a:pt x="4145276" y="108584"/>
                  </a:lnTo>
                  <a:close/>
                  <a:moveTo>
                    <a:pt x="2837811" y="31114"/>
                  </a:moveTo>
                  <a:lnTo>
                    <a:pt x="2852416" y="31114"/>
                  </a:lnTo>
                  <a:lnTo>
                    <a:pt x="2865751" y="84454"/>
                  </a:lnTo>
                  <a:lnTo>
                    <a:pt x="2880356" y="31114"/>
                  </a:lnTo>
                  <a:lnTo>
                    <a:pt x="2893056" y="31114"/>
                  </a:lnTo>
                  <a:lnTo>
                    <a:pt x="2907661" y="84454"/>
                  </a:lnTo>
                  <a:lnTo>
                    <a:pt x="2920361" y="31114"/>
                  </a:lnTo>
                  <a:lnTo>
                    <a:pt x="2935601" y="31114"/>
                  </a:lnTo>
                  <a:lnTo>
                    <a:pt x="2914011" y="108584"/>
                  </a:lnTo>
                  <a:lnTo>
                    <a:pt x="2900676" y="108584"/>
                  </a:lnTo>
                  <a:lnTo>
                    <a:pt x="2886706" y="54609"/>
                  </a:lnTo>
                  <a:lnTo>
                    <a:pt x="2872101" y="108584"/>
                  </a:lnTo>
                  <a:lnTo>
                    <a:pt x="2858766" y="108584"/>
                  </a:lnTo>
                  <a:close/>
                  <a:moveTo>
                    <a:pt x="1354455" y="31114"/>
                  </a:moveTo>
                  <a:lnTo>
                    <a:pt x="1369695" y="31114"/>
                  </a:lnTo>
                  <a:lnTo>
                    <a:pt x="1369695" y="109219"/>
                  </a:lnTo>
                  <a:lnTo>
                    <a:pt x="1354455" y="109219"/>
                  </a:lnTo>
                  <a:close/>
                  <a:moveTo>
                    <a:pt x="2646040" y="29844"/>
                  </a:moveTo>
                  <a:cubicBezTo>
                    <a:pt x="2650485" y="29844"/>
                    <a:pt x="2654295" y="29844"/>
                    <a:pt x="2658105" y="31749"/>
                  </a:cubicBezTo>
                  <a:cubicBezTo>
                    <a:pt x="2661915" y="33019"/>
                    <a:pt x="2665090" y="34289"/>
                    <a:pt x="2667630" y="36829"/>
                  </a:cubicBezTo>
                  <a:cubicBezTo>
                    <a:pt x="2670170" y="38734"/>
                    <a:pt x="2672075" y="41909"/>
                    <a:pt x="2673345" y="45084"/>
                  </a:cubicBezTo>
                  <a:cubicBezTo>
                    <a:pt x="2674615" y="48259"/>
                    <a:pt x="2675250" y="52069"/>
                    <a:pt x="2675250" y="56514"/>
                  </a:cubicBezTo>
                  <a:lnTo>
                    <a:pt x="2675250" y="109854"/>
                  </a:lnTo>
                  <a:lnTo>
                    <a:pt x="2660010" y="109854"/>
                  </a:lnTo>
                  <a:lnTo>
                    <a:pt x="2660010" y="108584"/>
                  </a:lnTo>
                  <a:lnTo>
                    <a:pt x="2660010" y="100964"/>
                  </a:lnTo>
                  <a:cubicBezTo>
                    <a:pt x="2660010" y="100964"/>
                    <a:pt x="2656200" y="104139"/>
                    <a:pt x="2654930" y="104774"/>
                  </a:cubicBezTo>
                  <a:cubicBezTo>
                    <a:pt x="2653660" y="105409"/>
                    <a:pt x="2652390" y="106679"/>
                    <a:pt x="2651120" y="107314"/>
                  </a:cubicBezTo>
                  <a:cubicBezTo>
                    <a:pt x="2649850" y="107949"/>
                    <a:pt x="2647945" y="108584"/>
                    <a:pt x="2646040" y="109219"/>
                  </a:cubicBezTo>
                  <a:cubicBezTo>
                    <a:pt x="2644135" y="109219"/>
                    <a:pt x="2641595" y="109854"/>
                    <a:pt x="2639055" y="109854"/>
                  </a:cubicBezTo>
                  <a:cubicBezTo>
                    <a:pt x="2635880" y="109854"/>
                    <a:pt x="2632705" y="109854"/>
                    <a:pt x="2629530" y="108584"/>
                  </a:cubicBezTo>
                  <a:cubicBezTo>
                    <a:pt x="2626355" y="107949"/>
                    <a:pt x="2623180" y="106044"/>
                    <a:pt x="2620640" y="104139"/>
                  </a:cubicBezTo>
                  <a:cubicBezTo>
                    <a:pt x="2618100" y="102234"/>
                    <a:pt x="2616195" y="99059"/>
                    <a:pt x="2614290" y="95884"/>
                  </a:cubicBezTo>
                  <a:cubicBezTo>
                    <a:pt x="2612385" y="92709"/>
                    <a:pt x="2611750" y="88264"/>
                    <a:pt x="2611750" y="83819"/>
                  </a:cubicBezTo>
                  <a:cubicBezTo>
                    <a:pt x="2611750" y="79374"/>
                    <a:pt x="2612385" y="75564"/>
                    <a:pt x="2614290" y="72389"/>
                  </a:cubicBezTo>
                  <a:cubicBezTo>
                    <a:pt x="2615560" y="69214"/>
                    <a:pt x="2618100" y="66674"/>
                    <a:pt x="2620640" y="64769"/>
                  </a:cubicBezTo>
                  <a:cubicBezTo>
                    <a:pt x="2623180" y="62864"/>
                    <a:pt x="2626990" y="60959"/>
                    <a:pt x="2630800" y="60324"/>
                  </a:cubicBezTo>
                  <a:cubicBezTo>
                    <a:pt x="2634610" y="59054"/>
                    <a:pt x="2638420" y="59054"/>
                    <a:pt x="2642865" y="59054"/>
                  </a:cubicBezTo>
                  <a:cubicBezTo>
                    <a:pt x="2646675" y="59054"/>
                    <a:pt x="2650485" y="59054"/>
                    <a:pt x="2653025" y="59689"/>
                  </a:cubicBezTo>
                  <a:cubicBezTo>
                    <a:pt x="2655565" y="59689"/>
                    <a:pt x="2658105" y="60959"/>
                    <a:pt x="2660010" y="61594"/>
                  </a:cubicBezTo>
                  <a:lnTo>
                    <a:pt x="2660010" y="55879"/>
                  </a:lnTo>
                  <a:cubicBezTo>
                    <a:pt x="2660010" y="51434"/>
                    <a:pt x="2658740" y="48259"/>
                    <a:pt x="2656200" y="46354"/>
                  </a:cubicBezTo>
                  <a:cubicBezTo>
                    <a:pt x="2653660" y="43814"/>
                    <a:pt x="2649850" y="43179"/>
                    <a:pt x="2645405" y="43179"/>
                  </a:cubicBezTo>
                  <a:cubicBezTo>
                    <a:pt x="2641595" y="43179"/>
                    <a:pt x="2637785" y="43179"/>
                    <a:pt x="2634610" y="44449"/>
                  </a:cubicBezTo>
                  <a:cubicBezTo>
                    <a:pt x="2631435" y="45084"/>
                    <a:pt x="2628260" y="46354"/>
                    <a:pt x="2625085" y="48259"/>
                  </a:cubicBezTo>
                  <a:lnTo>
                    <a:pt x="2619370" y="36829"/>
                  </a:lnTo>
                  <a:cubicBezTo>
                    <a:pt x="2623180" y="34289"/>
                    <a:pt x="2626990" y="33019"/>
                    <a:pt x="2631435" y="31749"/>
                  </a:cubicBezTo>
                  <a:cubicBezTo>
                    <a:pt x="2635880" y="30479"/>
                    <a:pt x="2640325" y="29844"/>
                    <a:pt x="2646040" y="29844"/>
                  </a:cubicBezTo>
                  <a:close/>
                  <a:moveTo>
                    <a:pt x="1114426" y="29844"/>
                  </a:moveTo>
                  <a:lnTo>
                    <a:pt x="1129666" y="29844"/>
                  </a:lnTo>
                  <a:lnTo>
                    <a:pt x="1129666" y="107949"/>
                  </a:lnTo>
                  <a:lnTo>
                    <a:pt x="1114426" y="107949"/>
                  </a:lnTo>
                  <a:lnTo>
                    <a:pt x="1114426" y="100964"/>
                  </a:lnTo>
                  <a:cubicBezTo>
                    <a:pt x="1114426" y="100964"/>
                    <a:pt x="1109981" y="106044"/>
                    <a:pt x="1106171" y="107314"/>
                  </a:cubicBezTo>
                  <a:cubicBezTo>
                    <a:pt x="1102996" y="109219"/>
                    <a:pt x="1098551" y="109854"/>
                    <a:pt x="1094741" y="109854"/>
                  </a:cubicBezTo>
                  <a:cubicBezTo>
                    <a:pt x="1085851" y="109854"/>
                    <a:pt x="1078866" y="106679"/>
                    <a:pt x="1073786" y="100964"/>
                  </a:cubicBezTo>
                  <a:cubicBezTo>
                    <a:pt x="1069341" y="95249"/>
                    <a:pt x="1066800" y="86359"/>
                    <a:pt x="1066800" y="74929"/>
                  </a:cubicBezTo>
                  <a:lnTo>
                    <a:pt x="1066800" y="30479"/>
                  </a:lnTo>
                  <a:lnTo>
                    <a:pt x="1082040" y="30479"/>
                  </a:lnTo>
                  <a:lnTo>
                    <a:pt x="1082040" y="74294"/>
                  </a:lnTo>
                  <a:cubicBezTo>
                    <a:pt x="1082040" y="81279"/>
                    <a:pt x="1083311" y="86994"/>
                    <a:pt x="1085851" y="90169"/>
                  </a:cubicBezTo>
                  <a:cubicBezTo>
                    <a:pt x="1088390" y="93979"/>
                    <a:pt x="1092201" y="95249"/>
                    <a:pt x="1097916" y="95249"/>
                  </a:cubicBezTo>
                  <a:cubicBezTo>
                    <a:pt x="1102996" y="95249"/>
                    <a:pt x="1106806" y="93344"/>
                    <a:pt x="1109981" y="90169"/>
                  </a:cubicBezTo>
                  <a:cubicBezTo>
                    <a:pt x="1112521" y="86994"/>
                    <a:pt x="1114426" y="81914"/>
                    <a:pt x="1114426" y="75564"/>
                  </a:cubicBezTo>
                  <a:close/>
                  <a:moveTo>
                    <a:pt x="1011556" y="29844"/>
                  </a:moveTo>
                  <a:cubicBezTo>
                    <a:pt x="1013461" y="29844"/>
                    <a:pt x="1015367" y="29844"/>
                    <a:pt x="1017272" y="30479"/>
                  </a:cubicBezTo>
                  <a:cubicBezTo>
                    <a:pt x="1019176" y="30479"/>
                    <a:pt x="1021081" y="31749"/>
                    <a:pt x="1022352" y="32384"/>
                  </a:cubicBezTo>
                  <a:cubicBezTo>
                    <a:pt x="1024257" y="33019"/>
                    <a:pt x="1025526" y="34289"/>
                    <a:pt x="1026797" y="35559"/>
                  </a:cubicBezTo>
                  <a:cubicBezTo>
                    <a:pt x="1028067" y="36829"/>
                    <a:pt x="1029336" y="37464"/>
                    <a:pt x="1030607" y="38734"/>
                  </a:cubicBezTo>
                  <a:lnTo>
                    <a:pt x="1030607" y="31749"/>
                  </a:lnTo>
                  <a:lnTo>
                    <a:pt x="1045847" y="31749"/>
                  </a:lnTo>
                  <a:lnTo>
                    <a:pt x="1045847" y="130809"/>
                  </a:lnTo>
                  <a:lnTo>
                    <a:pt x="1032512" y="137477"/>
                  </a:lnTo>
                  <a:lnTo>
                    <a:pt x="1032512" y="101599"/>
                  </a:lnTo>
                  <a:cubicBezTo>
                    <a:pt x="1032512" y="101599"/>
                    <a:pt x="1026797" y="106679"/>
                    <a:pt x="1022986" y="107949"/>
                  </a:cubicBezTo>
                  <a:cubicBezTo>
                    <a:pt x="1019812" y="109854"/>
                    <a:pt x="1016001" y="110489"/>
                    <a:pt x="1011556" y="110489"/>
                  </a:cubicBezTo>
                  <a:cubicBezTo>
                    <a:pt x="1007111" y="110489"/>
                    <a:pt x="1003301" y="109854"/>
                    <a:pt x="999491" y="107949"/>
                  </a:cubicBezTo>
                  <a:cubicBezTo>
                    <a:pt x="995681" y="106679"/>
                    <a:pt x="992506" y="104139"/>
                    <a:pt x="989966" y="100329"/>
                  </a:cubicBezTo>
                  <a:cubicBezTo>
                    <a:pt x="987426" y="97154"/>
                    <a:pt x="984886" y="92709"/>
                    <a:pt x="983616" y="87629"/>
                  </a:cubicBezTo>
                  <a:cubicBezTo>
                    <a:pt x="982346" y="82549"/>
                    <a:pt x="981076" y="76199"/>
                    <a:pt x="981076" y="68579"/>
                  </a:cubicBezTo>
                  <a:cubicBezTo>
                    <a:pt x="981076" y="61594"/>
                    <a:pt x="981711" y="55879"/>
                    <a:pt x="983616" y="51434"/>
                  </a:cubicBezTo>
                  <a:cubicBezTo>
                    <a:pt x="985521" y="46354"/>
                    <a:pt x="987426" y="42544"/>
                    <a:pt x="990601" y="39369"/>
                  </a:cubicBezTo>
                  <a:cubicBezTo>
                    <a:pt x="993142" y="36194"/>
                    <a:pt x="996951" y="33654"/>
                    <a:pt x="1000126" y="32384"/>
                  </a:cubicBezTo>
                  <a:cubicBezTo>
                    <a:pt x="1003937" y="31114"/>
                    <a:pt x="1007746" y="29844"/>
                    <a:pt x="1011556" y="29844"/>
                  </a:cubicBezTo>
                  <a:close/>
                  <a:moveTo>
                    <a:pt x="4871716" y="29210"/>
                  </a:moveTo>
                  <a:cubicBezTo>
                    <a:pt x="4876796" y="29210"/>
                    <a:pt x="4881241" y="29845"/>
                    <a:pt x="4885686" y="31750"/>
                  </a:cubicBezTo>
                  <a:cubicBezTo>
                    <a:pt x="4890131" y="33655"/>
                    <a:pt x="4894576" y="35560"/>
                    <a:pt x="4897751" y="38100"/>
                  </a:cubicBezTo>
                  <a:lnTo>
                    <a:pt x="4899021" y="38100"/>
                  </a:lnTo>
                  <a:lnTo>
                    <a:pt x="4892036" y="50165"/>
                  </a:lnTo>
                  <a:cubicBezTo>
                    <a:pt x="4888861" y="47625"/>
                    <a:pt x="4885686" y="46355"/>
                    <a:pt x="4882511" y="45085"/>
                  </a:cubicBezTo>
                  <a:cubicBezTo>
                    <a:pt x="4879336" y="43815"/>
                    <a:pt x="4875526" y="43180"/>
                    <a:pt x="4872351" y="43180"/>
                  </a:cubicBezTo>
                  <a:cubicBezTo>
                    <a:pt x="4869176" y="43180"/>
                    <a:pt x="4866001" y="43815"/>
                    <a:pt x="4864096" y="45085"/>
                  </a:cubicBezTo>
                  <a:cubicBezTo>
                    <a:pt x="4862191" y="46355"/>
                    <a:pt x="4861556" y="48260"/>
                    <a:pt x="4861556" y="50165"/>
                  </a:cubicBezTo>
                  <a:cubicBezTo>
                    <a:pt x="4861556" y="51435"/>
                    <a:pt x="4861556" y="52070"/>
                    <a:pt x="4861556" y="52705"/>
                  </a:cubicBezTo>
                  <a:cubicBezTo>
                    <a:pt x="4861556" y="53340"/>
                    <a:pt x="4862826" y="54610"/>
                    <a:pt x="4863461" y="55245"/>
                  </a:cubicBezTo>
                  <a:cubicBezTo>
                    <a:pt x="4864731" y="55880"/>
                    <a:pt x="4866001" y="57150"/>
                    <a:pt x="4867906" y="57785"/>
                  </a:cubicBezTo>
                  <a:cubicBezTo>
                    <a:pt x="4869811" y="59055"/>
                    <a:pt x="4872351" y="59690"/>
                    <a:pt x="4874891" y="60960"/>
                  </a:cubicBezTo>
                  <a:cubicBezTo>
                    <a:pt x="4879336" y="62865"/>
                    <a:pt x="4883146" y="64135"/>
                    <a:pt x="4886321" y="66040"/>
                  </a:cubicBezTo>
                  <a:cubicBezTo>
                    <a:pt x="4889496" y="67310"/>
                    <a:pt x="4892036" y="69215"/>
                    <a:pt x="4894576" y="71120"/>
                  </a:cubicBezTo>
                  <a:cubicBezTo>
                    <a:pt x="4896481" y="73025"/>
                    <a:pt x="4898386" y="75565"/>
                    <a:pt x="4899656" y="78105"/>
                  </a:cubicBezTo>
                  <a:cubicBezTo>
                    <a:pt x="4900926" y="80645"/>
                    <a:pt x="4901561" y="83820"/>
                    <a:pt x="4901561" y="87630"/>
                  </a:cubicBezTo>
                  <a:cubicBezTo>
                    <a:pt x="4901561" y="92075"/>
                    <a:pt x="4900926" y="95250"/>
                    <a:pt x="4899021" y="98425"/>
                  </a:cubicBezTo>
                  <a:cubicBezTo>
                    <a:pt x="4897116" y="101600"/>
                    <a:pt x="4895211" y="103505"/>
                    <a:pt x="4892671" y="105410"/>
                  </a:cubicBezTo>
                  <a:cubicBezTo>
                    <a:pt x="4890131" y="107315"/>
                    <a:pt x="4886956" y="108585"/>
                    <a:pt x="4883146" y="109220"/>
                  </a:cubicBezTo>
                  <a:cubicBezTo>
                    <a:pt x="4879336" y="109855"/>
                    <a:pt x="4876161" y="110490"/>
                    <a:pt x="4872351" y="110490"/>
                  </a:cubicBezTo>
                  <a:cubicBezTo>
                    <a:pt x="4867271" y="110490"/>
                    <a:pt x="4862191" y="109855"/>
                    <a:pt x="4857111" y="107950"/>
                  </a:cubicBezTo>
                  <a:cubicBezTo>
                    <a:pt x="4851396" y="106045"/>
                    <a:pt x="4846951" y="103505"/>
                    <a:pt x="4842506" y="100965"/>
                  </a:cubicBezTo>
                  <a:lnTo>
                    <a:pt x="4849491" y="89535"/>
                  </a:lnTo>
                  <a:cubicBezTo>
                    <a:pt x="4853301" y="92075"/>
                    <a:pt x="4857111" y="93980"/>
                    <a:pt x="4860921" y="95250"/>
                  </a:cubicBezTo>
                  <a:cubicBezTo>
                    <a:pt x="4864731" y="96520"/>
                    <a:pt x="4868541" y="97155"/>
                    <a:pt x="4872351" y="97155"/>
                  </a:cubicBezTo>
                  <a:cubicBezTo>
                    <a:pt x="4877431" y="97155"/>
                    <a:pt x="4880606" y="96520"/>
                    <a:pt x="4883146" y="94615"/>
                  </a:cubicBezTo>
                  <a:cubicBezTo>
                    <a:pt x="4885686" y="93345"/>
                    <a:pt x="4886321" y="90805"/>
                    <a:pt x="4886321" y="88265"/>
                  </a:cubicBezTo>
                  <a:cubicBezTo>
                    <a:pt x="4886321" y="86995"/>
                    <a:pt x="4886321" y="85725"/>
                    <a:pt x="4885051" y="84455"/>
                  </a:cubicBezTo>
                  <a:cubicBezTo>
                    <a:pt x="4884416" y="83185"/>
                    <a:pt x="4883146" y="82550"/>
                    <a:pt x="4881241" y="81280"/>
                  </a:cubicBezTo>
                  <a:cubicBezTo>
                    <a:pt x="4879971" y="80010"/>
                    <a:pt x="4878066" y="79375"/>
                    <a:pt x="4875526" y="78105"/>
                  </a:cubicBezTo>
                  <a:cubicBezTo>
                    <a:pt x="4872986" y="77470"/>
                    <a:pt x="4871081" y="76200"/>
                    <a:pt x="4867906" y="74930"/>
                  </a:cubicBezTo>
                  <a:cubicBezTo>
                    <a:pt x="4863461" y="73025"/>
                    <a:pt x="4860286" y="71755"/>
                    <a:pt x="4857111" y="69850"/>
                  </a:cubicBezTo>
                  <a:cubicBezTo>
                    <a:pt x="4853936" y="67945"/>
                    <a:pt x="4852031" y="66675"/>
                    <a:pt x="4850126" y="64770"/>
                  </a:cubicBezTo>
                  <a:cubicBezTo>
                    <a:pt x="4848221" y="62865"/>
                    <a:pt x="4846951" y="60960"/>
                    <a:pt x="4846316" y="58420"/>
                  </a:cubicBezTo>
                  <a:cubicBezTo>
                    <a:pt x="4845681" y="55880"/>
                    <a:pt x="4845046" y="53340"/>
                    <a:pt x="4845046" y="50165"/>
                  </a:cubicBezTo>
                  <a:cubicBezTo>
                    <a:pt x="4845046" y="46990"/>
                    <a:pt x="4845681" y="43815"/>
                    <a:pt x="4846951" y="40640"/>
                  </a:cubicBezTo>
                  <a:cubicBezTo>
                    <a:pt x="4848221" y="38100"/>
                    <a:pt x="4850126" y="35560"/>
                    <a:pt x="4852666" y="34290"/>
                  </a:cubicBezTo>
                  <a:cubicBezTo>
                    <a:pt x="4855206" y="32385"/>
                    <a:pt x="4857746" y="31115"/>
                    <a:pt x="4860921" y="30480"/>
                  </a:cubicBezTo>
                  <a:cubicBezTo>
                    <a:pt x="4864096" y="29845"/>
                    <a:pt x="4867906" y="29210"/>
                    <a:pt x="4871716" y="29210"/>
                  </a:cubicBezTo>
                  <a:close/>
                  <a:moveTo>
                    <a:pt x="4749796" y="29210"/>
                  </a:moveTo>
                  <a:cubicBezTo>
                    <a:pt x="4752971" y="29210"/>
                    <a:pt x="4755511" y="29210"/>
                    <a:pt x="4757416" y="29845"/>
                  </a:cubicBezTo>
                  <a:cubicBezTo>
                    <a:pt x="4759321" y="30480"/>
                    <a:pt x="4761226" y="31115"/>
                    <a:pt x="4763131" y="32385"/>
                  </a:cubicBezTo>
                  <a:lnTo>
                    <a:pt x="4759321" y="46990"/>
                  </a:lnTo>
                  <a:lnTo>
                    <a:pt x="4758051" y="46990"/>
                  </a:lnTo>
                  <a:cubicBezTo>
                    <a:pt x="4758051" y="46990"/>
                    <a:pt x="4754876" y="45085"/>
                    <a:pt x="4752971" y="45085"/>
                  </a:cubicBezTo>
                  <a:cubicBezTo>
                    <a:pt x="4751066" y="45085"/>
                    <a:pt x="4749161" y="44450"/>
                    <a:pt x="4746621" y="44450"/>
                  </a:cubicBezTo>
                  <a:cubicBezTo>
                    <a:pt x="4741541" y="44450"/>
                    <a:pt x="4737731" y="46355"/>
                    <a:pt x="4735191" y="49530"/>
                  </a:cubicBezTo>
                  <a:cubicBezTo>
                    <a:pt x="4732651" y="52705"/>
                    <a:pt x="4731381" y="57785"/>
                    <a:pt x="4731381" y="64770"/>
                  </a:cubicBezTo>
                  <a:lnTo>
                    <a:pt x="4731381" y="109220"/>
                  </a:lnTo>
                  <a:lnTo>
                    <a:pt x="4716141" y="109220"/>
                  </a:lnTo>
                  <a:lnTo>
                    <a:pt x="4716141" y="31115"/>
                  </a:lnTo>
                  <a:lnTo>
                    <a:pt x="4731381" y="31115"/>
                  </a:lnTo>
                  <a:lnTo>
                    <a:pt x="4731381" y="38735"/>
                  </a:lnTo>
                  <a:cubicBezTo>
                    <a:pt x="4731381" y="38735"/>
                    <a:pt x="4733286" y="36195"/>
                    <a:pt x="4734556" y="34925"/>
                  </a:cubicBezTo>
                  <a:cubicBezTo>
                    <a:pt x="4735826" y="33655"/>
                    <a:pt x="4737096" y="33020"/>
                    <a:pt x="4739001" y="31750"/>
                  </a:cubicBezTo>
                  <a:cubicBezTo>
                    <a:pt x="4740271" y="31115"/>
                    <a:pt x="4742176" y="30480"/>
                    <a:pt x="4744081" y="29845"/>
                  </a:cubicBezTo>
                  <a:cubicBezTo>
                    <a:pt x="4745986" y="29845"/>
                    <a:pt x="4747891" y="29210"/>
                    <a:pt x="4749796" y="29210"/>
                  </a:cubicBezTo>
                  <a:close/>
                  <a:moveTo>
                    <a:pt x="4349110" y="29210"/>
                  </a:moveTo>
                  <a:cubicBezTo>
                    <a:pt x="4352285" y="29210"/>
                    <a:pt x="4354825" y="29210"/>
                    <a:pt x="4356730" y="29845"/>
                  </a:cubicBezTo>
                  <a:cubicBezTo>
                    <a:pt x="4358635" y="29845"/>
                    <a:pt x="4360540" y="31115"/>
                    <a:pt x="4362445" y="32385"/>
                  </a:cubicBezTo>
                  <a:lnTo>
                    <a:pt x="4358635" y="46990"/>
                  </a:lnTo>
                  <a:lnTo>
                    <a:pt x="4357365" y="46990"/>
                  </a:lnTo>
                  <a:cubicBezTo>
                    <a:pt x="4357365" y="46990"/>
                    <a:pt x="4354190" y="45085"/>
                    <a:pt x="4352285" y="45085"/>
                  </a:cubicBezTo>
                  <a:cubicBezTo>
                    <a:pt x="4350380" y="45085"/>
                    <a:pt x="4348475" y="44450"/>
                    <a:pt x="4345935" y="44450"/>
                  </a:cubicBezTo>
                  <a:cubicBezTo>
                    <a:pt x="4340855" y="44450"/>
                    <a:pt x="4337045" y="46355"/>
                    <a:pt x="4334505" y="49530"/>
                  </a:cubicBezTo>
                  <a:cubicBezTo>
                    <a:pt x="4331965" y="52705"/>
                    <a:pt x="4330695" y="57785"/>
                    <a:pt x="4330695" y="64770"/>
                  </a:cubicBezTo>
                  <a:lnTo>
                    <a:pt x="4330695" y="109220"/>
                  </a:lnTo>
                  <a:lnTo>
                    <a:pt x="4315455" y="109220"/>
                  </a:lnTo>
                  <a:lnTo>
                    <a:pt x="4315455" y="31115"/>
                  </a:lnTo>
                  <a:lnTo>
                    <a:pt x="4330695" y="31115"/>
                  </a:lnTo>
                  <a:lnTo>
                    <a:pt x="4330695" y="38735"/>
                  </a:lnTo>
                  <a:cubicBezTo>
                    <a:pt x="4330695" y="38735"/>
                    <a:pt x="4332600" y="36195"/>
                    <a:pt x="4333870" y="34925"/>
                  </a:cubicBezTo>
                  <a:cubicBezTo>
                    <a:pt x="4335140" y="33655"/>
                    <a:pt x="4336410" y="33020"/>
                    <a:pt x="4338315" y="31750"/>
                  </a:cubicBezTo>
                  <a:cubicBezTo>
                    <a:pt x="4339585" y="31115"/>
                    <a:pt x="4341490" y="30480"/>
                    <a:pt x="4343395" y="29845"/>
                  </a:cubicBezTo>
                  <a:cubicBezTo>
                    <a:pt x="4345300" y="29845"/>
                    <a:pt x="4347205" y="29210"/>
                    <a:pt x="4349110" y="29210"/>
                  </a:cubicBezTo>
                  <a:close/>
                  <a:moveTo>
                    <a:pt x="4044310" y="29210"/>
                  </a:moveTo>
                  <a:cubicBezTo>
                    <a:pt x="4050025" y="29210"/>
                    <a:pt x="4054470" y="30480"/>
                    <a:pt x="4058915" y="32385"/>
                  </a:cubicBezTo>
                  <a:cubicBezTo>
                    <a:pt x="4062725" y="34290"/>
                    <a:pt x="4066535" y="37465"/>
                    <a:pt x="4069075" y="40640"/>
                  </a:cubicBezTo>
                  <a:cubicBezTo>
                    <a:pt x="4071615" y="44450"/>
                    <a:pt x="4073520" y="48260"/>
                    <a:pt x="4075425" y="53340"/>
                  </a:cubicBezTo>
                  <a:cubicBezTo>
                    <a:pt x="4076695" y="57785"/>
                    <a:pt x="4077330" y="62865"/>
                    <a:pt x="4077330" y="68580"/>
                  </a:cubicBezTo>
                  <a:lnTo>
                    <a:pt x="4076060" y="68580"/>
                  </a:lnTo>
                  <a:cubicBezTo>
                    <a:pt x="4076060" y="68580"/>
                    <a:pt x="4076060" y="71120"/>
                    <a:pt x="4076060" y="72390"/>
                  </a:cubicBezTo>
                  <a:cubicBezTo>
                    <a:pt x="4076060" y="73660"/>
                    <a:pt x="4076060" y="74295"/>
                    <a:pt x="4076060" y="75565"/>
                  </a:cubicBezTo>
                  <a:lnTo>
                    <a:pt x="4024625" y="75565"/>
                  </a:lnTo>
                  <a:cubicBezTo>
                    <a:pt x="4024625" y="79375"/>
                    <a:pt x="4025895" y="82550"/>
                    <a:pt x="4027165" y="85090"/>
                  </a:cubicBezTo>
                  <a:cubicBezTo>
                    <a:pt x="4028435" y="87630"/>
                    <a:pt x="4029705" y="90170"/>
                    <a:pt x="4031610" y="91440"/>
                  </a:cubicBezTo>
                  <a:cubicBezTo>
                    <a:pt x="4033515" y="93345"/>
                    <a:pt x="4035420" y="94615"/>
                    <a:pt x="4037325" y="95250"/>
                  </a:cubicBezTo>
                  <a:cubicBezTo>
                    <a:pt x="4039230" y="95885"/>
                    <a:pt x="4041770" y="96520"/>
                    <a:pt x="4044310" y="96520"/>
                  </a:cubicBezTo>
                  <a:cubicBezTo>
                    <a:pt x="4046215" y="96520"/>
                    <a:pt x="4047485" y="96520"/>
                    <a:pt x="4049390" y="96520"/>
                  </a:cubicBezTo>
                  <a:cubicBezTo>
                    <a:pt x="4050660" y="96520"/>
                    <a:pt x="4052565" y="95885"/>
                    <a:pt x="4053835" y="95250"/>
                  </a:cubicBezTo>
                  <a:cubicBezTo>
                    <a:pt x="4055105" y="95250"/>
                    <a:pt x="4056375" y="93980"/>
                    <a:pt x="4057645" y="93345"/>
                  </a:cubicBezTo>
                  <a:cubicBezTo>
                    <a:pt x="4058915" y="93345"/>
                    <a:pt x="4060185" y="92075"/>
                    <a:pt x="4062090" y="90805"/>
                  </a:cubicBezTo>
                  <a:lnTo>
                    <a:pt x="4070980" y="100330"/>
                  </a:lnTo>
                  <a:cubicBezTo>
                    <a:pt x="4070980" y="100330"/>
                    <a:pt x="4067170" y="103505"/>
                    <a:pt x="4065265" y="104775"/>
                  </a:cubicBezTo>
                  <a:cubicBezTo>
                    <a:pt x="4063360" y="106045"/>
                    <a:pt x="4061455" y="106680"/>
                    <a:pt x="4059550" y="107950"/>
                  </a:cubicBezTo>
                  <a:cubicBezTo>
                    <a:pt x="4057645" y="108585"/>
                    <a:pt x="4055105" y="109855"/>
                    <a:pt x="4052565" y="109855"/>
                  </a:cubicBezTo>
                  <a:cubicBezTo>
                    <a:pt x="4050025" y="109855"/>
                    <a:pt x="4046850" y="110490"/>
                    <a:pt x="4043675" y="110490"/>
                  </a:cubicBezTo>
                  <a:cubicBezTo>
                    <a:pt x="4040500" y="110490"/>
                    <a:pt x="4037325" y="110490"/>
                    <a:pt x="4034150" y="109220"/>
                  </a:cubicBezTo>
                  <a:cubicBezTo>
                    <a:pt x="4030975" y="108585"/>
                    <a:pt x="4028435" y="107315"/>
                    <a:pt x="4026530" y="105410"/>
                  </a:cubicBezTo>
                  <a:cubicBezTo>
                    <a:pt x="4023990" y="104140"/>
                    <a:pt x="4022085" y="102235"/>
                    <a:pt x="4020180" y="100330"/>
                  </a:cubicBezTo>
                  <a:cubicBezTo>
                    <a:pt x="4018275" y="98425"/>
                    <a:pt x="4016370" y="95885"/>
                    <a:pt x="4015100" y="92710"/>
                  </a:cubicBezTo>
                  <a:cubicBezTo>
                    <a:pt x="4013195" y="89535"/>
                    <a:pt x="4011925" y="86360"/>
                    <a:pt x="4011290" y="82550"/>
                  </a:cubicBezTo>
                  <a:cubicBezTo>
                    <a:pt x="4010655" y="78740"/>
                    <a:pt x="4010020" y="74295"/>
                    <a:pt x="4010020" y="69850"/>
                  </a:cubicBezTo>
                  <a:cubicBezTo>
                    <a:pt x="4010020" y="63500"/>
                    <a:pt x="4010655" y="57150"/>
                    <a:pt x="4012560" y="52070"/>
                  </a:cubicBezTo>
                  <a:cubicBezTo>
                    <a:pt x="4014465" y="46990"/>
                    <a:pt x="4016370" y="42545"/>
                    <a:pt x="4019545" y="39370"/>
                  </a:cubicBezTo>
                  <a:cubicBezTo>
                    <a:pt x="4022720" y="36195"/>
                    <a:pt x="4025895" y="33020"/>
                    <a:pt x="4030340" y="31750"/>
                  </a:cubicBezTo>
                  <a:cubicBezTo>
                    <a:pt x="4034785" y="29845"/>
                    <a:pt x="4039230" y="29210"/>
                    <a:pt x="4044310" y="29210"/>
                  </a:cubicBezTo>
                  <a:close/>
                  <a:moveTo>
                    <a:pt x="3811900" y="29210"/>
                  </a:moveTo>
                  <a:cubicBezTo>
                    <a:pt x="3815075" y="29210"/>
                    <a:pt x="3817615" y="29210"/>
                    <a:pt x="3819520" y="29845"/>
                  </a:cubicBezTo>
                  <a:cubicBezTo>
                    <a:pt x="3821425" y="29845"/>
                    <a:pt x="3823330" y="31115"/>
                    <a:pt x="3825235" y="32385"/>
                  </a:cubicBezTo>
                  <a:lnTo>
                    <a:pt x="3821425" y="46990"/>
                  </a:lnTo>
                  <a:lnTo>
                    <a:pt x="3820155" y="46990"/>
                  </a:lnTo>
                  <a:cubicBezTo>
                    <a:pt x="3820155" y="46990"/>
                    <a:pt x="3816980" y="45085"/>
                    <a:pt x="3815075" y="45085"/>
                  </a:cubicBezTo>
                  <a:cubicBezTo>
                    <a:pt x="3813170" y="45085"/>
                    <a:pt x="3811265" y="44450"/>
                    <a:pt x="3808725" y="44450"/>
                  </a:cubicBezTo>
                  <a:cubicBezTo>
                    <a:pt x="3803645" y="44450"/>
                    <a:pt x="3799835" y="46355"/>
                    <a:pt x="3797295" y="49530"/>
                  </a:cubicBezTo>
                  <a:cubicBezTo>
                    <a:pt x="3794755" y="52705"/>
                    <a:pt x="3793485" y="57785"/>
                    <a:pt x="3793485" y="64770"/>
                  </a:cubicBezTo>
                  <a:lnTo>
                    <a:pt x="3793485" y="109220"/>
                  </a:lnTo>
                  <a:lnTo>
                    <a:pt x="3778245" y="109220"/>
                  </a:lnTo>
                  <a:lnTo>
                    <a:pt x="3778245" y="31115"/>
                  </a:lnTo>
                  <a:lnTo>
                    <a:pt x="3793485" y="31115"/>
                  </a:lnTo>
                  <a:lnTo>
                    <a:pt x="3793485" y="38735"/>
                  </a:lnTo>
                  <a:cubicBezTo>
                    <a:pt x="3793485" y="38735"/>
                    <a:pt x="3795390" y="36195"/>
                    <a:pt x="3796660" y="34925"/>
                  </a:cubicBezTo>
                  <a:cubicBezTo>
                    <a:pt x="3797930" y="33655"/>
                    <a:pt x="3799200" y="33020"/>
                    <a:pt x="3801105" y="31750"/>
                  </a:cubicBezTo>
                  <a:cubicBezTo>
                    <a:pt x="3802375" y="31115"/>
                    <a:pt x="3804280" y="30480"/>
                    <a:pt x="3806185" y="29845"/>
                  </a:cubicBezTo>
                  <a:cubicBezTo>
                    <a:pt x="3808090" y="29845"/>
                    <a:pt x="3809995" y="29210"/>
                    <a:pt x="3811900" y="29210"/>
                  </a:cubicBezTo>
                  <a:close/>
                  <a:moveTo>
                    <a:pt x="3729986" y="29210"/>
                  </a:moveTo>
                  <a:cubicBezTo>
                    <a:pt x="3735701" y="29210"/>
                    <a:pt x="3740146" y="30480"/>
                    <a:pt x="3744591" y="32385"/>
                  </a:cubicBezTo>
                  <a:cubicBezTo>
                    <a:pt x="3748401" y="34290"/>
                    <a:pt x="3752211" y="37465"/>
                    <a:pt x="3754751" y="40640"/>
                  </a:cubicBezTo>
                  <a:cubicBezTo>
                    <a:pt x="3757291" y="44450"/>
                    <a:pt x="3759196" y="48260"/>
                    <a:pt x="3761101" y="53340"/>
                  </a:cubicBezTo>
                  <a:cubicBezTo>
                    <a:pt x="3762371" y="57785"/>
                    <a:pt x="3763006" y="62865"/>
                    <a:pt x="3763006" y="68580"/>
                  </a:cubicBezTo>
                  <a:lnTo>
                    <a:pt x="3761736" y="68580"/>
                  </a:lnTo>
                  <a:cubicBezTo>
                    <a:pt x="3761736" y="68580"/>
                    <a:pt x="3761736" y="71120"/>
                    <a:pt x="3761736" y="72390"/>
                  </a:cubicBezTo>
                  <a:cubicBezTo>
                    <a:pt x="3761736" y="73660"/>
                    <a:pt x="3761736" y="74295"/>
                    <a:pt x="3761736" y="75565"/>
                  </a:cubicBezTo>
                  <a:lnTo>
                    <a:pt x="3710301" y="75565"/>
                  </a:lnTo>
                  <a:cubicBezTo>
                    <a:pt x="3710301" y="79375"/>
                    <a:pt x="3711571" y="82550"/>
                    <a:pt x="3712841" y="85090"/>
                  </a:cubicBezTo>
                  <a:cubicBezTo>
                    <a:pt x="3714111" y="87630"/>
                    <a:pt x="3715381" y="90170"/>
                    <a:pt x="3717286" y="91440"/>
                  </a:cubicBezTo>
                  <a:cubicBezTo>
                    <a:pt x="3719191" y="93345"/>
                    <a:pt x="3721096" y="94615"/>
                    <a:pt x="3723001" y="95250"/>
                  </a:cubicBezTo>
                  <a:cubicBezTo>
                    <a:pt x="3724906" y="95885"/>
                    <a:pt x="3727446" y="96520"/>
                    <a:pt x="3729986" y="96520"/>
                  </a:cubicBezTo>
                  <a:cubicBezTo>
                    <a:pt x="3731891" y="96520"/>
                    <a:pt x="3733161" y="96520"/>
                    <a:pt x="3735066" y="96520"/>
                  </a:cubicBezTo>
                  <a:cubicBezTo>
                    <a:pt x="3736336" y="96520"/>
                    <a:pt x="3738241" y="95885"/>
                    <a:pt x="3739511" y="95250"/>
                  </a:cubicBezTo>
                  <a:cubicBezTo>
                    <a:pt x="3740781" y="95250"/>
                    <a:pt x="3742051" y="93980"/>
                    <a:pt x="3743321" y="93345"/>
                  </a:cubicBezTo>
                  <a:cubicBezTo>
                    <a:pt x="3744591" y="93345"/>
                    <a:pt x="3745861" y="92075"/>
                    <a:pt x="3747766" y="90805"/>
                  </a:cubicBezTo>
                  <a:lnTo>
                    <a:pt x="3756656" y="100330"/>
                  </a:lnTo>
                  <a:cubicBezTo>
                    <a:pt x="3756656" y="100330"/>
                    <a:pt x="3752846" y="103505"/>
                    <a:pt x="3750941" y="104775"/>
                  </a:cubicBezTo>
                  <a:cubicBezTo>
                    <a:pt x="3749036" y="106045"/>
                    <a:pt x="3747131" y="106680"/>
                    <a:pt x="3745226" y="107950"/>
                  </a:cubicBezTo>
                  <a:cubicBezTo>
                    <a:pt x="3743321" y="108585"/>
                    <a:pt x="3740781" y="109855"/>
                    <a:pt x="3738241" y="109855"/>
                  </a:cubicBezTo>
                  <a:cubicBezTo>
                    <a:pt x="3735701" y="109855"/>
                    <a:pt x="3732526" y="110490"/>
                    <a:pt x="3729351" y="110490"/>
                  </a:cubicBezTo>
                  <a:cubicBezTo>
                    <a:pt x="3726176" y="110490"/>
                    <a:pt x="3723001" y="110490"/>
                    <a:pt x="3719826" y="109220"/>
                  </a:cubicBezTo>
                  <a:cubicBezTo>
                    <a:pt x="3716651" y="108585"/>
                    <a:pt x="3714111" y="107315"/>
                    <a:pt x="3712206" y="105410"/>
                  </a:cubicBezTo>
                  <a:cubicBezTo>
                    <a:pt x="3709666" y="104140"/>
                    <a:pt x="3707761" y="102235"/>
                    <a:pt x="3705856" y="100330"/>
                  </a:cubicBezTo>
                  <a:cubicBezTo>
                    <a:pt x="3703951" y="98425"/>
                    <a:pt x="3702046" y="95885"/>
                    <a:pt x="3700776" y="92710"/>
                  </a:cubicBezTo>
                  <a:cubicBezTo>
                    <a:pt x="3698871" y="89535"/>
                    <a:pt x="3697601" y="86360"/>
                    <a:pt x="3696966" y="82550"/>
                  </a:cubicBezTo>
                  <a:cubicBezTo>
                    <a:pt x="3696331" y="78740"/>
                    <a:pt x="3695696" y="74295"/>
                    <a:pt x="3695696" y="69850"/>
                  </a:cubicBezTo>
                  <a:cubicBezTo>
                    <a:pt x="3695696" y="63500"/>
                    <a:pt x="3696331" y="57150"/>
                    <a:pt x="3698236" y="52070"/>
                  </a:cubicBezTo>
                  <a:cubicBezTo>
                    <a:pt x="3700141" y="46990"/>
                    <a:pt x="3702046" y="42545"/>
                    <a:pt x="3705221" y="39370"/>
                  </a:cubicBezTo>
                  <a:cubicBezTo>
                    <a:pt x="3708396" y="36195"/>
                    <a:pt x="3711571" y="33020"/>
                    <a:pt x="3716016" y="31750"/>
                  </a:cubicBezTo>
                  <a:cubicBezTo>
                    <a:pt x="3720461" y="29845"/>
                    <a:pt x="3724906" y="29210"/>
                    <a:pt x="3729986" y="29210"/>
                  </a:cubicBezTo>
                  <a:close/>
                  <a:moveTo>
                    <a:pt x="3543296" y="29210"/>
                  </a:moveTo>
                  <a:cubicBezTo>
                    <a:pt x="3549011" y="29210"/>
                    <a:pt x="3553456" y="30480"/>
                    <a:pt x="3557901" y="32385"/>
                  </a:cubicBezTo>
                  <a:cubicBezTo>
                    <a:pt x="3561711" y="34290"/>
                    <a:pt x="3565521" y="37465"/>
                    <a:pt x="3568061" y="40640"/>
                  </a:cubicBezTo>
                  <a:cubicBezTo>
                    <a:pt x="3570601" y="44450"/>
                    <a:pt x="3572506" y="48260"/>
                    <a:pt x="3574411" y="53340"/>
                  </a:cubicBezTo>
                  <a:cubicBezTo>
                    <a:pt x="3575681" y="57785"/>
                    <a:pt x="3576316" y="62865"/>
                    <a:pt x="3576316" y="68580"/>
                  </a:cubicBezTo>
                  <a:lnTo>
                    <a:pt x="3575046" y="68580"/>
                  </a:lnTo>
                  <a:cubicBezTo>
                    <a:pt x="3575046" y="68580"/>
                    <a:pt x="3575046" y="71120"/>
                    <a:pt x="3575046" y="72390"/>
                  </a:cubicBezTo>
                  <a:cubicBezTo>
                    <a:pt x="3575046" y="73660"/>
                    <a:pt x="3575046" y="74295"/>
                    <a:pt x="3575046" y="75565"/>
                  </a:cubicBezTo>
                  <a:lnTo>
                    <a:pt x="3523611" y="75565"/>
                  </a:lnTo>
                  <a:cubicBezTo>
                    <a:pt x="3523611" y="79375"/>
                    <a:pt x="3524881" y="82550"/>
                    <a:pt x="3526151" y="85090"/>
                  </a:cubicBezTo>
                  <a:cubicBezTo>
                    <a:pt x="3527421" y="87630"/>
                    <a:pt x="3528691" y="90170"/>
                    <a:pt x="3530596" y="91440"/>
                  </a:cubicBezTo>
                  <a:cubicBezTo>
                    <a:pt x="3532501" y="93345"/>
                    <a:pt x="3534406" y="94615"/>
                    <a:pt x="3536311" y="95250"/>
                  </a:cubicBezTo>
                  <a:cubicBezTo>
                    <a:pt x="3538216" y="95885"/>
                    <a:pt x="3540756" y="96520"/>
                    <a:pt x="3543296" y="96520"/>
                  </a:cubicBezTo>
                  <a:cubicBezTo>
                    <a:pt x="3545201" y="96520"/>
                    <a:pt x="3546471" y="96520"/>
                    <a:pt x="3548376" y="96520"/>
                  </a:cubicBezTo>
                  <a:cubicBezTo>
                    <a:pt x="3549646" y="96520"/>
                    <a:pt x="3551551" y="95885"/>
                    <a:pt x="3552821" y="95250"/>
                  </a:cubicBezTo>
                  <a:cubicBezTo>
                    <a:pt x="3554091" y="95250"/>
                    <a:pt x="3555361" y="93980"/>
                    <a:pt x="3556631" y="93345"/>
                  </a:cubicBezTo>
                  <a:cubicBezTo>
                    <a:pt x="3557901" y="93345"/>
                    <a:pt x="3559171" y="92075"/>
                    <a:pt x="3561076" y="90805"/>
                  </a:cubicBezTo>
                  <a:lnTo>
                    <a:pt x="3569966" y="100330"/>
                  </a:lnTo>
                  <a:cubicBezTo>
                    <a:pt x="3569966" y="100330"/>
                    <a:pt x="3566156" y="103505"/>
                    <a:pt x="3564251" y="104775"/>
                  </a:cubicBezTo>
                  <a:cubicBezTo>
                    <a:pt x="3562346" y="106045"/>
                    <a:pt x="3560441" y="106680"/>
                    <a:pt x="3558536" y="107950"/>
                  </a:cubicBezTo>
                  <a:cubicBezTo>
                    <a:pt x="3556631" y="108585"/>
                    <a:pt x="3554091" y="109855"/>
                    <a:pt x="3551551" y="109855"/>
                  </a:cubicBezTo>
                  <a:cubicBezTo>
                    <a:pt x="3549011" y="109855"/>
                    <a:pt x="3545836" y="110490"/>
                    <a:pt x="3542661" y="110490"/>
                  </a:cubicBezTo>
                  <a:cubicBezTo>
                    <a:pt x="3539486" y="110490"/>
                    <a:pt x="3536311" y="110490"/>
                    <a:pt x="3533136" y="109220"/>
                  </a:cubicBezTo>
                  <a:cubicBezTo>
                    <a:pt x="3529961" y="108585"/>
                    <a:pt x="3527421" y="107315"/>
                    <a:pt x="3525516" y="105410"/>
                  </a:cubicBezTo>
                  <a:cubicBezTo>
                    <a:pt x="3522976" y="104140"/>
                    <a:pt x="3521071" y="102235"/>
                    <a:pt x="3519166" y="100330"/>
                  </a:cubicBezTo>
                  <a:cubicBezTo>
                    <a:pt x="3517261" y="98425"/>
                    <a:pt x="3515356" y="95885"/>
                    <a:pt x="3514086" y="92710"/>
                  </a:cubicBezTo>
                  <a:cubicBezTo>
                    <a:pt x="3512181" y="89535"/>
                    <a:pt x="3510911" y="86360"/>
                    <a:pt x="3510276" y="82550"/>
                  </a:cubicBezTo>
                  <a:cubicBezTo>
                    <a:pt x="3509641" y="78740"/>
                    <a:pt x="3509006" y="74295"/>
                    <a:pt x="3509006" y="69850"/>
                  </a:cubicBezTo>
                  <a:cubicBezTo>
                    <a:pt x="3509006" y="63500"/>
                    <a:pt x="3509641" y="57150"/>
                    <a:pt x="3511546" y="52070"/>
                  </a:cubicBezTo>
                  <a:cubicBezTo>
                    <a:pt x="3513451" y="46990"/>
                    <a:pt x="3515356" y="42545"/>
                    <a:pt x="3518531" y="39370"/>
                  </a:cubicBezTo>
                  <a:cubicBezTo>
                    <a:pt x="3521706" y="36195"/>
                    <a:pt x="3524881" y="33020"/>
                    <a:pt x="3529326" y="31750"/>
                  </a:cubicBezTo>
                  <a:cubicBezTo>
                    <a:pt x="3533771" y="29845"/>
                    <a:pt x="3538216" y="29210"/>
                    <a:pt x="3543296" y="29210"/>
                  </a:cubicBezTo>
                  <a:close/>
                  <a:moveTo>
                    <a:pt x="3345176" y="29210"/>
                  </a:moveTo>
                  <a:cubicBezTo>
                    <a:pt x="3350891" y="29210"/>
                    <a:pt x="3355336" y="30480"/>
                    <a:pt x="3359781" y="32385"/>
                  </a:cubicBezTo>
                  <a:cubicBezTo>
                    <a:pt x="3363591" y="34290"/>
                    <a:pt x="3367401" y="37465"/>
                    <a:pt x="3369941" y="40640"/>
                  </a:cubicBezTo>
                  <a:cubicBezTo>
                    <a:pt x="3372481" y="44450"/>
                    <a:pt x="3374386" y="48260"/>
                    <a:pt x="3376291" y="53340"/>
                  </a:cubicBezTo>
                  <a:cubicBezTo>
                    <a:pt x="3377561" y="57785"/>
                    <a:pt x="3378196" y="62865"/>
                    <a:pt x="3378196" y="68580"/>
                  </a:cubicBezTo>
                  <a:lnTo>
                    <a:pt x="3376926" y="68580"/>
                  </a:lnTo>
                  <a:cubicBezTo>
                    <a:pt x="3376926" y="68580"/>
                    <a:pt x="3376926" y="71120"/>
                    <a:pt x="3376926" y="72390"/>
                  </a:cubicBezTo>
                  <a:cubicBezTo>
                    <a:pt x="3376926" y="73660"/>
                    <a:pt x="3376926" y="74295"/>
                    <a:pt x="3376926" y="75565"/>
                  </a:cubicBezTo>
                  <a:lnTo>
                    <a:pt x="3325491" y="75565"/>
                  </a:lnTo>
                  <a:cubicBezTo>
                    <a:pt x="3325491" y="79375"/>
                    <a:pt x="3326761" y="82550"/>
                    <a:pt x="3328031" y="85090"/>
                  </a:cubicBezTo>
                  <a:cubicBezTo>
                    <a:pt x="3329301" y="87630"/>
                    <a:pt x="3330571" y="90170"/>
                    <a:pt x="3332476" y="91440"/>
                  </a:cubicBezTo>
                  <a:cubicBezTo>
                    <a:pt x="3334381" y="93345"/>
                    <a:pt x="3336286" y="94615"/>
                    <a:pt x="3338191" y="95250"/>
                  </a:cubicBezTo>
                  <a:cubicBezTo>
                    <a:pt x="3340096" y="95885"/>
                    <a:pt x="3342636" y="96520"/>
                    <a:pt x="3345176" y="96520"/>
                  </a:cubicBezTo>
                  <a:cubicBezTo>
                    <a:pt x="3347081" y="96520"/>
                    <a:pt x="3348351" y="96520"/>
                    <a:pt x="3350256" y="96520"/>
                  </a:cubicBezTo>
                  <a:cubicBezTo>
                    <a:pt x="3351526" y="96520"/>
                    <a:pt x="3353431" y="95885"/>
                    <a:pt x="3354701" y="95250"/>
                  </a:cubicBezTo>
                  <a:cubicBezTo>
                    <a:pt x="3355971" y="95250"/>
                    <a:pt x="3357241" y="93980"/>
                    <a:pt x="3358511" y="93345"/>
                  </a:cubicBezTo>
                  <a:cubicBezTo>
                    <a:pt x="3359781" y="93345"/>
                    <a:pt x="3361051" y="92075"/>
                    <a:pt x="3362956" y="90805"/>
                  </a:cubicBezTo>
                  <a:lnTo>
                    <a:pt x="3371846" y="100330"/>
                  </a:lnTo>
                  <a:cubicBezTo>
                    <a:pt x="3371846" y="100330"/>
                    <a:pt x="3368036" y="103505"/>
                    <a:pt x="3366131" y="104775"/>
                  </a:cubicBezTo>
                  <a:cubicBezTo>
                    <a:pt x="3364226" y="106045"/>
                    <a:pt x="3362321" y="106680"/>
                    <a:pt x="3360416" y="107950"/>
                  </a:cubicBezTo>
                  <a:cubicBezTo>
                    <a:pt x="3358511" y="108585"/>
                    <a:pt x="3355971" y="109855"/>
                    <a:pt x="3353431" y="109855"/>
                  </a:cubicBezTo>
                  <a:cubicBezTo>
                    <a:pt x="3350891" y="109855"/>
                    <a:pt x="3347716" y="110490"/>
                    <a:pt x="3344541" y="110490"/>
                  </a:cubicBezTo>
                  <a:cubicBezTo>
                    <a:pt x="3341366" y="110490"/>
                    <a:pt x="3338191" y="110490"/>
                    <a:pt x="3335016" y="109220"/>
                  </a:cubicBezTo>
                  <a:cubicBezTo>
                    <a:pt x="3331841" y="108585"/>
                    <a:pt x="3329301" y="107315"/>
                    <a:pt x="3327396" y="105410"/>
                  </a:cubicBezTo>
                  <a:cubicBezTo>
                    <a:pt x="3324856" y="104140"/>
                    <a:pt x="3322951" y="102235"/>
                    <a:pt x="3321046" y="100330"/>
                  </a:cubicBezTo>
                  <a:cubicBezTo>
                    <a:pt x="3319141" y="98425"/>
                    <a:pt x="3317236" y="95885"/>
                    <a:pt x="3315966" y="92710"/>
                  </a:cubicBezTo>
                  <a:cubicBezTo>
                    <a:pt x="3314061" y="89535"/>
                    <a:pt x="3312791" y="86360"/>
                    <a:pt x="3312156" y="82550"/>
                  </a:cubicBezTo>
                  <a:cubicBezTo>
                    <a:pt x="3311521" y="78740"/>
                    <a:pt x="3310886" y="74295"/>
                    <a:pt x="3310886" y="69850"/>
                  </a:cubicBezTo>
                  <a:cubicBezTo>
                    <a:pt x="3310886" y="63500"/>
                    <a:pt x="3311521" y="57150"/>
                    <a:pt x="3313426" y="52070"/>
                  </a:cubicBezTo>
                  <a:cubicBezTo>
                    <a:pt x="3315331" y="46990"/>
                    <a:pt x="3317236" y="42545"/>
                    <a:pt x="3320411" y="39370"/>
                  </a:cubicBezTo>
                  <a:cubicBezTo>
                    <a:pt x="3323586" y="36195"/>
                    <a:pt x="3326761" y="33020"/>
                    <a:pt x="3331206" y="31750"/>
                  </a:cubicBezTo>
                  <a:cubicBezTo>
                    <a:pt x="3335651" y="29845"/>
                    <a:pt x="3340096" y="29210"/>
                    <a:pt x="3345176" y="29210"/>
                  </a:cubicBezTo>
                  <a:close/>
                  <a:moveTo>
                    <a:pt x="3060696" y="29210"/>
                  </a:moveTo>
                  <a:cubicBezTo>
                    <a:pt x="3063871" y="29210"/>
                    <a:pt x="3066411" y="29210"/>
                    <a:pt x="3068316" y="29845"/>
                  </a:cubicBezTo>
                  <a:cubicBezTo>
                    <a:pt x="3070221" y="29845"/>
                    <a:pt x="3072126" y="31115"/>
                    <a:pt x="3074031" y="32385"/>
                  </a:cubicBezTo>
                  <a:lnTo>
                    <a:pt x="3070221" y="46990"/>
                  </a:lnTo>
                  <a:lnTo>
                    <a:pt x="3068951" y="46990"/>
                  </a:lnTo>
                  <a:cubicBezTo>
                    <a:pt x="3068951" y="46990"/>
                    <a:pt x="3065776" y="45085"/>
                    <a:pt x="3063871" y="45085"/>
                  </a:cubicBezTo>
                  <a:cubicBezTo>
                    <a:pt x="3061966" y="45085"/>
                    <a:pt x="3060061" y="44450"/>
                    <a:pt x="3057521" y="44450"/>
                  </a:cubicBezTo>
                  <a:cubicBezTo>
                    <a:pt x="3052441" y="44450"/>
                    <a:pt x="3048631" y="46355"/>
                    <a:pt x="3046091" y="49530"/>
                  </a:cubicBezTo>
                  <a:cubicBezTo>
                    <a:pt x="3043551" y="52705"/>
                    <a:pt x="3042281" y="57785"/>
                    <a:pt x="3042281" y="64770"/>
                  </a:cubicBezTo>
                  <a:lnTo>
                    <a:pt x="3042281" y="109220"/>
                  </a:lnTo>
                  <a:lnTo>
                    <a:pt x="3027041" y="109220"/>
                  </a:lnTo>
                  <a:lnTo>
                    <a:pt x="3027041" y="31115"/>
                  </a:lnTo>
                  <a:lnTo>
                    <a:pt x="3042281" y="31115"/>
                  </a:lnTo>
                  <a:lnTo>
                    <a:pt x="3042281" y="38735"/>
                  </a:lnTo>
                  <a:cubicBezTo>
                    <a:pt x="3042281" y="38735"/>
                    <a:pt x="3044186" y="36195"/>
                    <a:pt x="3045456" y="34925"/>
                  </a:cubicBezTo>
                  <a:cubicBezTo>
                    <a:pt x="3046726" y="33655"/>
                    <a:pt x="3047996" y="33020"/>
                    <a:pt x="3049901" y="31750"/>
                  </a:cubicBezTo>
                  <a:cubicBezTo>
                    <a:pt x="3051171" y="31115"/>
                    <a:pt x="3053076" y="30480"/>
                    <a:pt x="3054981" y="29845"/>
                  </a:cubicBezTo>
                  <a:cubicBezTo>
                    <a:pt x="3056886" y="29845"/>
                    <a:pt x="3058791" y="29210"/>
                    <a:pt x="3060696" y="29210"/>
                  </a:cubicBezTo>
                  <a:close/>
                  <a:moveTo>
                    <a:pt x="2978781" y="29210"/>
                  </a:moveTo>
                  <a:cubicBezTo>
                    <a:pt x="2984496" y="29210"/>
                    <a:pt x="2988941" y="30480"/>
                    <a:pt x="2993386" y="32385"/>
                  </a:cubicBezTo>
                  <a:cubicBezTo>
                    <a:pt x="2997196" y="34290"/>
                    <a:pt x="3001006" y="37465"/>
                    <a:pt x="3003546" y="40640"/>
                  </a:cubicBezTo>
                  <a:cubicBezTo>
                    <a:pt x="3006086" y="44450"/>
                    <a:pt x="3007991" y="48260"/>
                    <a:pt x="3009896" y="53340"/>
                  </a:cubicBezTo>
                  <a:cubicBezTo>
                    <a:pt x="3011166" y="57785"/>
                    <a:pt x="3011801" y="62865"/>
                    <a:pt x="3011801" y="68580"/>
                  </a:cubicBezTo>
                  <a:lnTo>
                    <a:pt x="3010531" y="68580"/>
                  </a:lnTo>
                  <a:cubicBezTo>
                    <a:pt x="3010531" y="68580"/>
                    <a:pt x="3010531" y="71120"/>
                    <a:pt x="3010531" y="72390"/>
                  </a:cubicBezTo>
                  <a:cubicBezTo>
                    <a:pt x="3010531" y="73660"/>
                    <a:pt x="3010531" y="74295"/>
                    <a:pt x="3010531" y="75565"/>
                  </a:cubicBezTo>
                  <a:lnTo>
                    <a:pt x="2959096" y="75565"/>
                  </a:lnTo>
                  <a:cubicBezTo>
                    <a:pt x="2959096" y="79375"/>
                    <a:pt x="2960366" y="82550"/>
                    <a:pt x="2961636" y="85090"/>
                  </a:cubicBezTo>
                  <a:cubicBezTo>
                    <a:pt x="2962906" y="87630"/>
                    <a:pt x="2964176" y="90170"/>
                    <a:pt x="2966081" y="91440"/>
                  </a:cubicBezTo>
                  <a:cubicBezTo>
                    <a:pt x="2967986" y="93345"/>
                    <a:pt x="2969891" y="94615"/>
                    <a:pt x="2971796" y="95250"/>
                  </a:cubicBezTo>
                  <a:cubicBezTo>
                    <a:pt x="2974336" y="95885"/>
                    <a:pt x="2976241" y="96520"/>
                    <a:pt x="2978781" y="96520"/>
                  </a:cubicBezTo>
                  <a:cubicBezTo>
                    <a:pt x="2980686" y="96520"/>
                    <a:pt x="2981956" y="96520"/>
                    <a:pt x="2983861" y="96520"/>
                  </a:cubicBezTo>
                  <a:cubicBezTo>
                    <a:pt x="2985131" y="96520"/>
                    <a:pt x="2987036" y="95885"/>
                    <a:pt x="2988306" y="95250"/>
                  </a:cubicBezTo>
                  <a:cubicBezTo>
                    <a:pt x="2989576" y="95250"/>
                    <a:pt x="2990846" y="93980"/>
                    <a:pt x="2992116" y="93345"/>
                  </a:cubicBezTo>
                  <a:cubicBezTo>
                    <a:pt x="2993386" y="93345"/>
                    <a:pt x="2994656" y="92075"/>
                    <a:pt x="2996561" y="90805"/>
                  </a:cubicBezTo>
                  <a:lnTo>
                    <a:pt x="3005451" y="100330"/>
                  </a:lnTo>
                  <a:cubicBezTo>
                    <a:pt x="3005451" y="100330"/>
                    <a:pt x="3001641" y="103505"/>
                    <a:pt x="2999736" y="104775"/>
                  </a:cubicBezTo>
                  <a:cubicBezTo>
                    <a:pt x="2997831" y="106045"/>
                    <a:pt x="2995926" y="106680"/>
                    <a:pt x="2994021" y="107950"/>
                  </a:cubicBezTo>
                  <a:cubicBezTo>
                    <a:pt x="2992116" y="108585"/>
                    <a:pt x="2989576" y="109855"/>
                    <a:pt x="2987036" y="109855"/>
                  </a:cubicBezTo>
                  <a:cubicBezTo>
                    <a:pt x="2984496" y="109855"/>
                    <a:pt x="2981321" y="110490"/>
                    <a:pt x="2978146" y="110490"/>
                  </a:cubicBezTo>
                  <a:cubicBezTo>
                    <a:pt x="2974971" y="110490"/>
                    <a:pt x="2971796" y="110490"/>
                    <a:pt x="2968621" y="109220"/>
                  </a:cubicBezTo>
                  <a:cubicBezTo>
                    <a:pt x="2965446" y="108585"/>
                    <a:pt x="2962906" y="107315"/>
                    <a:pt x="2961001" y="105410"/>
                  </a:cubicBezTo>
                  <a:cubicBezTo>
                    <a:pt x="2958461" y="104140"/>
                    <a:pt x="2956556" y="102235"/>
                    <a:pt x="2954651" y="100330"/>
                  </a:cubicBezTo>
                  <a:cubicBezTo>
                    <a:pt x="2952746" y="98425"/>
                    <a:pt x="2950841" y="95885"/>
                    <a:pt x="2949571" y="92710"/>
                  </a:cubicBezTo>
                  <a:cubicBezTo>
                    <a:pt x="2947666" y="89535"/>
                    <a:pt x="2946396" y="86360"/>
                    <a:pt x="2945761" y="82550"/>
                  </a:cubicBezTo>
                  <a:cubicBezTo>
                    <a:pt x="2945126" y="78740"/>
                    <a:pt x="2944491" y="74295"/>
                    <a:pt x="2944491" y="69850"/>
                  </a:cubicBezTo>
                  <a:cubicBezTo>
                    <a:pt x="2944491" y="63500"/>
                    <a:pt x="2945126" y="57150"/>
                    <a:pt x="2947031" y="52070"/>
                  </a:cubicBezTo>
                  <a:cubicBezTo>
                    <a:pt x="2948936" y="46990"/>
                    <a:pt x="2950841" y="42545"/>
                    <a:pt x="2954016" y="39370"/>
                  </a:cubicBezTo>
                  <a:cubicBezTo>
                    <a:pt x="2957191" y="36195"/>
                    <a:pt x="2960366" y="33020"/>
                    <a:pt x="2964811" y="31750"/>
                  </a:cubicBezTo>
                  <a:cubicBezTo>
                    <a:pt x="2969256" y="29845"/>
                    <a:pt x="2973701" y="29210"/>
                    <a:pt x="2978781" y="29210"/>
                  </a:cubicBezTo>
                  <a:close/>
                  <a:moveTo>
                    <a:pt x="2798440" y="29210"/>
                  </a:moveTo>
                  <a:cubicBezTo>
                    <a:pt x="2803520" y="29210"/>
                    <a:pt x="2807965" y="29845"/>
                    <a:pt x="2813045" y="31750"/>
                  </a:cubicBezTo>
                  <a:cubicBezTo>
                    <a:pt x="2817490" y="33655"/>
                    <a:pt x="2821935" y="35560"/>
                    <a:pt x="2825110" y="38100"/>
                  </a:cubicBezTo>
                  <a:lnTo>
                    <a:pt x="2827015" y="38100"/>
                  </a:lnTo>
                  <a:lnTo>
                    <a:pt x="2820030" y="50165"/>
                  </a:lnTo>
                  <a:cubicBezTo>
                    <a:pt x="2816855" y="47625"/>
                    <a:pt x="2813680" y="46355"/>
                    <a:pt x="2810505" y="45085"/>
                  </a:cubicBezTo>
                  <a:cubicBezTo>
                    <a:pt x="2807330" y="43815"/>
                    <a:pt x="2803520" y="43180"/>
                    <a:pt x="2799710" y="43180"/>
                  </a:cubicBezTo>
                  <a:cubicBezTo>
                    <a:pt x="2795900" y="43180"/>
                    <a:pt x="2793360" y="43815"/>
                    <a:pt x="2791455" y="45085"/>
                  </a:cubicBezTo>
                  <a:cubicBezTo>
                    <a:pt x="2789550" y="46355"/>
                    <a:pt x="2788915" y="48260"/>
                    <a:pt x="2788915" y="50165"/>
                  </a:cubicBezTo>
                  <a:cubicBezTo>
                    <a:pt x="2788915" y="51435"/>
                    <a:pt x="2788915" y="52070"/>
                    <a:pt x="2788915" y="52705"/>
                  </a:cubicBezTo>
                  <a:cubicBezTo>
                    <a:pt x="2788915" y="53340"/>
                    <a:pt x="2790185" y="54610"/>
                    <a:pt x="2790820" y="55245"/>
                  </a:cubicBezTo>
                  <a:cubicBezTo>
                    <a:pt x="2792090" y="55880"/>
                    <a:pt x="2793360" y="57150"/>
                    <a:pt x="2795265" y="57785"/>
                  </a:cubicBezTo>
                  <a:cubicBezTo>
                    <a:pt x="2797170" y="59055"/>
                    <a:pt x="2799710" y="59690"/>
                    <a:pt x="2802250" y="60960"/>
                  </a:cubicBezTo>
                  <a:cubicBezTo>
                    <a:pt x="2806695" y="62865"/>
                    <a:pt x="2810505" y="64135"/>
                    <a:pt x="2813680" y="66040"/>
                  </a:cubicBezTo>
                  <a:cubicBezTo>
                    <a:pt x="2816855" y="67310"/>
                    <a:pt x="2819395" y="69215"/>
                    <a:pt x="2821935" y="71120"/>
                  </a:cubicBezTo>
                  <a:cubicBezTo>
                    <a:pt x="2823840" y="73025"/>
                    <a:pt x="2825745" y="75565"/>
                    <a:pt x="2827015" y="78105"/>
                  </a:cubicBezTo>
                  <a:cubicBezTo>
                    <a:pt x="2828285" y="80645"/>
                    <a:pt x="2828920" y="83820"/>
                    <a:pt x="2828920" y="87630"/>
                  </a:cubicBezTo>
                  <a:cubicBezTo>
                    <a:pt x="2828920" y="92075"/>
                    <a:pt x="2828285" y="95250"/>
                    <a:pt x="2826380" y="98425"/>
                  </a:cubicBezTo>
                  <a:cubicBezTo>
                    <a:pt x="2824475" y="101600"/>
                    <a:pt x="2822570" y="103505"/>
                    <a:pt x="2820030" y="105410"/>
                  </a:cubicBezTo>
                  <a:cubicBezTo>
                    <a:pt x="2817490" y="107315"/>
                    <a:pt x="2814315" y="108585"/>
                    <a:pt x="2810505" y="109220"/>
                  </a:cubicBezTo>
                  <a:cubicBezTo>
                    <a:pt x="2806695" y="109855"/>
                    <a:pt x="2803520" y="110490"/>
                    <a:pt x="2799710" y="110490"/>
                  </a:cubicBezTo>
                  <a:cubicBezTo>
                    <a:pt x="2794630" y="110490"/>
                    <a:pt x="2789550" y="109855"/>
                    <a:pt x="2783835" y="107950"/>
                  </a:cubicBezTo>
                  <a:cubicBezTo>
                    <a:pt x="2778120" y="106045"/>
                    <a:pt x="2773675" y="103505"/>
                    <a:pt x="2769230" y="100965"/>
                  </a:cubicBezTo>
                  <a:lnTo>
                    <a:pt x="2776215" y="89535"/>
                  </a:lnTo>
                  <a:cubicBezTo>
                    <a:pt x="2780025" y="92075"/>
                    <a:pt x="2783835" y="93980"/>
                    <a:pt x="2787645" y="95250"/>
                  </a:cubicBezTo>
                  <a:cubicBezTo>
                    <a:pt x="2791455" y="96520"/>
                    <a:pt x="2795265" y="97155"/>
                    <a:pt x="2799075" y="97155"/>
                  </a:cubicBezTo>
                  <a:cubicBezTo>
                    <a:pt x="2804155" y="97155"/>
                    <a:pt x="2807330" y="96520"/>
                    <a:pt x="2809870" y="94615"/>
                  </a:cubicBezTo>
                  <a:cubicBezTo>
                    <a:pt x="2812410" y="93345"/>
                    <a:pt x="2813045" y="90805"/>
                    <a:pt x="2813045" y="88265"/>
                  </a:cubicBezTo>
                  <a:cubicBezTo>
                    <a:pt x="2813045" y="86995"/>
                    <a:pt x="2813045" y="85725"/>
                    <a:pt x="2811775" y="84455"/>
                  </a:cubicBezTo>
                  <a:cubicBezTo>
                    <a:pt x="2811140" y="83185"/>
                    <a:pt x="2809870" y="82550"/>
                    <a:pt x="2807965" y="81280"/>
                  </a:cubicBezTo>
                  <a:cubicBezTo>
                    <a:pt x="2806695" y="80010"/>
                    <a:pt x="2804790" y="79375"/>
                    <a:pt x="2802250" y="78105"/>
                  </a:cubicBezTo>
                  <a:cubicBezTo>
                    <a:pt x="2800345" y="77470"/>
                    <a:pt x="2797805" y="76200"/>
                    <a:pt x="2794630" y="74930"/>
                  </a:cubicBezTo>
                  <a:cubicBezTo>
                    <a:pt x="2790185" y="73025"/>
                    <a:pt x="2787010" y="71755"/>
                    <a:pt x="2783835" y="69850"/>
                  </a:cubicBezTo>
                  <a:cubicBezTo>
                    <a:pt x="2780660" y="67945"/>
                    <a:pt x="2778755" y="66675"/>
                    <a:pt x="2776850" y="64770"/>
                  </a:cubicBezTo>
                  <a:cubicBezTo>
                    <a:pt x="2774945" y="62865"/>
                    <a:pt x="2773675" y="60960"/>
                    <a:pt x="2773040" y="58420"/>
                  </a:cubicBezTo>
                  <a:cubicBezTo>
                    <a:pt x="2772405" y="55880"/>
                    <a:pt x="2771770" y="53340"/>
                    <a:pt x="2771770" y="50165"/>
                  </a:cubicBezTo>
                  <a:cubicBezTo>
                    <a:pt x="2771770" y="46990"/>
                    <a:pt x="2772405" y="43815"/>
                    <a:pt x="2773675" y="40640"/>
                  </a:cubicBezTo>
                  <a:cubicBezTo>
                    <a:pt x="2774945" y="38100"/>
                    <a:pt x="2776850" y="35560"/>
                    <a:pt x="2779390" y="34290"/>
                  </a:cubicBezTo>
                  <a:cubicBezTo>
                    <a:pt x="2781930" y="32385"/>
                    <a:pt x="2784470" y="31115"/>
                    <a:pt x="2787645" y="30480"/>
                  </a:cubicBezTo>
                  <a:cubicBezTo>
                    <a:pt x="2790820" y="29845"/>
                    <a:pt x="2794630" y="29210"/>
                    <a:pt x="2798440" y="29210"/>
                  </a:cubicBezTo>
                  <a:close/>
                  <a:moveTo>
                    <a:pt x="2723510" y="29210"/>
                  </a:moveTo>
                  <a:cubicBezTo>
                    <a:pt x="2725415" y="29210"/>
                    <a:pt x="2727320" y="29210"/>
                    <a:pt x="2729225" y="29210"/>
                  </a:cubicBezTo>
                  <a:cubicBezTo>
                    <a:pt x="2733670" y="29210"/>
                    <a:pt x="2738115" y="29845"/>
                    <a:pt x="2741290" y="31750"/>
                  </a:cubicBezTo>
                  <a:cubicBezTo>
                    <a:pt x="2744465" y="33020"/>
                    <a:pt x="2747640" y="35560"/>
                    <a:pt x="2750180" y="38100"/>
                  </a:cubicBezTo>
                  <a:cubicBezTo>
                    <a:pt x="2752720" y="41275"/>
                    <a:pt x="2753990" y="44450"/>
                    <a:pt x="2755260" y="48895"/>
                  </a:cubicBezTo>
                  <a:cubicBezTo>
                    <a:pt x="2756530" y="53340"/>
                    <a:pt x="2757165" y="58420"/>
                    <a:pt x="2757165" y="64135"/>
                  </a:cubicBezTo>
                  <a:lnTo>
                    <a:pt x="2757165" y="108585"/>
                  </a:lnTo>
                  <a:lnTo>
                    <a:pt x="2741925" y="108585"/>
                  </a:lnTo>
                  <a:lnTo>
                    <a:pt x="2741290" y="108585"/>
                  </a:lnTo>
                  <a:lnTo>
                    <a:pt x="2741290" y="64770"/>
                  </a:lnTo>
                  <a:cubicBezTo>
                    <a:pt x="2741290" y="57785"/>
                    <a:pt x="2740020" y="52070"/>
                    <a:pt x="2737480" y="48895"/>
                  </a:cubicBezTo>
                  <a:cubicBezTo>
                    <a:pt x="2734940" y="45085"/>
                    <a:pt x="2731130" y="43180"/>
                    <a:pt x="2725415" y="43180"/>
                  </a:cubicBezTo>
                  <a:cubicBezTo>
                    <a:pt x="2722875" y="43180"/>
                    <a:pt x="2720970" y="43180"/>
                    <a:pt x="2718430" y="44450"/>
                  </a:cubicBezTo>
                  <a:cubicBezTo>
                    <a:pt x="2716525" y="45085"/>
                    <a:pt x="2714620" y="46990"/>
                    <a:pt x="2713350" y="48260"/>
                  </a:cubicBezTo>
                  <a:cubicBezTo>
                    <a:pt x="2712080" y="50165"/>
                    <a:pt x="2710810" y="52070"/>
                    <a:pt x="2710175" y="54610"/>
                  </a:cubicBezTo>
                  <a:cubicBezTo>
                    <a:pt x="2710175" y="57150"/>
                    <a:pt x="2709540" y="59690"/>
                    <a:pt x="2709540" y="62865"/>
                  </a:cubicBezTo>
                  <a:lnTo>
                    <a:pt x="2709540" y="108585"/>
                  </a:lnTo>
                  <a:lnTo>
                    <a:pt x="2694300" y="108585"/>
                  </a:lnTo>
                  <a:lnTo>
                    <a:pt x="2694300" y="30480"/>
                  </a:lnTo>
                  <a:lnTo>
                    <a:pt x="2709540" y="30480"/>
                  </a:lnTo>
                  <a:lnTo>
                    <a:pt x="2709540" y="38100"/>
                  </a:lnTo>
                  <a:cubicBezTo>
                    <a:pt x="2709540" y="38100"/>
                    <a:pt x="2711445" y="35560"/>
                    <a:pt x="2713350" y="34290"/>
                  </a:cubicBezTo>
                  <a:cubicBezTo>
                    <a:pt x="2714620" y="33020"/>
                    <a:pt x="2716525" y="32385"/>
                    <a:pt x="2717795" y="31115"/>
                  </a:cubicBezTo>
                  <a:cubicBezTo>
                    <a:pt x="2719700" y="30480"/>
                    <a:pt x="2721605" y="29845"/>
                    <a:pt x="2723510" y="29210"/>
                  </a:cubicBezTo>
                  <a:close/>
                  <a:moveTo>
                    <a:pt x="2530470" y="29210"/>
                  </a:moveTo>
                  <a:cubicBezTo>
                    <a:pt x="2536185" y="29210"/>
                    <a:pt x="2540630" y="30480"/>
                    <a:pt x="2545075" y="32385"/>
                  </a:cubicBezTo>
                  <a:cubicBezTo>
                    <a:pt x="2548885" y="34290"/>
                    <a:pt x="2552695" y="37465"/>
                    <a:pt x="2555235" y="40640"/>
                  </a:cubicBezTo>
                  <a:cubicBezTo>
                    <a:pt x="2557775" y="44450"/>
                    <a:pt x="2559680" y="48260"/>
                    <a:pt x="2561585" y="53340"/>
                  </a:cubicBezTo>
                  <a:cubicBezTo>
                    <a:pt x="2562855" y="57785"/>
                    <a:pt x="2563490" y="62865"/>
                    <a:pt x="2563490" y="68580"/>
                  </a:cubicBezTo>
                  <a:lnTo>
                    <a:pt x="2562220" y="68580"/>
                  </a:lnTo>
                  <a:cubicBezTo>
                    <a:pt x="2562220" y="68580"/>
                    <a:pt x="2562220" y="71120"/>
                    <a:pt x="2562220" y="72390"/>
                  </a:cubicBezTo>
                  <a:cubicBezTo>
                    <a:pt x="2562220" y="73660"/>
                    <a:pt x="2562220" y="74295"/>
                    <a:pt x="2562220" y="75565"/>
                  </a:cubicBezTo>
                  <a:lnTo>
                    <a:pt x="2510785" y="75565"/>
                  </a:lnTo>
                  <a:cubicBezTo>
                    <a:pt x="2510785" y="79375"/>
                    <a:pt x="2512055" y="82550"/>
                    <a:pt x="2513325" y="85090"/>
                  </a:cubicBezTo>
                  <a:cubicBezTo>
                    <a:pt x="2514595" y="87630"/>
                    <a:pt x="2515865" y="90170"/>
                    <a:pt x="2517770" y="91440"/>
                  </a:cubicBezTo>
                  <a:cubicBezTo>
                    <a:pt x="2519675" y="93345"/>
                    <a:pt x="2521580" y="94615"/>
                    <a:pt x="2523485" y="95250"/>
                  </a:cubicBezTo>
                  <a:cubicBezTo>
                    <a:pt x="2525390" y="95885"/>
                    <a:pt x="2527930" y="96520"/>
                    <a:pt x="2530470" y="96520"/>
                  </a:cubicBezTo>
                  <a:cubicBezTo>
                    <a:pt x="2532375" y="96520"/>
                    <a:pt x="2533645" y="96520"/>
                    <a:pt x="2535550" y="96520"/>
                  </a:cubicBezTo>
                  <a:cubicBezTo>
                    <a:pt x="2536820" y="96520"/>
                    <a:pt x="2538725" y="95885"/>
                    <a:pt x="2539995" y="95250"/>
                  </a:cubicBezTo>
                  <a:cubicBezTo>
                    <a:pt x="2541265" y="95250"/>
                    <a:pt x="2542535" y="93980"/>
                    <a:pt x="2543805" y="93345"/>
                  </a:cubicBezTo>
                  <a:cubicBezTo>
                    <a:pt x="2545075" y="93345"/>
                    <a:pt x="2546345" y="92075"/>
                    <a:pt x="2548250" y="90805"/>
                  </a:cubicBezTo>
                  <a:lnTo>
                    <a:pt x="2557140" y="100330"/>
                  </a:lnTo>
                  <a:cubicBezTo>
                    <a:pt x="2557140" y="100330"/>
                    <a:pt x="2553330" y="103505"/>
                    <a:pt x="2551425" y="104775"/>
                  </a:cubicBezTo>
                  <a:cubicBezTo>
                    <a:pt x="2549520" y="106045"/>
                    <a:pt x="2547615" y="106680"/>
                    <a:pt x="2545710" y="107950"/>
                  </a:cubicBezTo>
                  <a:cubicBezTo>
                    <a:pt x="2543805" y="108585"/>
                    <a:pt x="2541265" y="109855"/>
                    <a:pt x="2538725" y="109855"/>
                  </a:cubicBezTo>
                  <a:cubicBezTo>
                    <a:pt x="2536185" y="109855"/>
                    <a:pt x="2533010" y="110490"/>
                    <a:pt x="2529835" y="110490"/>
                  </a:cubicBezTo>
                  <a:cubicBezTo>
                    <a:pt x="2526660" y="110490"/>
                    <a:pt x="2523485" y="110490"/>
                    <a:pt x="2520310" y="109220"/>
                  </a:cubicBezTo>
                  <a:cubicBezTo>
                    <a:pt x="2517135" y="108585"/>
                    <a:pt x="2514595" y="107315"/>
                    <a:pt x="2512690" y="105410"/>
                  </a:cubicBezTo>
                  <a:cubicBezTo>
                    <a:pt x="2510785" y="103505"/>
                    <a:pt x="2508245" y="102235"/>
                    <a:pt x="2506340" y="100330"/>
                  </a:cubicBezTo>
                  <a:cubicBezTo>
                    <a:pt x="2504435" y="98425"/>
                    <a:pt x="2502530" y="95885"/>
                    <a:pt x="2501260" y="92710"/>
                  </a:cubicBezTo>
                  <a:cubicBezTo>
                    <a:pt x="2499355" y="89535"/>
                    <a:pt x="2498085" y="86360"/>
                    <a:pt x="2497450" y="82550"/>
                  </a:cubicBezTo>
                  <a:cubicBezTo>
                    <a:pt x="2496815" y="78740"/>
                    <a:pt x="2496180" y="74295"/>
                    <a:pt x="2496180" y="69850"/>
                  </a:cubicBezTo>
                  <a:cubicBezTo>
                    <a:pt x="2496180" y="63500"/>
                    <a:pt x="2496815" y="57150"/>
                    <a:pt x="2498720" y="52070"/>
                  </a:cubicBezTo>
                  <a:cubicBezTo>
                    <a:pt x="2500625" y="46990"/>
                    <a:pt x="2502530" y="42545"/>
                    <a:pt x="2505705" y="39370"/>
                  </a:cubicBezTo>
                  <a:cubicBezTo>
                    <a:pt x="2508880" y="36195"/>
                    <a:pt x="2512055" y="33020"/>
                    <a:pt x="2516500" y="31750"/>
                  </a:cubicBezTo>
                  <a:cubicBezTo>
                    <a:pt x="2520945" y="29845"/>
                    <a:pt x="2525390" y="29210"/>
                    <a:pt x="2530470" y="29210"/>
                  </a:cubicBezTo>
                  <a:close/>
                  <a:moveTo>
                    <a:pt x="2298061" y="29210"/>
                  </a:moveTo>
                  <a:cubicBezTo>
                    <a:pt x="2301236" y="29210"/>
                    <a:pt x="2303776" y="29210"/>
                    <a:pt x="2305681" y="29845"/>
                  </a:cubicBezTo>
                  <a:cubicBezTo>
                    <a:pt x="2307586" y="29845"/>
                    <a:pt x="2309491" y="31115"/>
                    <a:pt x="2311396" y="32385"/>
                  </a:cubicBezTo>
                  <a:lnTo>
                    <a:pt x="2307586" y="46990"/>
                  </a:lnTo>
                  <a:lnTo>
                    <a:pt x="2306316" y="46990"/>
                  </a:lnTo>
                  <a:cubicBezTo>
                    <a:pt x="2306316" y="46990"/>
                    <a:pt x="2303141" y="45085"/>
                    <a:pt x="2301236" y="45085"/>
                  </a:cubicBezTo>
                  <a:cubicBezTo>
                    <a:pt x="2299331" y="45085"/>
                    <a:pt x="2297426" y="44450"/>
                    <a:pt x="2294886" y="44450"/>
                  </a:cubicBezTo>
                  <a:cubicBezTo>
                    <a:pt x="2289806" y="44450"/>
                    <a:pt x="2285996" y="46355"/>
                    <a:pt x="2283456" y="49530"/>
                  </a:cubicBezTo>
                  <a:cubicBezTo>
                    <a:pt x="2280916" y="52705"/>
                    <a:pt x="2279646" y="57785"/>
                    <a:pt x="2279646" y="64770"/>
                  </a:cubicBezTo>
                  <a:lnTo>
                    <a:pt x="2279646" y="109220"/>
                  </a:lnTo>
                  <a:lnTo>
                    <a:pt x="2264406" y="109220"/>
                  </a:lnTo>
                  <a:lnTo>
                    <a:pt x="2264406" y="31115"/>
                  </a:lnTo>
                  <a:lnTo>
                    <a:pt x="2279646" y="31115"/>
                  </a:lnTo>
                  <a:lnTo>
                    <a:pt x="2279646" y="38735"/>
                  </a:lnTo>
                  <a:cubicBezTo>
                    <a:pt x="2279646" y="38735"/>
                    <a:pt x="2281551" y="36195"/>
                    <a:pt x="2282821" y="34925"/>
                  </a:cubicBezTo>
                  <a:cubicBezTo>
                    <a:pt x="2284091" y="33655"/>
                    <a:pt x="2285361" y="33020"/>
                    <a:pt x="2287266" y="31750"/>
                  </a:cubicBezTo>
                  <a:cubicBezTo>
                    <a:pt x="2288536" y="31115"/>
                    <a:pt x="2290441" y="30480"/>
                    <a:pt x="2292346" y="29845"/>
                  </a:cubicBezTo>
                  <a:cubicBezTo>
                    <a:pt x="2294251" y="29845"/>
                    <a:pt x="2296156" y="29210"/>
                    <a:pt x="2298061" y="29210"/>
                  </a:cubicBezTo>
                  <a:close/>
                  <a:moveTo>
                    <a:pt x="2216145" y="29210"/>
                  </a:moveTo>
                  <a:cubicBezTo>
                    <a:pt x="2221860" y="29210"/>
                    <a:pt x="2226305" y="30480"/>
                    <a:pt x="2230750" y="32385"/>
                  </a:cubicBezTo>
                  <a:cubicBezTo>
                    <a:pt x="2234560" y="34290"/>
                    <a:pt x="2238370" y="37465"/>
                    <a:pt x="2240910" y="40640"/>
                  </a:cubicBezTo>
                  <a:cubicBezTo>
                    <a:pt x="2243450" y="44450"/>
                    <a:pt x="2245355" y="48260"/>
                    <a:pt x="2247260" y="53340"/>
                  </a:cubicBezTo>
                  <a:cubicBezTo>
                    <a:pt x="2248530" y="57785"/>
                    <a:pt x="2249165" y="62865"/>
                    <a:pt x="2249165" y="68580"/>
                  </a:cubicBezTo>
                  <a:lnTo>
                    <a:pt x="2247895" y="68580"/>
                  </a:lnTo>
                  <a:cubicBezTo>
                    <a:pt x="2247895" y="68580"/>
                    <a:pt x="2247895" y="71120"/>
                    <a:pt x="2247895" y="72390"/>
                  </a:cubicBezTo>
                  <a:cubicBezTo>
                    <a:pt x="2247895" y="73660"/>
                    <a:pt x="2247895" y="74295"/>
                    <a:pt x="2247895" y="75565"/>
                  </a:cubicBezTo>
                  <a:lnTo>
                    <a:pt x="2196460" y="75565"/>
                  </a:lnTo>
                  <a:cubicBezTo>
                    <a:pt x="2196460" y="79375"/>
                    <a:pt x="2197730" y="82550"/>
                    <a:pt x="2199000" y="85090"/>
                  </a:cubicBezTo>
                  <a:cubicBezTo>
                    <a:pt x="2200270" y="87630"/>
                    <a:pt x="2201540" y="90170"/>
                    <a:pt x="2203445" y="91440"/>
                  </a:cubicBezTo>
                  <a:cubicBezTo>
                    <a:pt x="2205350" y="93345"/>
                    <a:pt x="2207255" y="94615"/>
                    <a:pt x="2209160" y="95250"/>
                  </a:cubicBezTo>
                  <a:cubicBezTo>
                    <a:pt x="2211065" y="95885"/>
                    <a:pt x="2213605" y="96520"/>
                    <a:pt x="2216145" y="96520"/>
                  </a:cubicBezTo>
                  <a:cubicBezTo>
                    <a:pt x="2218050" y="96520"/>
                    <a:pt x="2219320" y="96520"/>
                    <a:pt x="2221225" y="96520"/>
                  </a:cubicBezTo>
                  <a:cubicBezTo>
                    <a:pt x="2222495" y="96520"/>
                    <a:pt x="2224400" y="95885"/>
                    <a:pt x="2225670" y="95250"/>
                  </a:cubicBezTo>
                  <a:cubicBezTo>
                    <a:pt x="2226940" y="95250"/>
                    <a:pt x="2228210" y="93980"/>
                    <a:pt x="2229480" y="93345"/>
                  </a:cubicBezTo>
                  <a:cubicBezTo>
                    <a:pt x="2230750" y="93345"/>
                    <a:pt x="2232020" y="92075"/>
                    <a:pt x="2233925" y="90805"/>
                  </a:cubicBezTo>
                  <a:lnTo>
                    <a:pt x="2242815" y="100330"/>
                  </a:lnTo>
                  <a:cubicBezTo>
                    <a:pt x="2242815" y="100330"/>
                    <a:pt x="2239005" y="103505"/>
                    <a:pt x="2237100" y="104775"/>
                  </a:cubicBezTo>
                  <a:cubicBezTo>
                    <a:pt x="2235195" y="106045"/>
                    <a:pt x="2233290" y="106680"/>
                    <a:pt x="2231385" y="107950"/>
                  </a:cubicBezTo>
                  <a:cubicBezTo>
                    <a:pt x="2229480" y="108585"/>
                    <a:pt x="2226940" y="109855"/>
                    <a:pt x="2224400" y="109855"/>
                  </a:cubicBezTo>
                  <a:cubicBezTo>
                    <a:pt x="2221860" y="109855"/>
                    <a:pt x="2218685" y="110490"/>
                    <a:pt x="2215510" y="110490"/>
                  </a:cubicBezTo>
                  <a:cubicBezTo>
                    <a:pt x="2212335" y="110490"/>
                    <a:pt x="2209160" y="110490"/>
                    <a:pt x="2205985" y="109220"/>
                  </a:cubicBezTo>
                  <a:cubicBezTo>
                    <a:pt x="2202810" y="108585"/>
                    <a:pt x="2200270" y="107315"/>
                    <a:pt x="2198365" y="105410"/>
                  </a:cubicBezTo>
                  <a:cubicBezTo>
                    <a:pt x="2195825" y="104140"/>
                    <a:pt x="2193920" y="102235"/>
                    <a:pt x="2192015" y="100330"/>
                  </a:cubicBezTo>
                  <a:cubicBezTo>
                    <a:pt x="2190110" y="98425"/>
                    <a:pt x="2188205" y="95885"/>
                    <a:pt x="2186935" y="92710"/>
                  </a:cubicBezTo>
                  <a:cubicBezTo>
                    <a:pt x="2185030" y="89535"/>
                    <a:pt x="2183760" y="86360"/>
                    <a:pt x="2183125" y="82550"/>
                  </a:cubicBezTo>
                  <a:cubicBezTo>
                    <a:pt x="2182490" y="78740"/>
                    <a:pt x="2181855" y="74295"/>
                    <a:pt x="2181855" y="69850"/>
                  </a:cubicBezTo>
                  <a:cubicBezTo>
                    <a:pt x="2181855" y="63500"/>
                    <a:pt x="2182490" y="57150"/>
                    <a:pt x="2184395" y="52070"/>
                  </a:cubicBezTo>
                  <a:cubicBezTo>
                    <a:pt x="2186300" y="46990"/>
                    <a:pt x="2188205" y="42545"/>
                    <a:pt x="2191380" y="39370"/>
                  </a:cubicBezTo>
                  <a:cubicBezTo>
                    <a:pt x="2194555" y="36195"/>
                    <a:pt x="2197730" y="33020"/>
                    <a:pt x="2202175" y="31750"/>
                  </a:cubicBezTo>
                  <a:cubicBezTo>
                    <a:pt x="2206620" y="29845"/>
                    <a:pt x="2211065" y="29210"/>
                    <a:pt x="2216145" y="29210"/>
                  </a:cubicBezTo>
                  <a:close/>
                  <a:moveTo>
                    <a:pt x="2029456" y="29210"/>
                  </a:moveTo>
                  <a:cubicBezTo>
                    <a:pt x="2035171" y="29210"/>
                    <a:pt x="2039616" y="30480"/>
                    <a:pt x="2044061" y="32385"/>
                  </a:cubicBezTo>
                  <a:cubicBezTo>
                    <a:pt x="2047871" y="34290"/>
                    <a:pt x="2051681" y="37465"/>
                    <a:pt x="2054221" y="40640"/>
                  </a:cubicBezTo>
                  <a:cubicBezTo>
                    <a:pt x="2056761" y="44450"/>
                    <a:pt x="2058666" y="48260"/>
                    <a:pt x="2060571" y="53340"/>
                  </a:cubicBezTo>
                  <a:cubicBezTo>
                    <a:pt x="2061841" y="57785"/>
                    <a:pt x="2062476" y="62865"/>
                    <a:pt x="2062476" y="68580"/>
                  </a:cubicBezTo>
                  <a:lnTo>
                    <a:pt x="2061206" y="68580"/>
                  </a:lnTo>
                  <a:cubicBezTo>
                    <a:pt x="2061206" y="68580"/>
                    <a:pt x="2061206" y="71120"/>
                    <a:pt x="2061206" y="72390"/>
                  </a:cubicBezTo>
                  <a:cubicBezTo>
                    <a:pt x="2061206" y="73660"/>
                    <a:pt x="2061206" y="74295"/>
                    <a:pt x="2061206" y="75565"/>
                  </a:cubicBezTo>
                  <a:lnTo>
                    <a:pt x="2009771" y="75565"/>
                  </a:lnTo>
                  <a:cubicBezTo>
                    <a:pt x="2009771" y="79375"/>
                    <a:pt x="2011041" y="82550"/>
                    <a:pt x="2012311" y="85090"/>
                  </a:cubicBezTo>
                  <a:cubicBezTo>
                    <a:pt x="2013581" y="87630"/>
                    <a:pt x="2014851" y="90170"/>
                    <a:pt x="2016756" y="91440"/>
                  </a:cubicBezTo>
                  <a:cubicBezTo>
                    <a:pt x="2018661" y="93345"/>
                    <a:pt x="2020566" y="94615"/>
                    <a:pt x="2022471" y="95250"/>
                  </a:cubicBezTo>
                  <a:cubicBezTo>
                    <a:pt x="2024376" y="95885"/>
                    <a:pt x="2026916" y="96520"/>
                    <a:pt x="2029456" y="96520"/>
                  </a:cubicBezTo>
                  <a:cubicBezTo>
                    <a:pt x="2031361" y="96520"/>
                    <a:pt x="2032631" y="96520"/>
                    <a:pt x="2034536" y="96520"/>
                  </a:cubicBezTo>
                  <a:cubicBezTo>
                    <a:pt x="2035806" y="96520"/>
                    <a:pt x="2037711" y="95885"/>
                    <a:pt x="2038981" y="95250"/>
                  </a:cubicBezTo>
                  <a:cubicBezTo>
                    <a:pt x="2040251" y="95250"/>
                    <a:pt x="2041521" y="93980"/>
                    <a:pt x="2042791" y="93345"/>
                  </a:cubicBezTo>
                  <a:cubicBezTo>
                    <a:pt x="2044061" y="93345"/>
                    <a:pt x="2045331" y="92075"/>
                    <a:pt x="2047236" y="90805"/>
                  </a:cubicBezTo>
                  <a:lnTo>
                    <a:pt x="2056126" y="100330"/>
                  </a:lnTo>
                  <a:cubicBezTo>
                    <a:pt x="2056126" y="100330"/>
                    <a:pt x="2052316" y="103505"/>
                    <a:pt x="2050411" y="104775"/>
                  </a:cubicBezTo>
                  <a:cubicBezTo>
                    <a:pt x="2048506" y="106045"/>
                    <a:pt x="2046601" y="106680"/>
                    <a:pt x="2044696" y="107950"/>
                  </a:cubicBezTo>
                  <a:cubicBezTo>
                    <a:pt x="2042791" y="108585"/>
                    <a:pt x="2040251" y="109855"/>
                    <a:pt x="2037711" y="109855"/>
                  </a:cubicBezTo>
                  <a:cubicBezTo>
                    <a:pt x="2035171" y="109855"/>
                    <a:pt x="2031996" y="110490"/>
                    <a:pt x="2028821" y="110490"/>
                  </a:cubicBezTo>
                  <a:cubicBezTo>
                    <a:pt x="2025646" y="110490"/>
                    <a:pt x="2022471" y="110490"/>
                    <a:pt x="2019296" y="109220"/>
                  </a:cubicBezTo>
                  <a:cubicBezTo>
                    <a:pt x="2016121" y="108585"/>
                    <a:pt x="2013581" y="107315"/>
                    <a:pt x="2011676" y="105410"/>
                  </a:cubicBezTo>
                  <a:cubicBezTo>
                    <a:pt x="2009136" y="104140"/>
                    <a:pt x="2007231" y="102235"/>
                    <a:pt x="2005326" y="100330"/>
                  </a:cubicBezTo>
                  <a:cubicBezTo>
                    <a:pt x="2003421" y="98425"/>
                    <a:pt x="2001516" y="95885"/>
                    <a:pt x="2000246" y="92710"/>
                  </a:cubicBezTo>
                  <a:cubicBezTo>
                    <a:pt x="1998341" y="89535"/>
                    <a:pt x="1997071" y="86360"/>
                    <a:pt x="1996436" y="82550"/>
                  </a:cubicBezTo>
                  <a:cubicBezTo>
                    <a:pt x="1995801" y="78740"/>
                    <a:pt x="1995166" y="74295"/>
                    <a:pt x="1995166" y="69850"/>
                  </a:cubicBezTo>
                  <a:cubicBezTo>
                    <a:pt x="1995166" y="63500"/>
                    <a:pt x="1995801" y="57150"/>
                    <a:pt x="1997706" y="52070"/>
                  </a:cubicBezTo>
                  <a:cubicBezTo>
                    <a:pt x="1999611" y="46990"/>
                    <a:pt x="2001516" y="42545"/>
                    <a:pt x="2004691" y="39370"/>
                  </a:cubicBezTo>
                  <a:cubicBezTo>
                    <a:pt x="2007866" y="36195"/>
                    <a:pt x="2011041" y="33020"/>
                    <a:pt x="2015486" y="31750"/>
                  </a:cubicBezTo>
                  <a:cubicBezTo>
                    <a:pt x="2019931" y="29845"/>
                    <a:pt x="2024376" y="29210"/>
                    <a:pt x="2029456" y="29210"/>
                  </a:cubicBezTo>
                  <a:close/>
                  <a:moveTo>
                    <a:pt x="1831336" y="29210"/>
                  </a:moveTo>
                  <a:cubicBezTo>
                    <a:pt x="1837051" y="29210"/>
                    <a:pt x="1841496" y="30480"/>
                    <a:pt x="1845941" y="32385"/>
                  </a:cubicBezTo>
                  <a:cubicBezTo>
                    <a:pt x="1849751" y="34290"/>
                    <a:pt x="1853561" y="37465"/>
                    <a:pt x="1856101" y="40640"/>
                  </a:cubicBezTo>
                  <a:cubicBezTo>
                    <a:pt x="1858641" y="44450"/>
                    <a:pt x="1860546" y="48260"/>
                    <a:pt x="1862451" y="53340"/>
                  </a:cubicBezTo>
                  <a:cubicBezTo>
                    <a:pt x="1863721" y="57785"/>
                    <a:pt x="1864356" y="62865"/>
                    <a:pt x="1864356" y="68580"/>
                  </a:cubicBezTo>
                  <a:lnTo>
                    <a:pt x="1863086" y="68580"/>
                  </a:lnTo>
                  <a:cubicBezTo>
                    <a:pt x="1863086" y="68580"/>
                    <a:pt x="1863086" y="71120"/>
                    <a:pt x="1863086" y="72390"/>
                  </a:cubicBezTo>
                  <a:cubicBezTo>
                    <a:pt x="1863086" y="73660"/>
                    <a:pt x="1863086" y="74295"/>
                    <a:pt x="1863086" y="75565"/>
                  </a:cubicBezTo>
                  <a:lnTo>
                    <a:pt x="1811651" y="75565"/>
                  </a:lnTo>
                  <a:cubicBezTo>
                    <a:pt x="1811651" y="79375"/>
                    <a:pt x="1812921" y="82550"/>
                    <a:pt x="1814191" y="85090"/>
                  </a:cubicBezTo>
                  <a:cubicBezTo>
                    <a:pt x="1815461" y="87630"/>
                    <a:pt x="1816731" y="90170"/>
                    <a:pt x="1818636" y="91440"/>
                  </a:cubicBezTo>
                  <a:cubicBezTo>
                    <a:pt x="1820541" y="93345"/>
                    <a:pt x="1822446" y="94615"/>
                    <a:pt x="1824351" y="95250"/>
                  </a:cubicBezTo>
                  <a:cubicBezTo>
                    <a:pt x="1826256" y="95885"/>
                    <a:pt x="1828796" y="96520"/>
                    <a:pt x="1831336" y="96520"/>
                  </a:cubicBezTo>
                  <a:cubicBezTo>
                    <a:pt x="1833241" y="96520"/>
                    <a:pt x="1834511" y="96520"/>
                    <a:pt x="1836416" y="96520"/>
                  </a:cubicBezTo>
                  <a:cubicBezTo>
                    <a:pt x="1837686" y="96520"/>
                    <a:pt x="1839591" y="95885"/>
                    <a:pt x="1840861" y="95250"/>
                  </a:cubicBezTo>
                  <a:cubicBezTo>
                    <a:pt x="1842131" y="95250"/>
                    <a:pt x="1843401" y="93980"/>
                    <a:pt x="1844671" y="93345"/>
                  </a:cubicBezTo>
                  <a:cubicBezTo>
                    <a:pt x="1845941" y="93345"/>
                    <a:pt x="1847211" y="92075"/>
                    <a:pt x="1849116" y="90805"/>
                  </a:cubicBezTo>
                  <a:lnTo>
                    <a:pt x="1858006" y="100330"/>
                  </a:lnTo>
                  <a:cubicBezTo>
                    <a:pt x="1858006" y="100330"/>
                    <a:pt x="1854196" y="103505"/>
                    <a:pt x="1852291" y="104775"/>
                  </a:cubicBezTo>
                  <a:cubicBezTo>
                    <a:pt x="1850386" y="106045"/>
                    <a:pt x="1848481" y="106680"/>
                    <a:pt x="1846576" y="107950"/>
                  </a:cubicBezTo>
                  <a:cubicBezTo>
                    <a:pt x="1844671" y="108585"/>
                    <a:pt x="1842131" y="109855"/>
                    <a:pt x="1839591" y="109855"/>
                  </a:cubicBezTo>
                  <a:cubicBezTo>
                    <a:pt x="1837051" y="109855"/>
                    <a:pt x="1833876" y="110490"/>
                    <a:pt x="1830701" y="110490"/>
                  </a:cubicBezTo>
                  <a:cubicBezTo>
                    <a:pt x="1827526" y="110490"/>
                    <a:pt x="1824351" y="110490"/>
                    <a:pt x="1821176" y="109220"/>
                  </a:cubicBezTo>
                  <a:cubicBezTo>
                    <a:pt x="1818001" y="108585"/>
                    <a:pt x="1815461" y="107315"/>
                    <a:pt x="1813556" y="105410"/>
                  </a:cubicBezTo>
                  <a:cubicBezTo>
                    <a:pt x="1811016" y="104140"/>
                    <a:pt x="1809111" y="102235"/>
                    <a:pt x="1807206" y="100330"/>
                  </a:cubicBezTo>
                  <a:cubicBezTo>
                    <a:pt x="1805301" y="98425"/>
                    <a:pt x="1803396" y="95885"/>
                    <a:pt x="1802126" y="92710"/>
                  </a:cubicBezTo>
                  <a:cubicBezTo>
                    <a:pt x="1800221" y="89535"/>
                    <a:pt x="1798951" y="86360"/>
                    <a:pt x="1798316" y="82550"/>
                  </a:cubicBezTo>
                  <a:cubicBezTo>
                    <a:pt x="1797681" y="78740"/>
                    <a:pt x="1797046" y="74295"/>
                    <a:pt x="1797046" y="69850"/>
                  </a:cubicBezTo>
                  <a:cubicBezTo>
                    <a:pt x="1797046" y="63500"/>
                    <a:pt x="1797681" y="57150"/>
                    <a:pt x="1799586" y="52070"/>
                  </a:cubicBezTo>
                  <a:cubicBezTo>
                    <a:pt x="1801491" y="46990"/>
                    <a:pt x="1803396" y="42545"/>
                    <a:pt x="1806571" y="39370"/>
                  </a:cubicBezTo>
                  <a:cubicBezTo>
                    <a:pt x="1809746" y="36195"/>
                    <a:pt x="1812921" y="33020"/>
                    <a:pt x="1817366" y="31750"/>
                  </a:cubicBezTo>
                  <a:cubicBezTo>
                    <a:pt x="1821811" y="29845"/>
                    <a:pt x="1826256" y="29210"/>
                    <a:pt x="1831336" y="29210"/>
                  </a:cubicBezTo>
                  <a:close/>
                  <a:moveTo>
                    <a:pt x="1501140" y="29210"/>
                  </a:moveTo>
                  <a:cubicBezTo>
                    <a:pt x="1503046" y="29210"/>
                    <a:pt x="1504951" y="29210"/>
                    <a:pt x="1506856" y="29210"/>
                  </a:cubicBezTo>
                  <a:cubicBezTo>
                    <a:pt x="1511301" y="29210"/>
                    <a:pt x="1515746" y="29845"/>
                    <a:pt x="1518920" y="31750"/>
                  </a:cubicBezTo>
                  <a:cubicBezTo>
                    <a:pt x="1522096" y="33020"/>
                    <a:pt x="1525271" y="35560"/>
                    <a:pt x="1527811" y="38100"/>
                  </a:cubicBezTo>
                  <a:cubicBezTo>
                    <a:pt x="1530351" y="41275"/>
                    <a:pt x="1531621" y="44450"/>
                    <a:pt x="1532891" y="48895"/>
                  </a:cubicBezTo>
                  <a:cubicBezTo>
                    <a:pt x="1534161" y="53340"/>
                    <a:pt x="1534796" y="58420"/>
                    <a:pt x="1534796" y="64135"/>
                  </a:cubicBezTo>
                  <a:lnTo>
                    <a:pt x="1534796" y="108585"/>
                  </a:lnTo>
                  <a:lnTo>
                    <a:pt x="1519556" y="108585"/>
                  </a:lnTo>
                  <a:lnTo>
                    <a:pt x="1518920" y="108585"/>
                  </a:lnTo>
                  <a:lnTo>
                    <a:pt x="1518920" y="64770"/>
                  </a:lnTo>
                  <a:cubicBezTo>
                    <a:pt x="1518920" y="57785"/>
                    <a:pt x="1517651" y="52070"/>
                    <a:pt x="1515111" y="48895"/>
                  </a:cubicBezTo>
                  <a:cubicBezTo>
                    <a:pt x="1512571" y="45085"/>
                    <a:pt x="1508761" y="43180"/>
                    <a:pt x="1503046" y="43180"/>
                  </a:cubicBezTo>
                  <a:cubicBezTo>
                    <a:pt x="1500506" y="43180"/>
                    <a:pt x="1498601" y="43180"/>
                    <a:pt x="1496061" y="44450"/>
                  </a:cubicBezTo>
                  <a:cubicBezTo>
                    <a:pt x="1494156" y="45085"/>
                    <a:pt x="1492250" y="46990"/>
                    <a:pt x="1490981" y="48260"/>
                  </a:cubicBezTo>
                  <a:cubicBezTo>
                    <a:pt x="1489711" y="50165"/>
                    <a:pt x="1488441" y="52070"/>
                    <a:pt x="1487806" y="54610"/>
                  </a:cubicBezTo>
                  <a:cubicBezTo>
                    <a:pt x="1487806" y="57150"/>
                    <a:pt x="1487170" y="59690"/>
                    <a:pt x="1487170" y="62865"/>
                  </a:cubicBezTo>
                  <a:lnTo>
                    <a:pt x="1487170" y="108585"/>
                  </a:lnTo>
                  <a:lnTo>
                    <a:pt x="1471931" y="108585"/>
                  </a:lnTo>
                  <a:lnTo>
                    <a:pt x="1471931" y="30480"/>
                  </a:lnTo>
                  <a:lnTo>
                    <a:pt x="1487170" y="30480"/>
                  </a:lnTo>
                  <a:lnTo>
                    <a:pt x="1487170" y="38100"/>
                  </a:lnTo>
                  <a:cubicBezTo>
                    <a:pt x="1487170" y="38100"/>
                    <a:pt x="1489076" y="35560"/>
                    <a:pt x="1490981" y="34290"/>
                  </a:cubicBezTo>
                  <a:cubicBezTo>
                    <a:pt x="1492250" y="33020"/>
                    <a:pt x="1494156" y="32385"/>
                    <a:pt x="1495426" y="31115"/>
                  </a:cubicBezTo>
                  <a:cubicBezTo>
                    <a:pt x="1497331" y="30480"/>
                    <a:pt x="1499236" y="29845"/>
                    <a:pt x="1501140" y="29210"/>
                  </a:cubicBezTo>
                  <a:close/>
                  <a:moveTo>
                    <a:pt x="1250316" y="29210"/>
                  </a:moveTo>
                  <a:cubicBezTo>
                    <a:pt x="1255396" y="29210"/>
                    <a:pt x="1259841" y="29845"/>
                    <a:pt x="1264286" y="31750"/>
                  </a:cubicBezTo>
                  <a:cubicBezTo>
                    <a:pt x="1268731" y="33655"/>
                    <a:pt x="1273176" y="35560"/>
                    <a:pt x="1276350" y="38100"/>
                  </a:cubicBezTo>
                  <a:lnTo>
                    <a:pt x="1278256" y="38100"/>
                  </a:lnTo>
                  <a:lnTo>
                    <a:pt x="1271271" y="50165"/>
                  </a:lnTo>
                  <a:cubicBezTo>
                    <a:pt x="1268095" y="47625"/>
                    <a:pt x="1264921" y="46355"/>
                    <a:pt x="1261746" y="45085"/>
                  </a:cubicBezTo>
                  <a:cubicBezTo>
                    <a:pt x="1258570" y="43815"/>
                    <a:pt x="1254761" y="43180"/>
                    <a:pt x="1250951" y="43180"/>
                  </a:cubicBezTo>
                  <a:cubicBezTo>
                    <a:pt x="1247141" y="43180"/>
                    <a:pt x="1244601" y="43815"/>
                    <a:pt x="1242696" y="45085"/>
                  </a:cubicBezTo>
                  <a:cubicBezTo>
                    <a:pt x="1240791" y="46355"/>
                    <a:pt x="1240156" y="48260"/>
                    <a:pt x="1240156" y="50165"/>
                  </a:cubicBezTo>
                  <a:cubicBezTo>
                    <a:pt x="1240156" y="51435"/>
                    <a:pt x="1240156" y="52070"/>
                    <a:pt x="1240156" y="52705"/>
                  </a:cubicBezTo>
                  <a:cubicBezTo>
                    <a:pt x="1240156" y="53340"/>
                    <a:pt x="1241426" y="54610"/>
                    <a:pt x="1242061" y="55245"/>
                  </a:cubicBezTo>
                  <a:cubicBezTo>
                    <a:pt x="1243331" y="55880"/>
                    <a:pt x="1244601" y="57150"/>
                    <a:pt x="1246506" y="57785"/>
                  </a:cubicBezTo>
                  <a:cubicBezTo>
                    <a:pt x="1248411" y="59055"/>
                    <a:pt x="1250951" y="59690"/>
                    <a:pt x="1253491" y="60960"/>
                  </a:cubicBezTo>
                  <a:cubicBezTo>
                    <a:pt x="1257936" y="62865"/>
                    <a:pt x="1261746" y="64135"/>
                    <a:pt x="1264921" y="66040"/>
                  </a:cubicBezTo>
                  <a:cubicBezTo>
                    <a:pt x="1268095" y="67310"/>
                    <a:pt x="1270635" y="69215"/>
                    <a:pt x="1273176" y="71120"/>
                  </a:cubicBezTo>
                  <a:cubicBezTo>
                    <a:pt x="1275080" y="73025"/>
                    <a:pt x="1276985" y="75565"/>
                    <a:pt x="1278256" y="78105"/>
                  </a:cubicBezTo>
                  <a:cubicBezTo>
                    <a:pt x="1279525" y="80645"/>
                    <a:pt x="1280161" y="83820"/>
                    <a:pt x="1280161" y="87630"/>
                  </a:cubicBezTo>
                  <a:cubicBezTo>
                    <a:pt x="1280161" y="92075"/>
                    <a:pt x="1279525" y="95250"/>
                    <a:pt x="1277621" y="98425"/>
                  </a:cubicBezTo>
                  <a:cubicBezTo>
                    <a:pt x="1275716" y="101600"/>
                    <a:pt x="1273811" y="103505"/>
                    <a:pt x="1271271" y="105410"/>
                  </a:cubicBezTo>
                  <a:cubicBezTo>
                    <a:pt x="1268731" y="107315"/>
                    <a:pt x="1265556" y="108585"/>
                    <a:pt x="1261746" y="109220"/>
                  </a:cubicBezTo>
                  <a:cubicBezTo>
                    <a:pt x="1257936" y="109855"/>
                    <a:pt x="1254761" y="110490"/>
                    <a:pt x="1250951" y="110490"/>
                  </a:cubicBezTo>
                  <a:cubicBezTo>
                    <a:pt x="1245871" y="110490"/>
                    <a:pt x="1240791" y="109855"/>
                    <a:pt x="1235711" y="107950"/>
                  </a:cubicBezTo>
                  <a:cubicBezTo>
                    <a:pt x="1229996" y="106045"/>
                    <a:pt x="1225551" y="103505"/>
                    <a:pt x="1221106" y="100965"/>
                  </a:cubicBezTo>
                  <a:lnTo>
                    <a:pt x="1228091" y="89535"/>
                  </a:lnTo>
                  <a:cubicBezTo>
                    <a:pt x="1231901" y="92075"/>
                    <a:pt x="1235711" y="93980"/>
                    <a:pt x="1239521" y="95250"/>
                  </a:cubicBezTo>
                  <a:cubicBezTo>
                    <a:pt x="1243331" y="96520"/>
                    <a:pt x="1247141" y="97155"/>
                    <a:pt x="1250951" y="97155"/>
                  </a:cubicBezTo>
                  <a:cubicBezTo>
                    <a:pt x="1256031" y="97155"/>
                    <a:pt x="1259205" y="96520"/>
                    <a:pt x="1261746" y="94615"/>
                  </a:cubicBezTo>
                  <a:cubicBezTo>
                    <a:pt x="1264286" y="93345"/>
                    <a:pt x="1264921" y="90805"/>
                    <a:pt x="1264921" y="88265"/>
                  </a:cubicBezTo>
                  <a:cubicBezTo>
                    <a:pt x="1264921" y="86995"/>
                    <a:pt x="1264921" y="85725"/>
                    <a:pt x="1263650" y="84455"/>
                  </a:cubicBezTo>
                  <a:cubicBezTo>
                    <a:pt x="1263015" y="83185"/>
                    <a:pt x="1261746" y="82550"/>
                    <a:pt x="1259841" y="81280"/>
                  </a:cubicBezTo>
                  <a:cubicBezTo>
                    <a:pt x="1258570" y="80010"/>
                    <a:pt x="1256666" y="79375"/>
                    <a:pt x="1254125" y="78105"/>
                  </a:cubicBezTo>
                  <a:cubicBezTo>
                    <a:pt x="1252221" y="77470"/>
                    <a:pt x="1249681" y="76200"/>
                    <a:pt x="1246506" y="74930"/>
                  </a:cubicBezTo>
                  <a:cubicBezTo>
                    <a:pt x="1242061" y="73025"/>
                    <a:pt x="1238886" y="71755"/>
                    <a:pt x="1235711" y="69850"/>
                  </a:cubicBezTo>
                  <a:cubicBezTo>
                    <a:pt x="1232536" y="67945"/>
                    <a:pt x="1230631" y="66675"/>
                    <a:pt x="1228726" y="64770"/>
                  </a:cubicBezTo>
                  <a:cubicBezTo>
                    <a:pt x="1226821" y="62865"/>
                    <a:pt x="1225551" y="60960"/>
                    <a:pt x="1224916" y="58420"/>
                  </a:cubicBezTo>
                  <a:cubicBezTo>
                    <a:pt x="1224281" y="55880"/>
                    <a:pt x="1223646" y="53340"/>
                    <a:pt x="1223646" y="50165"/>
                  </a:cubicBezTo>
                  <a:cubicBezTo>
                    <a:pt x="1223646" y="46990"/>
                    <a:pt x="1224281" y="43815"/>
                    <a:pt x="1225551" y="40640"/>
                  </a:cubicBezTo>
                  <a:cubicBezTo>
                    <a:pt x="1226821" y="38100"/>
                    <a:pt x="1228726" y="35560"/>
                    <a:pt x="1231266" y="34290"/>
                  </a:cubicBezTo>
                  <a:cubicBezTo>
                    <a:pt x="1233806" y="32385"/>
                    <a:pt x="1236346" y="31115"/>
                    <a:pt x="1239521" y="30480"/>
                  </a:cubicBezTo>
                  <a:cubicBezTo>
                    <a:pt x="1242696" y="29845"/>
                    <a:pt x="1246506" y="29210"/>
                    <a:pt x="1250316" y="29210"/>
                  </a:cubicBezTo>
                  <a:close/>
                  <a:moveTo>
                    <a:pt x="1180466" y="29210"/>
                  </a:moveTo>
                  <a:cubicBezTo>
                    <a:pt x="1186181" y="29210"/>
                    <a:pt x="1190626" y="30480"/>
                    <a:pt x="1195071" y="32385"/>
                  </a:cubicBezTo>
                  <a:cubicBezTo>
                    <a:pt x="1198881" y="34290"/>
                    <a:pt x="1202691" y="37465"/>
                    <a:pt x="1205231" y="40640"/>
                  </a:cubicBezTo>
                  <a:cubicBezTo>
                    <a:pt x="1207771" y="44450"/>
                    <a:pt x="1209676" y="48260"/>
                    <a:pt x="1211581" y="53340"/>
                  </a:cubicBezTo>
                  <a:cubicBezTo>
                    <a:pt x="1212851" y="57785"/>
                    <a:pt x="1213486" y="62865"/>
                    <a:pt x="1213486" y="68580"/>
                  </a:cubicBezTo>
                  <a:lnTo>
                    <a:pt x="1212216" y="68580"/>
                  </a:lnTo>
                  <a:cubicBezTo>
                    <a:pt x="1212216" y="68580"/>
                    <a:pt x="1212216" y="71120"/>
                    <a:pt x="1212216" y="72390"/>
                  </a:cubicBezTo>
                  <a:cubicBezTo>
                    <a:pt x="1212216" y="73660"/>
                    <a:pt x="1212216" y="74295"/>
                    <a:pt x="1212216" y="75565"/>
                  </a:cubicBezTo>
                  <a:lnTo>
                    <a:pt x="1160781" y="75565"/>
                  </a:lnTo>
                  <a:cubicBezTo>
                    <a:pt x="1160781" y="79375"/>
                    <a:pt x="1162051" y="82550"/>
                    <a:pt x="1163321" y="85090"/>
                  </a:cubicBezTo>
                  <a:cubicBezTo>
                    <a:pt x="1164591" y="87630"/>
                    <a:pt x="1165861" y="90170"/>
                    <a:pt x="1167766" y="91440"/>
                  </a:cubicBezTo>
                  <a:cubicBezTo>
                    <a:pt x="1169671" y="93345"/>
                    <a:pt x="1171576" y="94615"/>
                    <a:pt x="1173481" y="95250"/>
                  </a:cubicBezTo>
                  <a:cubicBezTo>
                    <a:pt x="1175386" y="95885"/>
                    <a:pt x="1177926" y="96520"/>
                    <a:pt x="1180466" y="96520"/>
                  </a:cubicBezTo>
                  <a:cubicBezTo>
                    <a:pt x="1182371" y="96520"/>
                    <a:pt x="1183641" y="96520"/>
                    <a:pt x="1185546" y="96520"/>
                  </a:cubicBezTo>
                  <a:cubicBezTo>
                    <a:pt x="1186816" y="96520"/>
                    <a:pt x="1188721" y="95885"/>
                    <a:pt x="1189991" y="95250"/>
                  </a:cubicBezTo>
                  <a:cubicBezTo>
                    <a:pt x="1191261" y="95250"/>
                    <a:pt x="1192531" y="93980"/>
                    <a:pt x="1193801" y="93345"/>
                  </a:cubicBezTo>
                  <a:cubicBezTo>
                    <a:pt x="1195071" y="93345"/>
                    <a:pt x="1196341" y="92075"/>
                    <a:pt x="1198246" y="90805"/>
                  </a:cubicBezTo>
                  <a:lnTo>
                    <a:pt x="1207136" y="100330"/>
                  </a:lnTo>
                  <a:cubicBezTo>
                    <a:pt x="1207136" y="100330"/>
                    <a:pt x="1203326" y="103505"/>
                    <a:pt x="1201421" y="104775"/>
                  </a:cubicBezTo>
                  <a:cubicBezTo>
                    <a:pt x="1199516" y="106045"/>
                    <a:pt x="1197611" y="106680"/>
                    <a:pt x="1195706" y="107950"/>
                  </a:cubicBezTo>
                  <a:cubicBezTo>
                    <a:pt x="1193801" y="108585"/>
                    <a:pt x="1191261" y="109855"/>
                    <a:pt x="1188721" y="109855"/>
                  </a:cubicBezTo>
                  <a:cubicBezTo>
                    <a:pt x="1186181" y="109855"/>
                    <a:pt x="1183006" y="110490"/>
                    <a:pt x="1179831" y="110490"/>
                  </a:cubicBezTo>
                  <a:cubicBezTo>
                    <a:pt x="1176656" y="110490"/>
                    <a:pt x="1173481" y="110490"/>
                    <a:pt x="1170306" y="109220"/>
                  </a:cubicBezTo>
                  <a:cubicBezTo>
                    <a:pt x="1167131" y="108585"/>
                    <a:pt x="1164591" y="107315"/>
                    <a:pt x="1162686" y="105410"/>
                  </a:cubicBezTo>
                  <a:cubicBezTo>
                    <a:pt x="1160781" y="103505"/>
                    <a:pt x="1158241" y="102235"/>
                    <a:pt x="1156336" y="100330"/>
                  </a:cubicBezTo>
                  <a:cubicBezTo>
                    <a:pt x="1154431" y="98425"/>
                    <a:pt x="1152526" y="95885"/>
                    <a:pt x="1151256" y="92710"/>
                  </a:cubicBezTo>
                  <a:cubicBezTo>
                    <a:pt x="1149351" y="89535"/>
                    <a:pt x="1148081" y="86360"/>
                    <a:pt x="1147446" y="82550"/>
                  </a:cubicBezTo>
                  <a:cubicBezTo>
                    <a:pt x="1146811" y="78740"/>
                    <a:pt x="1146176" y="74295"/>
                    <a:pt x="1146176" y="69850"/>
                  </a:cubicBezTo>
                  <a:cubicBezTo>
                    <a:pt x="1146176" y="63500"/>
                    <a:pt x="1146811" y="57150"/>
                    <a:pt x="1148716" y="52070"/>
                  </a:cubicBezTo>
                  <a:cubicBezTo>
                    <a:pt x="1150621" y="46990"/>
                    <a:pt x="1152526" y="42545"/>
                    <a:pt x="1155701" y="39370"/>
                  </a:cubicBezTo>
                  <a:cubicBezTo>
                    <a:pt x="1158876" y="36195"/>
                    <a:pt x="1162051" y="33020"/>
                    <a:pt x="1166496" y="31750"/>
                  </a:cubicBezTo>
                  <a:cubicBezTo>
                    <a:pt x="1170941" y="29845"/>
                    <a:pt x="1175386" y="29210"/>
                    <a:pt x="1180466" y="29210"/>
                  </a:cubicBezTo>
                  <a:close/>
                  <a:moveTo>
                    <a:pt x="901065" y="29210"/>
                  </a:moveTo>
                  <a:cubicBezTo>
                    <a:pt x="906780" y="29210"/>
                    <a:pt x="911225" y="30480"/>
                    <a:pt x="915670" y="32385"/>
                  </a:cubicBezTo>
                  <a:cubicBezTo>
                    <a:pt x="919480" y="34290"/>
                    <a:pt x="923290" y="37465"/>
                    <a:pt x="925830" y="40640"/>
                  </a:cubicBezTo>
                  <a:cubicBezTo>
                    <a:pt x="928370" y="44450"/>
                    <a:pt x="930275" y="48260"/>
                    <a:pt x="932180" y="53340"/>
                  </a:cubicBezTo>
                  <a:cubicBezTo>
                    <a:pt x="933450" y="57785"/>
                    <a:pt x="934085" y="62865"/>
                    <a:pt x="934085" y="68580"/>
                  </a:cubicBezTo>
                  <a:lnTo>
                    <a:pt x="932815" y="68580"/>
                  </a:lnTo>
                  <a:cubicBezTo>
                    <a:pt x="932815" y="68580"/>
                    <a:pt x="932815" y="71120"/>
                    <a:pt x="932815" y="72390"/>
                  </a:cubicBezTo>
                  <a:cubicBezTo>
                    <a:pt x="932815" y="73660"/>
                    <a:pt x="932815" y="74295"/>
                    <a:pt x="932815" y="75565"/>
                  </a:cubicBezTo>
                  <a:lnTo>
                    <a:pt x="881380" y="75565"/>
                  </a:lnTo>
                  <a:cubicBezTo>
                    <a:pt x="881380" y="79375"/>
                    <a:pt x="882650" y="82550"/>
                    <a:pt x="883920" y="85090"/>
                  </a:cubicBezTo>
                  <a:cubicBezTo>
                    <a:pt x="885190" y="87630"/>
                    <a:pt x="886460" y="90170"/>
                    <a:pt x="888365" y="91440"/>
                  </a:cubicBezTo>
                  <a:cubicBezTo>
                    <a:pt x="890270" y="93345"/>
                    <a:pt x="892175" y="94615"/>
                    <a:pt x="894080" y="95250"/>
                  </a:cubicBezTo>
                  <a:cubicBezTo>
                    <a:pt x="895985" y="95885"/>
                    <a:pt x="898525" y="96520"/>
                    <a:pt x="901065" y="96520"/>
                  </a:cubicBezTo>
                  <a:cubicBezTo>
                    <a:pt x="902970" y="96520"/>
                    <a:pt x="904240" y="96520"/>
                    <a:pt x="906145" y="96520"/>
                  </a:cubicBezTo>
                  <a:cubicBezTo>
                    <a:pt x="907415" y="96520"/>
                    <a:pt x="909320" y="95885"/>
                    <a:pt x="910590" y="95250"/>
                  </a:cubicBezTo>
                  <a:cubicBezTo>
                    <a:pt x="911860" y="95250"/>
                    <a:pt x="913130" y="93980"/>
                    <a:pt x="914400" y="93345"/>
                  </a:cubicBezTo>
                  <a:cubicBezTo>
                    <a:pt x="915670" y="93345"/>
                    <a:pt x="916940" y="92075"/>
                    <a:pt x="918845" y="90805"/>
                  </a:cubicBezTo>
                  <a:lnTo>
                    <a:pt x="927735" y="100330"/>
                  </a:lnTo>
                  <a:cubicBezTo>
                    <a:pt x="927735" y="100330"/>
                    <a:pt x="923925" y="103505"/>
                    <a:pt x="922020" y="104775"/>
                  </a:cubicBezTo>
                  <a:cubicBezTo>
                    <a:pt x="920115" y="106045"/>
                    <a:pt x="918210" y="106680"/>
                    <a:pt x="916305" y="107950"/>
                  </a:cubicBezTo>
                  <a:cubicBezTo>
                    <a:pt x="914400" y="108585"/>
                    <a:pt x="911860" y="109855"/>
                    <a:pt x="909320" y="109855"/>
                  </a:cubicBezTo>
                  <a:cubicBezTo>
                    <a:pt x="906780" y="109855"/>
                    <a:pt x="903605" y="110490"/>
                    <a:pt x="900430" y="110490"/>
                  </a:cubicBezTo>
                  <a:cubicBezTo>
                    <a:pt x="897255" y="110490"/>
                    <a:pt x="894080" y="110490"/>
                    <a:pt x="890905" y="109220"/>
                  </a:cubicBezTo>
                  <a:cubicBezTo>
                    <a:pt x="887730" y="108585"/>
                    <a:pt x="885190" y="107315"/>
                    <a:pt x="883285" y="105410"/>
                  </a:cubicBezTo>
                  <a:cubicBezTo>
                    <a:pt x="881380" y="103505"/>
                    <a:pt x="878840" y="102235"/>
                    <a:pt x="876935" y="100330"/>
                  </a:cubicBezTo>
                  <a:cubicBezTo>
                    <a:pt x="875030" y="98425"/>
                    <a:pt x="873125" y="95885"/>
                    <a:pt x="871855" y="92710"/>
                  </a:cubicBezTo>
                  <a:cubicBezTo>
                    <a:pt x="869950" y="89535"/>
                    <a:pt x="868680" y="86360"/>
                    <a:pt x="868045" y="82550"/>
                  </a:cubicBezTo>
                  <a:cubicBezTo>
                    <a:pt x="867410" y="78740"/>
                    <a:pt x="866775" y="74295"/>
                    <a:pt x="866775" y="69850"/>
                  </a:cubicBezTo>
                  <a:cubicBezTo>
                    <a:pt x="866775" y="63500"/>
                    <a:pt x="867410" y="57150"/>
                    <a:pt x="869315" y="52070"/>
                  </a:cubicBezTo>
                  <a:cubicBezTo>
                    <a:pt x="871220" y="46990"/>
                    <a:pt x="873125" y="42545"/>
                    <a:pt x="876300" y="39370"/>
                  </a:cubicBezTo>
                  <a:cubicBezTo>
                    <a:pt x="879475" y="36195"/>
                    <a:pt x="882650" y="33020"/>
                    <a:pt x="887095" y="31750"/>
                  </a:cubicBezTo>
                  <a:cubicBezTo>
                    <a:pt x="891540" y="29845"/>
                    <a:pt x="895985" y="29210"/>
                    <a:pt x="901065" y="29210"/>
                  </a:cubicBezTo>
                  <a:close/>
                  <a:moveTo>
                    <a:pt x="668656" y="29210"/>
                  </a:moveTo>
                  <a:cubicBezTo>
                    <a:pt x="671830" y="29210"/>
                    <a:pt x="674370" y="29210"/>
                    <a:pt x="676275" y="29845"/>
                  </a:cubicBezTo>
                  <a:cubicBezTo>
                    <a:pt x="678181" y="29845"/>
                    <a:pt x="680086" y="31115"/>
                    <a:pt x="681991" y="32385"/>
                  </a:cubicBezTo>
                  <a:lnTo>
                    <a:pt x="678181" y="46990"/>
                  </a:lnTo>
                  <a:lnTo>
                    <a:pt x="676910" y="46990"/>
                  </a:lnTo>
                  <a:cubicBezTo>
                    <a:pt x="676910" y="46990"/>
                    <a:pt x="673736" y="45085"/>
                    <a:pt x="671830" y="45085"/>
                  </a:cubicBezTo>
                  <a:cubicBezTo>
                    <a:pt x="669925" y="45085"/>
                    <a:pt x="668020" y="44450"/>
                    <a:pt x="665480" y="44450"/>
                  </a:cubicBezTo>
                  <a:cubicBezTo>
                    <a:pt x="660400" y="44450"/>
                    <a:pt x="656590" y="46355"/>
                    <a:pt x="654050" y="49530"/>
                  </a:cubicBezTo>
                  <a:cubicBezTo>
                    <a:pt x="651510" y="52705"/>
                    <a:pt x="650240" y="57785"/>
                    <a:pt x="650240" y="64770"/>
                  </a:cubicBezTo>
                  <a:lnTo>
                    <a:pt x="650240" y="109220"/>
                  </a:lnTo>
                  <a:lnTo>
                    <a:pt x="635000" y="109220"/>
                  </a:lnTo>
                  <a:lnTo>
                    <a:pt x="635000" y="31115"/>
                  </a:lnTo>
                  <a:lnTo>
                    <a:pt x="650240" y="31115"/>
                  </a:lnTo>
                  <a:lnTo>
                    <a:pt x="650240" y="38735"/>
                  </a:lnTo>
                  <a:cubicBezTo>
                    <a:pt x="650240" y="38735"/>
                    <a:pt x="652145" y="36195"/>
                    <a:pt x="653416" y="34925"/>
                  </a:cubicBezTo>
                  <a:cubicBezTo>
                    <a:pt x="654685" y="33655"/>
                    <a:pt x="655955" y="33020"/>
                    <a:pt x="657861" y="31750"/>
                  </a:cubicBezTo>
                  <a:cubicBezTo>
                    <a:pt x="659130" y="31115"/>
                    <a:pt x="661035" y="30480"/>
                    <a:pt x="662940" y="29845"/>
                  </a:cubicBezTo>
                  <a:cubicBezTo>
                    <a:pt x="664845" y="29845"/>
                    <a:pt x="666751" y="29210"/>
                    <a:pt x="668656" y="29210"/>
                  </a:cubicBezTo>
                  <a:close/>
                  <a:moveTo>
                    <a:pt x="586739" y="29210"/>
                  </a:moveTo>
                  <a:cubicBezTo>
                    <a:pt x="592454" y="29210"/>
                    <a:pt x="596899" y="30480"/>
                    <a:pt x="601344" y="32385"/>
                  </a:cubicBezTo>
                  <a:cubicBezTo>
                    <a:pt x="605154" y="34290"/>
                    <a:pt x="608964" y="37465"/>
                    <a:pt x="611504" y="40640"/>
                  </a:cubicBezTo>
                  <a:cubicBezTo>
                    <a:pt x="614044" y="44450"/>
                    <a:pt x="615949" y="48260"/>
                    <a:pt x="617854" y="53340"/>
                  </a:cubicBezTo>
                  <a:cubicBezTo>
                    <a:pt x="619124" y="57785"/>
                    <a:pt x="619759" y="62865"/>
                    <a:pt x="619759" y="68580"/>
                  </a:cubicBezTo>
                  <a:lnTo>
                    <a:pt x="618489" y="68580"/>
                  </a:lnTo>
                  <a:cubicBezTo>
                    <a:pt x="618489" y="68580"/>
                    <a:pt x="618489" y="71120"/>
                    <a:pt x="618489" y="72390"/>
                  </a:cubicBezTo>
                  <a:cubicBezTo>
                    <a:pt x="618489" y="73660"/>
                    <a:pt x="618489" y="74295"/>
                    <a:pt x="618489" y="75565"/>
                  </a:cubicBezTo>
                  <a:lnTo>
                    <a:pt x="567054" y="75565"/>
                  </a:lnTo>
                  <a:cubicBezTo>
                    <a:pt x="567054" y="79375"/>
                    <a:pt x="568324" y="82550"/>
                    <a:pt x="569594" y="85090"/>
                  </a:cubicBezTo>
                  <a:cubicBezTo>
                    <a:pt x="570864" y="87630"/>
                    <a:pt x="572134" y="90170"/>
                    <a:pt x="574039" y="91440"/>
                  </a:cubicBezTo>
                  <a:cubicBezTo>
                    <a:pt x="575944" y="93345"/>
                    <a:pt x="577849" y="94615"/>
                    <a:pt x="579754" y="95250"/>
                  </a:cubicBezTo>
                  <a:cubicBezTo>
                    <a:pt x="581659" y="95885"/>
                    <a:pt x="584199" y="96520"/>
                    <a:pt x="586739" y="96520"/>
                  </a:cubicBezTo>
                  <a:cubicBezTo>
                    <a:pt x="588644" y="96520"/>
                    <a:pt x="589914" y="96520"/>
                    <a:pt x="591819" y="96520"/>
                  </a:cubicBezTo>
                  <a:cubicBezTo>
                    <a:pt x="593089" y="96520"/>
                    <a:pt x="594994" y="95885"/>
                    <a:pt x="596264" y="95250"/>
                  </a:cubicBezTo>
                  <a:cubicBezTo>
                    <a:pt x="597534" y="95250"/>
                    <a:pt x="598804" y="93980"/>
                    <a:pt x="600074" y="93345"/>
                  </a:cubicBezTo>
                  <a:cubicBezTo>
                    <a:pt x="601344" y="93345"/>
                    <a:pt x="602614" y="92075"/>
                    <a:pt x="604519" y="90805"/>
                  </a:cubicBezTo>
                  <a:lnTo>
                    <a:pt x="613409" y="100330"/>
                  </a:lnTo>
                  <a:cubicBezTo>
                    <a:pt x="613409" y="100330"/>
                    <a:pt x="609599" y="103505"/>
                    <a:pt x="607694" y="104775"/>
                  </a:cubicBezTo>
                  <a:cubicBezTo>
                    <a:pt x="605789" y="106045"/>
                    <a:pt x="603884" y="106680"/>
                    <a:pt x="601979" y="107950"/>
                  </a:cubicBezTo>
                  <a:cubicBezTo>
                    <a:pt x="600074" y="108585"/>
                    <a:pt x="597534" y="109855"/>
                    <a:pt x="594994" y="109855"/>
                  </a:cubicBezTo>
                  <a:cubicBezTo>
                    <a:pt x="592454" y="109855"/>
                    <a:pt x="589279" y="110490"/>
                    <a:pt x="586104" y="110490"/>
                  </a:cubicBezTo>
                  <a:cubicBezTo>
                    <a:pt x="582929" y="110490"/>
                    <a:pt x="579754" y="110490"/>
                    <a:pt x="576579" y="109220"/>
                  </a:cubicBezTo>
                  <a:cubicBezTo>
                    <a:pt x="573404" y="108585"/>
                    <a:pt x="570864" y="107315"/>
                    <a:pt x="568959" y="105410"/>
                  </a:cubicBezTo>
                  <a:cubicBezTo>
                    <a:pt x="566419" y="104140"/>
                    <a:pt x="564514" y="102235"/>
                    <a:pt x="562609" y="100330"/>
                  </a:cubicBezTo>
                  <a:cubicBezTo>
                    <a:pt x="560704" y="98425"/>
                    <a:pt x="558799" y="95885"/>
                    <a:pt x="557529" y="92710"/>
                  </a:cubicBezTo>
                  <a:cubicBezTo>
                    <a:pt x="555624" y="89535"/>
                    <a:pt x="554354" y="86360"/>
                    <a:pt x="553719" y="82550"/>
                  </a:cubicBezTo>
                  <a:cubicBezTo>
                    <a:pt x="553084" y="78740"/>
                    <a:pt x="552449" y="74295"/>
                    <a:pt x="552449" y="69850"/>
                  </a:cubicBezTo>
                  <a:cubicBezTo>
                    <a:pt x="552449" y="63500"/>
                    <a:pt x="553084" y="57150"/>
                    <a:pt x="554989" y="52070"/>
                  </a:cubicBezTo>
                  <a:cubicBezTo>
                    <a:pt x="556894" y="46990"/>
                    <a:pt x="558799" y="42545"/>
                    <a:pt x="561974" y="39370"/>
                  </a:cubicBezTo>
                  <a:cubicBezTo>
                    <a:pt x="565149" y="36195"/>
                    <a:pt x="568324" y="33020"/>
                    <a:pt x="572769" y="31750"/>
                  </a:cubicBezTo>
                  <a:cubicBezTo>
                    <a:pt x="577214" y="29845"/>
                    <a:pt x="581659" y="29210"/>
                    <a:pt x="586739" y="29210"/>
                  </a:cubicBezTo>
                  <a:close/>
                  <a:moveTo>
                    <a:pt x="400050" y="29210"/>
                  </a:moveTo>
                  <a:cubicBezTo>
                    <a:pt x="405765" y="29210"/>
                    <a:pt x="410210" y="30480"/>
                    <a:pt x="414655" y="32385"/>
                  </a:cubicBezTo>
                  <a:cubicBezTo>
                    <a:pt x="418465" y="34290"/>
                    <a:pt x="422275" y="37465"/>
                    <a:pt x="424815" y="40640"/>
                  </a:cubicBezTo>
                  <a:cubicBezTo>
                    <a:pt x="427355" y="44450"/>
                    <a:pt x="429260" y="48260"/>
                    <a:pt x="431165" y="53340"/>
                  </a:cubicBezTo>
                  <a:cubicBezTo>
                    <a:pt x="432435" y="57785"/>
                    <a:pt x="433070" y="62865"/>
                    <a:pt x="433070" y="68580"/>
                  </a:cubicBezTo>
                  <a:lnTo>
                    <a:pt x="431800" y="68580"/>
                  </a:lnTo>
                  <a:cubicBezTo>
                    <a:pt x="431800" y="68580"/>
                    <a:pt x="431800" y="71120"/>
                    <a:pt x="431800" y="72390"/>
                  </a:cubicBezTo>
                  <a:cubicBezTo>
                    <a:pt x="431800" y="73660"/>
                    <a:pt x="431800" y="74295"/>
                    <a:pt x="431800" y="75565"/>
                  </a:cubicBezTo>
                  <a:lnTo>
                    <a:pt x="380365" y="75565"/>
                  </a:lnTo>
                  <a:cubicBezTo>
                    <a:pt x="380365" y="79375"/>
                    <a:pt x="381635" y="82550"/>
                    <a:pt x="382905" y="85090"/>
                  </a:cubicBezTo>
                  <a:cubicBezTo>
                    <a:pt x="384175" y="87630"/>
                    <a:pt x="385445" y="90170"/>
                    <a:pt x="387350" y="91440"/>
                  </a:cubicBezTo>
                  <a:cubicBezTo>
                    <a:pt x="389255" y="93345"/>
                    <a:pt x="391160" y="94615"/>
                    <a:pt x="393065" y="95250"/>
                  </a:cubicBezTo>
                  <a:cubicBezTo>
                    <a:pt x="394970" y="95885"/>
                    <a:pt x="397510" y="96520"/>
                    <a:pt x="400050" y="96520"/>
                  </a:cubicBezTo>
                  <a:cubicBezTo>
                    <a:pt x="401955" y="96520"/>
                    <a:pt x="403225" y="96520"/>
                    <a:pt x="405130" y="96520"/>
                  </a:cubicBezTo>
                  <a:cubicBezTo>
                    <a:pt x="406400" y="96520"/>
                    <a:pt x="408305" y="95885"/>
                    <a:pt x="409575" y="95250"/>
                  </a:cubicBezTo>
                  <a:cubicBezTo>
                    <a:pt x="410845" y="95250"/>
                    <a:pt x="412115" y="93980"/>
                    <a:pt x="413385" y="93345"/>
                  </a:cubicBezTo>
                  <a:cubicBezTo>
                    <a:pt x="414655" y="93345"/>
                    <a:pt x="415925" y="92075"/>
                    <a:pt x="417830" y="90805"/>
                  </a:cubicBezTo>
                  <a:lnTo>
                    <a:pt x="426720" y="100330"/>
                  </a:lnTo>
                  <a:cubicBezTo>
                    <a:pt x="426720" y="100330"/>
                    <a:pt x="422910" y="103505"/>
                    <a:pt x="421005" y="104775"/>
                  </a:cubicBezTo>
                  <a:cubicBezTo>
                    <a:pt x="419100" y="106045"/>
                    <a:pt x="417195" y="106680"/>
                    <a:pt x="415290" y="107950"/>
                  </a:cubicBezTo>
                  <a:cubicBezTo>
                    <a:pt x="413385" y="108585"/>
                    <a:pt x="410845" y="109855"/>
                    <a:pt x="408305" y="109855"/>
                  </a:cubicBezTo>
                  <a:cubicBezTo>
                    <a:pt x="405765" y="109855"/>
                    <a:pt x="402590" y="110490"/>
                    <a:pt x="399415" y="110490"/>
                  </a:cubicBezTo>
                  <a:cubicBezTo>
                    <a:pt x="396240" y="110490"/>
                    <a:pt x="393065" y="110490"/>
                    <a:pt x="389890" y="109220"/>
                  </a:cubicBezTo>
                  <a:cubicBezTo>
                    <a:pt x="386715" y="108585"/>
                    <a:pt x="384175" y="107315"/>
                    <a:pt x="382270" y="105410"/>
                  </a:cubicBezTo>
                  <a:cubicBezTo>
                    <a:pt x="380365" y="103505"/>
                    <a:pt x="377825" y="102235"/>
                    <a:pt x="375920" y="100330"/>
                  </a:cubicBezTo>
                  <a:cubicBezTo>
                    <a:pt x="374015" y="98425"/>
                    <a:pt x="372110" y="95885"/>
                    <a:pt x="370840" y="92710"/>
                  </a:cubicBezTo>
                  <a:cubicBezTo>
                    <a:pt x="368935" y="89535"/>
                    <a:pt x="367665" y="86360"/>
                    <a:pt x="367030" y="82550"/>
                  </a:cubicBezTo>
                  <a:cubicBezTo>
                    <a:pt x="366395" y="78740"/>
                    <a:pt x="365760" y="74295"/>
                    <a:pt x="365760" y="69850"/>
                  </a:cubicBezTo>
                  <a:cubicBezTo>
                    <a:pt x="365760" y="63500"/>
                    <a:pt x="366395" y="57150"/>
                    <a:pt x="368300" y="52070"/>
                  </a:cubicBezTo>
                  <a:cubicBezTo>
                    <a:pt x="370205" y="46990"/>
                    <a:pt x="372110" y="42545"/>
                    <a:pt x="375285" y="39370"/>
                  </a:cubicBezTo>
                  <a:cubicBezTo>
                    <a:pt x="378460" y="36195"/>
                    <a:pt x="381635" y="33020"/>
                    <a:pt x="386080" y="31750"/>
                  </a:cubicBezTo>
                  <a:cubicBezTo>
                    <a:pt x="390525" y="29845"/>
                    <a:pt x="394970" y="29210"/>
                    <a:pt x="400050" y="29210"/>
                  </a:cubicBezTo>
                  <a:close/>
                  <a:moveTo>
                    <a:pt x="201930" y="29210"/>
                  </a:moveTo>
                  <a:cubicBezTo>
                    <a:pt x="207645" y="29210"/>
                    <a:pt x="212090" y="30480"/>
                    <a:pt x="216535" y="32385"/>
                  </a:cubicBezTo>
                  <a:cubicBezTo>
                    <a:pt x="220345" y="34290"/>
                    <a:pt x="224155" y="37465"/>
                    <a:pt x="226695" y="40640"/>
                  </a:cubicBezTo>
                  <a:cubicBezTo>
                    <a:pt x="229235" y="44450"/>
                    <a:pt x="231140" y="48260"/>
                    <a:pt x="233045" y="53340"/>
                  </a:cubicBezTo>
                  <a:cubicBezTo>
                    <a:pt x="234315" y="57785"/>
                    <a:pt x="234950" y="62865"/>
                    <a:pt x="234950" y="68580"/>
                  </a:cubicBezTo>
                  <a:lnTo>
                    <a:pt x="233680" y="68580"/>
                  </a:lnTo>
                  <a:cubicBezTo>
                    <a:pt x="233680" y="68580"/>
                    <a:pt x="233680" y="71120"/>
                    <a:pt x="233680" y="72390"/>
                  </a:cubicBezTo>
                  <a:cubicBezTo>
                    <a:pt x="233680" y="73660"/>
                    <a:pt x="233680" y="74295"/>
                    <a:pt x="233680" y="75565"/>
                  </a:cubicBezTo>
                  <a:lnTo>
                    <a:pt x="182245" y="75565"/>
                  </a:lnTo>
                  <a:cubicBezTo>
                    <a:pt x="182245" y="79375"/>
                    <a:pt x="183515" y="82550"/>
                    <a:pt x="184785" y="85090"/>
                  </a:cubicBezTo>
                  <a:cubicBezTo>
                    <a:pt x="186055" y="87630"/>
                    <a:pt x="187325" y="90170"/>
                    <a:pt x="189230" y="91440"/>
                  </a:cubicBezTo>
                  <a:cubicBezTo>
                    <a:pt x="191135" y="93345"/>
                    <a:pt x="193040" y="94615"/>
                    <a:pt x="194945" y="95250"/>
                  </a:cubicBezTo>
                  <a:cubicBezTo>
                    <a:pt x="196850" y="95885"/>
                    <a:pt x="199390" y="96520"/>
                    <a:pt x="201930" y="96520"/>
                  </a:cubicBezTo>
                  <a:cubicBezTo>
                    <a:pt x="203835" y="96520"/>
                    <a:pt x="205105" y="96520"/>
                    <a:pt x="207010" y="96520"/>
                  </a:cubicBezTo>
                  <a:cubicBezTo>
                    <a:pt x="208280" y="96520"/>
                    <a:pt x="210185" y="95885"/>
                    <a:pt x="211455" y="95250"/>
                  </a:cubicBezTo>
                  <a:cubicBezTo>
                    <a:pt x="212725" y="95250"/>
                    <a:pt x="213995" y="93980"/>
                    <a:pt x="215265" y="93345"/>
                  </a:cubicBezTo>
                  <a:cubicBezTo>
                    <a:pt x="216535" y="93345"/>
                    <a:pt x="217805" y="92075"/>
                    <a:pt x="219710" y="90805"/>
                  </a:cubicBezTo>
                  <a:lnTo>
                    <a:pt x="228600" y="100330"/>
                  </a:lnTo>
                  <a:cubicBezTo>
                    <a:pt x="228600" y="100330"/>
                    <a:pt x="224790" y="103505"/>
                    <a:pt x="222885" y="104775"/>
                  </a:cubicBezTo>
                  <a:cubicBezTo>
                    <a:pt x="220980" y="106045"/>
                    <a:pt x="219075" y="106680"/>
                    <a:pt x="217170" y="107950"/>
                  </a:cubicBezTo>
                  <a:cubicBezTo>
                    <a:pt x="215265" y="108585"/>
                    <a:pt x="212725" y="109855"/>
                    <a:pt x="210185" y="109855"/>
                  </a:cubicBezTo>
                  <a:cubicBezTo>
                    <a:pt x="207645" y="109855"/>
                    <a:pt x="204470" y="110490"/>
                    <a:pt x="201295" y="110490"/>
                  </a:cubicBezTo>
                  <a:cubicBezTo>
                    <a:pt x="198120" y="110490"/>
                    <a:pt x="194945" y="110490"/>
                    <a:pt x="191770" y="109220"/>
                  </a:cubicBezTo>
                  <a:cubicBezTo>
                    <a:pt x="188595" y="108585"/>
                    <a:pt x="186055" y="107315"/>
                    <a:pt x="184150" y="105410"/>
                  </a:cubicBezTo>
                  <a:cubicBezTo>
                    <a:pt x="181610" y="104140"/>
                    <a:pt x="179705" y="102235"/>
                    <a:pt x="177800" y="100330"/>
                  </a:cubicBezTo>
                  <a:cubicBezTo>
                    <a:pt x="175895" y="98425"/>
                    <a:pt x="173990" y="95885"/>
                    <a:pt x="172720" y="92710"/>
                  </a:cubicBezTo>
                  <a:cubicBezTo>
                    <a:pt x="170815" y="89535"/>
                    <a:pt x="169545" y="86360"/>
                    <a:pt x="168910" y="82550"/>
                  </a:cubicBezTo>
                  <a:cubicBezTo>
                    <a:pt x="168275" y="78740"/>
                    <a:pt x="167640" y="74295"/>
                    <a:pt x="167640" y="69850"/>
                  </a:cubicBezTo>
                  <a:cubicBezTo>
                    <a:pt x="167640" y="63500"/>
                    <a:pt x="168275" y="57150"/>
                    <a:pt x="170180" y="52070"/>
                  </a:cubicBezTo>
                  <a:cubicBezTo>
                    <a:pt x="172085" y="46990"/>
                    <a:pt x="173990" y="42545"/>
                    <a:pt x="177165" y="39370"/>
                  </a:cubicBezTo>
                  <a:cubicBezTo>
                    <a:pt x="180340" y="36195"/>
                    <a:pt x="183515" y="33020"/>
                    <a:pt x="187960" y="31750"/>
                  </a:cubicBezTo>
                  <a:cubicBezTo>
                    <a:pt x="192405" y="29845"/>
                    <a:pt x="196850" y="29210"/>
                    <a:pt x="201930" y="29210"/>
                  </a:cubicBezTo>
                  <a:close/>
                  <a:moveTo>
                    <a:pt x="4664706" y="28574"/>
                  </a:moveTo>
                  <a:cubicBezTo>
                    <a:pt x="4669786" y="28574"/>
                    <a:pt x="4674231" y="29209"/>
                    <a:pt x="4678676" y="31749"/>
                  </a:cubicBezTo>
                  <a:cubicBezTo>
                    <a:pt x="4683121" y="33654"/>
                    <a:pt x="4686296" y="36194"/>
                    <a:pt x="4689471" y="40004"/>
                  </a:cubicBezTo>
                  <a:cubicBezTo>
                    <a:pt x="4692646" y="43814"/>
                    <a:pt x="4695186" y="47624"/>
                    <a:pt x="4696456" y="52704"/>
                  </a:cubicBezTo>
                  <a:cubicBezTo>
                    <a:pt x="4698361" y="57784"/>
                    <a:pt x="4698996" y="63499"/>
                    <a:pt x="4698996" y="69214"/>
                  </a:cubicBezTo>
                  <a:lnTo>
                    <a:pt x="4699631" y="69214"/>
                  </a:lnTo>
                  <a:cubicBezTo>
                    <a:pt x="4699631" y="75564"/>
                    <a:pt x="4698996" y="81279"/>
                    <a:pt x="4697091" y="86359"/>
                  </a:cubicBezTo>
                  <a:cubicBezTo>
                    <a:pt x="4695186" y="91439"/>
                    <a:pt x="4692646" y="95884"/>
                    <a:pt x="4689471" y="99059"/>
                  </a:cubicBezTo>
                  <a:cubicBezTo>
                    <a:pt x="4686296" y="102869"/>
                    <a:pt x="4682486" y="105409"/>
                    <a:pt x="4678041" y="107314"/>
                  </a:cubicBezTo>
                  <a:cubicBezTo>
                    <a:pt x="4673596" y="109219"/>
                    <a:pt x="4669151" y="109854"/>
                    <a:pt x="4664071" y="109854"/>
                  </a:cubicBezTo>
                  <a:cubicBezTo>
                    <a:pt x="4658991" y="109854"/>
                    <a:pt x="4654546" y="108584"/>
                    <a:pt x="4650101" y="106679"/>
                  </a:cubicBezTo>
                  <a:cubicBezTo>
                    <a:pt x="4645656" y="104774"/>
                    <a:pt x="4642481" y="102234"/>
                    <a:pt x="4639306" y="98424"/>
                  </a:cubicBezTo>
                  <a:cubicBezTo>
                    <a:pt x="4636131" y="94614"/>
                    <a:pt x="4633591" y="90804"/>
                    <a:pt x="4632321" y="85724"/>
                  </a:cubicBezTo>
                  <a:cubicBezTo>
                    <a:pt x="4630416" y="80644"/>
                    <a:pt x="4629781" y="74929"/>
                    <a:pt x="4629781" y="69214"/>
                  </a:cubicBezTo>
                  <a:cubicBezTo>
                    <a:pt x="4629781" y="63499"/>
                    <a:pt x="4630416" y="57149"/>
                    <a:pt x="4632321" y="52069"/>
                  </a:cubicBezTo>
                  <a:cubicBezTo>
                    <a:pt x="4634226" y="46989"/>
                    <a:pt x="4636766" y="42544"/>
                    <a:pt x="4639941" y="39369"/>
                  </a:cubicBezTo>
                  <a:cubicBezTo>
                    <a:pt x="4643116" y="35559"/>
                    <a:pt x="4646926" y="33019"/>
                    <a:pt x="4650736" y="31114"/>
                  </a:cubicBezTo>
                  <a:cubicBezTo>
                    <a:pt x="4655181" y="29209"/>
                    <a:pt x="4659626" y="28574"/>
                    <a:pt x="4664706" y="28574"/>
                  </a:cubicBezTo>
                  <a:close/>
                  <a:moveTo>
                    <a:pt x="4264655" y="28574"/>
                  </a:moveTo>
                  <a:cubicBezTo>
                    <a:pt x="4269735" y="28574"/>
                    <a:pt x="4274180" y="29209"/>
                    <a:pt x="4278625" y="31749"/>
                  </a:cubicBezTo>
                  <a:cubicBezTo>
                    <a:pt x="4283070" y="33654"/>
                    <a:pt x="4286245" y="36194"/>
                    <a:pt x="4289420" y="40004"/>
                  </a:cubicBezTo>
                  <a:cubicBezTo>
                    <a:pt x="4292595" y="43814"/>
                    <a:pt x="4295135" y="47624"/>
                    <a:pt x="4296405" y="52704"/>
                  </a:cubicBezTo>
                  <a:cubicBezTo>
                    <a:pt x="4298310" y="57784"/>
                    <a:pt x="4298945" y="63499"/>
                    <a:pt x="4298945" y="69214"/>
                  </a:cubicBezTo>
                  <a:lnTo>
                    <a:pt x="4299580" y="69214"/>
                  </a:lnTo>
                  <a:cubicBezTo>
                    <a:pt x="4299580" y="75564"/>
                    <a:pt x="4298945" y="81279"/>
                    <a:pt x="4297040" y="86359"/>
                  </a:cubicBezTo>
                  <a:cubicBezTo>
                    <a:pt x="4295135" y="91439"/>
                    <a:pt x="4292595" y="95884"/>
                    <a:pt x="4289420" y="99059"/>
                  </a:cubicBezTo>
                  <a:cubicBezTo>
                    <a:pt x="4286245" y="102869"/>
                    <a:pt x="4282435" y="105409"/>
                    <a:pt x="4277990" y="107314"/>
                  </a:cubicBezTo>
                  <a:cubicBezTo>
                    <a:pt x="4273545" y="109219"/>
                    <a:pt x="4269100" y="109854"/>
                    <a:pt x="4264020" y="109854"/>
                  </a:cubicBezTo>
                  <a:cubicBezTo>
                    <a:pt x="4258940" y="109854"/>
                    <a:pt x="4254495" y="108584"/>
                    <a:pt x="4250050" y="106679"/>
                  </a:cubicBezTo>
                  <a:cubicBezTo>
                    <a:pt x="4245605" y="104774"/>
                    <a:pt x="4242430" y="102234"/>
                    <a:pt x="4239255" y="98424"/>
                  </a:cubicBezTo>
                  <a:cubicBezTo>
                    <a:pt x="4236080" y="94614"/>
                    <a:pt x="4233540" y="90804"/>
                    <a:pt x="4232270" y="85724"/>
                  </a:cubicBezTo>
                  <a:cubicBezTo>
                    <a:pt x="4230365" y="80644"/>
                    <a:pt x="4229730" y="74929"/>
                    <a:pt x="4229730" y="69214"/>
                  </a:cubicBezTo>
                  <a:cubicBezTo>
                    <a:pt x="4229730" y="63499"/>
                    <a:pt x="4230365" y="57149"/>
                    <a:pt x="4232270" y="52069"/>
                  </a:cubicBezTo>
                  <a:cubicBezTo>
                    <a:pt x="4234175" y="46989"/>
                    <a:pt x="4236715" y="42544"/>
                    <a:pt x="4239890" y="39369"/>
                  </a:cubicBezTo>
                  <a:cubicBezTo>
                    <a:pt x="4243065" y="35559"/>
                    <a:pt x="4246875" y="33019"/>
                    <a:pt x="4250685" y="31114"/>
                  </a:cubicBezTo>
                  <a:cubicBezTo>
                    <a:pt x="4255130" y="29209"/>
                    <a:pt x="4259575" y="28574"/>
                    <a:pt x="4264655" y="28574"/>
                  </a:cubicBezTo>
                  <a:close/>
                  <a:moveTo>
                    <a:pt x="1420495" y="28574"/>
                  </a:moveTo>
                  <a:cubicBezTo>
                    <a:pt x="1425575" y="28574"/>
                    <a:pt x="1430020" y="29209"/>
                    <a:pt x="1434465" y="31749"/>
                  </a:cubicBezTo>
                  <a:cubicBezTo>
                    <a:pt x="1438910" y="33654"/>
                    <a:pt x="1442085" y="36194"/>
                    <a:pt x="1445260" y="40004"/>
                  </a:cubicBezTo>
                  <a:cubicBezTo>
                    <a:pt x="1448435" y="43814"/>
                    <a:pt x="1450975" y="47624"/>
                    <a:pt x="1452245" y="52704"/>
                  </a:cubicBezTo>
                  <a:cubicBezTo>
                    <a:pt x="1454150" y="57784"/>
                    <a:pt x="1454785" y="63499"/>
                    <a:pt x="1454785" y="69214"/>
                  </a:cubicBezTo>
                  <a:lnTo>
                    <a:pt x="1455420" y="69214"/>
                  </a:lnTo>
                  <a:cubicBezTo>
                    <a:pt x="1455420" y="75564"/>
                    <a:pt x="1454785" y="81279"/>
                    <a:pt x="1452880" y="86359"/>
                  </a:cubicBezTo>
                  <a:cubicBezTo>
                    <a:pt x="1450975" y="91439"/>
                    <a:pt x="1448435" y="95884"/>
                    <a:pt x="1445260" y="99059"/>
                  </a:cubicBezTo>
                  <a:cubicBezTo>
                    <a:pt x="1442085" y="102869"/>
                    <a:pt x="1438275" y="105409"/>
                    <a:pt x="1433830" y="107314"/>
                  </a:cubicBezTo>
                  <a:cubicBezTo>
                    <a:pt x="1429385" y="109219"/>
                    <a:pt x="1424940" y="109854"/>
                    <a:pt x="1419860" y="109854"/>
                  </a:cubicBezTo>
                  <a:cubicBezTo>
                    <a:pt x="1414780" y="109854"/>
                    <a:pt x="1410335" y="108584"/>
                    <a:pt x="1405890" y="106679"/>
                  </a:cubicBezTo>
                  <a:cubicBezTo>
                    <a:pt x="1401444" y="104774"/>
                    <a:pt x="1398270" y="102234"/>
                    <a:pt x="1395095" y="98424"/>
                  </a:cubicBezTo>
                  <a:cubicBezTo>
                    <a:pt x="1391920" y="94614"/>
                    <a:pt x="1389380" y="90804"/>
                    <a:pt x="1388110" y="85724"/>
                  </a:cubicBezTo>
                  <a:cubicBezTo>
                    <a:pt x="1386205" y="80644"/>
                    <a:pt x="1385570" y="74929"/>
                    <a:pt x="1385570" y="69214"/>
                  </a:cubicBezTo>
                  <a:cubicBezTo>
                    <a:pt x="1385570" y="63499"/>
                    <a:pt x="1386205" y="57149"/>
                    <a:pt x="1388110" y="52069"/>
                  </a:cubicBezTo>
                  <a:cubicBezTo>
                    <a:pt x="1390015" y="46989"/>
                    <a:pt x="1392555" y="42544"/>
                    <a:pt x="1395730" y="39369"/>
                  </a:cubicBezTo>
                  <a:cubicBezTo>
                    <a:pt x="1398905" y="35559"/>
                    <a:pt x="1402715" y="33019"/>
                    <a:pt x="1406525" y="31114"/>
                  </a:cubicBezTo>
                  <a:cubicBezTo>
                    <a:pt x="1410970" y="29209"/>
                    <a:pt x="1415415" y="28574"/>
                    <a:pt x="1420495" y="28574"/>
                  </a:cubicBezTo>
                  <a:close/>
                  <a:moveTo>
                    <a:pt x="3143245" y="5079"/>
                  </a:moveTo>
                  <a:lnTo>
                    <a:pt x="3219445" y="5079"/>
                  </a:lnTo>
                  <a:lnTo>
                    <a:pt x="3219445" y="20319"/>
                  </a:lnTo>
                  <a:lnTo>
                    <a:pt x="3188965" y="20319"/>
                  </a:lnTo>
                  <a:lnTo>
                    <a:pt x="3188965" y="108584"/>
                  </a:lnTo>
                  <a:lnTo>
                    <a:pt x="3173090" y="108584"/>
                  </a:lnTo>
                  <a:lnTo>
                    <a:pt x="3173090" y="20319"/>
                  </a:lnTo>
                  <a:lnTo>
                    <a:pt x="3143245" y="20319"/>
                  </a:lnTo>
                  <a:close/>
                  <a:moveTo>
                    <a:pt x="1628774" y="5079"/>
                  </a:moveTo>
                  <a:lnTo>
                    <a:pt x="1704970" y="5079"/>
                  </a:lnTo>
                  <a:lnTo>
                    <a:pt x="1704970" y="20319"/>
                  </a:lnTo>
                  <a:lnTo>
                    <a:pt x="1675129" y="20319"/>
                  </a:lnTo>
                  <a:lnTo>
                    <a:pt x="1675129" y="108584"/>
                  </a:lnTo>
                  <a:lnTo>
                    <a:pt x="1659255" y="108584"/>
                  </a:lnTo>
                  <a:lnTo>
                    <a:pt x="1659255" y="20319"/>
                  </a:lnTo>
                  <a:lnTo>
                    <a:pt x="1628774" y="20319"/>
                  </a:lnTo>
                  <a:close/>
                  <a:moveTo>
                    <a:pt x="0" y="5079"/>
                  </a:moveTo>
                  <a:lnTo>
                    <a:pt x="76200" y="5079"/>
                  </a:lnTo>
                  <a:lnTo>
                    <a:pt x="76200" y="20319"/>
                  </a:lnTo>
                  <a:lnTo>
                    <a:pt x="45720" y="20319"/>
                  </a:lnTo>
                  <a:lnTo>
                    <a:pt x="45720" y="108584"/>
                  </a:lnTo>
                  <a:lnTo>
                    <a:pt x="29845" y="108584"/>
                  </a:lnTo>
                  <a:lnTo>
                    <a:pt x="29845" y="20319"/>
                  </a:lnTo>
                  <a:lnTo>
                    <a:pt x="0" y="20319"/>
                  </a:lnTo>
                  <a:close/>
                  <a:moveTo>
                    <a:pt x="1362075" y="1269"/>
                  </a:moveTo>
                  <a:cubicBezTo>
                    <a:pt x="1363345" y="1269"/>
                    <a:pt x="1364615" y="1269"/>
                    <a:pt x="1365885" y="1904"/>
                  </a:cubicBezTo>
                  <a:cubicBezTo>
                    <a:pt x="1367155" y="1904"/>
                    <a:pt x="1367790" y="3174"/>
                    <a:pt x="1369060" y="3809"/>
                  </a:cubicBezTo>
                  <a:cubicBezTo>
                    <a:pt x="1369695" y="4444"/>
                    <a:pt x="1370965" y="5714"/>
                    <a:pt x="1370965" y="6984"/>
                  </a:cubicBezTo>
                  <a:cubicBezTo>
                    <a:pt x="1370965" y="8254"/>
                    <a:pt x="1371600" y="9524"/>
                    <a:pt x="1371600" y="10794"/>
                  </a:cubicBezTo>
                  <a:cubicBezTo>
                    <a:pt x="1371600" y="10794"/>
                    <a:pt x="1371600" y="13334"/>
                    <a:pt x="1370965" y="14604"/>
                  </a:cubicBezTo>
                  <a:cubicBezTo>
                    <a:pt x="1370965" y="15874"/>
                    <a:pt x="1369695" y="17144"/>
                    <a:pt x="1369060" y="17779"/>
                  </a:cubicBezTo>
                  <a:cubicBezTo>
                    <a:pt x="1368425" y="18414"/>
                    <a:pt x="1367155" y="19684"/>
                    <a:pt x="1365885" y="19684"/>
                  </a:cubicBezTo>
                  <a:cubicBezTo>
                    <a:pt x="1364615" y="19684"/>
                    <a:pt x="1363345" y="20319"/>
                    <a:pt x="1362075" y="20319"/>
                  </a:cubicBezTo>
                  <a:cubicBezTo>
                    <a:pt x="1360805" y="20319"/>
                    <a:pt x="1359535" y="20319"/>
                    <a:pt x="1358265" y="19684"/>
                  </a:cubicBezTo>
                  <a:cubicBezTo>
                    <a:pt x="1356995" y="19684"/>
                    <a:pt x="1355725" y="18414"/>
                    <a:pt x="1355090" y="17779"/>
                  </a:cubicBezTo>
                  <a:cubicBezTo>
                    <a:pt x="1354455" y="17144"/>
                    <a:pt x="1353185" y="15874"/>
                    <a:pt x="1353185" y="14604"/>
                  </a:cubicBezTo>
                  <a:cubicBezTo>
                    <a:pt x="1353185" y="13334"/>
                    <a:pt x="1352550" y="12064"/>
                    <a:pt x="1352550" y="10794"/>
                  </a:cubicBezTo>
                  <a:cubicBezTo>
                    <a:pt x="1352550" y="9524"/>
                    <a:pt x="1352550" y="8254"/>
                    <a:pt x="1353185" y="6984"/>
                  </a:cubicBezTo>
                  <a:cubicBezTo>
                    <a:pt x="1353185" y="5714"/>
                    <a:pt x="1354455" y="4444"/>
                    <a:pt x="1355090" y="3809"/>
                  </a:cubicBezTo>
                  <a:cubicBezTo>
                    <a:pt x="1355725" y="3174"/>
                    <a:pt x="1356995" y="1904"/>
                    <a:pt x="1358265" y="1904"/>
                  </a:cubicBezTo>
                  <a:cubicBezTo>
                    <a:pt x="1359535" y="1904"/>
                    <a:pt x="1360805" y="1269"/>
                    <a:pt x="1362075" y="1269"/>
                  </a:cubicBezTo>
                  <a:close/>
                  <a:moveTo>
                    <a:pt x="4789801" y="634"/>
                  </a:moveTo>
                  <a:lnTo>
                    <a:pt x="4789801" y="65404"/>
                  </a:lnTo>
                  <a:lnTo>
                    <a:pt x="4814566" y="31114"/>
                  </a:lnTo>
                  <a:lnTo>
                    <a:pt x="4831711" y="31114"/>
                  </a:lnTo>
                  <a:lnTo>
                    <a:pt x="4812026" y="57149"/>
                  </a:lnTo>
                  <a:lnTo>
                    <a:pt x="4835521" y="108584"/>
                  </a:lnTo>
                  <a:lnTo>
                    <a:pt x="4819011" y="108584"/>
                  </a:lnTo>
                  <a:lnTo>
                    <a:pt x="4801866" y="69849"/>
                  </a:lnTo>
                  <a:lnTo>
                    <a:pt x="4789801" y="85724"/>
                  </a:lnTo>
                  <a:lnTo>
                    <a:pt x="4789801" y="108584"/>
                  </a:lnTo>
                  <a:lnTo>
                    <a:pt x="4774561" y="108584"/>
                  </a:lnTo>
                  <a:lnTo>
                    <a:pt x="4774561" y="8889"/>
                  </a:lnTo>
                  <a:close/>
                  <a:moveTo>
                    <a:pt x="4472301" y="634"/>
                  </a:moveTo>
                  <a:lnTo>
                    <a:pt x="4472301" y="109219"/>
                  </a:lnTo>
                  <a:lnTo>
                    <a:pt x="4457061" y="109219"/>
                  </a:lnTo>
                  <a:lnTo>
                    <a:pt x="4457696" y="108584"/>
                  </a:lnTo>
                  <a:lnTo>
                    <a:pt x="4457696" y="100964"/>
                  </a:lnTo>
                  <a:cubicBezTo>
                    <a:pt x="4457696" y="100964"/>
                    <a:pt x="4454521" y="103504"/>
                    <a:pt x="4453251" y="104774"/>
                  </a:cubicBezTo>
                  <a:cubicBezTo>
                    <a:pt x="4451981" y="106044"/>
                    <a:pt x="4450076" y="106679"/>
                    <a:pt x="4448171" y="107949"/>
                  </a:cubicBezTo>
                  <a:cubicBezTo>
                    <a:pt x="4446266" y="108584"/>
                    <a:pt x="4444361" y="109219"/>
                    <a:pt x="4443091" y="109854"/>
                  </a:cubicBezTo>
                  <a:cubicBezTo>
                    <a:pt x="4441186" y="109854"/>
                    <a:pt x="4439281" y="109854"/>
                    <a:pt x="4437376" y="109854"/>
                  </a:cubicBezTo>
                  <a:cubicBezTo>
                    <a:pt x="4432931" y="109854"/>
                    <a:pt x="4429121" y="109219"/>
                    <a:pt x="4425946" y="107314"/>
                  </a:cubicBezTo>
                  <a:cubicBezTo>
                    <a:pt x="4422136" y="106044"/>
                    <a:pt x="4418961" y="103504"/>
                    <a:pt x="4416421" y="99694"/>
                  </a:cubicBezTo>
                  <a:cubicBezTo>
                    <a:pt x="4413881" y="96519"/>
                    <a:pt x="4411341" y="92074"/>
                    <a:pt x="4410071" y="86994"/>
                  </a:cubicBezTo>
                  <a:cubicBezTo>
                    <a:pt x="4408801" y="81914"/>
                    <a:pt x="4407531" y="75564"/>
                    <a:pt x="4407531" y="67944"/>
                  </a:cubicBezTo>
                  <a:cubicBezTo>
                    <a:pt x="4407531" y="61594"/>
                    <a:pt x="4408166" y="55244"/>
                    <a:pt x="4410071" y="50799"/>
                  </a:cubicBezTo>
                  <a:cubicBezTo>
                    <a:pt x="4411976" y="45719"/>
                    <a:pt x="4413881" y="41909"/>
                    <a:pt x="4417056" y="38734"/>
                  </a:cubicBezTo>
                  <a:cubicBezTo>
                    <a:pt x="4419596" y="35559"/>
                    <a:pt x="4423406" y="33019"/>
                    <a:pt x="4426581" y="31749"/>
                  </a:cubicBezTo>
                  <a:cubicBezTo>
                    <a:pt x="4430391" y="29844"/>
                    <a:pt x="4434201" y="29209"/>
                    <a:pt x="4438011" y="29209"/>
                  </a:cubicBezTo>
                  <a:cubicBezTo>
                    <a:pt x="4439916" y="29209"/>
                    <a:pt x="4441821" y="29209"/>
                    <a:pt x="4443726" y="29844"/>
                  </a:cubicBezTo>
                  <a:cubicBezTo>
                    <a:pt x="4445631" y="29844"/>
                    <a:pt x="4447536" y="31114"/>
                    <a:pt x="4448806" y="31749"/>
                  </a:cubicBezTo>
                  <a:cubicBezTo>
                    <a:pt x="4450711" y="32384"/>
                    <a:pt x="4451981" y="33654"/>
                    <a:pt x="4453251" y="34924"/>
                  </a:cubicBezTo>
                  <a:cubicBezTo>
                    <a:pt x="4454521" y="36194"/>
                    <a:pt x="4455791" y="36829"/>
                    <a:pt x="4457061" y="38099"/>
                  </a:cubicBezTo>
                  <a:lnTo>
                    <a:pt x="4457061" y="8254"/>
                  </a:lnTo>
                  <a:close/>
                  <a:moveTo>
                    <a:pt x="4390385" y="634"/>
                  </a:moveTo>
                  <a:lnTo>
                    <a:pt x="4390385" y="108584"/>
                  </a:lnTo>
                  <a:lnTo>
                    <a:pt x="4375145" y="108584"/>
                  </a:lnTo>
                  <a:lnTo>
                    <a:pt x="4375145" y="8889"/>
                  </a:lnTo>
                  <a:close/>
                  <a:moveTo>
                    <a:pt x="3946521" y="634"/>
                  </a:moveTo>
                  <a:lnTo>
                    <a:pt x="3946521" y="38099"/>
                  </a:lnTo>
                  <a:cubicBezTo>
                    <a:pt x="3946521" y="38099"/>
                    <a:pt x="3948426" y="35559"/>
                    <a:pt x="3950331" y="34289"/>
                  </a:cubicBezTo>
                  <a:cubicBezTo>
                    <a:pt x="3951601" y="33019"/>
                    <a:pt x="3953506" y="32384"/>
                    <a:pt x="3954776" y="31114"/>
                  </a:cubicBezTo>
                  <a:cubicBezTo>
                    <a:pt x="3956681" y="30479"/>
                    <a:pt x="3958586" y="29844"/>
                    <a:pt x="3960491" y="29209"/>
                  </a:cubicBezTo>
                  <a:cubicBezTo>
                    <a:pt x="3962396" y="29209"/>
                    <a:pt x="3964301" y="29209"/>
                    <a:pt x="3966206" y="29209"/>
                  </a:cubicBezTo>
                  <a:cubicBezTo>
                    <a:pt x="3970651" y="29209"/>
                    <a:pt x="3975096" y="29844"/>
                    <a:pt x="3978271" y="31749"/>
                  </a:cubicBezTo>
                  <a:cubicBezTo>
                    <a:pt x="3981446" y="33019"/>
                    <a:pt x="3984621" y="35559"/>
                    <a:pt x="3987161" y="38099"/>
                  </a:cubicBezTo>
                  <a:cubicBezTo>
                    <a:pt x="3989701" y="41274"/>
                    <a:pt x="3990971" y="44449"/>
                    <a:pt x="3992241" y="49529"/>
                  </a:cubicBezTo>
                  <a:cubicBezTo>
                    <a:pt x="3993511" y="53974"/>
                    <a:pt x="3994146" y="59054"/>
                    <a:pt x="3994146" y="64134"/>
                  </a:cubicBezTo>
                  <a:lnTo>
                    <a:pt x="3994146" y="108584"/>
                  </a:lnTo>
                  <a:lnTo>
                    <a:pt x="3978906" y="108584"/>
                  </a:lnTo>
                  <a:lnTo>
                    <a:pt x="3978271" y="108584"/>
                  </a:lnTo>
                  <a:lnTo>
                    <a:pt x="3978271" y="64769"/>
                  </a:lnTo>
                  <a:cubicBezTo>
                    <a:pt x="3978271" y="57784"/>
                    <a:pt x="3977001" y="52069"/>
                    <a:pt x="3974461" y="48894"/>
                  </a:cubicBezTo>
                  <a:cubicBezTo>
                    <a:pt x="3971921" y="45084"/>
                    <a:pt x="3968111" y="43814"/>
                    <a:pt x="3962396" y="43814"/>
                  </a:cubicBezTo>
                  <a:cubicBezTo>
                    <a:pt x="3959856" y="43814"/>
                    <a:pt x="3957951" y="43814"/>
                    <a:pt x="3956046" y="45084"/>
                  </a:cubicBezTo>
                  <a:cubicBezTo>
                    <a:pt x="3954141" y="45719"/>
                    <a:pt x="3952236" y="46989"/>
                    <a:pt x="3950966" y="48894"/>
                  </a:cubicBezTo>
                  <a:cubicBezTo>
                    <a:pt x="3949696" y="50799"/>
                    <a:pt x="3948426" y="52704"/>
                    <a:pt x="3947791" y="55244"/>
                  </a:cubicBezTo>
                  <a:cubicBezTo>
                    <a:pt x="3947156" y="57784"/>
                    <a:pt x="3946521" y="60324"/>
                    <a:pt x="3946521" y="63499"/>
                  </a:cubicBezTo>
                  <a:lnTo>
                    <a:pt x="3946521" y="109219"/>
                  </a:lnTo>
                  <a:lnTo>
                    <a:pt x="3931281" y="109219"/>
                  </a:lnTo>
                  <a:lnTo>
                    <a:pt x="3931281" y="8889"/>
                  </a:lnTo>
                  <a:close/>
                  <a:moveTo>
                    <a:pt x="3248021" y="634"/>
                  </a:moveTo>
                  <a:lnTo>
                    <a:pt x="3248021" y="38099"/>
                  </a:lnTo>
                  <a:cubicBezTo>
                    <a:pt x="3248021" y="38099"/>
                    <a:pt x="3249926" y="35559"/>
                    <a:pt x="3251831" y="34289"/>
                  </a:cubicBezTo>
                  <a:cubicBezTo>
                    <a:pt x="3253101" y="33019"/>
                    <a:pt x="3255006" y="32384"/>
                    <a:pt x="3256276" y="31114"/>
                  </a:cubicBezTo>
                  <a:cubicBezTo>
                    <a:pt x="3258181" y="30479"/>
                    <a:pt x="3260086" y="29844"/>
                    <a:pt x="3261991" y="29209"/>
                  </a:cubicBezTo>
                  <a:cubicBezTo>
                    <a:pt x="3263896" y="29209"/>
                    <a:pt x="3265801" y="29209"/>
                    <a:pt x="3267706" y="29209"/>
                  </a:cubicBezTo>
                  <a:cubicBezTo>
                    <a:pt x="3272151" y="29209"/>
                    <a:pt x="3276596" y="29844"/>
                    <a:pt x="3279771" y="31749"/>
                  </a:cubicBezTo>
                  <a:cubicBezTo>
                    <a:pt x="3282946" y="33019"/>
                    <a:pt x="3286121" y="35559"/>
                    <a:pt x="3288661" y="38099"/>
                  </a:cubicBezTo>
                  <a:cubicBezTo>
                    <a:pt x="3291201" y="41274"/>
                    <a:pt x="3292471" y="44449"/>
                    <a:pt x="3293741" y="49529"/>
                  </a:cubicBezTo>
                  <a:cubicBezTo>
                    <a:pt x="3295011" y="53974"/>
                    <a:pt x="3295646" y="59054"/>
                    <a:pt x="3295646" y="64134"/>
                  </a:cubicBezTo>
                  <a:lnTo>
                    <a:pt x="3295646" y="108584"/>
                  </a:lnTo>
                  <a:lnTo>
                    <a:pt x="3280406" y="108584"/>
                  </a:lnTo>
                  <a:lnTo>
                    <a:pt x="3279771" y="108584"/>
                  </a:lnTo>
                  <a:lnTo>
                    <a:pt x="3279771" y="64769"/>
                  </a:lnTo>
                  <a:cubicBezTo>
                    <a:pt x="3279771" y="57784"/>
                    <a:pt x="3278501" y="52069"/>
                    <a:pt x="3275961" y="48894"/>
                  </a:cubicBezTo>
                  <a:cubicBezTo>
                    <a:pt x="3273421" y="45084"/>
                    <a:pt x="3269611" y="43814"/>
                    <a:pt x="3263896" y="43814"/>
                  </a:cubicBezTo>
                  <a:cubicBezTo>
                    <a:pt x="3261356" y="43814"/>
                    <a:pt x="3259451" y="43814"/>
                    <a:pt x="3257546" y="45084"/>
                  </a:cubicBezTo>
                  <a:cubicBezTo>
                    <a:pt x="3255641" y="45719"/>
                    <a:pt x="3253736" y="46989"/>
                    <a:pt x="3252466" y="48894"/>
                  </a:cubicBezTo>
                  <a:cubicBezTo>
                    <a:pt x="3251196" y="50799"/>
                    <a:pt x="3249926" y="52704"/>
                    <a:pt x="3249291" y="55244"/>
                  </a:cubicBezTo>
                  <a:cubicBezTo>
                    <a:pt x="3248656" y="57784"/>
                    <a:pt x="3248021" y="60324"/>
                    <a:pt x="3248021" y="63499"/>
                  </a:cubicBezTo>
                  <a:lnTo>
                    <a:pt x="3248021" y="109219"/>
                  </a:lnTo>
                  <a:lnTo>
                    <a:pt x="3232781" y="109219"/>
                  </a:lnTo>
                  <a:lnTo>
                    <a:pt x="3232781" y="8889"/>
                  </a:lnTo>
                  <a:close/>
                  <a:moveTo>
                    <a:pt x="2432681" y="634"/>
                  </a:moveTo>
                  <a:lnTo>
                    <a:pt x="2432681" y="38099"/>
                  </a:lnTo>
                  <a:cubicBezTo>
                    <a:pt x="2432681" y="38099"/>
                    <a:pt x="2434586" y="35559"/>
                    <a:pt x="2436491" y="34289"/>
                  </a:cubicBezTo>
                  <a:cubicBezTo>
                    <a:pt x="2437761" y="33019"/>
                    <a:pt x="2439666" y="32384"/>
                    <a:pt x="2440936" y="31114"/>
                  </a:cubicBezTo>
                  <a:cubicBezTo>
                    <a:pt x="2442841" y="30479"/>
                    <a:pt x="2444746" y="29844"/>
                    <a:pt x="2446651" y="29209"/>
                  </a:cubicBezTo>
                  <a:cubicBezTo>
                    <a:pt x="2448556" y="29209"/>
                    <a:pt x="2450461" y="29209"/>
                    <a:pt x="2452366" y="29209"/>
                  </a:cubicBezTo>
                  <a:cubicBezTo>
                    <a:pt x="2456811" y="29209"/>
                    <a:pt x="2461256" y="29844"/>
                    <a:pt x="2464431" y="31749"/>
                  </a:cubicBezTo>
                  <a:cubicBezTo>
                    <a:pt x="2467606" y="33019"/>
                    <a:pt x="2470781" y="35559"/>
                    <a:pt x="2473321" y="38099"/>
                  </a:cubicBezTo>
                  <a:cubicBezTo>
                    <a:pt x="2475861" y="41274"/>
                    <a:pt x="2477131" y="44449"/>
                    <a:pt x="2478401" y="49529"/>
                  </a:cubicBezTo>
                  <a:cubicBezTo>
                    <a:pt x="2479671" y="53974"/>
                    <a:pt x="2480306" y="59054"/>
                    <a:pt x="2480306" y="64134"/>
                  </a:cubicBezTo>
                  <a:lnTo>
                    <a:pt x="2480306" y="108584"/>
                  </a:lnTo>
                  <a:lnTo>
                    <a:pt x="2465066" y="108584"/>
                  </a:lnTo>
                  <a:lnTo>
                    <a:pt x="2464431" y="108584"/>
                  </a:lnTo>
                  <a:lnTo>
                    <a:pt x="2464431" y="64769"/>
                  </a:lnTo>
                  <a:cubicBezTo>
                    <a:pt x="2464431" y="57784"/>
                    <a:pt x="2463161" y="52069"/>
                    <a:pt x="2460621" y="48894"/>
                  </a:cubicBezTo>
                  <a:cubicBezTo>
                    <a:pt x="2458081" y="45084"/>
                    <a:pt x="2454271" y="43814"/>
                    <a:pt x="2448556" y="43814"/>
                  </a:cubicBezTo>
                  <a:cubicBezTo>
                    <a:pt x="2446016" y="43814"/>
                    <a:pt x="2444111" y="43814"/>
                    <a:pt x="2442206" y="45084"/>
                  </a:cubicBezTo>
                  <a:cubicBezTo>
                    <a:pt x="2440301" y="45719"/>
                    <a:pt x="2438396" y="46989"/>
                    <a:pt x="2437126" y="48894"/>
                  </a:cubicBezTo>
                  <a:cubicBezTo>
                    <a:pt x="2435856" y="50799"/>
                    <a:pt x="2434586" y="52704"/>
                    <a:pt x="2433951" y="55244"/>
                  </a:cubicBezTo>
                  <a:cubicBezTo>
                    <a:pt x="2433316" y="57784"/>
                    <a:pt x="2432681" y="60324"/>
                    <a:pt x="2432681" y="63499"/>
                  </a:cubicBezTo>
                  <a:lnTo>
                    <a:pt x="2432681" y="109219"/>
                  </a:lnTo>
                  <a:lnTo>
                    <a:pt x="2417441" y="109219"/>
                  </a:lnTo>
                  <a:lnTo>
                    <a:pt x="2417441" y="8889"/>
                  </a:lnTo>
                  <a:close/>
                  <a:moveTo>
                    <a:pt x="1734181" y="634"/>
                  </a:moveTo>
                  <a:lnTo>
                    <a:pt x="1734181" y="38099"/>
                  </a:lnTo>
                  <a:cubicBezTo>
                    <a:pt x="1734181" y="38099"/>
                    <a:pt x="1736086" y="35559"/>
                    <a:pt x="1737991" y="34289"/>
                  </a:cubicBezTo>
                  <a:cubicBezTo>
                    <a:pt x="1739261" y="33019"/>
                    <a:pt x="1741166" y="32384"/>
                    <a:pt x="1742436" y="31114"/>
                  </a:cubicBezTo>
                  <a:cubicBezTo>
                    <a:pt x="1744341" y="30479"/>
                    <a:pt x="1746246" y="29844"/>
                    <a:pt x="1748151" y="29209"/>
                  </a:cubicBezTo>
                  <a:cubicBezTo>
                    <a:pt x="1750056" y="29209"/>
                    <a:pt x="1751961" y="29209"/>
                    <a:pt x="1753866" y="29209"/>
                  </a:cubicBezTo>
                  <a:cubicBezTo>
                    <a:pt x="1758311" y="29209"/>
                    <a:pt x="1762756" y="29844"/>
                    <a:pt x="1765931" y="31749"/>
                  </a:cubicBezTo>
                  <a:cubicBezTo>
                    <a:pt x="1769106" y="33019"/>
                    <a:pt x="1772281" y="35559"/>
                    <a:pt x="1774821" y="38099"/>
                  </a:cubicBezTo>
                  <a:cubicBezTo>
                    <a:pt x="1777361" y="41274"/>
                    <a:pt x="1778631" y="44449"/>
                    <a:pt x="1779901" y="49529"/>
                  </a:cubicBezTo>
                  <a:cubicBezTo>
                    <a:pt x="1781171" y="53974"/>
                    <a:pt x="1781806" y="59054"/>
                    <a:pt x="1781806" y="64134"/>
                  </a:cubicBezTo>
                  <a:lnTo>
                    <a:pt x="1781806" y="108584"/>
                  </a:lnTo>
                  <a:lnTo>
                    <a:pt x="1766566" y="108584"/>
                  </a:lnTo>
                  <a:lnTo>
                    <a:pt x="1765931" y="108584"/>
                  </a:lnTo>
                  <a:lnTo>
                    <a:pt x="1765931" y="64769"/>
                  </a:lnTo>
                  <a:cubicBezTo>
                    <a:pt x="1765931" y="57784"/>
                    <a:pt x="1764661" y="52069"/>
                    <a:pt x="1762121" y="48894"/>
                  </a:cubicBezTo>
                  <a:cubicBezTo>
                    <a:pt x="1759581" y="45084"/>
                    <a:pt x="1755771" y="43814"/>
                    <a:pt x="1750056" y="43814"/>
                  </a:cubicBezTo>
                  <a:cubicBezTo>
                    <a:pt x="1747516" y="43814"/>
                    <a:pt x="1745611" y="43814"/>
                    <a:pt x="1743706" y="45084"/>
                  </a:cubicBezTo>
                  <a:cubicBezTo>
                    <a:pt x="1741801" y="45719"/>
                    <a:pt x="1739896" y="46989"/>
                    <a:pt x="1738626" y="48894"/>
                  </a:cubicBezTo>
                  <a:cubicBezTo>
                    <a:pt x="1737356" y="50799"/>
                    <a:pt x="1736086" y="52704"/>
                    <a:pt x="1735451" y="55244"/>
                  </a:cubicBezTo>
                  <a:cubicBezTo>
                    <a:pt x="1734816" y="57784"/>
                    <a:pt x="1734181" y="60324"/>
                    <a:pt x="1734181" y="63499"/>
                  </a:cubicBezTo>
                  <a:lnTo>
                    <a:pt x="1734181" y="109219"/>
                  </a:lnTo>
                  <a:lnTo>
                    <a:pt x="1718941" y="109219"/>
                  </a:lnTo>
                  <a:lnTo>
                    <a:pt x="1718941" y="8889"/>
                  </a:lnTo>
                  <a:close/>
                  <a:moveTo>
                    <a:pt x="803275" y="634"/>
                  </a:moveTo>
                  <a:lnTo>
                    <a:pt x="803275" y="38099"/>
                  </a:lnTo>
                  <a:cubicBezTo>
                    <a:pt x="803275" y="38099"/>
                    <a:pt x="805180" y="35559"/>
                    <a:pt x="807085" y="34289"/>
                  </a:cubicBezTo>
                  <a:cubicBezTo>
                    <a:pt x="808355" y="33019"/>
                    <a:pt x="810260" y="32384"/>
                    <a:pt x="811530" y="31114"/>
                  </a:cubicBezTo>
                  <a:cubicBezTo>
                    <a:pt x="813435" y="30479"/>
                    <a:pt x="815340" y="29844"/>
                    <a:pt x="817245" y="29209"/>
                  </a:cubicBezTo>
                  <a:cubicBezTo>
                    <a:pt x="819150" y="29209"/>
                    <a:pt x="821055" y="29209"/>
                    <a:pt x="822960" y="29209"/>
                  </a:cubicBezTo>
                  <a:cubicBezTo>
                    <a:pt x="827405" y="29209"/>
                    <a:pt x="831850" y="29844"/>
                    <a:pt x="835025" y="31749"/>
                  </a:cubicBezTo>
                  <a:cubicBezTo>
                    <a:pt x="838200" y="33019"/>
                    <a:pt x="841375" y="35559"/>
                    <a:pt x="843915" y="38099"/>
                  </a:cubicBezTo>
                  <a:cubicBezTo>
                    <a:pt x="846455" y="41274"/>
                    <a:pt x="847725" y="44449"/>
                    <a:pt x="848995" y="49529"/>
                  </a:cubicBezTo>
                  <a:cubicBezTo>
                    <a:pt x="850265" y="53974"/>
                    <a:pt x="850900" y="59054"/>
                    <a:pt x="850900" y="64134"/>
                  </a:cubicBezTo>
                  <a:lnTo>
                    <a:pt x="850900" y="108584"/>
                  </a:lnTo>
                  <a:lnTo>
                    <a:pt x="835660" y="108584"/>
                  </a:lnTo>
                  <a:lnTo>
                    <a:pt x="835025" y="108584"/>
                  </a:lnTo>
                  <a:lnTo>
                    <a:pt x="835025" y="64769"/>
                  </a:lnTo>
                  <a:cubicBezTo>
                    <a:pt x="835025" y="57784"/>
                    <a:pt x="833755" y="52069"/>
                    <a:pt x="831215" y="48894"/>
                  </a:cubicBezTo>
                  <a:cubicBezTo>
                    <a:pt x="828675" y="45084"/>
                    <a:pt x="824865" y="43814"/>
                    <a:pt x="819150" y="43814"/>
                  </a:cubicBezTo>
                  <a:cubicBezTo>
                    <a:pt x="816610" y="43814"/>
                    <a:pt x="814705" y="43814"/>
                    <a:pt x="812800" y="45084"/>
                  </a:cubicBezTo>
                  <a:cubicBezTo>
                    <a:pt x="810895" y="45719"/>
                    <a:pt x="808990" y="46989"/>
                    <a:pt x="807720" y="48894"/>
                  </a:cubicBezTo>
                  <a:cubicBezTo>
                    <a:pt x="806450" y="50799"/>
                    <a:pt x="805180" y="52704"/>
                    <a:pt x="804545" y="55244"/>
                  </a:cubicBezTo>
                  <a:cubicBezTo>
                    <a:pt x="803910" y="57784"/>
                    <a:pt x="803275" y="60324"/>
                    <a:pt x="803275" y="63499"/>
                  </a:cubicBezTo>
                  <a:lnTo>
                    <a:pt x="803275" y="109219"/>
                  </a:lnTo>
                  <a:lnTo>
                    <a:pt x="788035" y="109219"/>
                  </a:lnTo>
                  <a:lnTo>
                    <a:pt x="788035" y="8889"/>
                  </a:lnTo>
                  <a:close/>
                  <a:moveTo>
                    <a:pt x="104774" y="634"/>
                  </a:moveTo>
                  <a:lnTo>
                    <a:pt x="104774" y="38099"/>
                  </a:lnTo>
                  <a:cubicBezTo>
                    <a:pt x="104774" y="38099"/>
                    <a:pt x="106679" y="35559"/>
                    <a:pt x="108584" y="34289"/>
                  </a:cubicBezTo>
                  <a:cubicBezTo>
                    <a:pt x="109854" y="33019"/>
                    <a:pt x="111759" y="32384"/>
                    <a:pt x="113029" y="31114"/>
                  </a:cubicBezTo>
                  <a:cubicBezTo>
                    <a:pt x="114934" y="30479"/>
                    <a:pt x="116839" y="29844"/>
                    <a:pt x="118744" y="29209"/>
                  </a:cubicBezTo>
                  <a:cubicBezTo>
                    <a:pt x="120649" y="29209"/>
                    <a:pt x="122554" y="29209"/>
                    <a:pt x="124459" y="29209"/>
                  </a:cubicBezTo>
                  <a:cubicBezTo>
                    <a:pt x="128904" y="29209"/>
                    <a:pt x="133349" y="29844"/>
                    <a:pt x="136524" y="31749"/>
                  </a:cubicBezTo>
                  <a:cubicBezTo>
                    <a:pt x="139699" y="33019"/>
                    <a:pt x="142874" y="35559"/>
                    <a:pt x="145414" y="38099"/>
                  </a:cubicBezTo>
                  <a:cubicBezTo>
                    <a:pt x="147954" y="41274"/>
                    <a:pt x="149224" y="44449"/>
                    <a:pt x="150494" y="49529"/>
                  </a:cubicBezTo>
                  <a:cubicBezTo>
                    <a:pt x="151764" y="53974"/>
                    <a:pt x="152399" y="59054"/>
                    <a:pt x="152399" y="64134"/>
                  </a:cubicBezTo>
                  <a:lnTo>
                    <a:pt x="152399" y="108584"/>
                  </a:lnTo>
                  <a:lnTo>
                    <a:pt x="137159" y="108584"/>
                  </a:lnTo>
                  <a:lnTo>
                    <a:pt x="136524" y="108584"/>
                  </a:lnTo>
                  <a:lnTo>
                    <a:pt x="136524" y="64769"/>
                  </a:lnTo>
                  <a:cubicBezTo>
                    <a:pt x="136524" y="57784"/>
                    <a:pt x="135254" y="52069"/>
                    <a:pt x="132714" y="48894"/>
                  </a:cubicBezTo>
                  <a:cubicBezTo>
                    <a:pt x="130174" y="45084"/>
                    <a:pt x="126364" y="43814"/>
                    <a:pt x="120649" y="43814"/>
                  </a:cubicBezTo>
                  <a:cubicBezTo>
                    <a:pt x="118109" y="43814"/>
                    <a:pt x="116204" y="43814"/>
                    <a:pt x="114299" y="45084"/>
                  </a:cubicBezTo>
                  <a:cubicBezTo>
                    <a:pt x="112394" y="45719"/>
                    <a:pt x="110489" y="46989"/>
                    <a:pt x="109219" y="48894"/>
                  </a:cubicBezTo>
                  <a:cubicBezTo>
                    <a:pt x="107949" y="50799"/>
                    <a:pt x="106679" y="52704"/>
                    <a:pt x="106044" y="55244"/>
                  </a:cubicBezTo>
                  <a:cubicBezTo>
                    <a:pt x="105409" y="57784"/>
                    <a:pt x="104774" y="60324"/>
                    <a:pt x="104774" y="63499"/>
                  </a:cubicBezTo>
                  <a:lnTo>
                    <a:pt x="104774" y="109219"/>
                  </a:lnTo>
                  <a:lnTo>
                    <a:pt x="89534" y="109219"/>
                  </a:lnTo>
                  <a:lnTo>
                    <a:pt x="89534" y="8889"/>
                  </a:lnTo>
                  <a:close/>
                  <a:moveTo>
                    <a:pt x="3894450" y="0"/>
                  </a:moveTo>
                  <a:lnTo>
                    <a:pt x="3894450" y="30480"/>
                  </a:lnTo>
                  <a:lnTo>
                    <a:pt x="3913500" y="30480"/>
                  </a:lnTo>
                  <a:lnTo>
                    <a:pt x="3913500" y="44450"/>
                  </a:lnTo>
                  <a:lnTo>
                    <a:pt x="3894450" y="44450"/>
                  </a:lnTo>
                  <a:lnTo>
                    <a:pt x="3894450" y="86995"/>
                  </a:lnTo>
                  <a:cubicBezTo>
                    <a:pt x="3894450" y="86995"/>
                    <a:pt x="3894450" y="90170"/>
                    <a:pt x="3894450" y="91440"/>
                  </a:cubicBezTo>
                  <a:cubicBezTo>
                    <a:pt x="3894450" y="92710"/>
                    <a:pt x="3895085" y="93345"/>
                    <a:pt x="3895720" y="94615"/>
                  </a:cubicBezTo>
                  <a:cubicBezTo>
                    <a:pt x="3896355" y="95250"/>
                    <a:pt x="3896990" y="95885"/>
                    <a:pt x="3898260" y="95885"/>
                  </a:cubicBezTo>
                  <a:cubicBezTo>
                    <a:pt x="3899530" y="95885"/>
                    <a:pt x="3900800" y="95885"/>
                    <a:pt x="3902070" y="95885"/>
                  </a:cubicBezTo>
                  <a:cubicBezTo>
                    <a:pt x="3903975" y="95885"/>
                    <a:pt x="3905880" y="95885"/>
                    <a:pt x="3908420" y="95250"/>
                  </a:cubicBezTo>
                  <a:cubicBezTo>
                    <a:pt x="3910325" y="94615"/>
                    <a:pt x="3912230" y="93980"/>
                    <a:pt x="3913500" y="93345"/>
                  </a:cubicBezTo>
                  <a:lnTo>
                    <a:pt x="3911595" y="106680"/>
                  </a:lnTo>
                  <a:cubicBezTo>
                    <a:pt x="3911595" y="106680"/>
                    <a:pt x="3907785" y="108585"/>
                    <a:pt x="3905245" y="109220"/>
                  </a:cubicBezTo>
                  <a:cubicBezTo>
                    <a:pt x="3902705" y="109855"/>
                    <a:pt x="3900165" y="110490"/>
                    <a:pt x="3896990" y="110490"/>
                  </a:cubicBezTo>
                  <a:cubicBezTo>
                    <a:pt x="3894450" y="110490"/>
                    <a:pt x="3891910" y="110490"/>
                    <a:pt x="3890005" y="109220"/>
                  </a:cubicBezTo>
                  <a:cubicBezTo>
                    <a:pt x="3888100" y="108585"/>
                    <a:pt x="3886195" y="107315"/>
                    <a:pt x="3884290" y="105410"/>
                  </a:cubicBezTo>
                  <a:cubicBezTo>
                    <a:pt x="3882385" y="103505"/>
                    <a:pt x="3881115" y="101600"/>
                    <a:pt x="3880480" y="99060"/>
                  </a:cubicBezTo>
                  <a:cubicBezTo>
                    <a:pt x="3879845" y="96520"/>
                    <a:pt x="3879210" y="93345"/>
                    <a:pt x="3879210" y="89535"/>
                  </a:cubicBezTo>
                  <a:lnTo>
                    <a:pt x="3879210" y="44450"/>
                  </a:lnTo>
                  <a:lnTo>
                    <a:pt x="3868415" y="44450"/>
                  </a:lnTo>
                  <a:lnTo>
                    <a:pt x="3868415" y="30480"/>
                  </a:lnTo>
                  <a:lnTo>
                    <a:pt x="3879210" y="30480"/>
                  </a:lnTo>
                  <a:lnTo>
                    <a:pt x="3879210" y="8255"/>
                  </a:lnTo>
                  <a:close/>
                  <a:moveTo>
                    <a:pt x="3664581" y="0"/>
                  </a:moveTo>
                  <a:lnTo>
                    <a:pt x="3664581" y="30480"/>
                  </a:lnTo>
                  <a:lnTo>
                    <a:pt x="3683631" y="30480"/>
                  </a:lnTo>
                  <a:lnTo>
                    <a:pt x="3683631" y="44450"/>
                  </a:lnTo>
                  <a:lnTo>
                    <a:pt x="3664581" y="44450"/>
                  </a:lnTo>
                  <a:lnTo>
                    <a:pt x="3664581" y="86995"/>
                  </a:lnTo>
                  <a:cubicBezTo>
                    <a:pt x="3664581" y="86995"/>
                    <a:pt x="3664581" y="90170"/>
                    <a:pt x="3664581" y="91440"/>
                  </a:cubicBezTo>
                  <a:cubicBezTo>
                    <a:pt x="3664581" y="92710"/>
                    <a:pt x="3665216" y="93345"/>
                    <a:pt x="3665851" y="94615"/>
                  </a:cubicBezTo>
                  <a:cubicBezTo>
                    <a:pt x="3666486" y="95250"/>
                    <a:pt x="3667121" y="95885"/>
                    <a:pt x="3668391" y="95885"/>
                  </a:cubicBezTo>
                  <a:cubicBezTo>
                    <a:pt x="3669661" y="95885"/>
                    <a:pt x="3670931" y="95885"/>
                    <a:pt x="3672201" y="95885"/>
                  </a:cubicBezTo>
                  <a:cubicBezTo>
                    <a:pt x="3674106" y="95885"/>
                    <a:pt x="3676011" y="95885"/>
                    <a:pt x="3678551" y="95250"/>
                  </a:cubicBezTo>
                  <a:cubicBezTo>
                    <a:pt x="3680456" y="94615"/>
                    <a:pt x="3682361" y="93980"/>
                    <a:pt x="3683631" y="93345"/>
                  </a:cubicBezTo>
                  <a:lnTo>
                    <a:pt x="3681726" y="106680"/>
                  </a:lnTo>
                  <a:cubicBezTo>
                    <a:pt x="3681726" y="106680"/>
                    <a:pt x="3677916" y="108585"/>
                    <a:pt x="3675376" y="109220"/>
                  </a:cubicBezTo>
                  <a:cubicBezTo>
                    <a:pt x="3672836" y="109855"/>
                    <a:pt x="3670296" y="110490"/>
                    <a:pt x="3667121" y="110490"/>
                  </a:cubicBezTo>
                  <a:cubicBezTo>
                    <a:pt x="3664581" y="110490"/>
                    <a:pt x="3662041" y="110490"/>
                    <a:pt x="3660136" y="109220"/>
                  </a:cubicBezTo>
                  <a:cubicBezTo>
                    <a:pt x="3658231" y="108585"/>
                    <a:pt x="3656326" y="107315"/>
                    <a:pt x="3654421" y="105410"/>
                  </a:cubicBezTo>
                  <a:cubicBezTo>
                    <a:pt x="3652516" y="103505"/>
                    <a:pt x="3651246" y="101600"/>
                    <a:pt x="3650611" y="99060"/>
                  </a:cubicBezTo>
                  <a:cubicBezTo>
                    <a:pt x="3649976" y="96520"/>
                    <a:pt x="3649341" y="93345"/>
                    <a:pt x="3649341" y="89535"/>
                  </a:cubicBezTo>
                  <a:lnTo>
                    <a:pt x="3649341" y="44450"/>
                  </a:lnTo>
                  <a:lnTo>
                    <a:pt x="3638546" y="44450"/>
                  </a:lnTo>
                  <a:lnTo>
                    <a:pt x="3638546" y="30480"/>
                  </a:lnTo>
                  <a:lnTo>
                    <a:pt x="3649341" y="30480"/>
                  </a:lnTo>
                  <a:lnTo>
                    <a:pt x="3649341" y="8255"/>
                  </a:lnTo>
                  <a:close/>
                  <a:moveTo>
                    <a:pt x="3610605" y="0"/>
                  </a:moveTo>
                  <a:lnTo>
                    <a:pt x="3610605" y="30480"/>
                  </a:lnTo>
                  <a:lnTo>
                    <a:pt x="3629655" y="30480"/>
                  </a:lnTo>
                  <a:lnTo>
                    <a:pt x="3629655" y="44450"/>
                  </a:lnTo>
                  <a:lnTo>
                    <a:pt x="3610605" y="44450"/>
                  </a:lnTo>
                  <a:lnTo>
                    <a:pt x="3610605" y="86995"/>
                  </a:lnTo>
                  <a:cubicBezTo>
                    <a:pt x="3610605" y="86995"/>
                    <a:pt x="3610605" y="90170"/>
                    <a:pt x="3610605" y="91440"/>
                  </a:cubicBezTo>
                  <a:cubicBezTo>
                    <a:pt x="3610605" y="92710"/>
                    <a:pt x="3611240" y="93345"/>
                    <a:pt x="3611875" y="94615"/>
                  </a:cubicBezTo>
                  <a:cubicBezTo>
                    <a:pt x="3612510" y="95250"/>
                    <a:pt x="3613145" y="95885"/>
                    <a:pt x="3614415" y="95885"/>
                  </a:cubicBezTo>
                  <a:cubicBezTo>
                    <a:pt x="3615685" y="95885"/>
                    <a:pt x="3616955" y="95885"/>
                    <a:pt x="3618225" y="95885"/>
                  </a:cubicBezTo>
                  <a:cubicBezTo>
                    <a:pt x="3620130" y="95885"/>
                    <a:pt x="3622035" y="95885"/>
                    <a:pt x="3624575" y="95250"/>
                  </a:cubicBezTo>
                  <a:cubicBezTo>
                    <a:pt x="3626480" y="94615"/>
                    <a:pt x="3628385" y="93980"/>
                    <a:pt x="3629655" y="93345"/>
                  </a:cubicBezTo>
                  <a:lnTo>
                    <a:pt x="3627750" y="106680"/>
                  </a:lnTo>
                  <a:cubicBezTo>
                    <a:pt x="3627750" y="106680"/>
                    <a:pt x="3623940" y="108585"/>
                    <a:pt x="3621400" y="109220"/>
                  </a:cubicBezTo>
                  <a:cubicBezTo>
                    <a:pt x="3618860" y="109855"/>
                    <a:pt x="3616320" y="110490"/>
                    <a:pt x="3613145" y="110490"/>
                  </a:cubicBezTo>
                  <a:cubicBezTo>
                    <a:pt x="3610605" y="110490"/>
                    <a:pt x="3608065" y="110490"/>
                    <a:pt x="3606160" y="109220"/>
                  </a:cubicBezTo>
                  <a:cubicBezTo>
                    <a:pt x="3604255" y="108585"/>
                    <a:pt x="3602350" y="107315"/>
                    <a:pt x="3600445" y="105410"/>
                  </a:cubicBezTo>
                  <a:cubicBezTo>
                    <a:pt x="3598540" y="103505"/>
                    <a:pt x="3597270" y="101600"/>
                    <a:pt x="3596635" y="99060"/>
                  </a:cubicBezTo>
                  <a:cubicBezTo>
                    <a:pt x="3596000" y="96520"/>
                    <a:pt x="3595365" y="93345"/>
                    <a:pt x="3595365" y="89535"/>
                  </a:cubicBezTo>
                  <a:lnTo>
                    <a:pt x="3595365" y="44450"/>
                  </a:lnTo>
                  <a:lnTo>
                    <a:pt x="3584570" y="44450"/>
                  </a:lnTo>
                  <a:lnTo>
                    <a:pt x="3584570" y="30480"/>
                  </a:lnTo>
                  <a:lnTo>
                    <a:pt x="3595365" y="30480"/>
                  </a:lnTo>
                  <a:lnTo>
                    <a:pt x="3595365" y="8255"/>
                  </a:lnTo>
                  <a:close/>
                  <a:moveTo>
                    <a:pt x="3445505" y="0"/>
                  </a:moveTo>
                  <a:lnTo>
                    <a:pt x="3445505" y="37465"/>
                  </a:lnTo>
                  <a:cubicBezTo>
                    <a:pt x="3445505" y="37465"/>
                    <a:pt x="3448680" y="34925"/>
                    <a:pt x="3449950" y="33655"/>
                  </a:cubicBezTo>
                  <a:cubicBezTo>
                    <a:pt x="3451220" y="33020"/>
                    <a:pt x="3452490" y="31750"/>
                    <a:pt x="3453760" y="31115"/>
                  </a:cubicBezTo>
                  <a:cubicBezTo>
                    <a:pt x="3455030" y="30480"/>
                    <a:pt x="3456935" y="29845"/>
                    <a:pt x="3458840" y="29210"/>
                  </a:cubicBezTo>
                  <a:cubicBezTo>
                    <a:pt x="3460745" y="29210"/>
                    <a:pt x="3463285" y="28575"/>
                    <a:pt x="3465825" y="28575"/>
                  </a:cubicBezTo>
                  <a:cubicBezTo>
                    <a:pt x="3470270" y="28575"/>
                    <a:pt x="3474080" y="29210"/>
                    <a:pt x="3477890" y="31115"/>
                  </a:cubicBezTo>
                  <a:cubicBezTo>
                    <a:pt x="3481700" y="32385"/>
                    <a:pt x="3484875" y="34925"/>
                    <a:pt x="3487415" y="38735"/>
                  </a:cubicBezTo>
                  <a:cubicBezTo>
                    <a:pt x="3489955" y="41910"/>
                    <a:pt x="3492495" y="46355"/>
                    <a:pt x="3493765" y="51435"/>
                  </a:cubicBezTo>
                  <a:cubicBezTo>
                    <a:pt x="3495035" y="56515"/>
                    <a:pt x="3496305" y="62865"/>
                    <a:pt x="3496305" y="70485"/>
                  </a:cubicBezTo>
                  <a:lnTo>
                    <a:pt x="3495670" y="71120"/>
                  </a:lnTo>
                  <a:cubicBezTo>
                    <a:pt x="3495670" y="77470"/>
                    <a:pt x="3495035" y="83820"/>
                    <a:pt x="3493130" y="88265"/>
                  </a:cubicBezTo>
                  <a:cubicBezTo>
                    <a:pt x="3491225" y="93345"/>
                    <a:pt x="3489320" y="97155"/>
                    <a:pt x="3486145" y="100330"/>
                  </a:cubicBezTo>
                  <a:cubicBezTo>
                    <a:pt x="3483605" y="103505"/>
                    <a:pt x="3479795" y="106045"/>
                    <a:pt x="3476620" y="107315"/>
                  </a:cubicBezTo>
                  <a:cubicBezTo>
                    <a:pt x="3472810" y="109220"/>
                    <a:pt x="3469000" y="109855"/>
                    <a:pt x="3465190" y="109855"/>
                  </a:cubicBezTo>
                  <a:cubicBezTo>
                    <a:pt x="3461380" y="109855"/>
                    <a:pt x="3457570" y="109220"/>
                    <a:pt x="3454395" y="107315"/>
                  </a:cubicBezTo>
                  <a:cubicBezTo>
                    <a:pt x="3450585" y="105410"/>
                    <a:pt x="3448045" y="103505"/>
                    <a:pt x="3445505" y="100965"/>
                  </a:cubicBezTo>
                  <a:lnTo>
                    <a:pt x="3445505" y="107950"/>
                  </a:lnTo>
                  <a:lnTo>
                    <a:pt x="3430265" y="107950"/>
                  </a:lnTo>
                  <a:lnTo>
                    <a:pt x="3430265" y="7620"/>
                  </a:lnTo>
                  <a:close/>
                  <a:moveTo>
                    <a:pt x="2380611" y="0"/>
                  </a:moveTo>
                  <a:lnTo>
                    <a:pt x="2380611" y="30480"/>
                  </a:lnTo>
                  <a:lnTo>
                    <a:pt x="2399661" y="30480"/>
                  </a:lnTo>
                  <a:lnTo>
                    <a:pt x="2399661" y="44450"/>
                  </a:lnTo>
                  <a:lnTo>
                    <a:pt x="2380611" y="44450"/>
                  </a:lnTo>
                  <a:lnTo>
                    <a:pt x="2380611" y="86995"/>
                  </a:lnTo>
                  <a:cubicBezTo>
                    <a:pt x="2380611" y="86995"/>
                    <a:pt x="2380611" y="90170"/>
                    <a:pt x="2380611" y="91440"/>
                  </a:cubicBezTo>
                  <a:cubicBezTo>
                    <a:pt x="2380611" y="92710"/>
                    <a:pt x="2381246" y="93345"/>
                    <a:pt x="2381881" y="94615"/>
                  </a:cubicBezTo>
                  <a:cubicBezTo>
                    <a:pt x="2382516" y="95250"/>
                    <a:pt x="2383151" y="95885"/>
                    <a:pt x="2384421" y="95885"/>
                  </a:cubicBezTo>
                  <a:cubicBezTo>
                    <a:pt x="2385691" y="95885"/>
                    <a:pt x="2386961" y="95885"/>
                    <a:pt x="2388231" y="95885"/>
                  </a:cubicBezTo>
                  <a:cubicBezTo>
                    <a:pt x="2390136" y="95885"/>
                    <a:pt x="2392041" y="95885"/>
                    <a:pt x="2394581" y="95250"/>
                  </a:cubicBezTo>
                  <a:cubicBezTo>
                    <a:pt x="2396486" y="94615"/>
                    <a:pt x="2398391" y="93980"/>
                    <a:pt x="2399661" y="93345"/>
                  </a:cubicBezTo>
                  <a:lnTo>
                    <a:pt x="2397756" y="106680"/>
                  </a:lnTo>
                  <a:cubicBezTo>
                    <a:pt x="2397756" y="106680"/>
                    <a:pt x="2393946" y="108585"/>
                    <a:pt x="2391406" y="109220"/>
                  </a:cubicBezTo>
                  <a:cubicBezTo>
                    <a:pt x="2388866" y="109855"/>
                    <a:pt x="2386326" y="110490"/>
                    <a:pt x="2383151" y="110490"/>
                  </a:cubicBezTo>
                  <a:cubicBezTo>
                    <a:pt x="2380611" y="110490"/>
                    <a:pt x="2378071" y="110490"/>
                    <a:pt x="2376166" y="109220"/>
                  </a:cubicBezTo>
                  <a:cubicBezTo>
                    <a:pt x="2374261" y="108585"/>
                    <a:pt x="2372356" y="107315"/>
                    <a:pt x="2370451" y="105410"/>
                  </a:cubicBezTo>
                  <a:cubicBezTo>
                    <a:pt x="2368546" y="103505"/>
                    <a:pt x="2367276" y="101600"/>
                    <a:pt x="2366641" y="99060"/>
                  </a:cubicBezTo>
                  <a:cubicBezTo>
                    <a:pt x="2366006" y="96520"/>
                    <a:pt x="2365371" y="93345"/>
                    <a:pt x="2365371" y="89535"/>
                  </a:cubicBezTo>
                  <a:lnTo>
                    <a:pt x="2365371" y="44450"/>
                  </a:lnTo>
                  <a:lnTo>
                    <a:pt x="2354576" y="44450"/>
                  </a:lnTo>
                  <a:lnTo>
                    <a:pt x="2354576" y="30480"/>
                  </a:lnTo>
                  <a:lnTo>
                    <a:pt x="2365371" y="30480"/>
                  </a:lnTo>
                  <a:lnTo>
                    <a:pt x="2365371" y="8255"/>
                  </a:lnTo>
                  <a:close/>
                  <a:moveTo>
                    <a:pt x="2150741" y="0"/>
                  </a:moveTo>
                  <a:lnTo>
                    <a:pt x="2150741" y="30480"/>
                  </a:lnTo>
                  <a:lnTo>
                    <a:pt x="2169791" y="30480"/>
                  </a:lnTo>
                  <a:lnTo>
                    <a:pt x="2169791" y="44450"/>
                  </a:lnTo>
                  <a:lnTo>
                    <a:pt x="2150741" y="44450"/>
                  </a:lnTo>
                  <a:lnTo>
                    <a:pt x="2150741" y="86995"/>
                  </a:lnTo>
                  <a:cubicBezTo>
                    <a:pt x="2150741" y="86995"/>
                    <a:pt x="2150741" y="90170"/>
                    <a:pt x="2150741" y="91440"/>
                  </a:cubicBezTo>
                  <a:cubicBezTo>
                    <a:pt x="2150741" y="92710"/>
                    <a:pt x="2151376" y="93345"/>
                    <a:pt x="2152011" y="94615"/>
                  </a:cubicBezTo>
                  <a:cubicBezTo>
                    <a:pt x="2152646" y="95250"/>
                    <a:pt x="2153281" y="95885"/>
                    <a:pt x="2154551" y="95885"/>
                  </a:cubicBezTo>
                  <a:cubicBezTo>
                    <a:pt x="2155821" y="95885"/>
                    <a:pt x="2157091" y="95885"/>
                    <a:pt x="2158361" y="95885"/>
                  </a:cubicBezTo>
                  <a:cubicBezTo>
                    <a:pt x="2160266" y="95885"/>
                    <a:pt x="2162171" y="95885"/>
                    <a:pt x="2164711" y="95250"/>
                  </a:cubicBezTo>
                  <a:cubicBezTo>
                    <a:pt x="2166616" y="94615"/>
                    <a:pt x="2168521" y="93980"/>
                    <a:pt x="2169791" y="93345"/>
                  </a:cubicBezTo>
                  <a:lnTo>
                    <a:pt x="2167886" y="106680"/>
                  </a:lnTo>
                  <a:cubicBezTo>
                    <a:pt x="2167886" y="106680"/>
                    <a:pt x="2164076" y="108585"/>
                    <a:pt x="2161536" y="109220"/>
                  </a:cubicBezTo>
                  <a:cubicBezTo>
                    <a:pt x="2158996" y="109855"/>
                    <a:pt x="2156456" y="110490"/>
                    <a:pt x="2153281" y="110490"/>
                  </a:cubicBezTo>
                  <a:cubicBezTo>
                    <a:pt x="2150741" y="110490"/>
                    <a:pt x="2148201" y="110490"/>
                    <a:pt x="2146296" y="109220"/>
                  </a:cubicBezTo>
                  <a:cubicBezTo>
                    <a:pt x="2144391" y="108585"/>
                    <a:pt x="2142486" y="107315"/>
                    <a:pt x="2140581" y="105410"/>
                  </a:cubicBezTo>
                  <a:cubicBezTo>
                    <a:pt x="2138676" y="103505"/>
                    <a:pt x="2137406" y="101600"/>
                    <a:pt x="2136771" y="99060"/>
                  </a:cubicBezTo>
                  <a:cubicBezTo>
                    <a:pt x="2136136" y="96520"/>
                    <a:pt x="2135501" y="93345"/>
                    <a:pt x="2135501" y="89535"/>
                  </a:cubicBezTo>
                  <a:lnTo>
                    <a:pt x="2135501" y="44450"/>
                  </a:lnTo>
                  <a:lnTo>
                    <a:pt x="2124706" y="44450"/>
                  </a:lnTo>
                  <a:lnTo>
                    <a:pt x="2124706" y="30480"/>
                  </a:lnTo>
                  <a:lnTo>
                    <a:pt x="2135501" y="30480"/>
                  </a:lnTo>
                  <a:lnTo>
                    <a:pt x="2135501" y="8255"/>
                  </a:lnTo>
                  <a:close/>
                  <a:moveTo>
                    <a:pt x="2096131" y="0"/>
                  </a:moveTo>
                  <a:lnTo>
                    <a:pt x="2096131" y="30480"/>
                  </a:lnTo>
                  <a:lnTo>
                    <a:pt x="2115181" y="30480"/>
                  </a:lnTo>
                  <a:lnTo>
                    <a:pt x="2115181" y="44450"/>
                  </a:lnTo>
                  <a:lnTo>
                    <a:pt x="2096131" y="44450"/>
                  </a:lnTo>
                  <a:lnTo>
                    <a:pt x="2096131" y="86995"/>
                  </a:lnTo>
                  <a:cubicBezTo>
                    <a:pt x="2096131" y="86995"/>
                    <a:pt x="2096131" y="90170"/>
                    <a:pt x="2096131" y="91440"/>
                  </a:cubicBezTo>
                  <a:cubicBezTo>
                    <a:pt x="2096131" y="92710"/>
                    <a:pt x="2096766" y="93345"/>
                    <a:pt x="2097401" y="94615"/>
                  </a:cubicBezTo>
                  <a:cubicBezTo>
                    <a:pt x="2098036" y="95250"/>
                    <a:pt x="2098671" y="95885"/>
                    <a:pt x="2099941" y="95885"/>
                  </a:cubicBezTo>
                  <a:cubicBezTo>
                    <a:pt x="2101211" y="95885"/>
                    <a:pt x="2102481" y="95885"/>
                    <a:pt x="2103751" y="95885"/>
                  </a:cubicBezTo>
                  <a:cubicBezTo>
                    <a:pt x="2105656" y="95885"/>
                    <a:pt x="2107561" y="95885"/>
                    <a:pt x="2110101" y="95250"/>
                  </a:cubicBezTo>
                  <a:cubicBezTo>
                    <a:pt x="2112006" y="94615"/>
                    <a:pt x="2113911" y="93980"/>
                    <a:pt x="2115181" y="93345"/>
                  </a:cubicBezTo>
                  <a:lnTo>
                    <a:pt x="2113276" y="106680"/>
                  </a:lnTo>
                  <a:cubicBezTo>
                    <a:pt x="2113276" y="106680"/>
                    <a:pt x="2109466" y="108585"/>
                    <a:pt x="2106926" y="109220"/>
                  </a:cubicBezTo>
                  <a:cubicBezTo>
                    <a:pt x="2104386" y="109855"/>
                    <a:pt x="2101846" y="110490"/>
                    <a:pt x="2098671" y="110490"/>
                  </a:cubicBezTo>
                  <a:cubicBezTo>
                    <a:pt x="2096131" y="110490"/>
                    <a:pt x="2093591" y="110490"/>
                    <a:pt x="2091686" y="109220"/>
                  </a:cubicBezTo>
                  <a:cubicBezTo>
                    <a:pt x="2089781" y="108585"/>
                    <a:pt x="2087876" y="107315"/>
                    <a:pt x="2085971" y="105410"/>
                  </a:cubicBezTo>
                  <a:cubicBezTo>
                    <a:pt x="2084066" y="103505"/>
                    <a:pt x="2082796" y="101600"/>
                    <a:pt x="2082161" y="99060"/>
                  </a:cubicBezTo>
                  <a:cubicBezTo>
                    <a:pt x="2081526" y="96520"/>
                    <a:pt x="2080891" y="93345"/>
                    <a:pt x="2080891" y="89535"/>
                  </a:cubicBezTo>
                  <a:lnTo>
                    <a:pt x="2080891" y="44450"/>
                  </a:lnTo>
                  <a:lnTo>
                    <a:pt x="2070096" y="44450"/>
                  </a:lnTo>
                  <a:lnTo>
                    <a:pt x="2070096" y="30480"/>
                  </a:lnTo>
                  <a:lnTo>
                    <a:pt x="2080891" y="30480"/>
                  </a:lnTo>
                  <a:lnTo>
                    <a:pt x="2080891" y="8255"/>
                  </a:lnTo>
                  <a:close/>
                  <a:moveTo>
                    <a:pt x="1931665" y="0"/>
                  </a:moveTo>
                  <a:lnTo>
                    <a:pt x="1931665" y="37465"/>
                  </a:lnTo>
                  <a:cubicBezTo>
                    <a:pt x="1931665" y="37465"/>
                    <a:pt x="1934840" y="34925"/>
                    <a:pt x="1936110" y="33655"/>
                  </a:cubicBezTo>
                  <a:cubicBezTo>
                    <a:pt x="1937380" y="33020"/>
                    <a:pt x="1938650" y="31750"/>
                    <a:pt x="1939920" y="31115"/>
                  </a:cubicBezTo>
                  <a:cubicBezTo>
                    <a:pt x="1941190" y="30480"/>
                    <a:pt x="1943095" y="29845"/>
                    <a:pt x="1945000" y="29210"/>
                  </a:cubicBezTo>
                  <a:cubicBezTo>
                    <a:pt x="1946905" y="29210"/>
                    <a:pt x="1949445" y="28575"/>
                    <a:pt x="1951985" y="28575"/>
                  </a:cubicBezTo>
                  <a:cubicBezTo>
                    <a:pt x="1956430" y="28575"/>
                    <a:pt x="1960240" y="29210"/>
                    <a:pt x="1964050" y="31115"/>
                  </a:cubicBezTo>
                  <a:cubicBezTo>
                    <a:pt x="1967860" y="32385"/>
                    <a:pt x="1971035" y="34925"/>
                    <a:pt x="1973575" y="38735"/>
                  </a:cubicBezTo>
                  <a:cubicBezTo>
                    <a:pt x="1976115" y="41910"/>
                    <a:pt x="1978655" y="46355"/>
                    <a:pt x="1979925" y="51435"/>
                  </a:cubicBezTo>
                  <a:cubicBezTo>
                    <a:pt x="1981195" y="56515"/>
                    <a:pt x="1982465" y="62865"/>
                    <a:pt x="1982465" y="70485"/>
                  </a:cubicBezTo>
                  <a:lnTo>
                    <a:pt x="1981830" y="71120"/>
                  </a:lnTo>
                  <a:cubicBezTo>
                    <a:pt x="1981830" y="77470"/>
                    <a:pt x="1981195" y="83820"/>
                    <a:pt x="1979290" y="88265"/>
                  </a:cubicBezTo>
                  <a:cubicBezTo>
                    <a:pt x="1977385" y="93345"/>
                    <a:pt x="1975480" y="97155"/>
                    <a:pt x="1972305" y="100330"/>
                  </a:cubicBezTo>
                  <a:cubicBezTo>
                    <a:pt x="1969765" y="103505"/>
                    <a:pt x="1965955" y="106045"/>
                    <a:pt x="1962780" y="107315"/>
                  </a:cubicBezTo>
                  <a:cubicBezTo>
                    <a:pt x="1958970" y="109220"/>
                    <a:pt x="1955160" y="109855"/>
                    <a:pt x="1951350" y="109855"/>
                  </a:cubicBezTo>
                  <a:cubicBezTo>
                    <a:pt x="1947540" y="109855"/>
                    <a:pt x="1943730" y="109220"/>
                    <a:pt x="1940555" y="107315"/>
                  </a:cubicBezTo>
                  <a:cubicBezTo>
                    <a:pt x="1936745" y="105410"/>
                    <a:pt x="1934205" y="103505"/>
                    <a:pt x="1931665" y="100965"/>
                  </a:cubicBezTo>
                  <a:lnTo>
                    <a:pt x="1931665" y="107950"/>
                  </a:lnTo>
                  <a:lnTo>
                    <a:pt x="1916425" y="107950"/>
                  </a:lnTo>
                  <a:lnTo>
                    <a:pt x="1916425" y="7620"/>
                  </a:lnTo>
                  <a:close/>
                  <a:moveTo>
                    <a:pt x="1316991" y="0"/>
                  </a:moveTo>
                  <a:lnTo>
                    <a:pt x="1316991" y="30480"/>
                  </a:lnTo>
                  <a:lnTo>
                    <a:pt x="1336041" y="30480"/>
                  </a:lnTo>
                  <a:lnTo>
                    <a:pt x="1336041" y="44450"/>
                  </a:lnTo>
                  <a:lnTo>
                    <a:pt x="1316991" y="44450"/>
                  </a:lnTo>
                  <a:lnTo>
                    <a:pt x="1316991" y="86995"/>
                  </a:lnTo>
                  <a:cubicBezTo>
                    <a:pt x="1316991" y="86995"/>
                    <a:pt x="1316991" y="90170"/>
                    <a:pt x="1316991" y="91440"/>
                  </a:cubicBezTo>
                  <a:cubicBezTo>
                    <a:pt x="1316991" y="92710"/>
                    <a:pt x="1317627" y="93345"/>
                    <a:pt x="1318261" y="94615"/>
                  </a:cubicBezTo>
                  <a:cubicBezTo>
                    <a:pt x="1318896" y="95250"/>
                    <a:pt x="1319531" y="95885"/>
                    <a:pt x="1320801" y="95885"/>
                  </a:cubicBezTo>
                  <a:cubicBezTo>
                    <a:pt x="1322072" y="95885"/>
                    <a:pt x="1323341" y="95885"/>
                    <a:pt x="1324611" y="95885"/>
                  </a:cubicBezTo>
                  <a:cubicBezTo>
                    <a:pt x="1326516" y="95885"/>
                    <a:pt x="1328422" y="95885"/>
                    <a:pt x="1330961" y="95250"/>
                  </a:cubicBezTo>
                  <a:cubicBezTo>
                    <a:pt x="1332867" y="94615"/>
                    <a:pt x="1334772" y="93980"/>
                    <a:pt x="1336041" y="93345"/>
                  </a:cubicBezTo>
                  <a:lnTo>
                    <a:pt x="1334136" y="106680"/>
                  </a:lnTo>
                  <a:cubicBezTo>
                    <a:pt x="1334136" y="106680"/>
                    <a:pt x="1330326" y="108585"/>
                    <a:pt x="1327786" y="109220"/>
                  </a:cubicBezTo>
                  <a:cubicBezTo>
                    <a:pt x="1325246" y="109855"/>
                    <a:pt x="1322706" y="110490"/>
                    <a:pt x="1319531" y="110490"/>
                  </a:cubicBezTo>
                  <a:cubicBezTo>
                    <a:pt x="1316991" y="110490"/>
                    <a:pt x="1314451" y="110490"/>
                    <a:pt x="1312546" y="109220"/>
                  </a:cubicBezTo>
                  <a:cubicBezTo>
                    <a:pt x="1310641" y="108585"/>
                    <a:pt x="1308736" y="107315"/>
                    <a:pt x="1306831" y="105410"/>
                  </a:cubicBezTo>
                  <a:cubicBezTo>
                    <a:pt x="1304926" y="103505"/>
                    <a:pt x="1303656" y="101600"/>
                    <a:pt x="1303021" y="99060"/>
                  </a:cubicBezTo>
                  <a:cubicBezTo>
                    <a:pt x="1302386" y="96520"/>
                    <a:pt x="1301751" y="93345"/>
                    <a:pt x="1301751" y="89535"/>
                  </a:cubicBezTo>
                  <a:lnTo>
                    <a:pt x="1301751" y="44450"/>
                  </a:lnTo>
                  <a:lnTo>
                    <a:pt x="1290956" y="44450"/>
                  </a:lnTo>
                  <a:lnTo>
                    <a:pt x="1290956" y="30480"/>
                  </a:lnTo>
                  <a:lnTo>
                    <a:pt x="1301751" y="30480"/>
                  </a:lnTo>
                  <a:lnTo>
                    <a:pt x="1301751" y="8255"/>
                  </a:lnTo>
                  <a:close/>
                  <a:moveTo>
                    <a:pt x="751206" y="0"/>
                  </a:moveTo>
                  <a:lnTo>
                    <a:pt x="751206" y="30480"/>
                  </a:lnTo>
                  <a:lnTo>
                    <a:pt x="770256" y="30480"/>
                  </a:lnTo>
                  <a:lnTo>
                    <a:pt x="770256" y="44450"/>
                  </a:lnTo>
                  <a:lnTo>
                    <a:pt x="751206" y="44450"/>
                  </a:lnTo>
                  <a:lnTo>
                    <a:pt x="751206" y="86995"/>
                  </a:lnTo>
                  <a:cubicBezTo>
                    <a:pt x="751206" y="86995"/>
                    <a:pt x="751206" y="90170"/>
                    <a:pt x="751206" y="91440"/>
                  </a:cubicBezTo>
                  <a:cubicBezTo>
                    <a:pt x="751206" y="92710"/>
                    <a:pt x="751841" y="93345"/>
                    <a:pt x="752476" y="94615"/>
                  </a:cubicBezTo>
                  <a:cubicBezTo>
                    <a:pt x="753111" y="95250"/>
                    <a:pt x="753746" y="95885"/>
                    <a:pt x="755016" y="95885"/>
                  </a:cubicBezTo>
                  <a:cubicBezTo>
                    <a:pt x="756286" y="95885"/>
                    <a:pt x="757556" y="95885"/>
                    <a:pt x="758826" y="95885"/>
                  </a:cubicBezTo>
                  <a:cubicBezTo>
                    <a:pt x="760731" y="95885"/>
                    <a:pt x="762636" y="95885"/>
                    <a:pt x="765176" y="95250"/>
                  </a:cubicBezTo>
                  <a:cubicBezTo>
                    <a:pt x="767081" y="94615"/>
                    <a:pt x="768986" y="93980"/>
                    <a:pt x="770256" y="93345"/>
                  </a:cubicBezTo>
                  <a:lnTo>
                    <a:pt x="768351" y="106680"/>
                  </a:lnTo>
                  <a:cubicBezTo>
                    <a:pt x="768351" y="106680"/>
                    <a:pt x="764541" y="108585"/>
                    <a:pt x="762001" y="109220"/>
                  </a:cubicBezTo>
                  <a:cubicBezTo>
                    <a:pt x="759461" y="109855"/>
                    <a:pt x="756921" y="110490"/>
                    <a:pt x="753746" y="110490"/>
                  </a:cubicBezTo>
                  <a:cubicBezTo>
                    <a:pt x="751206" y="110490"/>
                    <a:pt x="748666" y="110490"/>
                    <a:pt x="746761" y="109220"/>
                  </a:cubicBezTo>
                  <a:cubicBezTo>
                    <a:pt x="744856" y="108585"/>
                    <a:pt x="742951" y="107315"/>
                    <a:pt x="741045" y="105410"/>
                  </a:cubicBezTo>
                  <a:cubicBezTo>
                    <a:pt x="739141" y="103505"/>
                    <a:pt x="737871" y="101600"/>
                    <a:pt x="737236" y="99060"/>
                  </a:cubicBezTo>
                  <a:cubicBezTo>
                    <a:pt x="736600" y="96520"/>
                    <a:pt x="735966" y="93345"/>
                    <a:pt x="735966" y="89535"/>
                  </a:cubicBezTo>
                  <a:lnTo>
                    <a:pt x="735966" y="44450"/>
                  </a:lnTo>
                  <a:lnTo>
                    <a:pt x="725171" y="44450"/>
                  </a:lnTo>
                  <a:lnTo>
                    <a:pt x="725171" y="30480"/>
                  </a:lnTo>
                  <a:lnTo>
                    <a:pt x="735966" y="30480"/>
                  </a:lnTo>
                  <a:lnTo>
                    <a:pt x="735966" y="8255"/>
                  </a:lnTo>
                  <a:close/>
                  <a:moveTo>
                    <a:pt x="521335" y="0"/>
                  </a:moveTo>
                  <a:lnTo>
                    <a:pt x="521335" y="30480"/>
                  </a:lnTo>
                  <a:lnTo>
                    <a:pt x="540385" y="30480"/>
                  </a:lnTo>
                  <a:lnTo>
                    <a:pt x="540385" y="44450"/>
                  </a:lnTo>
                  <a:lnTo>
                    <a:pt x="521335" y="44450"/>
                  </a:lnTo>
                  <a:lnTo>
                    <a:pt x="521335" y="86995"/>
                  </a:lnTo>
                  <a:cubicBezTo>
                    <a:pt x="521335" y="86995"/>
                    <a:pt x="521335" y="90170"/>
                    <a:pt x="521335" y="91440"/>
                  </a:cubicBezTo>
                  <a:cubicBezTo>
                    <a:pt x="521335" y="92710"/>
                    <a:pt x="521970" y="93345"/>
                    <a:pt x="522605" y="94615"/>
                  </a:cubicBezTo>
                  <a:cubicBezTo>
                    <a:pt x="523240" y="95250"/>
                    <a:pt x="523875" y="95885"/>
                    <a:pt x="525145" y="95885"/>
                  </a:cubicBezTo>
                  <a:cubicBezTo>
                    <a:pt x="526415" y="95885"/>
                    <a:pt x="527685" y="95885"/>
                    <a:pt x="528955" y="95885"/>
                  </a:cubicBezTo>
                  <a:cubicBezTo>
                    <a:pt x="530860" y="95885"/>
                    <a:pt x="532765" y="95885"/>
                    <a:pt x="535305" y="95250"/>
                  </a:cubicBezTo>
                  <a:cubicBezTo>
                    <a:pt x="537210" y="94615"/>
                    <a:pt x="539115" y="93980"/>
                    <a:pt x="540385" y="93345"/>
                  </a:cubicBezTo>
                  <a:lnTo>
                    <a:pt x="538480" y="106680"/>
                  </a:lnTo>
                  <a:cubicBezTo>
                    <a:pt x="538480" y="106680"/>
                    <a:pt x="534670" y="108585"/>
                    <a:pt x="532130" y="109220"/>
                  </a:cubicBezTo>
                  <a:cubicBezTo>
                    <a:pt x="529590" y="109855"/>
                    <a:pt x="527050" y="110490"/>
                    <a:pt x="523875" y="110490"/>
                  </a:cubicBezTo>
                  <a:cubicBezTo>
                    <a:pt x="521335" y="110490"/>
                    <a:pt x="518795" y="110490"/>
                    <a:pt x="516890" y="109220"/>
                  </a:cubicBezTo>
                  <a:cubicBezTo>
                    <a:pt x="514985" y="108585"/>
                    <a:pt x="513080" y="107315"/>
                    <a:pt x="511175" y="105410"/>
                  </a:cubicBezTo>
                  <a:cubicBezTo>
                    <a:pt x="509270" y="103505"/>
                    <a:pt x="508000" y="101600"/>
                    <a:pt x="507365" y="99060"/>
                  </a:cubicBezTo>
                  <a:cubicBezTo>
                    <a:pt x="506730" y="96520"/>
                    <a:pt x="506095" y="93345"/>
                    <a:pt x="506095" y="89535"/>
                  </a:cubicBezTo>
                  <a:lnTo>
                    <a:pt x="506095" y="44450"/>
                  </a:lnTo>
                  <a:lnTo>
                    <a:pt x="495300" y="44450"/>
                  </a:lnTo>
                  <a:lnTo>
                    <a:pt x="495300" y="30480"/>
                  </a:lnTo>
                  <a:lnTo>
                    <a:pt x="506095" y="30480"/>
                  </a:lnTo>
                  <a:lnTo>
                    <a:pt x="506095" y="8255"/>
                  </a:lnTo>
                  <a:close/>
                  <a:moveTo>
                    <a:pt x="466724" y="0"/>
                  </a:moveTo>
                  <a:lnTo>
                    <a:pt x="466724" y="30480"/>
                  </a:lnTo>
                  <a:lnTo>
                    <a:pt x="485774" y="30480"/>
                  </a:lnTo>
                  <a:lnTo>
                    <a:pt x="485774" y="44450"/>
                  </a:lnTo>
                  <a:lnTo>
                    <a:pt x="466724" y="44450"/>
                  </a:lnTo>
                  <a:lnTo>
                    <a:pt x="466724" y="86995"/>
                  </a:lnTo>
                  <a:cubicBezTo>
                    <a:pt x="466724" y="86995"/>
                    <a:pt x="466724" y="90170"/>
                    <a:pt x="466724" y="91440"/>
                  </a:cubicBezTo>
                  <a:cubicBezTo>
                    <a:pt x="466724" y="92710"/>
                    <a:pt x="467359" y="93345"/>
                    <a:pt x="467994" y="94615"/>
                  </a:cubicBezTo>
                  <a:cubicBezTo>
                    <a:pt x="468629" y="95250"/>
                    <a:pt x="469264" y="95885"/>
                    <a:pt x="470534" y="95885"/>
                  </a:cubicBezTo>
                  <a:cubicBezTo>
                    <a:pt x="471804" y="95885"/>
                    <a:pt x="473074" y="95885"/>
                    <a:pt x="474344" y="95885"/>
                  </a:cubicBezTo>
                  <a:cubicBezTo>
                    <a:pt x="476249" y="95885"/>
                    <a:pt x="478154" y="95885"/>
                    <a:pt x="480694" y="95250"/>
                  </a:cubicBezTo>
                  <a:cubicBezTo>
                    <a:pt x="482599" y="94615"/>
                    <a:pt x="484504" y="93980"/>
                    <a:pt x="485774" y="93345"/>
                  </a:cubicBezTo>
                  <a:lnTo>
                    <a:pt x="483869" y="106680"/>
                  </a:lnTo>
                  <a:cubicBezTo>
                    <a:pt x="483869" y="106680"/>
                    <a:pt x="480059" y="108585"/>
                    <a:pt x="477519" y="109220"/>
                  </a:cubicBezTo>
                  <a:cubicBezTo>
                    <a:pt x="474979" y="109855"/>
                    <a:pt x="472439" y="110490"/>
                    <a:pt x="469264" y="110490"/>
                  </a:cubicBezTo>
                  <a:cubicBezTo>
                    <a:pt x="466724" y="110490"/>
                    <a:pt x="464184" y="110490"/>
                    <a:pt x="462279" y="109220"/>
                  </a:cubicBezTo>
                  <a:cubicBezTo>
                    <a:pt x="460374" y="108585"/>
                    <a:pt x="458469" y="107315"/>
                    <a:pt x="456564" y="105410"/>
                  </a:cubicBezTo>
                  <a:cubicBezTo>
                    <a:pt x="454659" y="103505"/>
                    <a:pt x="453389" y="101600"/>
                    <a:pt x="452754" y="99060"/>
                  </a:cubicBezTo>
                  <a:cubicBezTo>
                    <a:pt x="452119" y="96520"/>
                    <a:pt x="451484" y="93345"/>
                    <a:pt x="451484" y="89535"/>
                  </a:cubicBezTo>
                  <a:lnTo>
                    <a:pt x="451484" y="44450"/>
                  </a:lnTo>
                  <a:lnTo>
                    <a:pt x="440689" y="44450"/>
                  </a:lnTo>
                  <a:lnTo>
                    <a:pt x="440689" y="30480"/>
                  </a:lnTo>
                  <a:lnTo>
                    <a:pt x="451484" y="30480"/>
                  </a:lnTo>
                  <a:lnTo>
                    <a:pt x="451484" y="8255"/>
                  </a:lnTo>
                  <a:close/>
                  <a:moveTo>
                    <a:pt x="302259" y="0"/>
                  </a:moveTo>
                  <a:lnTo>
                    <a:pt x="302259" y="37465"/>
                  </a:lnTo>
                  <a:cubicBezTo>
                    <a:pt x="302259" y="37465"/>
                    <a:pt x="305434" y="34925"/>
                    <a:pt x="306704" y="33655"/>
                  </a:cubicBezTo>
                  <a:cubicBezTo>
                    <a:pt x="307974" y="33020"/>
                    <a:pt x="309244" y="31750"/>
                    <a:pt x="310514" y="31115"/>
                  </a:cubicBezTo>
                  <a:cubicBezTo>
                    <a:pt x="311784" y="30480"/>
                    <a:pt x="313689" y="29845"/>
                    <a:pt x="315594" y="29210"/>
                  </a:cubicBezTo>
                  <a:cubicBezTo>
                    <a:pt x="317499" y="29210"/>
                    <a:pt x="320039" y="28575"/>
                    <a:pt x="322579" y="28575"/>
                  </a:cubicBezTo>
                  <a:cubicBezTo>
                    <a:pt x="327024" y="28575"/>
                    <a:pt x="330834" y="29210"/>
                    <a:pt x="334644" y="31115"/>
                  </a:cubicBezTo>
                  <a:cubicBezTo>
                    <a:pt x="338454" y="32385"/>
                    <a:pt x="341629" y="34925"/>
                    <a:pt x="344169" y="38735"/>
                  </a:cubicBezTo>
                  <a:cubicBezTo>
                    <a:pt x="346709" y="41910"/>
                    <a:pt x="349249" y="46355"/>
                    <a:pt x="350519" y="51435"/>
                  </a:cubicBezTo>
                  <a:cubicBezTo>
                    <a:pt x="351789" y="56515"/>
                    <a:pt x="353059" y="62865"/>
                    <a:pt x="353059" y="70485"/>
                  </a:cubicBezTo>
                  <a:lnTo>
                    <a:pt x="352424" y="71120"/>
                  </a:lnTo>
                  <a:cubicBezTo>
                    <a:pt x="352424" y="77470"/>
                    <a:pt x="351789" y="83820"/>
                    <a:pt x="349884" y="88265"/>
                  </a:cubicBezTo>
                  <a:cubicBezTo>
                    <a:pt x="347979" y="93345"/>
                    <a:pt x="346074" y="97155"/>
                    <a:pt x="342899" y="100330"/>
                  </a:cubicBezTo>
                  <a:cubicBezTo>
                    <a:pt x="340359" y="103505"/>
                    <a:pt x="336549" y="106045"/>
                    <a:pt x="333374" y="107315"/>
                  </a:cubicBezTo>
                  <a:cubicBezTo>
                    <a:pt x="329564" y="109220"/>
                    <a:pt x="325754" y="109855"/>
                    <a:pt x="321944" y="109855"/>
                  </a:cubicBezTo>
                  <a:cubicBezTo>
                    <a:pt x="318134" y="109855"/>
                    <a:pt x="314324" y="109220"/>
                    <a:pt x="311149" y="107315"/>
                  </a:cubicBezTo>
                  <a:cubicBezTo>
                    <a:pt x="307339" y="105410"/>
                    <a:pt x="304799" y="103505"/>
                    <a:pt x="302259" y="100965"/>
                  </a:cubicBezTo>
                  <a:lnTo>
                    <a:pt x="302259" y="107950"/>
                  </a:lnTo>
                  <a:lnTo>
                    <a:pt x="287019" y="107950"/>
                  </a:lnTo>
                  <a:lnTo>
                    <a:pt x="287019" y="7620"/>
                  </a:lnTo>
                  <a:close/>
                </a:path>
              </a:pathLst>
            </a:custGeom>
            <a:solidFill>
              <a:srgbClr val="FFFFFF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28" name="Subtitle 2">
            <a:extLst>
              <a:ext uri="{FF2B5EF4-FFF2-40B4-BE49-F238E27FC236}">
                <a16:creationId xmlns:a16="http://schemas.microsoft.com/office/drawing/2014/main" id="{632E76BF-46D5-8E94-88AA-4783DD302E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90225" y="4436486"/>
            <a:ext cx="4910184" cy="511939"/>
          </a:xfrm>
        </p:spPr>
        <p:txBody>
          <a:bodyPr wrap="square">
            <a:noAutofit/>
          </a:bodyPr>
          <a:lstStyle>
            <a:lvl1pPr marL="0" indent="0" algn="l">
              <a:buNone/>
              <a:defRPr lang="en-GB" sz="16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/>
          </a:p>
        </p:txBody>
      </p:sp>
      <p:sp>
        <p:nvSpPr>
          <p:cNvPr id="29" name="Title 4">
            <a:extLst>
              <a:ext uri="{FF2B5EF4-FFF2-40B4-BE49-F238E27FC236}">
                <a16:creationId xmlns:a16="http://schemas.microsoft.com/office/drawing/2014/main" id="{1F7B1FDC-B90E-6693-A750-B9BA4B535E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90226" y="2698752"/>
            <a:ext cx="4908564" cy="1654043"/>
          </a:xfrm>
        </p:spPr>
        <p:txBody>
          <a:bodyPr anchor="t">
            <a:noAutofit/>
          </a:bodyPr>
          <a:lstStyle>
            <a:lvl1pPr>
              <a:defRPr sz="4200" b="1" i="0">
                <a:solidFill>
                  <a:schemeClr val="bg1"/>
                </a:solidFill>
                <a:latin typeface="EYInterstate Regular" panose="02000503020000020004" pitchFamily="2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0" name="Text Placeholder 288">
            <a:extLst>
              <a:ext uri="{FF2B5EF4-FFF2-40B4-BE49-F238E27FC236}">
                <a16:creationId xmlns:a16="http://schemas.microsoft.com/office/drawing/2014/main" id="{1673B89D-F206-B9D2-CDB7-BDE045C7447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90226" y="5047486"/>
            <a:ext cx="4908565" cy="246221"/>
          </a:xfrm>
        </p:spPr>
        <p:txBody>
          <a:bodyPr wrap="square">
            <a:spAutoFit/>
          </a:bodyPr>
          <a:lstStyle>
            <a:lvl1pPr marL="0" indent="0">
              <a:buNone/>
              <a:defRPr sz="1600" b="1">
                <a:latin typeface="+mj-lt"/>
              </a:defRPr>
            </a:lvl1pPr>
            <a:lvl2pPr marL="252000" indent="0">
              <a:buNone/>
              <a:defRPr sz="1600" b="1">
                <a:latin typeface="+mj-lt"/>
              </a:defRPr>
            </a:lvl2pPr>
            <a:lvl3pPr marL="504000" indent="0">
              <a:buNone/>
              <a:defRPr sz="1600" b="1">
                <a:latin typeface="+mj-lt"/>
              </a:defRPr>
            </a:lvl3pPr>
            <a:lvl4pPr marL="756000" indent="0">
              <a:buNone/>
              <a:defRPr sz="1600" b="1">
                <a:latin typeface="+mj-lt"/>
              </a:defRPr>
            </a:lvl4pPr>
            <a:lvl5pPr marL="1008000" indent="0">
              <a:buNone/>
              <a:defRPr sz="1600" b="1">
                <a:latin typeface="+mj-lt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8F7E7875-967C-8167-6219-7AD2981B3A46}"/>
              </a:ext>
            </a:extLst>
          </p:cNvPr>
          <p:cNvGrpSpPr/>
          <p:nvPr userDrawn="1"/>
        </p:nvGrpSpPr>
        <p:grpSpPr>
          <a:xfrm>
            <a:off x="486027" y="1291009"/>
            <a:ext cx="5709082" cy="4360545"/>
            <a:chOff x="485774" y="1291008"/>
            <a:chExt cx="5706110" cy="4360545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F7E50E80-DFF0-E065-898F-1AFD970459B6}"/>
                </a:ext>
              </a:extLst>
            </p:cNvPr>
            <p:cNvSpPr/>
            <p:nvPr userDrawn="1"/>
          </p:nvSpPr>
          <p:spPr>
            <a:xfrm>
              <a:off x="485774" y="5549953"/>
              <a:ext cx="508000" cy="101600"/>
            </a:xfrm>
            <a:custGeom>
              <a:avLst/>
              <a:gdLst>
                <a:gd name="connsiteX0" fmla="*/ 406400 w 508000"/>
                <a:gd name="connsiteY0" fmla="*/ 0 h 101600"/>
                <a:gd name="connsiteX1" fmla="*/ 508000 w 508000"/>
                <a:gd name="connsiteY1" fmla="*/ 0 h 101600"/>
                <a:gd name="connsiteX2" fmla="*/ 508000 w 508000"/>
                <a:gd name="connsiteY2" fmla="*/ 101600 h 101600"/>
                <a:gd name="connsiteX3" fmla="*/ 406400 w 508000"/>
                <a:gd name="connsiteY3" fmla="*/ 101600 h 101600"/>
                <a:gd name="connsiteX4" fmla="*/ 203200 w 508000"/>
                <a:gd name="connsiteY4" fmla="*/ 0 h 101600"/>
                <a:gd name="connsiteX5" fmla="*/ 304800 w 508000"/>
                <a:gd name="connsiteY5" fmla="*/ 0 h 101600"/>
                <a:gd name="connsiteX6" fmla="*/ 304800 w 508000"/>
                <a:gd name="connsiteY6" fmla="*/ 101600 h 101600"/>
                <a:gd name="connsiteX7" fmla="*/ 203200 w 508000"/>
                <a:gd name="connsiteY7" fmla="*/ 101600 h 101600"/>
                <a:gd name="connsiteX8" fmla="*/ 0 w 508000"/>
                <a:gd name="connsiteY8" fmla="*/ 0 h 101600"/>
                <a:gd name="connsiteX9" fmla="*/ 101600 w 508000"/>
                <a:gd name="connsiteY9" fmla="*/ 0 h 101600"/>
                <a:gd name="connsiteX10" fmla="*/ 101600 w 508000"/>
                <a:gd name="connsiteY10" fmla="*/ 101600 h 101600"/>
                <a:gd name="connsiteX11" fmla="*/ 0 w 508000"/>
                <a:gd name="connsiteY11" fmla="*/ 101600 h 101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08000" h="101600">
                  <a:moveTo>
                    <a:pt x="406400" y="0"/>
                  </a:moveTo>
                  <a:lnTo>
                    <a:pt x="508000" y="0"/>
                  </a:lnTo>
                  <a:lnTo>
                    <a:pt x="508000" y="101600"/>
                  </a:lnTo>
                  <a:lnTo>
                    <a:pt x="406400" y="101600"/>
                  </a:lnTo>
                  <a:close/>
                  <a:moveTo>
                    <a:pt x="203200" y="0"/>
                  </a:moveTo>
                  <a:lnTo>
                    <a:pt x="304800" y="0"/>
                  </a:lnTo>
                  <a:lnTo>
                    <a:pt x="304800" y="101600"/>
                  </a:lnTo>
                  <a:lnTo>
                    <a:pt x="203200" y="101600"/>
                  </a:lnTo>
                  <a:close/>
                  <a:moveTo>
                    <a:pt x="0" y="0"/>
                  </a:moveTo>
                  <a:lnTo>
                    <a:pt x="101600" y="0"/>
                  </a:lnTo>
                  <a:lnTo>
                    <a:pt x="101600" y="101600"/>
                  </a:lnTo>
                  <a:lnTo>
                    <a:pt x="0" y="101600"/>
                  </a:lnTo>
                  <a:close/>
                </a:path>
              </a:pathLst>
            </a:custGeom>
            <a:solidFill>
              <a:schemeClr val="tx2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90AAC841-3D56-6842-04D1-F0B7D973D86D}"/>
                </a:ext>
              </a:extLst>
            </p:cNvPr>
            <p:cNvSpPr/>
            <p:nvPr userDrawn="1"/>
          </p:nvSpPr>
          <p:spPr>
            <a:xfrm>
              <a:off x="485775" y="1291008"/>
              <a:ext cx="5706109" cy="4359275"/>
            </a:xfrm>
            <a:custGeom>
              <a:avLst/>
              <a:gdLst>
                <a:gd name="connsiteX0" fmla="*/ 0 w 5706109"/>
                <a:gd name="connsiteY0" fmla="*/ 4157346 h 4359275"/>
                <a:gd name="connsiteX1" fmla="*/ 101600 w 5706109"/>
                <a:gd name="connsiteY1" fmla="*/ 4157346 h 4359275"/>
                <a:gd name="connsiteX2" fmla="*/ 101600 w 5706109"/>
                <a:gd name="connsiteY2" fmla="*/ 1075055 h 4359275"/>
                <a:gd name="connsiteX3" fmla="*/ 101600 w 5706109"/>
                <a:gd name="connsiteY3" fmla="*/ 1075055 h 4359275"/>
                <a:gd name="connsiteX4" fmla="*/ 191770 w 5706109"/>
                <a:gd name="connsiteY4" fmla="*/ 1059180 h 4359275"/>
                <a:gd name="connsiteX5" fmla="*/ 861060 w 5706109"/>
                <a:gd name="connsiteY5" fmla="*/ 942975 h 4359275"/>
                <a:gd name="connsiteX6" fmla="*/ 1195705 w 5706109"/>
                <a:gd name="connsiteY6" fmla="*/ 885190 h 4359275"/>
                <a:gd name="connsiteX7" fmla="*/ 1362710 w 5706109"/>
                <a:gd name="connsiteY7" fmla="*/ 855980 h 4359275"/>
                <a:gd name="connsiteX8" fmla="*/ 1529715 w 5706109"/>
                <a:gd name="connsiteY8" fmla="*/ 826770 h 4359275"/>
                <a:gd name="connsiteX9" fmla="*/ 1864360 w 5706109"/>
                <a:gd name="connsiteY9" fmla="*/ 768985 h 4359275"/>
                <a:gd name="connsiteX10" fmla="*/ 2031365 w 5706109"/>
                <a:gd name="connsiteY10" fmla="*/ 739775 h 4359275"/>
                <a:gd name="connsiteX11" fmla="*/ 2198370 w 5706109"/>
                <a:gd name="connsiteY11" fmla="*/ 710565 h 4359275"/>
                <a:gd name="connsiteX12" fmla="*/ 2365375 w 5706109"/>
                <a:gd name="connsiteY12" fmla="*/ 681355 h 4359275"/>
                <a:gd name="connsiteX13" fmla="*/ 2532380 w 5706109"/>
                <a:gd name="connsiteY13" fmla="*/ 652145 h 4359275"/>
                <a:gd name="connsiteX14" fmla="*/ 2699385 w 5706109"/>
                <a:gd name="connsiteY14" fmla="*/ 622935 h 4359275"/>
                <a:gd name="connsiteX15" fmla="*/ 2866390 w 5706109"/>
                <a:gd name="connsiteY15" fmla="*/ 593725 h 4359275"/>
                <a:gd name="connsiteX16" fmla="*/ 5461000 w 5706109"/>
                <a:gd name="connsiteY16" fmla="*/ 144145 h 4359275"/>
                <a:gd name="connsiteX17" fmla="*/ 5602605 w 5706109"/>
                <a:gd name="connsiteY17" fmla="*/ 119380 h 4359275"/>
                <a:gd name="connsiteX18" fmla="*/ 5602605 w 5706109"/>
                <a:gd name="connsiteY18" fmla="*/ 119380 h 4359275"/>
                <a:gd name="connsiteX19" fmla="*/ 5602605 w 5706109"/>
                <a:gd name="connsiteY19" fmla="*/ 4257676 h 4359275"/>
                <a:gd name="connsiteX20" fmla="*/ 609600 w 5706109"/>
                <a:gd name="connsiteY20" fmla="*/ 4257676 h 4359275"/>
                <a:gd name="connsiteX21" fmla="*/ 609600 w 5706109"/>
                <a:gd name="connsiteY21" fmla="*/ 4359276 h 4359275"/>
                <a:gd name="connsiteX22" fmla="*/ 5706110 w 5706109"/>
                <a:gd name="connsiteY22" fmla="*/ 4359276 h 4359275"/>
                <a:gd name="connsiteX23" fmla="*/ 5706110 w 5706109"/>
                <a:gd name="connsiteY23" fmla="*/ 0 h 4359275"/>
                <a:gd name="connsiteX24" fmla="*/ 5704840 w 5706109"/>
                <a:gd name="connsiteY24" fmla="*/ 0 h 4359275"/>
                <a:gd name="connsiteX25" fmla="*/ 5445760 w 5706109"/>
                <a:gd name="connsiteY25" fmla="*/ 45085 h 4359275"/>
                <a:gd name="connsiteX26" fmla="*/ 2851150 w 5706109"/>
                <a:gd name="connsiteY26" fmla="*/ 494665 h 4359275"/>
                <a:gd name="connsiteX27" fmla="*/ 2684145 w 5706109"/>
                <a:gd name="connsiteY27" fmla="*/ 523875 h 4359275"/>
                <a:gd name="connsiteX28" fmla="*/ 2517140 w 5706109"/>
                <a:gd name="connsiteY28" fmla="*/ 553085 h 4359275"/>
                <a:gd name="connsiteX29" fmla="*/ 2350135 w 5706109"/>
                <a:gd name="connsiteY29" fmla="*/ 582295 h 4359275"/>
                <a:gd name="connsiteX30" fmla="*/ 2183130 w 5706109"/>
                <a:gd name="connsiteY30" fmla="*/ 611505 h 4359275"/>
                <a:gd name="connsiteX31" fmla="*/ 2016125 w 5706109"/>
                <a:gd name="connsiteY31" fmla="*/ 640715 h 4359275"/>
                <a:gd name="connsiteX32" fmla="*/ 1849120 w 5706109"/>
                <a:gd name="connsiteY32" fmla="*/ 669925 h 4359275"/>
                <a:gd name="connsiteX33" fmla="*/ 1514475 w 5706109"/>
                <a:gd name="connsiteY33" fmla="*/ 727710 h 4359275"/>
                <a:gd name="connsiteX34" fmla="*/ 1347470 w 5706109"/>
                <a:gd name="connsiteY34" fmla="*/ 756920 h 4359275"/>
                <a:gd name="connsiteX35" fmla="*/ 1180465 w 5706109"/>
                <a:gd name="connsiteY35" fmla="*/ 786130 h 4359275"/>
                <a:gd name="connsiteX36" fmla="*/ 845820 w 5706109"/>
                <a:gd name="connsiteY36" fmla="*/ 843915 h 4359275"/>
                <a:gd name="connsiteX37" fmla="*/ 176530 w 5706109"/>
                <a:gd name="connsiteY37" fmla="*/ 960120 h 4359275"/>
                <a:gd name="connsiteX38" fmla="*/ 3175 w 5706109"/>
                <a:gd name="connsiteY38" fmla="*/ 989965 h 4359275"/>
                <a:gd name="connsiteX39" fmla="*/ 1905 w 5706109"/>
                <a:gd name="connsiteY39" fmla="*/ 989965 h 4359275"/>
                <a:gd name="connsiteX40" fmla="*/ 1905 w 5706109"/>
                <a:gd name="connsiteY40" fmla="*/ 4158616 h 4359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5706109" h="4359275">
                  <a:moveTo>
                    <a:pt x="0" y="4157346"/>
                  </a:moveTo>
                  <a:lnTo>
                    <a:pt x="101600" y="4157346"/>
                  </a:lnTo>
                  <a:lnTo>
                    <a:pt x="101600" y="1075055"/>
                  </a:lnTo>
                  <a:lnTo>
                    <a:pt x="101600" y="1075055"/>
                  </a:lnTo>
                  <a:lnTo>
                    <a:pt x="191770" y="1059180"/>
                  </a:lnTo>
                  <a:lnTo>
                    <a:pt x="861060" y="942975"/>
                  </a:lnTo>
                  <a:lnTo>
                    <a:pt x="1195705" y="885190"/>
                  </a:lnTo>
                  <a:lnTo>
                    <a:pt x="1362710" y="855980"/>
                  </a:lnTo>
                  <a:lnTo>
                    <a:pt x="1529715" y="826770"/>
                  </a:lnTo>
                  <a:lnTo>
                    <a:pt x="1864360" y="768985"/>
                  </a:lnTo>
                  <a:lnTo>
                    <a:pt x="2031365" y="739775"/>
                  </a:lnTo>
                  <a:lnTo>
                    <a:pt x="2198370" y="710565"/>
                  </a:lnTo>
                  <a:lnTo>
                    <a:pt x="2365375" y="681355"/>
                  </a:lnTo>
                  <a:lnTo>
                    <a:pt x="2532380" y="652145"/>
                  </a:lnTo>
                  <a:lnTo>
                    <a:pt x="2699385" y="622935"/>
                  </a:lnTo>
                  <a:lnTo>
                    <a:pt x="2866390" y="593725"/>
                  </a:lnTo>
                  <a:cubicBezTo>
                    <a:pt x="3731260" y="443865"/>
                    <a:pt x="4596130" y="294005"/>
                    <a:pt x="5461000" y="144145"/>
                  </a:cubicBezTo>
                  <a:lnTo>
                    <a:pt x="5602605" y="119380"/>
                  </a:lnTo>
                  <a:lnTo>
                    <a:pt x="5602605" y="119380"/>
                  </a:lnTo>
                  <a:lnTo>
                    <a:pt x="5602605" y="4257676"/>
                  </a:lnTo>
                  <a:lnTo>
                    <a:pt x="609600" y="4257676"/>
                  </a:lnTo>
                  <a:lnTo>
                    <a:pt x="609600" y="4359276"/>
                  </a:lnTo>
                  <a:lnTo>
                    <a:pt x="5706110" y="4359276"/>
                  </a:lnTo>
                  <a:lnTo>
                    <a:pt x="5706110" y="0"/>
                  </a:lnTo>
                  <a:lnTo>
                    <a:pt x="5704840" y="0"/>
                  </a:lnTo>
                  <a:cubicBezTo>
                    <a:pt x="5618480" y="15240"/>
                    <a:pt x="5532120" y="30480"/>
                    <a:pt x="5445760" y="45085"/>
                  </a:cubicBezTo>
                  <a:cubicBezTo>
                    <a:pt x="4580890" y="194945"/>
                    <a:pt x="3716020" y="344805"/>
                    <a:pt x="2851150" y="494665"/>
                  </a:cubicBezTo>
                  <a:lnTo>
                    <a:pt x="2684145" y="523875"/>
                  </a:lnTo>
                  <a:lnTo>
                    <a:pt x="2517140" y="553085"/>
                  </a:lnTo>
                  <a:lnTo>
                    <a:pt x="2350135" y="582295"/>
                  </a:lnTo>
                  <a:lnTo>
                    <a:pt x="2183130" y="611505"/>
                  </a:lnTo>
                  <a:lnTo>
                    <a:pt x="2016125" y="640715"/>
                  </a:lnTo>
                  <a:lnTo>
                    <a:pt x="1849120" y="669925"/>
                  </a:lnTo>
                  <a:lnTo>
                    <a:pt x="1514475" y="727710"/>
                  </a:lnTo>
                  <a:lnTo>
                    <a:pt x="1347470" y="756920"/>
                  </a:lnTo>
                  <a:lnTo>
                    <a:pt x="1180465" y="786130"/>
                  </a:lnTo>
                  <a:lnTo>
                    <a:pt x="845820" y="843915"/>
                  </a:lnTo>
                  <a:lnTo>
                    <a:pt x="176530" y="960120"/>
                  </a:lnTo>
                  <a:lnTo>
                    <a:pt x="3175" y="989965"/>
                  </a:lnTo>
                  <a:lnTo>
                    <a:pt x="1905" y="989965"/>
                  </a:lnTo>
                  <a:lnTo>
                    <a:pt x="1905" y="4158616"/>
                  </a:lnTo>
                  <a:close/>
                </a:path>
              </a:pathLst>
            </a:custGeom>
            <a:gradFill flip="none" rotWithShape="1">
              <a:gsLst>
                <a:gs pos="39000">
                  <a:srgbClr val="FFE600"/>
                </a:gs>
                <a:gs pos="68000">
                  <a:srgbClr val="FF32FF"/>
                </a:gs>
                <a:gs pos="100000">
                  <a:srgbClr val="E95023"/>
                </a:gs>
              </a:gsLst>
              <a:lin ang="18720000" scaled="0"/>
              <a:tileRect/>
            </a:gradFill>
            <a:ln w="818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 sz="1800"/>
            </a:p>
          </p:txBody>
        </p:sp>
      </p:grpSp>
    </p:spTree>
    <p:extLst>
      <p:ext uri="{BB962C8B-B14F-4D97-AF65-F5344CB8AC3E}">
        <p14:creationId xmlns:p14="http://schemas.microsoft.com/office/powerpoint/2010/main" val="2086186392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Frame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FEAFCAD8-0916-AF46-1471-030E4128E25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0"/>
            <a:ext cx="8390722" cy="6858000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0"/>
                  <a:alpha val="0"/>
                </a:schemeClr>
              </a:gs>
              <a:gs pos="95000">
                <a:srgbClr val="000000">
                  <a:alpha val="70000"/>
                </a:srgbClr>
              </a:gs>
            </a:gsLst>
            <a:lin ang="108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endParaRPr lang="en-US" sz="1200" b="1">
              <a:solidFill>
                <a:schemeClr val="tx1"/>
              </a:solidFill>
            </a:endParaRP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A8D6BAB6-A68E-C404-5D92-6E11D325CFFA}"/>
              </a:ext>
            </a:extLst>
          </p:cNvPr>
          <p:cNvGrpSpPr/>
          <p:nvPr userDrawn="1"/>
        </p:nvGrpSpPr>
        <p:grpSpPr bwMode="black">
          <a:xfrm>
            <a:off x="10568726" y="5167683"/>
            <a:ext cx="1219835" cy="1284606"/>
            <a:chOff x="10563224" y="5158158"/>
            <a:chExt cx="1219200" cy="1284606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BEE0067F-78DC-1ABA-D072-D13444B14ED9}"/>
                </a:ext>
              </a:extLst>
            </p:cNvPr>
            <p:cNvSpPr/>
            <p:nvPr/>
          </p:nvSpPr>
          <p:spPr bwMode="black">
            <a:xfrm>
              <a:off x="10826115" y="5158158"/>
              <a:ext cx="805814" cy="294004"/>
            </a:xfrm>
            <a:custGeom>
              <a:avLst/>
              <a:gdLst>
                <a:gd name="connsiteX0" fmla="*/ 805814 w 805814"/>
                <a:gd name="connsiteY0" fmla="*/ 0 h 294004"/>
                <a:gd name="connsiteX1" fmla="*/ 0 w 805814"/>
                <a:gd name="connsiteY1" fmla="*/ 294005 h 294004"/>
                <a:gd name="connsiteX2" fmla="*/ 805814 w 805814"/>
                <a:gd name="connsiteY2" fmla="*/ 151765 h 294004"/>
                <a:gd name="connsiteX3" fmla="*/ 805814 w 805814"/>
                <a:gd name="connsiteY3" fmla="*/ 0 h 2940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05814" h="294004">
                  <a:moveTo>
                    <a:pt x="805814" y="0"/>
                  </a:moveTo>
                  <a:lnTo>
                    <a:pt x="0" y="294005"/>
                  </a:lnTo>
                  <a:lnTo>
                    <a:pt x="805814" y="151765"/>
                  </a:lnTo>
                  <a:lnTo>
                    <a:pt x="805814" y="0"/>
                  </a:lnTo>
                  <a:close/>
                </a:path>
              </a:pathLst>
            </a:custGeom>
            <a:solidFill>
              <a:srgbClr val="FFE600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23" name="Freeform 22">
              <a:extLst>
                <a:ext uri="{FF2B5EF4-FFF2-40B4-BE49-F238E27FC236}">
                  <a16:creationId xmlns:a16="http://schemas.microsoft.com/office/drawing/2014/main" id="{51F51328-AAA1-9C6C-5EE4-05350DF6D22E}"/>
                </a:ext>
              </a:extLst>
            </p:cNvPr>
            <p:cNvSpPr/>
            <p:nvPr/>
          </p:nvSpPr>
          <p:spPr bwMode="black">
            <a:xfrm>
              <a:off x="10563224" y="5574083"/>
              <a:ext cx="1219200" cy="868681"/>
            </a:xfrm>
            <a:custGeom>
              <a:avLst/>
              <a:gdLst>
                <a:gd name="connsiteX0" fmla="*/ 245110 w 1219200"/>
                <a:gd name="connsiteY0" fmla="*/ 839471 h 868681"/>
                <a:gd name="connsiteX1" fmla="*/ 246379 w 1219200"/>
                <a:gd name="connsiteY1" fmla="*/ 839471 h 868681"/>
                <a:gd name="connsiteX2" fmla="*/ 245041 w 1219200"/>
                <a:gd name="connsiteY2" fmla="*/ 839979 h 868681"/>
                <a:gd name="connsiteX3" fmla="*/ 522605 w 1219200"/>
                <a:gd name="connsiteY3" fmla="*/ 796926 h 868681"/>
                <a:gd name="connsiteX4" fmla="*/ 504189 w 1219200"/>
                <a:gd name="connsiteY4" fmla="*/ 821691 h 868681"/>
                <a:gd name="connsiteX5" fmla="*/ 522605 w 1219200"/>
                <a:gd name="connsiteY5" fmla="*/ 845821 h 868681"/>
                <a:gd name="connsiteX6" fmla="*/ 541019 w 1219200"/>
                <a:gd name="connsiteY6" fmla="*/ 821691 h 868681"/>
                <a:gd name="connsiteX7" fmla="*/ 522605 w 1219200"/>
                <a:gd name="connsiteY7" fmla="*/ 796926 h 868681"/>
                <a:gd name="connsiteX8" fmla="*/ 817245 w 1219200"/>
                <a:gd name="connsiteY8" fmla="*/ 796291 h 868681"/>
                <a:gd name="connsiteX9" fmla="*/ 800735 w 1219200"/>
                <a:gd name="connsiteY9" fmla="*/ 819786 h 868681"/>
                <a:gd name="connsiteX10" fmla="*/ 817879 w 1219200"/>
                <a:gd name="connsiteY10" fmla="*/ 846456 h 868681"/>
                <a:gd name="connsiteX11" fmla="*/ 833754 w 1219200"/>
                <a:gd name="connsiteY11" fmla="*/ 838836 h 868681"/>
                <a:gd name="connsiteX12" fmla="*/ 833754 w 1219200"/>
                <a:gd name="connsiteY12" fmla="*/ 838201 h 868681"/>
                <a:gd name="connsiteX13" fmla="*/ 833754 w 1219200"/>
                <a:gd name="connsiteY13" fmla="*/ 803911 h 868681"/>
                <a:gd name="connsiteX14" fmla="*/ 817245 w 1219200"/>
                <a:gd name="connsiteY14" fmla="*/ 796291 h 868681"/>
                <a:gd name="connsiteX15" fmla="*/ 1179195 w 1219200"/>
                <a:gd name="connsiteY15" fmla="*/ 794386 h 868681"/>
                <a:gd name="connsiteX16" fmla="*/ 1163320 w 1219200"/>
                <a:gd name="connsiteY16" fmla="*/ 811531 h 868681"/>
                <a:gd name="connsiteX17" fmla="*/ 1163954 w 1219200"/>
                <a:gd name="connsiteY17" fmla="*/ 811531 h 868681"/>
                <a:gd name="connsiteX18" fmla="*/ 1195704 w 1219200"/>
                <a:gd name="connsiteY18" fmla="*/ 811531 h 868681"/>
                <a:gd name="connsiteX19" fmla="*/ 1179195 w 1219200"/>
                <a:gd name="connsiteY19" fmla="*/ 794386 h 868681"/>
                <a:gd name="connsiteX20" fmla="*/ 909320 w 1219200"/>
                <a:gd name="connsiteY20" fmla="*/ 794386 h 868681"/>
                <a:gd name="connsiteX21" fmla="*/ 893445 w 1219200"/>
                <a:gd name="connsiteY21" fmla="*/ 811531 h 868681"/>
                <a:gd name="connsiteX22" fmla="*/ 894079 w 1219200"/>
                <a:gd name="connsiteY22" fmla="*/ 811531 h 868681"/>
                <a:gd name="connsiteX23" fmla="*/ 925829 w 1219200"/>
                <a:gd name="connsiteY23" fmla="*/ 811531 h 868681"/>
                <a:gd name="connsiteX24" fmla="*/ 909320 w 1219200"/>
                <a:gd name="connsiteY24" fmla="*/ 794386 h 868681"/>
                <a:gd name="connsiteX25" fmla="*/ 737870 w 1219200"/>
                <a:gd name="connsiteY25" fmla="*/ 775971 h 868681"/>
                <a:gd name="connsiteX26" fmla="*/ 761364 w 1219200"/>
                <a:gd name="connsiteY26" fmla="*/ 775971 h 868681"/>
                <a:gd name="connsiteX27" fmla="*/ 761364 w 1219200"/>
                <a:gd name="connsiteY27" fmla="*/ 866141 h 868681"/>
                <a:gd name="connsiteX28" fmla="*/ 737870 w 1219200"/>
                <a:gd name="connsiteY28" fmla="*/ 866141 h 868681"/>
                <a:gd name="connsiteX29" fmla="*/ 143510 w 1219200"/>
                <a:gd name="connsiteY29" fmla="*/ 775971 h 868681"/>
                <a:gd name="connsiteX30" fmla="*/ 167004 w 1219200"/>
                <a:gd name="connsiteY30" fmla="*/ 775971 h 868681"/>
                <a:gd name="connsiteX31" fmla="*/ 167004 w 1219200"/>
                <a:gd name="connsiteY31" fmla="*/ 866141 h 868681"/>
                <a:gd name="connsiteX32" fmla="*/ 143510 w 1219200"/>
                <a:gd name="connsiteY32" fmla="*/ 866141 h 868681"/>
                <a:gd name="connsiteX33" fmla="*/ 635 w 1219200"/>
                <a:gd name="connsiteY33" fmla="*/ 775971 h 868681"/>
                <a:gd name="connsiteX34" fmla="*/ 26670 w 1219200"/>
                <a:gd name="connsiteY34" fmla="*/ 775971 h 868681"/>
                <a:gd name="connsiteX35" fmla="*/ 40004 w 1219200"/>
                <a:gd name="connsiteY35" fmla="*/ 828041 h 868681"/>
                <a:gd name="connsiteX36" fmla="*/ 55245 w 1219200"/>
                <a:gd name="connsiteY36" fmla="*/ 775971 h 868681"/>
                <a:gd name="connsiteX37" fmla="*/ 76200 w 1219200"/>
                <a:gd name="connsiteY37" fmla="*/ 775971 h 868681"/>
                <a:gd name="connsiteX38" fmla="*/ 91439 w 1219200"/>
                <a:gd name="connsiteY38" fmla="*/ 828041 h 868681"/>
                <a:gd name="connsiteX39" fmla="*/ 105409 w 1219200"/>
                <a:gd name="connsiteY39" fmla="*/ 775971 h 868681"/>
                <a:gd name="connsiteX40" fmla="*/ 130810 w 1219200"/>
                <a:gd name="connsiteY40" fmla="*/ 775971 h 868681"/>
                <a:gd name="connsiteX41" fmla="*/ 102235 w 1219200"/>
                <a:gd name="connsiteY41" fmla="*/ 866141 h 868681"/>
                <a:gd name="connsiteX42" fmla="*/ 80644 w 1219200"/>
                <a:gd name="connsiteY42" fmla="*/ 866141 h 868681"/>
                <a:gd name="connsiteX43" fmla="*/ 65405 w 1219200"/>
                <a:gd name="connsiteY43" fmla="*/ 811531 h 868681"/>
                <a:gd name="connsiteX44" fmla="*/ 50165 w 1219200"/>
                <a:gd name="connsiteY44" fmla="*/ 866141 h 868681"/>
                <a:gd name="connsiteX45" fmla="*/ 28575 w 1219200"/>
                <a:gd name="connsiteY45" fmla="*/ 866141 h 868681"/>
                <a:gd name="connsiteX46" fmla="*/ 1181099 w 1219200"/>
                <a:gd name="connsiteY46" fmla="*/ 774066 h 868681"/>
                <a:gd name="connsiteX47" fmla="*/ 1219200 w 1219200"/>
                <a:gd name="connsiteY47" fmla="*/ 821056 h 868681"/>
                <a:gd name="connsiteX48" fmla="*/ 1218564 w 1219200"/>
                <a:gd name="connsiteY48" fmla="*/ 821056 h 868681"/>
                <a:gd name="connsiteX49" fmla="*/ 1218564 w 1219200"/>
                <a:gd name="connsiteY49" fmla="*/ 828676 h 868681"/>
                <a:gd name="connsiteX50" fmla="*/ 1163954 w 1219200"/>
                <a:gd name="connsiteY50" fmla="*/ 828676 h 868681"/>
                <a:gd name="connsiteX51" fmla="*/ 1183004 w 1219200"/>
                <a:gd name="connsiteY51" fmla="*/ 846456 h 868681"/>
                <a:gd name="connsiteX52" fmla="*/ 1198879 w 1219200"/>
                <a:gd name="connsiteY52" fmla="*/ 840106 h 868681"/>
                <a:gd name="connsiteX53" fmla="*/ 1214754 w 1219200"/>
                <a:gd name="connsiteY53" fmla="*/ 853441 h 868681"/>
                <a:gd name="connsiteX54" fmla="*/ 1182370 w 1219200"/>
                <a:gd name="connsiteY54" fmla="*/ 868046 h 868681"/>
                <a:gd name="connsiteX55" fmla="*/ 1141095 w 1219200"/>
                <a:gd name="connsiteY55" fmla="*/ 821056 h 868681"/>
                <a:gd name="connsiteX56" fmla="*/ 1181099 w 1219200"/>
                <a:gd name="connsiteY56" fmla="*/ 774066 h 868681"/>
                <a:gd name="connsiteX57" fmla="*/ 1097915 w 1219200"/>
                <a:gd name="connsiteY57" fmla="*/ 774066 h 868681"/>
                <a:gd name="connsiteX58" fmla="*/ 1133474 w 1219200"/>
                <a:gd name="connsiteY58" fmla="*/ 793751 h 868681"/>
                <a:gd name="connsiteX59" fmla="*/ 1118235 w 1219200"/>
                <a:gd name="connsiteY59" fmla="*/ 808991 h 868681"/>
                <a:gd name="connsiteX60" fmla="*/ 1097915 w 1219200"/>
                <a:gd name="connsiteY60" fmla="*/ 796291 h 868681"/>
                <a:gd name="connsiteX61" fmla="*/ 1078864 w 1219200"/>
                <a:gd name="connsiteY61" fmla="*/ 820421 h 868681"/>
                <a:gd name="connsiteX62" fmla="*/ 1097915 w 1219200"/>
                <a:gd name="connsiteY62" fmla="*/ 845186 h 868681"/>
                <a:gd name="connsiteX63" fmla="*/ 1118235 w 1219200"/>
                <a:gd name="connsiteY63" fmla="*/ 833756 h 868681"/>
                <a:gd name="connsiteX64" fmla="*/ 1118870 w 1219200"/>
                <a:gd name="connsiteY64" fmla="*/ 834391 h 868681"/>
                <a:gd name="connsiteX65" fmla="*/ 1133474 w 1219200"/>
                <a:gd name="connsiteY65" fmla="*/ 848361 h 868681"/>
                <a:gd name="connsiteX66" fmla="*/ 1097280 w 1219200"/>
                <a:gd name="connsiteY66" fmla="*/ 868046 h 868681"/>
                <a:gd name="connsiteX67" fmla="*/ 1054735 w 1219200"/>
                <a:gd name="connsiteY67" fmla="*/ 821056 h 868681"/>
                <a:gd name="connsiteX68" fmla="*/ 1097915 w 1219200"/>
                <a:gd name="connsiteY68" fmla="*/ 774066 h 868681"/>
                <a:gd name="connsiteX69" fmla="*/ 1009015 w 1219200"/>
                <a:gd name="connsiteY69" fmla="*/ 774066 h 868681"/>
                <a:gd name="connsiteX70" fmla="*/ 1041400 w 1219200"/>
                <a:gd name="connsiteY70" fmla="*/ 815341 h 868681"/>
                <a:gd name="connsiteX71" fmla="*/ 1041400 w 1219200"/>
                <a:gd name="connsiteY71" fmla="*/ 866141 h 868681"/>
                <a:gd name="connsiteX72" fmla="*/ 1017905 w 1219200"/>
                <a:gd name="connsiteY72" fmla="*/ 866141 h 868681"/>
                <a:gd name="connsiteX73" fmla="*/ 1017905 w 1219200"/>
                <a:gd name="connsiteY73" fmla="*/ 817246 h 868681"/>
                <a:gd name="connsiteX74" fmla="*/ 1002665 w 1219200"/>
                <a:gd name="connsiteY74" fmla="*/ 796291 h 868681"/>
                <a:gd name="connsiteX75" fmla="*/ 986790 w 1219200"/>
                <a:gd name="connsiteY75" fmla="*/ 816611 h 868681"/>
                <a:gd name="connsiteX76" fmla="*/ 986790 w 1219200"/>
                <a:gd name="connsiteY76" fmla="*/ 866141 h 868681"/>
                <a:gd name="connsiteX77" fmla="*/ 963295 w 1219200"/>
                <a:gd name="connsiteY77" fmla="*/ 866141 h 868681"/>
                <a:gd name="connsiteX78" fmla="*/ 963295 w 1219200"/>
                <a:gd name="connsiteY78" fmla="*/ 775971 h 868681"/>
                <a:gd name="connsiteX79" fmla="*/ 986790 w 1219200"/>
                <a:gd name="connsiteY79" fmla="*/ 775971 h 868681"/>
                <a:gd name="connsiteX80" fmla="*/ 986790 w 1219200"/>
                <a:gd name="connsiteY80" fmla="*/ 782321 h 868681"/>
                <a:gd name="connsiteX81" fmla="*/ 1009015 w 1219200"/>
                <a:gd name="connsiteY81" fmla="*/ 774066 h 868681"/>
                <a:gd name="connsiteX82" fmla="*/ 911224 w 1219200"/>
                <a:gd name="connsiteY82" fmla="*/ 774066 h 868681"/>
                <a:gd name="connsiteX83" fmla="*/ 949325 w 1219200"/>
                <a:gd name="connsiteY83" fmla="*/ 821056 h 868681"/>
                <a:gd name="connsiteX84" fmla="*/ 948689 w 1219200"/>
                <a:gd name="connsiteY84" fmla="*/ 821056 h 868681"/>
                <a:gd name="connsiteX85" fmla="*/ 948689 w 1219200"/>
                <a:gd name="connsiteY85" fmla="*/ 828676 h 868681"/>
                <a:gd name="connsiteX86" fmla="*/ 894079 w 1219200"/>
                <a:gd name="connsiteY86" fmla="*/ 828676 h 868681"/>
                <a:gd name="connsiteX87" fmla="*/ 913129 w 1219200"/>
                <a:gd name="connsiteY87" fmla="*/ 846456 h 868681"/>
                <a:gd name="connsiteX88" fmla="*/ 929004 w 1219200"/>
                <a:gd name="connsiteY88" fmla="*/ 840106 h 868681"/>
                <a:gd name="connsiteX89" fmla="*/ 944879 w 1219200"/>
                <a:gd name="connsiteY89" fmla="*/ 853441 h 868681"/>
                <a:gd name="connsiteX90" fmla="*/ 912495 w 1219200"/>
                <a:gd name="connsiteY90" fmla="*/ 868046 h 868681"/>
                <a:gd name="connsiteX91" fmla="*/ 871220 w 1219200"/>
                <a:gd name="connsiteY91" fmla="*/ 821056 h 868681"/>
                <a:gd name="connsiteX92" fmla="*/ 911224 w 1219200"/>
                <a:gd name="connsiteY92" fmla="*/ 774066 h 868681"/>
                <a:gd name="connsiteX93" fmla="*/ 623570 w 1219200"/>
                <a:gd name="connsiteY93" fmla="*/ 774066 h 868681"/>
                <a:gd name="connsiteX94" fmla="*/ 655954 w 1219200"/>
                <a:gd name="connsiteY94" fmla="*/ 815341 h 868681"/>
                <a:gd name="connsiteX95" fmla="*/ 655954 w 1219200"/>
                <a:gd name="connsiteY95" fmla="*/ 866141 h 868681"/>
                <a:gd name="connsiteX96" fmla="*/ 632459 w 1219200"/>
                <a:gd name="connsiteY96" fmla="*/ 866141 h 868681"/>
                <a:gd name="connsiteX97" fmla="*/ 632459 w 1219200"/>
                <a:gd name="connsiteY97" fmla="*/ 817246 h 868681"/>
                <a:gd name="connsiteX98" fmla="*/ 617220 w 1219200"/>
                <a:gd name="connsiteY98" fmla="*/ 796291 h 868681"/>
                <a:gd name="connsiteX99" fmla="*/ 601345 w 1219200"/>
                <a:gd name="connsiteY99" fmla="*/ 816611 h 868681"/>
                <a:gd name="connsiteX100" fmla="*/ 601345 w 1219200"/>
                <a:gd name="connsiteY100" fmla="*/ 866141 h 868681"/>
                <a:gd name="connsiteX101" fmla="*/ 577849 w 1219200"/>
                <a:gd name="connsiteY101" fmla="*/ 866141 h 868681"/>
                <a:gd name="connsiteX102" fmla="*/ 577849 w 1219200"/>
                <a:gd name="connsiteY102" fmla="*/ 775971 h 868681"/>
                <a:gd name="connsiteX103" fmla="*/ 601345 w 1219200"/>
                <a:gd name="connsiteY103" fmla="*/ 775971 h 868681"/>
                <a:gd name="connsiteX104" fmla="*/ 601345 w 1219200"/>
                <a:gd name="connsiteY104" fmla="*/ 782321 h 868681"/>
                <a:gd name="connsiteX105" fmla="*/ 623570 w 1219200"/>
                <a:gd name="connsiteY105" fmla="*/ 774066 h 868681"/>
                <a:gd name="connsiteX106" fmla="*/ 522605 w 1219200"/>
                <a:gd name="connsiteY106" fmla="*/ 774066 h 868681"/>
                <a:gd name="connsiteX107" fmla="*/ 564515 w 1219200"/>
                <a:gd name="connsiteY107" fmla="*/ 821056 h 868681"/>
                <a:gd name="connsiteX108" fmla="*/ 522605 w 1219200"/>
                <a:gd name="connsiteY108" fmla="*/ 868046 h 868681"/>
                <a:gd name="connsiteX109" fmla="*/ 480695 w 1219200"/>
                <a:gd name="connsiteY109" fmla="*/ 821056 h 868681"/>
                <a:gd name="connsiteX110" fmla="*/ 522605 w 1219200"/>
                <a:gd name="connsiteY110" fmla="*/ 774066 h 868681"/>
                <a:gd name="connsiteX111" fmla="*/ 436879 w 1219200"/>
                <a:gd name="connsiteY111" fmla="*/ 774066 h 868681"/>
                <a:gd name="connsiteX112" fmla="*/ 472439 w 1219200"/>
                <a:gd name="connsiteY112" fmla="*/ 793751 h 868681"/>
                <a:gd name="connsiteX113" fmla="*/ 457200 w 1219200"/>
                <a:gd name="connsiteY113" fmla="*/ 808991 h 868681"/>
                <a:gd name="connsiteX114" fmla="*/ 436879 w 1219200"/>
                <a:gd name="connsiteY114" fmla="*/ 796291 h 868681"/>
                <a:gd name="connsiteX115" fmla="*/ 417829 w 1219200"/>
                <a:gd name="connsiteY115" fmla="*/ 820421 h 868681"/>
                <a:gd name="connsiteX116" fmla="*/ 436879 w 1219200"/>
                <a:gd name="connsiteY116" fmla="*/ 845186 h 868681"/>
                <a:gd name="connsiteX117" fmla="*/ 457200 w 1219200"/>
                <a:gd name="connsiteY117" fmla="*/ 833756 h 868681"/>
                <a:gd name="connsiteX118" fmla="*/ 457834 w 1219200"/>
                <a:gd name="connsiteY118" fmla="*/ 834391 h 868681"/>
                <a:gd name="connsiteX119" fmla="*/ 472439 w 1219200"/>
                <a:gd name="connsiteY119" fmla="*/ 848361 h 868681"/>
                <a:gd name="connsiteX120" fmla="*/ 436245 w 1219200"/>
                <a:gd name="connsiteY120" fmla="*/ 868046 h 868681"/>
                <a:gd name="connsiteX121" fmla="*/ 393700 w 1219200"/>
                <a:gd name="connsiteY121" fmla="*/ 821056 h 868681"/>
                <a:gd name="connsiteX122" fmla="*/ 436879 w 1219200"/>
                <a:gd name="connsiteY122" fmla="*/ 774066 h 868681"/>
                <a:gd name="connsiteX123" fmla="*/ 219075 w 1219200"/>
                <a:gd name="connsiteY123" fmla="*/ 742316 h 868681"/>
                <a:gd name="connsiteX124" fmla="*/ 219075 w 1219200"/>
                <a:gd name="connsiteY124" fmla="*/ 777241 h 868681"/>
                <a:gd name="connsiteX125" fmla="*/ 245110 w 1219200"/>
                <a:gd name="connsiteY125" fmla="*/ 777241 h 868681"/>
                <a:gd name="connsiteX126" fmla="*/ 245110 w 1219200"/>
                <a:gd name="connsiteY126" fmla="*/ 798831 h 868681"/>
                <a:gd name="connsiteX127" fmla="*/ 219075 w 1219200"/>
                <a:gd name="connsiteY127" fmla="*/ 798831 h 868681"/>
                <a:gd name="connsiteX128" fmla="*/ 219075 w 1219200"/>
                <a:gd name="connsiteY128" fmla="*/ 835661 h 868681"/>
                <a:gd name="connsiteX129" fmla="*/ 227965 w 1219200"/>
                <a:gd name="connsiteY129" fmla="*/ 846456 h 868681"/>
                <a:gd name="connsiteX130" fmla="*/ 245041 w 1219200"/>
                <a:gd name="connsiteY130" fmla="*/ 839979 h 868681"/>
                <a:gd name="connsiteX131" fmla="*/ 241935 w 1219200"/>
                <a:gd name="connsiteY131" fmla="*/ 862966 h 868681"/>
                <a:gd name="connsiteX132" fmla="*/ 219709 w 1219200"/>
                <a:gd name="connsiteY132" fmla="*/ 868681 h 868681"/>
                <a:gd name="connsiteX133" fmla="*/ 195579 w 1219200"/>
                <a:gd name="connsiteY133" fmla="*/ 842011 h 868681"/>
                <a:gd name="connsiteX134" fmla="*/ 195579 w 1219200"/>
                <a:gd name="connsiteY134" fmla="*/ 798831 h 868681"/>
                <a:gd name="connsiteX135" fmla="*/ 179704 w 1219200"/>
                <a:gd name="connsiteY135" fmla="*/ 798831 h 868681"/>
                <a:gd name="connsiteX136" fmla="*/ 179704 w 1219200"/>
                <a:gd name="connsiteY136" fmla="*/ 777241 h 868681"/>
                <a:gd name="connsiteX137" fmla="*/ 195579 w 1219200"/>
                <a:gd name="connsiteY137" fmla="*/ 777241 h 868681"/>
                <a:gd name="connsiteX138" fmla="*/ 195579 w 1219200"/>
                <a:gd name="connsiteY138" fmla="*/ 753746 h 868681"/>
                <a:gd name="connsiteX139" fmla="*/ 749935 w 1219200"/>
                <a:gd name="connsiteY139" fmla="*/ 741681 h 868681"/>
                <a:gd name="connsiteX140" fmla="*/ 763269 w 1219200"/>
                <a:gd name="connsiteY140" fmla="*/ 755016 h 868681"/>
                <a:gd name="connsiteX141" fmla="*/ 749935 w 1219200"/>
                <a:gd name="connsiteY141" fmla="*/ 768351 h 868681"/>
                <a:gd name="connsiteX142" fmla="*/ 736599 w 1219200"/>
                <a:gd name="connsiteY142" fmla="*/ 755016 h 868681"/>
                <a:gd name="connsiteX143" fmla="*/ 749935 w 1219200"/>
                <a:gd name="connsiteY143" fmla="*/ 741681 h 868681"/>
                <a:gd name="connsiteX144" fmla="*/ 154939 w 1219200"/>
                <a:gd name="connsiteY144" fmla="*/ 741681 h 868681"/>
                <a:gd name="connsiteX145" fmla="*/ 168275 w 1219200"/>
                <a:gd name="connsiteY145" fmla="*/ 755016 h 868681"/>
                <a:gd name="connsiteX146" fmla="*/ 154939 w 1219200"/>
                <a:gd name="connsiteY146" fmla="*/ 768351 h 868681"/>
                <a:gd name="connsiteX147" fmla="*/ 141605 w 1219200"/>
                <a:gd name="connsiteY147" fmla="*/ 755016 h 868681"/>
                <a:gd name="connsiteX148" fmla="*/ 154939 w 1219200"/>
                <a:gd name="connsiteY148" fmla="*/ 741681 h 868681"/>
                <a:gd name="connsiteX149" fmla="*/ 856614 w 1219200"/>
                <a:gd name="connsiteY149" fmla="*/ 741046 h 868681"/>
                <a:gd name="connsiteX150" fmla="*/ 856614 w 1219200"/>
                <a:gd name="connsiteY150" fmla="*/ 866141 h 868681"/>
                <a:gd name="connsiteX151" fmla="*/ 833120 w 1219200"/>
                <a:gd name="connsiteY151" fmla="*/ 866141 h 868681"/>
                <a:gd name="connsiteX152" fmla="*/ 833120 w 1219200"/>
                <a:gd name="connsiteY152" fmla="*/ 860426 h 868681"/>
                <a:gd name="connsiteX153" fmla="*/ 812799 w 1219200"/>
                <a:gd name="connsiteY153" fmla="*/ 868046 h 868681"/>
                <a:gd name="connsiteX154" fmla="*/ 775970 w 1219200"/>
                <a:gd name="connsiteY154" fmla="*/ 820421 h 868681"/>
                <a:gd name="connsiteX155" fmla="*/ 812165 w 1219200"/>
                <a:gd name="connsiteY155" fmla="*/ 774066 h 868681"/>
                <a:gd name="connsiteX156" fmla="*/ 833120 w 1219200"/>
                <a:gd name="connsiteY156" fmla="*/ 781051 h 868681"/>
                <a:gd name="connsiteX157" fmla="*/ 833120 w 1219200"/>
                <a:gd name="connsiteY157" fmla="*/ 752476 h 868681"/>
                <a:gd name="connsiteX158" fmla="*/ 707390 w 1219200"/>
                <a:gd name="connsiteY158" fmla="*/ 741046 h 868681"/>
                <a:gd name="connsiteX159" fmla="*/ 724534 w 1219200"/>
                <a:gd name="connsiteY159" fmla="*/ 743586 h 868681"/>
                <a:gd name="connsiteX160" fmla="*/ 724534 w 1219200"/>
                <a:gd name="connsiteY160" fmla="*/ 744221 h 868681"/>
                <a:gd name="connsiteX161" fmla="*/ 724534 w 1219200"/>
                <a:gd name="connsiteY161" fmla="*/ 762636 h 868681"/>
                <a:gd name="connsiteX162" fmla="*/ 713105 w 1219200"/>
                <a:gd name="connsiteY162" fmla="*/ 760731 h 868681"/>
                <a:gd name="connsiteX163" fmla="*/ 703579 w 1219200"/>
                <a:gd name="connsiteY163" fmla="*/ 768351 h 868681"/>
                <a:gd name="connsiteX164" fmla="*/ 703579 w 1219200"/>
                <a:gd name="connsiteY164" fmla="*/ 775336 h 868681"/>
                <a:gd name="connsiteX165" fmla="*/ 722629 w 1219200"/>
                <a:gd name="connsiteY165" fmla="*/ 775336 h 868681"/>
                <a:gd name="connsiteX166" fmla="*/ 722629 w 1219200"/>
                <a:gd name="connsiteY166" fmla="*/ 796926 h 868681"/>
                <a:gd name="connsiteX167" fmla="*/ 703579 w 1219200"/>
                <a:gd name="connsiteY167" fmla="*/ 796926 h 868681"/>
                <a:gd name="connsiteX168" fmla="*/ 703579 w 1219200"/>
                <a:gd name="connsiteY168" fmla="*/ 865506 h 868681"/>
                <a:gd name="connsiteX169" fmla="*/ 680084 w 1219200"/>
                <a:gd name="connsiteY169" fmla="*/ 865506 h 868681"/>
                <a:gd name="connsiteX170" fmla="*/ 680084 w 1219200"/>
                <a:gd name="connsiteY170" fmla="*/ 796926 h 868681"/>
                <a:gd name="connsiteX171" fmla="*/ 667385 w 1219200"/>
                <a:gd name="connsiteY171" fmla="*/ 796926 h 868681"/>
                <a:gd name="connsiteX172" fmla="*/ 667385 w 1219200"/>
                <a:gd name="connsiteY172" fmla="*/ 775336 h 868681"/>
                <a:gd name="connsiteX173" fmla="*/ 680084 w 1219200"/>
                <a:gd name="connsiteY173" fmla="*/ 775336 h 868681"/>
                <a:gd name="connsiteX174" fmla="*/ 680084 w 1219200"/>
                <a:gd name="connsiteY174" fmla="*/ 764541 h 868681"/>
                <a:gd name="connsiteX175" fmla="*/ 707390 w 1219200"/>
                <a:gd name="connsiteY175" fmla="*/ 741046 h 868681"/>
                <a:gd name="connsiteX176" fmla="*/ 282575 w 1219200"/>
                <a:gd name="connsiteY176" fmla="*/ 741046 h 868681"/>
                <a:gd name="connsiteX177" fmla="*/ 282575 w 1219200"/>
                <a:gd name="connsiteY177" fmla="*/ 782321 h 868681"/>
                <a:gd name="connsiteX178" fmla="*/ 304799 w 1219200"/>
                <a:gd name="connsiteY178" fmla="*/ 774066 h 868681"/>
                <a:gd name="connsiteX179" fmla="*/ 336549 w 1219200"/>
                <a:gd name="connsiteY179" fmla="*/ 815341 h 868681"/>
                <a:gd name="connsiteX180" fmla="*/ 336549 w 1219200"/>
                <a:gd name="connsiteY180" fmla="*/ 866141 h 868681"/>
                <a:gd name="connsiteX181" fmla="*/ 313689 w 1219200"/>
                <a:gd name="connsiteY181" fmla="*/ 866141 h 868681"/>
                <a:gd name="connsiteX182" fmla="*/ 313689 w 1219200"/>
                <a:gd name="connsiteY182" fmla="*/ 817246 h 868681"/>
                <a:gd name="connsiteX183" fmla="*/ 298450 w 1219200"/>
                <a:gd name="connsiteY183" fmla="*/ 796291 h 868681"/>
                <a:gd name="connsiteX184" fmla="*/ 282575 w 1219200"/>
                <a:gd name="connsiteY184" fmla="*/ 816611 h 868681"/>
                <a:gd name="connsiteX185" fmla="*/ 282575 w 1219200"/>
                <a:gd name="connsiteY185" fmla="*/ 866141 h 868681"/>
                <a:gd name="connsiteX186" fmla="*/ 259079 w 1219200"/>
                <a:gd name="connsiteY186" fmla="*/ 866141 h 868681"/>
                <a:gd name="connsiteX187" fmla="*/ 259079 w 1219200"/>
                <a:gd name="connsiteY187" fmla="*/ 752476 h 868681"/>
                <a:gd name="connsiteX188" fmla="*/ 92709 w 1219200"/>
                <a:gd name="connsiteY188" fmla="*/ 648336 h 868681"/>
                <a:gd name="connsiteX189" fmla="*/ 92709 w 1219200"/>
                <a:gd name="connsiteY189" fmla="*/ 649606 h 868681"/>
                <a:gd name="connsiteX190" fmla="*/ 92427 w 1219200"/>
                <a:gd name="connsiteY190" fmla="*/ 648959 h 868681"/>
                <a:gd name="connsiteX191" fmla="*/ 230504 w 1219200"/>
                <a:gd name="connsiteY191" fmla="*/ 643256 h 868681"/>
                <a:gd name="connsiteX192" fmla="*/ 215900 w 1219200"/>
                <a:gd name="connsiteY192" fmla="*/ 654686 h 868681"/>
                <a:gd name="connsiteX193" fmla="*/ 228599 w 1219200"/>
                <a:gd name="connsiteY193" fmla="*/ 667386 h 868681"/>
                <a:gd name="connsiteX194" fmla="*/ 245745 w 1219200"/>
                <a:gd name="connsiteY194" fmla="*/ 658496 h 868681"/>
                <a:gd name="connsiteX195" fmla="*/ 245745 w 1219200"/>
                <a:gd name="connsiteY195" fmla="*/ 647066 h 868681"/>
                <a:gd name="connsiteX196" fmla="*/ 230504 w 1219200"/>
                <a:gd name="connsiteY196" fmla="*/ 643256 h 868681"/>
                <a:gd name="connsiteX197" fmla="*/ 321310 w 1219200"/>
                <a:gd name="connsiteY197" fmla="*/ 614046 h 868681"/>
                <a:gd name="connsiteX198" fmla="*/ 306704 w 1219200"/>
                <a:gd name="connsiteY198" fmla="*/ 622301 h 868681"/>
                <a:gd name="connsiteX199" fmla="*/ 306704 w 1219200"/>
                <a:gd name="connsiteY199" fmla="*/ 656591 h 868681"/>
                <a:gd name="connsiteX200" fmla="*/ 323215 w 1219200"/>
                <a:gd name="connsiteY200" fmla="*/ 664846 h 868681"/>
                <a:gd name="connsiteX201" fmla="*/ 339090 w 1219200"/>
                <a:gd name="connsiteY201" fmla="*/ 640716 h 868681"/>
                <a:gd name="connsiteX202" fmla="*/ 338454 w 1219200"/>
                <a:gd name="connsiteY202" fmla="*/ 640716 h 868681"/>
                <a:gd name="connsiteX203" fmla="*/ 321310 w 1219200"/>
                <a:gd name="connsiteY203" fmla="*/ 614046 h 868681"/>
                <a:gd name="connsiteX204" fmla="*/ 1179195 w 1219200"/>
                <a:gd name="connsiteY204" fmla="*/ 612776 h 868681"/>
                <a:gd name="connsiteX205" fmla="*/ 1163320 w 1219200"/>
                <a:gd name="connsiteY205" fmla="*/ 629921 h 868681"/>
                <a:gd name="connsiteX206" fmla="*/ 1163954 w 1219200"/>
                <a:gd name="connsiteY206" fmla="*/ 629921 h 868681"/>
                <a:gd name="connsiteX207" fmla="*/ 1195704 w 1219200"/>
                <a:gd name="connsiteY207" fmla="*/ 629921 h 868681"/>
                <a:gd name="connsiteX208" fmla="*/ 1179195 w 1219200"/>
                <a:gd name="connsiteY208" fmla="*/ 612776 h 868681"/>
                <a:gd name="connsiteX209" fmla="*/ 689610 w 1219200"/>
                <a:gd name="connsiteY209" fmla="*/ 612776 h 868681"/>
                <a:gd name="connsiteX210" fmla="*/ 673735 w 1219200"/>
                <a:gd name="connsiteY210" fmla="*/ 629921 h 868681"/>
                <a:gd name="connsiteX211" fmla="*/ 674370 w 1219200"/>
                <a:gd name="connsiteY211" fmla="*/ 629921 h 868681"/>
                <a:gd name="connsiteX212" fmla="*/ 706120 w 1219200"/>
                <a:gd name="connsiteY212" fmla="*/ 629921 h 868681"/>
                <a:gd name="connsiteX213" fmla="*/ 689610 w 1219200"/>
                <a:gd name="connsiteY213" fmla="*/ 612776 h 868681"/>
                <a:gd name="connsiteX214" fmla="*/ 410845 w 1219200"/>
                <a:gd name="connsiteY214" fmla="*/ 612776 h 868681"/>
                <a:gd name="connsiteX215" fmla="*/ 395605 w 1219200"/>
                <a:gd name="connsiteY215" fmla="*/ 629921 h 868681"/>
                <a:gd name="connsiteX216" fmla="*/ 427355 w 1219200"/>
                <a:gd name="connsiteY216" fmla="*/ 629921 h 868681"/>
                <a:gd name="connsiteX217" fmla="*/ 410845 w 1219200"/>
                <a:gd name="connsiteY217" fmla="*/ 612776 h 868681"/>
                <a:gd name="connsiteX218" fmla="*/ 991870 w 1219200"/>
                <a:gd name="connsiteY218" fmla="*/ 594361 h 868681"/>
                <a:gd name="connsiteX219" fmla="*/ 1014095 w 1219200"/>
                <a:gd name="connsiteY219" fmla="*/ 594361 h 868681"/>
                <a:gd name="connsiteX220" fmla="*/ 1014095 w 1219200"/>
                <a:gd name="connsiteY220" fmla="*/ 643256 h 868681"/>
                <a:gd name="connsiteX221" fmla="*/ 1029334 w 1219200"/>
                <a:gd name="connsiteY221" fmla="*/ 664846 h 868681"/>
                <a:gd name="connsiteX222" fmla="*/ 1044575 w 1219200"/>
                <a:gd name="connsiteY222" fmla="*/ 644526 h 868681"/>
                <a:gd name="connsiteX223" fmla="*/ 1044575 w 1219200"/>
                <a:gd name="connsiteY223" fmla="*/ 594996 h 868681"/>
                <a:gd name="connsiteX224" fmla="*/ 1066799 w 1219200"/>
                <a:gd name="connsiteY224" fmla="*/ 594996 h 868681"/>
                <a:gd name="connsiteX225" fmla="*/ 1066799 w 1219200"/>
                <a:gd name="connsiteY225" fmla="*/ 684531 h 868681"/>
                <a:gd name="connsiteX226" fmla="*/ 1044575 w 1219200"/>
                <a:gd name="connsiteY226" fmla="*/ 684531 h 868681"/>
                <a:gd name="connsiteX227" fmla="*/ 1044575 w 1219200"/>
                <a:gd name="connsiteY227" fmla="*/ 678181 h 868681"/>
                <a:gd name="connsiteX228" fmla="*/ 1023620 w 1219200"/>
                <a:gd name="connsiteY228" fmla="*/ 686436 h 868681"/>
                <a:gd name="connsiteX229" fmla="*/ 991870 w 1219200"/>
                <a:gd name="connsiteY229" fmla="*/ 645161 h 868681"/>
                <a:gd name="connsiteX230" fmla="*/ 836295 w 1219200"/>
                <a:gd name="connsiteY230" fmla="*/ 594361 h 868681"/>
                <a:gd name="connsiteX231" fmla="*/ 858519 w 1219200"/>
                <a:gd name="connsiteY231" fmla="*/ 594361 h 868681"/>
                <a:gd name="connsiteX232" fmla="*/ 858519 w 1219200"/>
                <a:gd name="connsiteY232" fmla="*/ 643256 h 868681"/>
                <a:gd name="connsiteX233" fmla="*/ 873760 w 1219200"/>
                <a:gd name="connsiteY233" fmla="*/ 664846 h 868681"/>
                <a:gd name="connsiteX234" fmla="*/ 889000 w 1219200"/>
                <a:gd name="connsiteY234" fmla="*/ 644526 h 868681"/>
                <a:gd name="connsiteX235" fmla="*/ 889000 w 1219200"/>
                <a:gd name="connsiteY235" fmla="*/ 594996 h 868681"/>
                <a:gd name="connsiteX236" fmla="*/ 911224 w 1219200"/>
                <a:gd name="connsiteY236" fmla="*/ 594996 h 868681"/>
                <a:gd name="connsiteX237" fmla="*/ 911224 w 1219200"/>
                <a:gd name="connsiteY237" fmla="*/ 684531 h 868681"/>
                <a:gd name="connsiteX238" fmla="*/ 889000 w 1219200"/>
                <a:gd name="connsiteY238" fmla="*/ 684531 h 868681"/>
                <a:gd name="connsiteX239" fmla="*/ 889000 w 1219200"/>
                <a:gd name="connsiteY239" fmla="*/ 678181 h 868681"/>
                <a:gd name="connsiteX240" fmla="*/ 868045 w 1219200"/>
                <a:gd name="connsiteY240" fmla="*/ 686436 h 868681"/>
                <a:gd name="connsiteX241" fmla="*/ 836295 w 1219200"/>
                <a:gd name="connsiteY241" fmla="*/ 645161 h 868681"/>
                <a:gd name="connsiteX242" fmla="*/ 1181099 w 1219200"/>
                <a:gd name="connsiteY242" fmla="*/ 592456 h 868681"/>
                <a:gd name="connsiteX243" fmla="*/ 1219200 w 1219200"/>
                <a:gd name="connsiteY243" fmla="*/ 639446 h 868681"/>
                <a:gd name="connsiteX244" fmla="*/ 1218564 w 1219200"/>
                <a:gd name="connsiteY244" fmla="*/ 639446 h 868681"/>
                <a:gd name="connsiteX245" fmla="*/ 1218564 w 1219200"/>
                <a:gd name="connsiteY245" fmla="*/ 647066 h 868681"/>
                <a:gd name="connsiteX246" fmla="*/ 1163954 w 1219200"/>
                <a:gd name="connsiteY246" fmla="*/ 647066 h 868681"/>
                <a:gd name="connsiteX247" fmla="*/ 1183004 w 1219200"/>
                <a:gd name="connsiteY247" fmla="*/ 664846 h 868681"/>
                <a:gd name="connsiteX248" fmla="*/ 1198879 w 1219200"/>
                <a:gd name="connsiteY248" fmla="*/ 658496 h 868681"/>
                <a:gd name="connsiteX249" fmla="*/ 1214754 w 1219200"/>
                <a:gd name="connsiteY249" fmla="*/ 671831 h 868681"/>
                <a:gd name="connsiteX250" fmla="*/ 1182370 w 1219200"/>
                <a:gd name="connsiteY250" fmla="*/ 686436 h 868681"/>
                <a:gd name="connsiteX251" fmla="*/ 1141095 w 1219200"/>
                <a:gd name="connsiteY251" fmla="*/ 639446 h 868681"/>
                <a:gd name="connsiteX252" fmla="*/ 1181099 w 1219200"/>
                <a:gd name="connsiteY252" fmla="*/ 592456 h 868681"/>
                <a:gd name="connsiteX253" fmla="*/ 691515 w 1219200"/>
                <a:gd name="connsiteY253" fmla="*/ 592456 h 868681"/>
                <a:gd name="connsiteX254" fmla="*/ 729614 w 1219200"/>
                <a:gd name="connsiteY254" fmla="*/ 639446 h 868681"/>
                <a:gd name="connsiteX255" fmla="*/ 728980 w 1219200"/>
                <a:gd name="connsiteY255" fmla="*/ 639446 h 868681"/>
                <a:gd name="connsiteX256" fmla="*/ 728980 w 1219200"/>
                <a:gd name="connsiteY256" fmla="*/ 647066 h 868681"/>
                <a:gd name="connsiteX257" fmla="*/ 674370 w 1219200"/>
                <a:gd name="connsiteY257" fmla="*/ 647066 h 868681"/>
                <a:gd name="connsiteX258" fmla="*/ 693420 w 1219200"/>
                <a:gd name="connsiteY258" fmla="*/ 664846 h 868681"/>
                <a:gd name="connsiteX259" fmla="*/ 709295 w 1219200"/>
                <a:gd name="connsiteY259" fmla="*/ 658496 h 868681"/>
                <a:gd name="connsiteX260" fmla="*/ 725170 w 1219200"/>
                <a:gd name="connsiteY260" fmla="*/ 671831 h 868681"/>
                <a:gd name="connsiteX261" fmla="*/ 692784 w 1219200"/>
                <a:gd name="connsiteY261" fmla="*/ 686436 h 868681"/>
                <a:gd name="connsiteX262" fmla="*/ 651510 w 1219200"/>
                <a:gd name="connsiteY262" fmla="*/ 639446 h 868681"/>
                <a:gd name="connsiteX263" fmla="*/ 691515 w 1219200"/>
                <a:gd name="connsiteY263" fmla="*/ 592456 h 868681"/>
                <a:gd name="connsiteX264" fmla="*/ 412114 w 1219200"/>
                <a:gd name="connsiteY264" fmla="*/ 592456 h 868681"/>
                <a:gd name="connsiteX265" fmla="*/ 448310 w 1219200"/>
                <a:gd name="connsiteY265" fmla="*/ 639446 h 868681"/>
                <a:gd name="connsiteX266" fmla="*/ 448310 w 1219200"/>
                <a:gd name="connsiteY266" fmla="*/ 647066 h 868681"/>
                <a:gd name="connsiteX267" fmla="*/ 395605 w 1219200"/>
                <a:gd name="connsiteY267" fmla="*/ 647066 h 868681"/>
                <a:gd name="connsiteX268" fmla="*/ 415290 w 1219200"/>
                <a:gd name="connsiteY268" fmla="*/ 664846 h 868681"/>
                <a:gd name="connsiteX269" fmla="*/ 430530 w 1219200"/>
                <a:gd name="connsiteY269" fmla="*/ 658496 h 868681"/>
                <a:gd name="connsiteX270" fmla="*/ 446405 w 1219200"/>
                <a:gd name="connsiteY270" fmla="*/ 671831 h 868681"/>
                <a:gd name="connsiteX271" fmla="*/ 413385 w 1219200"/>
                <a:gd name="connsiteY271" fmla="*/ 686436 h 868681"/>
                <a:gd name="connsiteX272" fmla="*/ 372110 w 1219200"/>
                <a:gd name="connsiteY272" fmla="*/ 640081 h 868681"/>
                <a:gd name="connsiteX273" fmla="*/ 412114 w 1219200"/>
                <a:gd name="connsiteY273" fmla="*/ 592456 h 868681"/>
                <a:gd name="connsiteX274" fmla="*/ 326390 w 1219200"/>
                <a:gd name="connsiteY274" fmla="*/ 592456 h 868681"/>
                <a:gd name="connsiteX275" fmla="*/ 361314 w 1219200"/>
                <a:gd name="connsiteY275" fmla="*/ 639446 h 868681"/>
                <a:gd name="connsiteX276" fmla="*/ 326390 w 1219200"/>
                <a:gd name="connsiteY276" fmla="*/ 686436 h 868681"/>
                <a:gd name="connsiteX277" fmla="*/ 306070 w 1219200"/>
                <a:gd name="connsiteY277" fmla="*/ 678816 h 868681"/>
                <a:gd name="connsiteX278" fmla="*/ 306070 w 1219200"/>
                <a:gd name="connsiteY278" fmla="*/ 706121 h 868681"/>
                <a:gd name="connsiteX279" fmla="*/ 283845 w 1219200"/>
                <a:gd name="connsiteY279" fmla="*/ 717551 h 868681"/>
                <a:gd name="connsiteX280" fmla="*/ 283845 w 1219200"/>
                <a:gd name="connsiteY280" fmla="*/ 594361 h 868681"/>
                <a:gd name="connsiteX281" fmla="*/ 306070 w 1219200"/>
                <a:gd name="connsiteY281" fmla="*/ 594361 h 868681"/>
                <a:gd name="connsiteX282" fmla="*/ 306070 w 1219200"/>
                <a:gd name="connsiteY282" fmla="*/ 600711 h 868681"/>
                <a:gd name="connsiteX283" fmla="*/ 326390 w 1219200"/>
                <a:gd name="connsiteY283" fmla="*/ 592456 h 868681"/>
                <a:gd name="connsiteX284" fmla="*/ 231775 w 1219200"/>
                <a:gd name="connsiteY284" fmla="*/ 592456 h 868681"/>
                <a:gd name="connsiteX285" fmla="*/ 268605 w 1219200"/>
                <a:gd name="connsiteY285" fmla="*/ 624206 h 868681"/>
                <a:gd name="connsiteX286" fmla="*/ 268605 w 1219200"/>
                <a:gd name="connsiteY286" fmla="*/ 684531 h 868681"/>
                <a:gd name="connsiteX287" fmla="*/ 267970 w 1219200"/>
                <a:gd name="connsiteY287" fmla="*/ 684531 h 868681"/>
                <a:gd name="connsiteX288" fmla="*/ 245745 w 1219200"/>
                <a:gd name="connsiteY288" fmla="*/ 684531 h 868681"/>
                <a:gd name="connsiteX289" fmla="*/ 245745 w 1219200"/>
                <a:gd name="connsiteY289" fmla="*/ 678181 h 868681"/>
                <a:gd name="connsiteX290" fmla="*/ 224790 w 1219200"/>
                <a:gd name="connsiteY290" fmla="*/ 686436 h 868681"/>
                <a:gd name="connsiteX291" fmla="*/ 193040 w 1219200"/>
                <a:gd name="connsiteY291" fmla="*/ 655321 h 868681"/>
                <a:gd name="connsiteX292" fmla="*/ 227965 w 1219200"/>
                <a:gd name="connsiteY292" fmla="*/ 624841 h 868681"/>
                <a:gd name="connsiteX293" fmla="*/ 245745 w 1219200"/>
                <a:gd name="connsiteY293" fmla="*/ 628651 h 868681"/>
                <a:gd name="connsiteX294" fmla="*/ 245745 w 1219200"/>
                <a:gd name="connsiteY294" fmla="*/ 623571 h 868681"/>
                <a:gd name="connsiteX295" fmla="*/ 230504 w 1219200"/>
                <a:gd name="connsiteY295" fmla="*/ 611506 h 868681"/>
                <a:gd name="connsiteX296" fmla="*/ 209549 w 1219200"/>
                <a:gd name="connsiteY296" fmla="*/ 617221 h 868681"/>
                <a:gd name="connsiteX297" fmla="*/ 200659 w 1219200"/>
                <a:gd name="connsiteY297" fmla="*/ 601346 h 868681"/>
                <a:gd name="connsiteX298" fmla="*/ 231775 w 1219200"/>
                <a:gd name="connsiteY298" fmla="*/ 592456 h 868681"/>
                <a:gd name="connsiteX299" fmla="*/ 1125855 w 1219200"/>
                <a:gd name="connsiteY299" fmla="*/ 591821 h 868681"/>
                <a:gd name="connsiteX300" fmla="*/ 1142364 w 1219200"/>
                <a:gd name="connsiteY300" fmla="*/ 598171 h 868681"/>
                <a:gd name="connsiteX301" fmla="*/ 1141730 w 1219200"/>
                <a:gd name="connsiteY301" fmla="*/ 598806 h 868681"/>
                <a:gd name="connsiteX302" fmla="*/ 1132840 w 1219200"/>
                <a:gd name="connsiteY302" fmla="*/ 621031 h 868681"/>
                <a:gd name="connsiteX303" fmla="*/ 1120140 w 1219200"/>
                <a:gd name="connsiteY303" fmla="*/ 615316 h 868681"/>
                <a:gd name="connsiteX304" fmla="*/ 1106805 w 1219200"/>
                <a:gd name="connsiteY304" fmla="*/ 635001 h 868681"/>
                <a:gd name="connsiteX305" fmla="*/ 1106805 w 1219200"/>
                <a:gd name="connsiteY305" fmla="*/ 683896 h 868681"/>
                <a:gd name="connsiteX306" fmla="*/ 1084579 w 1219200"/>
                <a:gd name="connsiteY306" fmla="*/ 683896 h 868681"/>
                <a:gd name="connsiteX307" fmla="*/ 1084579 w 1219200"/>
                <a:gd name="connsiteY307" fmla="*/ 593726 h 868681"/>
                <a:gd name="connsiteX308" fmla="*/ 1106805 w 1219200"/>
                <a:gd name="connsiteY308" fmla="*/ 593726 h 868681"/>
                <a:gd name="connsiteX309" fmla="*/ 1106805 w 1219200"/>
                <a:gd name="connsiteY309" fmla="*/ 600076 h 868681"/>
                <a:gd name="connsiteX310" fmla="*/ 1125855 w 1219200"/>
                <a:gd name="connsiteY310" fmla="*/ 591821 h 868681"/>
                <a:gd name="connsiteX311" fmla="*/ 47625 w 1219200"/>
                <a:gd name="connsiteY311" fmla="*/ 563881 h 868681"/>
                <a:gd name="connsiteX312" fmla="*/ 90170 w 1219200"/>
                <a:gd name="connsiteY312" fmla="*/ 582296 h 868681"/>
                <a:gd name="connsiteX313" fmla="*/ 73659 w 1219200"/>
                <a:gd name="connsiteY313" fmla="*/ 598806 h 868681"/>
                <a:gd name="connsiteX314" fmla="*/ 46355 w 1219200"/>
                <a:gd name="connsiteY314" fmla="*/ 586741 h 868681"/>
                <a:gd name="connsiteX315" fmla="*/ 28575 w 1219200"/>
                <a:gd name="connsiteY315" fmla="*/ 598171 h 868681"/>
                <a:gd name="connsiteX316" fmla="*/ 33655 w 1219200"/>
                <a:gd name="connsiteY316" fmla="*/ 606426 h 868681"/>
                <a:gd name="connsiteX317" fmla="*/ 52704 w 1219200"/>
                <a:gd name="connsiteY317" fmla="*/ 612776 h 868681"/>
                <a:gd name="connsiteX318" fmla="*/ 81915 w 1219200"/>
                <a:gd name="connsiteY318" fmla="*/ 624841 h 868681"/>
                <a:gd name="connsiteX319" fmla="*/ 92427 w 1219200"/>
                <a:gd name="connsiteY319" fmla="*/ 648959 h 868681"/>
                <a:gd name="connsiteX320" fmla="*/ 79454 w 1219200"/>
                <a:gd name="connsiteY320" fmla="*/ 677626 h 868681"/>
                <a:gd name="connsiteX321" fmla="*/ 47625 w 1219200"/>
                <a:gd name="connsiteY321" fmla="*/ 686436 h 868681"/>
                <a:gd name="connsiteX322" fmla="*/ 0 w 1219200"/>
                <a:gd name="connsiteY322" fmla="*/ 664846 h 868681"/>
                <a:gd name="connsiteX323" fmla="*/ 16510 w 1219200"/>
                <a:gd name="connsiteY323" fmla="*/ 650241 h 868681"/>
                <a:gd name="connsiteX324" fmla="*/ 46989 w 1219200"/>
                <a:gd name="connsiteY324" fmla="*/ 664211 h 868681"/>
                <a:gd name="connsiteX325" fmla="*/ 68579 w 1219200"/>
                <a:gd name="connsiteY325" fmla="*/ 649606 h 868681"/>
                <a:gd name="connsiteX326" fmla="*/ 61595 w 1219200"/>
                <a:gd name="connsiteY326" fmla="*/ 640081 h 868681"/>
                <a:gd name="connsiteX327" fmla="*/ 41909 w 1219200"/>
                <a:gd name="connsiteY327" fmla="*/ 634366 h 868681"/>
                <a:gd name="connsiteX328" fmla="*/ 14605 w 1219200"/>
                <a:gd name="connsiteY328" fmla="*/ 623571 h 868681"/>
                <a:gd name="connsiteX329" fmla="*/ 4444 w 1219200"/>
                <a:gd name="connsiteY329" fmla="*/ 599441 h 868681"/>
                <a:gd name="connsiteX330" fmla="*/ 47625 w 1219200"/>
                <a:gd name="connsiteY330" fmla="*/ 563881 h 868681"/>
                <a:gd name="connsiteX331" fmla="*/ 814070 w 1219200"/>
                <a:gd name="connsiteY331" fmla="*/ 560071 h 868681"/>
                <a:gd name="connsiteX332" fmla="*/ 830579 w 1219200"/>
                <a:gd name="connsiteY332" fmla="*/ 562611 h 868681"/>
                <a:gd name="connsiteX333" fmla="*/ 829945 w 1219200"/>
                <a:gd name="connsiteY333" fmla="*/ 562611 h 868681"/>
                <a:gd name="connsiteX334" fmla="*/ 829945 w 1219200"/>
                <a:gd name="connsiteY334" fmla="*/ 581026 h 868681"/>
                <a:gd name="connsiteX335" fmla="*/ 818515 w 1219200"/>
                <a:gd name="connsiteY335" fmla="*/ 579121 h 868681"/>
                <a:gd name="connsiteX336" fmla="*/ 808989 w 1219200"/>
                <a:gd name="connsiteY336" fmla="*/ 586741 h 868681"/>
                <a:gd name="connsiteX337" fmla="*/ 808989 w 1219200"/>
                <a:gd name="connsiteY337" fmla="*/ 594361 h 868681"/>
                <a:gd name="connsiteX338" fmla="*/ 824230 w 1219200"/>
                <a:gd name="connsiteY338" fmla="*/ 594361 h 868681"/>
                <a:gd name="connsiteX339" fmla="*/ 824230 w 1219200"/>
                <a:gd name="connsiteY339" fmla="*/ 615951 h 868681"/>
                <a:gd name="connsiteX340" fmla="*/ 808989 w 1219200"/>
                <a:gd name="connsiteY340" fmla="*/ 615951 h 868681"/>
                <a:gd name="connsiteX341" fmla="*/ 808989 w 1219200"/>
                <a:gd name="connsiteY341" fmla="*/ 684531 h 868681"/>
                <a:gd name="connsiteX342" fmla="*/ 786765 w 1219200"/>
                <a:gd name="connsiteY342" fmla="*/ 684531 h 868681"/>
                <a:gd name="connsiteX343" fmla="*/ 786765 w 1219200"/>
                <a:gd name="connsiteY343" fmla="*/ 615951 h 868681"/>
                <a:gd name="connsiteX344" fmla="*/ 775970 w 1219200"/>
                <a:gd name="connsiteY344" fmla="*/ 615951 h 868681"/>
                <a:gd name="connsiteX345" fmla="*/ 775970 w 1219200"/>
                <a:gd name="connsiteY345" fmla="*/ 594361 h 868681"/>
                <a:gd name="connsiteX346" fmla="*/ 786765 w 1219200"/>
                <a:gd name="connsiteY346" fmla="*/ 594361 h 868681"/>
                <a:gd name="connsiteX347" fmla="*/ 786765 w 1219200"/>
                <a:gd name="connsiteY347" fmla="*/ 583566 h 868681"/>
                <a:gd name="connsiteX348" fmla="*/ 814070 w 1219200"/>
                <a:gd name="connsiteY348" fmla="*/ 560071 h 868681"/>
                <a:gd name="connsiteX349" fmla="*/ 957579 w 1219200"/>
                <a:gd name="connsiteY349" fmla="*/ 559436 h 868681"/>
                <a:gd name="connsiteX350" fmla="*/ 957579 w 1219200"/>
                <a:gd name="connsiteY350" fmla="*/ 594361 h 868681"/>
                <a:gd name="connsiteX351" fmla="*/ 979170 w 1219200"/>
                <a:gd name="connsiteY351" fmla="*/ 594361 h 868681"/>
                <a:gd name="connsiteX352" fmla="*/ 979170 w 1219200"/>
                <a:gd name="connsiteY352" fmla="*/ 615951 h 868681"/>
                <a:gd name="connsiteX353" fmla="*/ 957579 w 1219200"/>
                <a:gd name="connsiteY353" fmla="*/ 615951 h 868681"/>
                <a:gd name="connsiteX354" fmla="*/ 957579 w 1219200"/>
                <a:gd name="connsiteY354" fmla="*/ 654051 h 868681"/>
                <a:gd name="connsiteX355" fmla="*/ 966470 w 1219200"/>
                <a:gd name="connsiteY355" fmla="*/ 664846 h 868681"/>
                <a:gd name="connsiteX356" fmla="*/ 981075 w 1219200"/>
                <a:gd name="connsiteY356" fmla="*/ 658496 h 868681"/>
                <a:gd name="connsiteX357" fmla="*/ 977900 w 1219200"/>
                <a:gd name="connsiteY357" fmla="*/ 681356 h 868681"/>
                <a:gd name="connsiteX358" fmla="*/ 959485 w 1219200"/>
                <a:gd name="connsiteY358" fmla="*/ 686436 h 868681"/>
                <a:gd name="connsiteX359" fmla="*/ 935355 w 1219200"/>
                <a:gd name="connsiteY359" fmla="*/ 659766 h 868681"/>
                <a:gd name="connsiteX360" fmla="*/ 935355 w 1219200"/>
                <a:gd name="connsiteY360" fmla="*/ 615951 h 868681"/>
                <a:gd name="connsiteX361" fmla="*/ 922655 w 1219200"/>
                <a:gd name="connsiteY361" fmla="*/ 615951 h 868681"/>
                <a:gd name="connsiteX362" fmla="*/ 922655 w 1219200"/>
                <a:gd name="connsiteY362" fmla="*/ 594361 h 868681"/>
                <a:gd name="connsiteX363" fmla="*/ 935355 w 1219200"/>
                <a:gd name="connsiteY363" fmla="*/ 594361 h 868681"/>
                <a:gd name="connsiteX364" fmla="*/ 935355 w 1219200"/>
                <a:gd name="connsiteY364" fmla="*/ 570866 h 868681"/>
                <a:gd name="connsiteX365" fmla="*/ 586739 w 1219200"/>
                <a:gd name="connsiteY365" fmla="*/ 559436 h 868681"/>
                <a:gd name="connsiteX366" fmla="*/ 586739 w 1219200"/>
                <a:gd name="connsiteY366" fmla="*/ 600711 h 868681"/>
                <a:gd name="connsiteX367" fmla="*/ 607695 w 1219200"/>
                <a:gd name="connsiteY367" fmla="*/ 592456 h 868681"/>
                <a:gd name="connsiteX368" fmla="*/ 639445 w 1219200"/>
                <a:gd name="connsiteY368" fmla="*/ 633731 h 868681"/>
                <a:gd name="connsiteX369" fmla="*/ 639445 w 1219200"/>
                <a:gd name="connsiteY369" fmla="*/ 684531 h 868681"/>
                <a:gd name="connsiteX370" fmla="*/ 617220 w 1219200"/>
                <a:gd name="connsiteY370" fmla="*/ 684531 h 868681"/>
                <a:gd name="connsiteX371" fmla="*/ 617220 w 1219200"/>
                <a:gd name="connsiteY371" fmla="*/ 635636 h 868681"/>
                <a:gd name="connsiteX372" fmla="*/ 601980 w 1219200"/>
                <a:gd name="connsiteY372" fmla="*/ 614681 h 868681"/>
                <a:gd name="connsiteX373" fmla="*/ 586739 w 1219200"/>
                <a:gd name="connsiteY373" fmla="*/ 635001 h 868681"/>
                <a:gd name="connsiteX374" fmla="*/ 586739 w 1219200"/>
                <a:gd name="connsiteY374" fmla="*/ 684531 h 868681"/>
                <a:gd name="connsiteX375" fmla="*/ 564515 w 1219200"/>
                <a:gd name="connsiteY375" fmla="*/ 684531 h 868681"/>
                <a:gd name="connsiteX376" fmla="*/ 564515 w 1219200"/>
                <a:gd name="connsiteY376" fmla="*/ 570866 h 868681"/>
                <a:gd name="connsiteX377" fmla="*/ 529590 w 1219200"/>
                <a:gd name="connsiteY377" fmla="*/ 559436 h 868681"/>
                <a:gd name="connsiteX378" fmla="*/ 529590 w 1219200"/>
                <a:gd name="connsiteY378" fmla="*/ 594361 h 868681"/>
                <a:gd name="connsiteX379" fmla="*/ 550545 w 1219200"/>
                <a:gd name="connsiteY379" fmla="*/ 594361 h 868681"/>
                <a:gd name="connsiteX380" fmla="*/ 550545 w 1219200"/>
                <a:gd name="connsiteY380" fmla="*/ 615951 h 868681"/>
                <a:gd name="connsiteX381" fmla="*/ 529590 w 1219200"/>
                <a:gd name="connsiteY381" fmla="*/ 615951 h 868681"/>
                <a:gd name="connsiteX382" fmla="*/ 529590 w 1219200"/>
                <a:gd name="connsiteY382" fmla="*/ 654051 h 868681"/>
                <a:gd name="connsiteX383" fmla="*/ 538480 w 1219200"/>
                <a:gd name="connsiteY383" fmla="*/ 664846 h 868681"/>
                <a:gd name="connsiteX384" fmla="*/ 553084 w 1219200"/>
                <a:gd name="connsiteY384" fmla="*/ 658496 h 868681"/>
                <a:gd name="connsiteX385" fmla="*/ 549909 w 1219200"/>
                <a:gd name="connsiteY385" fmla="*/ 681356 h 868681"/>
                <a:gd name="connsiteX386" fmla="*/ 531495 w 1219200"/>
                <a:gd name="connsiteY386" fmla="*/ 686436 h 868681"/>
                <a:gd name="connsiteX387" fmla="*/ 507364 w 1219200"/>
                <a:gd name="connsiteY387" fmla="*/ 659766 h 868681"/>
                <a:gd name="connsiteX388" fmla="*/ 507364 w 1219200"/>
                <a:gd name="connsiteY388" fmla="*/ 615951 h 868681"/>
                <a:gd name="connsiteX389" fmla="*/ 491489 w 1219200"/>
                <a:gd name="connsiteY389" fmla="*/ 615951 h 868681"/>
                <a:gd name="connsiteX390" fmla="*/ 491489 w 1219200"/>
                <a:gd name="connsiteY390" fmla="*/ 594361 h 868681"/>
                <a:gd name="connsiteX391" fmla="*/ 507364 w 1219200"/>
                <a:gd name="connsiteY391" fmla="*/ 594361 h 868681"/>
                <a:gd name="connsiteX392" fmla="*/ 507364 w 1219200"/>
                <a:gd name="connsiteY392" fmla="*/ 570866 h 868681"/>
                <a:gd name="connsiteX393" fmla="*/ 128269 w 1219200"/>
                <a:gd name="connsiteY393" fmla="*/ 559436 h 868681"/>
                <a:gd name="connsiteX394" fmla="*/ 128269 w 1219200"/>
                <a:gd name="connsiteY394" fmla="*/ 600711 h 868681"/>
                <a:gd name="connsiteX395" fmla="*/ 149224 w 1219200"/>
                <a:gd name="connsiteY395" fmla="*/ 592456 h 868681"/>
                <a:gd name="connsiteX396" fmla="*/ 180974 w 1219200"/>
                <a:gd name="connsiteY396" fmla="*/ 633731 h 868681"/>
                <a:gd name="connsiteX397" fmla="*/ 180974 w 1219200"/>
                <a:gd name="connsiteY397" fmla="*/ 684531 h 868681"/>
                <a:gd name="connsiteX398" fmla="*/ 158750 w 1219200"/>
                <a:gd name="connsiteY398" fmla="*/ 684531 h 868681"/>
                <a:gd name="connsiteX399" fmla="*/ 158750 w 1219200"/>
                <a:gd name="connsiteY399" fmla="*/ 635636 h 868681"/>
                <a:gd name="connsiteX400" fmla="*/ 143510 w 1219200"/>
                <a:gd name="connsiteY400" fmla="*/ 614681 h 868681"/>
                <a:gd name="connsiteX401" fmla="*/ 128269 w 1219200"/>
                <a:gd name="connsiteY401" fmla="*/ 635001 h 868681"/>
                <a:gd name="connsiteX402" fmla="*/ 128269 w 1219200"/>
                <a:gd name="connsiteY402" fmla="*/ 684531 h 868681"/>
                <a:gd name="connsiteX403" fmla="*/ 106045 w 1219200"/>
                <a:gd name="connsiteY403" fmla="*/ 684531 h 868681"/>
                <a:gd name="connsiteX404" fmla="*/ 106045 w 1219200"/>
                <a:gd name="connsiteY404" fmla="*/ 570866 h 868681"/>
                <a:gd name="connsiteX405" fmla="*/ 269875 w 1219200"/>
                <a:gd name="connsiteY405" fmla="*/ 635 h 868681"/>
                <a:gd name="connsiteX406" fmla="*/ 501015 w 1219200"/>
                <a:gd name="connsiteY406" fmla="*/ 635 h 868681"/>
                <a:gd name="connsiteX407" fmla="*/ 554989 w 1219200"/>
                <a:gd name="connsiteY407" fmla="*/ 94615 h 868681"/>
                <a:gd name="connsiteX408" fmla="*/ 391795 w 1219200"/>
                <a:gd name="connsiteY408" fmla="*/ 94615 h 868681"/>
                <a:gd name="connsiteX409" fmla="*/ 391795 w 1219200"/>
                <a:gd name="connsiteY409" fmla="*/ 161925 h 868681"/>
                <a:gd name="connsiteX410" fmla="*/ 539114 w 1219200"/>
                <a:gd name="connsiteY410" fmla="*/ 161925 h 868681"/>
                <a:gd name="connsiteX411" fmla="*/ 539114 w 1219200"/>
                <a:gd name="connsiteY411" fmla="*/ 247650 h 868681"/>
                <a:gd name="connsiteX412" fmla="*/ 391795 w 1219200"/>
                <a:gd name="connsiteY412" fmla="*/ 247650 h 868681"/>
                <a:gd name="connsiteX413" fmla="*/ 391795 w 1219200"/>
                <a:gd name="connsiteY413" fmla="*/ 314325 h 868681"/>
                <a:gd name="connsiteX414" fmla="*/ 595629 w 1219200"/>
                <a:gd name="connsiteY414" fmla="*/ 314325 h 868681"/>
                <a:gd name="connsiteX415" fmla="*/ 595629 w 1219200"/>
                <a:gd name="connsiteY415" fmla="*/ 408305 h 868681"/>
                <a:gd name="connsiteX416" fmla="*/ 269875 w 1219200"/>
                <a:gd name="connsiteY416" fmla="*/ 408305 h 868681"/>
                <a:gd name="connsiteX417" fmla="*/ 539114 w 1219200"/>
                <a:gd name="connsiteY417" fmla="*/ 0 h 868681"/>
                <a:gd name="connsiteX418" fmla="*/ 674370 w 1219200"/>
                <a:gd name="connsiteY418" fmla="*/ 0 h 868681"/>
                <a:gd name="connsiteX419" fmla="*/ 743584 w 1219200"/>
                <a:gd name="connsiteY419" fmla="*/ 132715 h 868681"/>
                <a:gd name="connsiteX420" fmla="*/ 812799 w 1219200"/>
                <a:gd name="connsiteY420" fmla="*/ 0 h 868681"/>
                <a:gd name="connsiteX421" fmla="*/ 946150 w 1219200"/>
                <a:gd name="connsiteY421" fmla="*/ 0 h 868681"/>
                <a:gd name="connsiteX422" fmla="*/ 803275 w 1219200"/>
                <a:gd name="connsiteY422" fmla="*/ 246380 h 868681"/>
                <a:gd name="connsiteX423" fmla="*/ 803275 w 1219200"/>
                <a:gd name="connsiteY423" fmla="*/ 407670 h 868681"/>
                <a:gd name="connsiteX424" fmla="*/ 681355 w 1219200"/>
                <a:gd name="connsiteY424" fmla="*/ 407670 h 868681"/>
                <a:gd name="connsiteX425" fmla="*/ 681355 w 1219200"/>
                <a:gd name="connsiteY425" fmla="*/ 246380 h 868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</a:cxnLst>
              <a:rect l="l" t="t" r="r" b="b"/>
              <a:pathLst>
                <a:path w="1219200" h="868681">
                  <a:moveTo>
                    <a:pt x="245110" y="839471"/>
                  </a:moveTo>
                  <a:lnTo>
                    <a:pt x="246379" y="839471"/>
                  </a:lnTo>
                  <a:lnTo>
                    <a:pt x="245041" y="839979"/>
                  </a:lnTo>
                  <a:close/>
                  <a:moveTo>
                    <a:pt x="522605" y="796926"/>
                  </a:moveTo>
                  <a:cubicBezTo>
                    <a:pt x="509905" y="796926"/>
                    <a:pt x="504189" y="807721"/>
                    <a:pt x="504189" y="821691"/>
                  </a:cubicBezTo>
                  <a:cubicBezTo>
                    <a:pt x="504189" y="831216"/>
                    <a:pt x="508000" y="845821"/>
                    <a:pt x="522605" y="845821"/>
                  </a:cubicBezTo>
                  <a:cubicBezTo>
                    <a:pt x="537845" y="845821"/>
                    <a:pt x="541019" y="831851"/>
                    <a:pt x="541019" y="821691"/>
                  </a:cubicBezTo>
                  <a:cubicBezTo>
                    <a:pt x="541019" y="807721"/>
                    <a:pt x="535305" y="796926"/>
                    <a:pt x="522605" y="796926"/>
                  </a:cubicBezTo>
                  <a:close/>
                  <a:moveTo>
                    <a:pt x="817245" y="796291"/>
                  </a:moveTo>
                  <a:cubicBezTo>
                    <a:pt x="803909" y="796291"/>
                    <a:pt x="800735" y="807086"/>
                    <a:pt x="800735" y="819786"/>
                  </a:cubicBezTo>
                  <a:cubicBezTo>
                    <a:pt x="800735" y="834391"/>
                    <a:pt x="805180" y="846456"/>
                    <a:pt x="817879" y="846456"/>
                  </a:cubicBezTo>
                  <a:cubicBezTo>
                    <a:pt x="824230" y="846456"/>
                    <a:pt x="828674" y="843281"/>
                    <a:pt x="833754" y="838836"/>
                  </a:cubicBezTo>
                  <a:lnTo>
                    <a:pt x="833754" y="838201"/>
                  </a:lnTo>
                  <a:lnTo>
                    <a:pt x="833754" y="803911"/>
                  </a:lnTo>
                  <a:cubicBezTo>
                    <a:pt x="828674" y="798831"/>
                    <a:pt x="824230" y="796291"/>
                    <a:pt x="817245" y="796291"/>
                  </a:cubicBezTo>
                  <a:close/>
                  <a:moveTo>
                    <a:pt x="1179195" y="794386"/>
                  </a:moveTo>
                  <a:cubicBezTo>
                    <a:pt x="1168400" y="794386"/>
                    <a:pt x="1163954" y="803911"/>
                    <a:pt x="1163320" y="811531"/>
                  </a:cubicBezTo>
                  <a:lnTo>
                    <a:pt x="1163954" y="811531"/>
                  </a:lnTo>
                  <a:lnTo>
                    <a:pt x="1195704" y="811531"/>
                  </a:lnTo>
                  <a:cubicBezTo>
                    <a:pt x="1195070" y="801371"/>
                    <a:pt x="1188720" y="794386"/>
                    <a:pt x="1179195" y="794386"/>
                  </a:cubicBezTo>
                  <a:close/>
                  <a:moveTo>
                    <a:pt x="909320" y="794386"/>
                  </a:moveTo>
                  <a:cubicBezTo>
                    <a:pt x="898525" y="794386"/>
                    <a:pt x="894079" y="803911"/>
                    <a:pt x="893445" y="811531"/>
                  </a:cubicBezTo>
                  <a:lnTo>
                    <a:pt x="894079" y="811531"/>
                  </a:lnTo>
                  <a:lnTo>
                    <a:pt x="925829" y="811531"/>
                  </a:lnTo>
                  <a:cubicBezTo>
                    <a:pt x="925195" y="801371"/>
                    <a:pt x="918845" y="794386"/>
                    <a:pt x="909320" y="794386"/>
                  </a:cubicBezTo>
                  <a:close/>
                  <a:moveTo>
                    <a:pt x="737870" y="775971"/>
                  </a:moveTo>
                  <a:lnTo>
                    <a:pt x="761364" y="775971"/>
                  </a:lnTo>
                  <a:lnTo>
                    <a:pt x="761364" y="866141"/>
                  </a:lnTo>
                  <a:lnTo>
                    <a:pt x="737870" y="866141"/>
                  </a:lnTo>
                  <a:close/>
                  <a:moveTo>
                    <a:pt x="143510" y="775971"/>
                  </a:moveTo>
                  <a:lnTo>
                    <a:pt x="167004" y="775971"/>
                  </a:lnTo>
                  <a:lnTo>
                    <a:pt x="167004" y="866141"/>
                  </a:lnTo>
                  <a:lnTo>
                    <a:pt x="143510" y="866141"/>
                  </a:lnTo>
                  <a:close/>
                  <a:moveTo>
                    <a:pt x="635" y="775971"/>
                  </a:moveTo>
                  <a:lnTo>
                    <a:pt x="26670" y="775971"/>
                  </a:lnTo>
                  <a:lnTo>
                    <a:pt x="40004" y="828041"/>
                  </a:lnTo>
                  <a:lnTo>
                    <a:pt x="55245" y="775971"/>
                  </a:lnTo>
                  <a:lnTo>
                    <a:pt x="76200" y="775971"/>
                  </a:lnTo>
                  <a:lnTo>
                    <a:pt x="91439" y="828041"/>
                  </a:lnTo>
                  <a:lnTo>
                    <a:pt x="105409" y="775971"/>
                  </a:lnTo>
                  <a:lnTo>
                    <a:pt x="130810" y="775971"/>
                  </a:lnTo>
                  <a:lnTo>
                    <a:pt x="102235" y="866141"/>
                  </a:lnTo>
                  <a:lnTo>
                    <a:pt x="80644" y="866141"/>
                  </a:lnTo>
                  <a:lnTo>
                    <a:pt x="65405" y="811531"/>
                  </a:lnTo>
                  <a:lnTo>
                    <a:pt x="50165" y="866141"/>
                  </a:lnTo>
                  <a:lnTo>
                    <a:pt x="28575" y="866141"/>
                  </a:lnTo>
                  <a:close/>
                  <a:moveTo>
                    <a:pt x="1181099" y="774066"/>
                  </a:moveTo>
                  <a:cubicBezTo>
                    <a:pt x="1204595" y="774066"/>
                    <a:pt x="1219200" y="795021"/>
                    <a:pt x="1219200" y="821056"/>
                  </a:cubicBezTo>
                  <a:lnTo>
                    <a:pt x="1218564" y="821056"/>
                  </a:lnTo>
                  <a:cubicBezTo>
                    <a:pt x="1218564" y="821056"/>
                    <a:pt x="1218564" y="827406"/>
                    <a:pt x="1218564" y="828676"/>
                  </a:cubicBezTo>
                  <a:lnTo>
                    <a:pt x="1163954" y="828676"/>
                  </a:lnTo>
                  <a:cubicBezTo>
                    <a:pt x="1165224" y="841376"/>
                    <a:pt x="1173480" y="846456"/>
                    <a:pt x="1183004" y="846456"/>
                  </a:cubicBezTo>
                  <a:cubicBezTo>
                    <a:pt x="1188720" y="846456"/>
                    <a:pt x="1193799" y="844551"/>
                    <a:pt x="1198879" y="840106"/>
                  </a:cubicBezTo>
                  <a:lnTo>
                    <a:pt x="1214754" y="853441"/>
                  </a:lnTo>
                  <a:cubicBezTo>
                    <a:pt x="1206500" y="864236"/>
                    <a:pt x="1193799" y="868046"/>
                    <a:pt x="1182370" y="868046"/>
                  </a:cubicBezTo>
                  <a:cubicBezTo>
                    <a:pt x="1156335" y="868046"/>
                    <a:pt x="1141095" y="847726"/>
                    <a:pt x="1141095" y="821056"/>
                  </a:cubicBezTo>
                  <a:cubicBezTo>
                    <a:pt x="1141095" y="792481"/>
                    <a:pt x="1158875" y="774066"/>
                    <a:pt x="1181099" y="774066"/>
                  </a:cubicBezTo>
                  <a:close/>
                  <a:moveTo>
                    <a:pt x="1097915" y="774066"/>
                  </a:moveTo>
                  <a:cubicBezTo>
                    <a:pt x="1113790" y="774066"/>
                    <a:pt x="1125220" y="781051"/>
                    <a:pt x="1133474" y="793751"/>
                  </a:cubicBezTo>
                  <a:lnTo>
                    <a:pt x="1118235" y="808991"/>
                  </a:lnTo>
                  <a:cubicBezTo>
                    <a:pt x="1113155" y="802006"/>
                    <a:pt x="1107439" y="796291"/>
                    <a:pt x="1097915" y="796291"/>
                  </a:cubicBezTo>
                  <a:cubicBezTo>
                    <a:pt x="1085215" y="796291"/>
                    <a:pt x="1078864" y="807086"/>
                    <a:pt x="1078864" y="820421"/>
                  </a:cubicBezTo>
                  <a:cubicBezTo>
                    <a:pt x="1078864" y="833121"/>
                    <a:pt x="1084579" y="845186"/>
                    <a:pt x="1097915" y="845186"/>
                  </a:cubicBezTo>
                  <a:cubicBezTo>
                    <a:pt x="1106170" y="845186"/>
                    <a:pt x="1113155" y="840741"/>
                    <a:pt x="1118235" y="833756"/>
                  </a:cubicBezTo>
                  <a:lnTo>
                    <a:pt x="1118870" y="834391"/>
                  </a:lnTo>
                  <a:lnTo>
                    <a:pt x="1133474" y="848361"/>
                  </a:lnTo>
                  <a:cubicBezTo>
                    <a:pt x="1125855" y="857886"/>
                    <a:pt x="1115060" y="868046"/>
                    <a:pt x="1097280" y="868046"/>
                  </a:cubicBezTo>
                  <a:cubicBezTo>
                    <a:pt x="1072515" y="868046"/>
                    <a:pt x="1054735" y="848361"/>
                    <a:pt x="1054735" y="821056"/>
                  </a:cubicBezTo>
                  <a:cubicBezTo>
                    <a:pt x="1054735" y="796291"/>
                    <a:pt x="1069974" y="774066"/>
                    <a:pt x="1097915" y="774066"/>
                  </a:cubicBezTo>
                  <a:close/>
                  <a:moveTo>
                    <a:pt x="1009015" y="774066"/>
                  </a:moveTo>
                  <a:cubicBezTo>
                    <a:pt x="1033144" y="774066"/>
                    <a:pt x="1041400" y="793116"/>
                    <a:pt x="1041400" y="815341"/>
                  </a:cubicBezTo>
                  <a:lnTo>
                    <a:pt x="1041400" y="866141"/>
                  </a:lnTo>
                  <a:lnTo>
                    <a:pt x="1017905" y="866141"/>
                  </a:lnTo>
                  <a:lnTo>
                    <a:pt x="1017905" y="817246"/>
                  </a:lnTo>
                  <a:cubicBezTo>
                    <a:pt x="1017905" y="804546"/>
                    <a:pt x="1014730" y="796291"/>
                    <a:pt x="1002665" y="796291"/>
                  </a:cubicBezTo>
                  <a:cubicBezTo>
                    <a:pt x="990599" y="796291"/>
                    <a:pt x="986790" y="803276"/>
                    <a:pt x="986790" y="816611"/>
                  </a:cubicBezTo>
                  <a:lnTo>
                    <a:pt x="986790" y="866141"/>
                  </a:lnTo>
                  <a:lnTo>
                    <a:pt x="963295" y="866141"/>
                  </a:lnTo>
                  <a:lnTo>
                    <a:pt x="963295" y="775971"/>
                  </a:lnTo>
                  <a:lnTo>
                    <a:pt x="986790" y="775971"/>
                  </a:lnTo>
                  <a:lnTo>
                    <a:pt x="986790" y="782321"/>
                  </a:lnTo>
                  <a:cubicBezTo>
                    <a:pt x="991870" y="777241"/>
                    <a:pt x="998855" y="774066"/>
                    <a:pt x="1009015" y="774066"/>
                  </a:cubicBezTo>
                  <a:close/>
                  <a:moveTo>
                    <a:pt x="911224" y="774066"/>
                  </a:moveTo>
                  <a:cubicBezTo>
                    <a:pt x="934720" y="774066"/>
                    <a:pt x="949325" y="795021"/>
                    <a:pt x="949325" y="821056"/>
                  </a:cubicBezTo>
                  <a:lnTo>
                    <a:pt x="948689" y="821056"/>
                  </a:lnTo>
                  <a:cubicBezTo>
                    <a:pt x="948689" y="821056"/>
                    <a:pt x="948689" y="827406"/>
                    <a:pt x="948689" y="828676"/>
                  </a:cubicBezTo>
                  <a:lnTo>
                    <a:pt x="894079" y="828676"/>
                  </a:lnTo>
                  <a:cubicBezTo>
                    <a:pt x="895349" y="841376"/>
                    <a:pt x="903605" y="846456"/>
                    <a:pt x="913129" y="846456"/>
                  </a:cubicBezTo>
                  <a:cubicBezTo>
                    <a:pt x="918845" y="846456"/>
                    <a:pt x="923924" y="844551"/>
                    <a:pt x="929004" y="840106"/>
                  </a:cubicBezTo>
                  <a:lnTo>
                    <a:pt x="944879" y="853441"/>
                  </a:lnTo>
                  <a:cubicBezTo>
                    <a:pt x="936625" y="864236"/>
                    <a:pt x="923924" y="868046"/>
                    <a:pt x="912495" y="868046"/>
                  </a:cubicBezTo>
                  <a:cubicBezTo>
                    <a:pt x="886459" y="868046"/>
                    <a:pt x="871220" y="847726"/>
                    <a:pt x="871220" y="821056"/>
                  </a:cubicBezTo>
                  <a:cubicBezTo>
                    <a:pt x="871220" y="792481"/>
                    <a:pt x="889000" y="774066"/>
                    <a:pt x="911224" y="774066"/>
                  </a:cubicBezTo>
                  <a:close/>
                  <a:moveTo>
                    <a:pt x="623570" y="774066"/>
                  </a:moveTo>
                  <a:cubicBezTo>
                    <a:pt x="647700" y="774066"/>
                    <a:pt x="655954" y="793116"/>
                    <a:pt x="655954" y="815341"/>
                  </a:cubicBezTo>
                  <a:lnTo>
                    <a:pt x="655954" y="866141"/>
                  </a:lnTo>
                  <a:lnTo>
                    <a:pt x="632459" y="866141"/>
                  </a:lnTo>
                  <a:lnTo>
                    <a:pt x="632459" y="817246"/>
                  </a:lnTo>
                  <a:cubicBezTo>
                    <a:pt x="632459" y="804546"/>
                    <a:pt x="629284" y="796291"/>
                    <a:pt x="617220" y="796291"/>
                  </a:cubicBezTo>
                  <a:cubicBezTo>
                    <a:pt x="605155" y="796291"/>
                    <a:pt x="601345" y="803276"/>
                    <a:pt x="601345" y="816611"/>
                  </a:cubicBezTo>
                  <a:lnTo>
                    <a:pt x="601345" y="866141"/>
                  </a:lnTo>
                  <a:lnTo>
                    <a:pt x="577849" y="866141"/>
                  </a:lnTo>
                  <a:lnTo>
                    <a:pt x="577849" y="775971"/>
                  </a:lnTo>
                  <a:lnTo>
                    <a:pt x="601345" y="775971"/>
                  </a:lnTo>
                  <a:lnTo>
                    <a:pt x="601345" y="782321"/>
                  </a:lnTo>
                  <a:cubicBezTo>
                    <a:pt x="606424" y="777241"/>
                    <a:pt x="613409" y="774066"/>
                    <a:pt x="623570" y="774066"/>
                  </a:cubicBezTo>
                  <a:close/>
                  <a:moveTo>
                    <a:pt x="522605" y="774066"/>
                  </a:moveTo>
                  <a:cubicBezTo>
                    <a:pt x="548004" y="774066"/>
                    <a:pt x="564515" y="793116"/>
                    <a:pt x="564515" y="821056"/>
                  </a:cubicBezTo>
                  <a:cubicBezTo>
                    <a:pt x="564515" y="848996"/>
                    <a:pt x="546735" y="868046"/>
                    <a:pt x="522605" y="868046"/>
                  </a:cubicBezTo>
                  <a:cubicBezTo>
                    <a:pt x="498474" y="868046"/>
                    <a:pt x="480695" y="848996"/>
                    <a:pt x="480695" y="821056"/>
                  </a:cubicBezTo>
                  <a:cubicBezTo>
                    <a:pt x="480695" y="794386"/>
                    <a:pt x="496570" y="774066"/>
                    <a:pt x="522605" y="774066"/>
                  </a:cubicBezTo>
                  <a:close/>
                  <a:moveTo>
                    <a:pt x="436879" y="774066"/>
                  </a:moveTo>
                  <a:cubicBezTo>
                    <a:pt x="452754" y="774066"/>
                    <a:pt x="464185" y="781051"/>
                    <a:pt x="472439" y="793751"/>
                  </a:cubicBezTo>
                  <a:lnTo>
                    <a:pt x="457200" y="808991"/>
                  </a:lnTo>
                  <a:cubicBezTo>
                    <a:pt x="452120" y="802006"/>
                    <a:pt x="446405" y="796291"/>
                    <a:pt x="436879" y="796291"/>
                  </a:cubicBezTo>
                  <a:cubicBezTo>
                    <a:pt x="424180" y="796291"/>
                    <a:pt x="417829" y="807086"/>
                    <a:pt x="417829" y="820421"/>
                  </a:cubicBezTo>
                  <a:cubicBezTo>
                    <a:pt x="417829" y="833121"/>
                    <a:pt x="423545" y="845186"/>
                    <a:pt x="436879" y="845186"/>
                  </a:cubicBezTo>
                  <a:cubicBezTo>
                    <a:pt x="445135" y="845186"/>
                    <a:pt x="452120" y="840741"/>
                    <a:pt x="457200" y="833756"/>
                  </a:cubicBezTo>
                  <a:lnTo>
                    <a:pt x="457834" y="834391"/>
                  </a:lnTo>
                  <a:lnTo>
                    <a:pt x="472439" y="848361"/>
                  </a:lnTo>
                  <a:cubicBezTo>
                    <a:pt x="464820" y="857886"/>
                    <a:pt x="454025" y="868046"/>
                    <a:pt x="436245" y="868046"/>
                  </a:cubicBezTo>
                  <a:cubicBezTo>
                    <a:pt x="411480" y="868046"/>
                    <a:pt x="393700" y="848361"/>
                    <a:pt x="393700" y="821056"/>
                  </a:cubicBezTo>
                  <a:cubicBezTo>
                    <a:pt x="393700" y="796291"/>
                    <a:pt x="408939" y="774066"/>
                    <a:pt x="436879" y="774066"/>
                  </a:cubicBezTo>
                  <a:close/>
                  <a:moveTo>
                    <a:pt x="219075" y="742316"/>
                  </a:moveTo>
                  <a:lnTo>
                    <a:pt x="219075" y="777241"/>
                  </a:lnTo>
                  <a:lnTo>
                    <a:pt x="245110" y="777241"/>
                  </a:lnTo>
                  <a:lnTo>
                    <a:pt x="245110" y="798831"/>
                  </a:lnTo>
                  <a:lnTo>
                    <a:pt x="219075" y="798831"/>
                  </a:lnTo>
                  <a:lnTo>
                    <a:pt x="219075" y="835661"/>
                  </a:lnTo>
                  <a:cubicBezTo>
                    <a:pt x="219075" y="843916"/>
                    <a:pt x="222250" y="846456"/>
                    <a:pt x="227965" y="846456"/>
                  </a:cubicBezTo>
                  <a:lnTo>
                    <a:pt x="245041" y="839979"/>
                  </a:lnTo>
                  <a:lnTo>
                    <a:pt x="241935" y="862966"/>
                  </a:lnTo>
                  <a:cubicBezTo>
                    <a:pt x="236855" y="866776"/>
                    <a:pt x="225424" y="868681"/>
                    <a:pt x="219709" y="868681"/>
                  </a:cubicBezTo>
                  <a:cubicBezTo>
                    <a:pt x="205739" y="868681"/>
                    <a:pt x="195579" y="857251"/>
                    <a:pt x="195579" y="842011"/>
                  </a:cubicBezTo>
                  <a:lnTo>
                    <a:pt x="195579" y="798831"/>
                  </a:lnTo>
                  <a:lnTo>
                    <a:pt x="179704" y="798831"/>
                  </a:lnTo>
                  <a:lnTo>
                    <a:pt x="179704" y="777241"/>
                  </a:lnTo>
                  <a:lnTo>
                    <a:pt x="195579" y="777241"/>
                  </a:lnTo>
                  <a:lnTo>
                    <a:pt x="195579" y="753746"/>
                  </a:lnTo>
                  <a:close/>
                  <a:moveTo>
                    <a:pt x="749935" y="741681"/>
                  </a:moveTo>
                  <a:cubicBezTo>
                    <a:pt x="757555" y="741681"/>
                    <a:pt x="763269" y="747396"/>
                    <a:pt x="763269" y="755016"/>
                  </a:cubicBezTo>
                  <a:cubicBezTo>
                    <a:pt x="763269" y="762636"/>
                    <a:pt x="757555" y="768351"/>
                    <a:pt x="749935" y="768351"/>
                  </a:cubicBezTo>
                  <a:cubicBezTo>
                    <a:pt x="742314" y="768351"/>
                    <a:pt x="736599" y="762636"/>
                    <a:pt x="736599" y="755016"/>
                  </a:cubicBezTo>
                  <a:cubicBezTo>
                    <a:pt x="736599" y="747396"/>
                    <a:pt x="742314" y="741681"/>
                    <a:pt x="749935" y="741681"/>
                  </a:cubicBezTo>
                  <a:close/>
                  <a:moveTo>
                    <a:pt x="154939" y="741681"/>
                  </a:moveTo>
                  <a:cubicBezTo>
                    <a:pt x="162560" y="741681"/>
                    <a:pt x="168275" y="747396"/>
                    <a:pt x="168275" y="755016"/>
                  </a:cubicBezTo>
                  <a:cubicBezTo>
                    <a:pt x="168275" y="762636"/>
                    <a:pt x="162560" y="768351"/>
                    <a:pt x="154939" y="768351"/>
                  </a:cubicBezTo>
                  <a:cubicBezTo>
                    <a:pt x="147320" y="768351"/>
                    <a:pt x="141605" y="762636"/>
                    <a:pt x="141605" y="755016"/>
                  </a:cubicBezTo>
                  <a:cubicBezTo>
                    <a:pt x="141605" y="747396"/>
                    <a:pt x="147320" y="741681"/>
                    <a:pt x="154939" y="741681"/>
                  </a:cubicBezTo>
                  <a:close/>
                  <a:moveTo>
                    <a:pt x="856614" y="741046"/>
                  </a:moveTo>
                  <a:lnTo>
                    <a:pt x="856614" y="866141"/>
                  </a:lnTo>
                  <a:lnTo>
                    <a:pt x="833120" y="866141"/>
                  </a:lnTo>
                  <a:lnTo>
                    <a:pt x="833120" y="860426"/>
                  </a:lnTo>
                  <a:cubicBezTo>
                    <a:pt x="825500" y="866141"/>
                    <a:pt x="821055" y="868046"/>
                    <a:pt x="812799" y="868046"/>
                  </a:cubicBezTo>
                  <a:cubicBezTo>
                    <a:pt x="786765" y="868046"/>
                    <a:pt x="775970" y="845821"/>
                    <a:pt x="775970" y="820421"/>
                  </a:cubicBezTo>
                  <a:cubicBezTo>
                    <a:pt x="775970" y="793116"/>
                    <a:pt x="788670" y="774066"/>
                    <a:pt x="812165" y="774066"/>
                  </a:cubicBezTo>
                  <a:cubicBezTo>
                    <a:pt x="819784" y="774066"/>
                    <a:pt x="827405" y="775971"/>
                    <a:pt x="833120" y="781051"/>
                  </a:cubicBezTo>
                  <a:lnTo>
                    <a:pt x="833120" y="752476"/>
                  </a:lnTo>
                  <a:close/>
                  <a:moveTo>
                    <a:pt x="707390" y="741046"/>
                  </a:moveTo>
                  <a:cubicBezTo>
                    <a:pt x="712470" y="741046"/>
                    <a:pt x="719454" y="741046"/>
                    <a:pt x="724534" y="743586"/>
                  </a:cubicBezTo>
                  <a:lnTo>
                    <a:pt x="724534" y="744221"/>
                  </a:lnTo>
                  <a:lnTo>
                    <a:pt x="724534" y="762636"/>
                  </a:lnTo>
                  <a:cubicBezTo>
                    <a:pt x="721360" y="761366"/>
                    <a:pt x="716280" y="760731"/>
                    <a:pt x="713105" y="760731"/>
                  </a:cubicBezTo>
                  <a:cubicBezTo>
                    <a:pt x="706120" y="760731"/>
                    <a:pt x="703579" y="762636"/>
                    <a:pt x="703579" y="768351"/>
                  </a:cubicBezTo>
                  <a:lnTo>
                    <a:pt x="703579" y="775336"/>
                  </a:lnTo>
                  <a:lnTo>
                    <a:pt x="722629" y="775336"/>
                  </a:lnTo>
                  <a:lnTo>
                    <a:pt x="722629" y="796926"/>
                  </a:lnTo>
                  <a:lnTo>
                    <a:pt x="703579" y="796926"/>
                  </a:lnTo>
                  <a:lnTo>
                    <a:pt x="703579" y="865506"/>
                  </a:lnTo>
                  <a:lnTo>
                    <a:pt x="680084" y="865506"/>
                  </a:lnTo>
                  <a:lnTo>
                    <a:pt x="680084" y="796926"/>
                  </a:lnTo>
                  <a:lnTo>
                    <a:pt x="667385" y="796926"/>
                  </a:lnTo>
                  <a:lnTo>
                    <a:pt x="667385" y="775336"/>
                  </a:lnTo>
                  <a:lnTo>
                    <a:pt x="680084" y="775336"/>
                  </a:lnTo>
                  <a:lnTo>
                    <a:pt x="680084" y="764541"/>
                  </a:lnTo>
                  <a:cubicBezTo>
                    <a:pt x="680084" y="748031"/>
                    <a:pt x="690879" y="741046"/>
                    <a:pt x="707390" y="741046"/>
                  </a:cubicBezTo>
                  <a:close/>
                  <a:moveTo>
                    <a:pt x="282575" y="741046"/>
                  </a:moveTo>
                  <a:lnTo>
                    <a:pt x="282575" y="782321"/>
                  </a:lnTo>
                  <a:cubicBezTo>
                    <a:pt x="287019" y="777241"/>
                    <a:pt x="295909" y="774066"/>
                    <a:pt x="304799" y="774066"/>
                  </a:cubicBezTo>
                  <a:cubicBezTo>
                    <a:pt x="328295" y="774066"/>
                    <a:pt x="336549" y="792481"/>
                    <a:pt x="336549" y="815341"/>
                  </a:cubicBezTo>
                  <a:lnTo>
                    <a:pt x="336549" y="866141"/>
                  </a:lnTo>
                  <a:lnTo>
                    <a:pt x="313689" y="866141"/>
                  </a:lnTo>
                  <a:lnTo>
                    <a:pt x="313689" y="817246"/>
                  </a:lnTo>
                  <a:cubicBezTo>
                    <a:pt x="313689" y="804546"/>
                    <a:pt x="310515" y="796291"/>
                    <a:pt x="298450" y="796291"/>
                  </a:cubicBezTo>
                  <a:cubicBezTo>
                    <a:pt x="286385" y="796291"/>
                    <a:pt x="282575" y="803276"/>
                    <a:pt x="282575" y="816611"/>
                  </a:cubicBezTo>
                  <a:lnTo>
                    <a:pt x="282575" y="866141"/>
                  </a:lnTo>
                  <a:lnTo>
                    <a:pt x="259079" y="866141"/>
                  </a:lnTo>
                  <a:lnTo>
                    <a:pt x="259079" y="752476"/>
                  </a:lnTo>
                  <a:close/>
                  <a:moveTo>
                    <a:pt x="92709" y="648336"/>
                  </a:moveTo>
                  <a:lnTo>
                    <a:pt x="92709" y="649606"/>
                  </a:lnTo>
                  <a:lnTo>
                    <a:pt x="92427" y="648959"/>
                  </a:lnTo>
                  <a:close/>
                  <a:moveTo>
                    <a:pt x="230504" y="643256"/>
                  </a:moveTo>
                  <a:cubicBezTo>
                    <a:pt x="220345" y="643256"/>
                    <a:pt x="215900" y="647701"/>
                    <a:pt x="215900" y="654686"/>
                  </a:cubicBezTo>
                  <a:cubicBezTo>
                    <a:pt x="215900" y="661671"/>
                    <a:pt x="220345" y="667386"/>
                    <a:pt x="228599" y="667386"/>
                  </a:cubicBezTo>
                  <a:cubicBezTo>
                    <a:pt x="233045" y="667386"/>
                    <a:pt x="240665" y="666116"/>
                    <a:pt x="245745" y="658496"/>
                  </a:cubicBezTo>
                  <a:lnTo>
                    <a:pt x="245745" y="647066"/>
                  </a:lnTo>
                  <a:cubicBezTo>
                    <a:pt x="241299" y="643891"/>
                    <a:pt x="234950" y="643256"/>
                    <a:pt x="230504" y="643256"/>
                  </a:cubicBezTo>
                  <a:close/>
                  <a:moveTo>
                    <a:pt x="321310" y="614046"/>
                  </a:moveTo>
                  <a:cubicBezTo>
                    <a:pt x="314959" y="614046"/>
                    <a:pt x="309879" y="617221"/>
                    <a:pt x="306704" y="622301"/>
                  </a:cubicBezTo>
                  <a:lnTo>
                    <a:pt x="306704" y="656591"/>
                  </a:lnTo>
                  <a:cubicBezTo>
                    <a:pt x="310515" y="661671"/>
                    <a:pt x="316230" y="664846"/>
                    <a:pt x="323215" y="664846"/>
                  </a:cubicBezTo>
                  <a:cubicBezTo>
                    <a:pt x="335915" y="664846"/>
                    <a:pt x="339090" y="653416"/>
                    <a:pt x="339090" y="640716"/>
                  </a:cubicBezTo>
                  <a:lnTo>
                    <a:pt x="338454" y="640716"/>
                  </a:lnTo>
                  <a:cubicBezTo>
                    <a:pt x="338454" y="627381"/>
                    <a:pt x="335280" y="614046"/>
                    <a:pt x="321310" y="614046"/>
                  </a:cubicBezTo>
                  <a:close/>
                  <a:moveTo>
                    <a:pt x="1179195" y="612776"/>
                  </a:moveTo>
                  <a:cubicBezTo>
                    <a:pt x="1168400" y="612776"/>
                    <a:pt x="1163954" y="622301"/>
                    <a:pt x="1163320" y="629921"/>
                  </a:cubicBezTo>
                  <a:lnTo>
                    <a:pt x="1163954" y="629921"/>
                  </a:lnTo>
                  <a:lnTo>
                    <a:pt x="1195704" y="629921"/>
                  </a:lnTo>
                  <a:cubicBezTo>
                    <a:pt x="1195070" y="619761"/>
                    <a:pt x="1188720" y="612776"/>
                    <a:pt x="1179195" y="612776"/>
                  </a:cubicBezTo>
                  <a:close/>
                  <a:moveTo>
                    <a:pt x="689610" y="612776"/>
                  </a:moveTo>
                  <a:cubicBezTo>
                    <a:pt x="678814" y="612776"/>
                    <a:pt x="674370" y="622301"/>
                    <a:pt x="673735" y="629921"/>
                  </a:cubicBezTo>
                  <a:lnTo>
                    <a:pt x="674370" y="629921"/>
                  </a:lnTo>
                  <a:lnTo>
                    <a:pt x="706120" y="629921"/>
                  </a:lnTo>
                  <a:cubicBezTo>
                    <a:pt x="705485" y="619761"/>
                    <a:pt x="699135" y="612776"/>
                    <a:pt x="689610" y="612776"/>
                  </a:cubicBezTo>
                  <a:close/>
                  <a:moveTo>
                    <a:pt x="410845" y="612776"/>
                  </a:moveTo>
                  <a:cubicBezTo>
                    <a:pt x="400685" y="612776"/>
                    <a:pt x="396239" y="622301"/>
                    <a:pt x="395605" y="629921"/>
                  </a:cubicBezTo>
                  <a:lnTo>
                    <a:pt x="427355" y="629921"/>
                  </a:lnTo>
                  <a:cubicBezTo>
                    <a:pt x="426084" y="619761"/>
                    <a:pt x="420370" y="612776"/>
                    <a:pt x="410845" y="612776"/>
                  </a:cubicBezTo>
                  <a:close/>
                  <a:moveTo>
                    <a:pt x="991870" y="594361"/>
                  </a:moveTo>
                  <a:lnTo>
                    <a:pt x="1014095" y="594361"/>
                  </a:lnTo>
                  <a:lnTo>
                    <a:pt x="1014095" y="643256"/>
                  </a:lnTo>
                  <a:cubicBezTo>
                    <a:pt x="1014095" y="655321"/>
                    <a:pt x="1016635" y="664846"/>
                    <a:pt x="1029334" y="664846"/>
                  </a:cubicBezTo>
                  <a:cubicBezTo>
                    <a:pt x="1042034" y="664846"/>
                    <a:pt x="1044575" y="655321"/>
                    <a:pt x="1044575" y="644526"/>
                  </a:cubicBezTo>
                  <a:lnTo>
                    <a:pt x="1044575" y="594996"/>
                  </a:lnTo>
                  <a:lnTo>
                    <a:pt x="1066799" y="594996"/>
                  </a:lnTo>
                  <a:lnTo>
                    <a:pt x="1066799" y="684531"/>
                  </a:lnTo>
                  <a:lnTo>
                    <a:pt x="1044575" y="684531"/>
                  </a:lnTo>
                  <a:lnTo>
                    <a:pt x="1044575" y="678181"/>
                  </a:lnTo>
                  <a:cubicBezTo>
                    <a:pt x="1039495" y="683896"/>
                    <a:pt x="1031875" y="686436"/>
                    <a:pt x="1023620" y="686436"/>
                  </a:cubicBezTo>
                  <a:cubicBezTo>
                    <a:pt x="1000125" y="686436"/>
                    <a:pt x="991870" y="669926"/>
                    <a:pt x="991870" y="645161"/>
                  </a:cubicBezTo>
                  <a:close/>
                  <a:moveTo>
                    <a:pt x="836295" y="594361"/>
                  </a:moveTo>
                  <a:lnTo>
                    <a:pt x="858519" y="594361"/>
                  </a:lnTo>
                  <a:lnTo>
                    <a:pt x="858519" y="643256"/>
                  </a:lnTo>
                  <a:cubicBezTo>
                    <a:pt x="858519" y="655321"/>
                    <a:pt x="861060" y="664846"/>
                    <a:pt x="873760" y="664846"/>
                  </a:cubicBezTo>
                  <a:cubicBezTo>
                    <a:pt x="886459" y="664846"/>
                    <a:pt x="889000" y="655321"/>
                    <a:pt x="889000" y="644526"/>
                  </a:cubicBezTo>
                  <a:lnTo>
                    <a:pt x="889000" y="594996"/>
                  </a:lnTo>
                  <a:lnTo>
                    <a:pt x="911224" y="594996"/>
                  </a:lnTo>
                  <a:lnTo>
                    <a:pt x="911224" y="684531"/>
                  </a:lnTo>
                  <a:lnTo>
                    <a:pt x="889000" y="684531"/>
                  </a:lnTo>
                  <a:lnTo>
                    <a:pt x="889000" y="678181"/>
                  </a:lnTo>
                  <a:cubicBezTo>
                    <a:pt x="883920" y="683896"/>
                    <a:pt x="876299" y="686436"/>
                    <a:pt x="868045" y="686436"/>
                  </a:cubicBezTo>
                  <a:cubicBezTo>
                    <a:pt x="844549" y="686436"/>
                    <a:pt x="836295" y="669926"/>
                    <a:pt x="836295" y="645161"/>
                  </a:cubicBezTo>
                  <a:close/>
                  <a:moveTo>
                    <a:pt x="1181099" y="592456"/>
                  </a:moveTo>
                  <a:cubicBezTo>
                    <a:pt x="1204595" y="592456"/>
                    <a:pt x="1219200" y="613411"/>
                    <a:pt x="1219200" y="639446"/>
                  </a:cubicBezTo>
                  <a:lnTo>
                    <a:pt x="1218564" y="639446"/>
                  </a:lnTo>
                  <a:cubicBezTo>
                    <a:pt x="1218564" y="639446"/>
                    <a:pt x="1218564" y="645796"/>
                    <a:pt x="1218564" y="647066"/>
                  </a:cubicBezTo>
                  <a:lnTo>
                    <a:pt x="1163954" y="647066"/>
                  </a:lnTo>
                  <a:cubicBezTo>
                    <a:pt x="1165224" y="659766"/>
                    <a:pt x="1173480" y="664846"/>
                    <a:pt x="1183004" y="664846"/>
                  </a:cubicBezTo>
                  <a:cubicBezTo>
                    <a:pt x="1188720" y="664846"/>
                    <a:pt x="1193799" y="662941"/>
                    <a:pt x="1198879" y="658496"/>
                  </a:cubicBezTo>
                  <a:lnTo>
                    <a:pt x="1214754" y="671831"/>
                  </a:lnTo>
                  <a:cubicBezTo>
                    <a:pt x="1206500" y="682626"/>
                    <a:pt x="1193799" y="686436"/>
                    <a:pt x="1182370" y="686436"/>
                  </a:cubicBezTo>
                  <a:cubicBezTo>
                    <a:pt x="1156335" y="686436"/>
                    <a:pt x="1141095" y="666116"/>
                    <a:pt x="1141095" y="639446"/>
                  </a:cubicBezTo>
                  <a:cubicBezTo>
                    <a:pt x="1141095" y="610871"/>
                    <a:pt x="1158875" y="592456"/>
                    <a:pt x="1181099" y="592456"/>
                  </a:cubicBezTo>
                  <a:close/>
                  <a:moveTo>
                    <a:pt x="691515" y="592456"/>
                  </a:moveTo>
                  <a:cubicBezTo>
                    <a:pt x="715010" y="592456"/>
                    <a:pt x="729614" y="613411"/>
                    <a:pt x="729614" y="639446"/>
                  </a:cubicBezTo>
                  <a:lnTo>
                    <a:pt x="728980" y="639446"/>
                  </a:lnTo>
                  <a:cubicBezTo>
                    <a:pt x="728980" y="639446"/>
                    <a:pt x="728980" y="645796"/>
                    <a:pt x="728980" y="647066"/>
                  </a:cubicBezTo>
                  <a:lnTo>
                    <a:pt x="674370" y="647066"/>
                  </a:lnTo>
                  <a:cubicBezTo>
                    <a:pt x="675640" y="659766"/>
                    <a:pt x="683894" y="664846"/>
                    <a:pt x="693420" y="664846"/>
                  </a:cubicBezTo>
                  <a:cubicBezTo>
                    <a:pt x="699135" y="664846"/>
                    <a:pt x="704215" y="662941"/>
                    <a:pt x="709295" y="658496"/>
                  </a:cubicBezTo>
                  <a:lnTo>
                    <a:pt x="725170" y="671831"/>
                  </a:lnTo>
                  <a:cubicBezTo>
                    <a:pt x="716915" y="682626"/>
                    <a:pt x="704215" y="686436"/>
                    <a:pt x="692784" y="686436"/>
                  </a:cubicBezTo>
                  <a:cubicBezTo>
                    <a:pt x="666750" y="686436"/>
                    <a:pt x="651510" y="666116"/>
                    <a:pt x="651510" y="639446"/>
                  </a:cubicBezTo>
                  <a:cubicBezTo>
                    <a:pt x="651510" y="610871"/>
                    <a:pt x="669290" y="592456"/>
                    <a:pt x="691515" y="592456"/>
                  </a:cubicBezTo>
                  <a:close/>
                  <a:moveTo>
                    <a:pt x="412114" y="592456"/>
                  </a:moveTo>
                  <a:cubicBezTo>
                    <a:pt x="437515" y="592456"/>
                    <a:pt x="448310" y="615316"/>
                    <a:pt x="448310" y="639446"/>
                  </a:cubicBezTo>
                  <a:cubicBezTo>
                    <a:pt x="448310" y="639446"/>
                    <a:pt x="448310" y="645796"/>
                    <a:pt x="448310" y="647066"/>
                  </a:cubicBezTo>
                  <a:lnTo>
                    <a:pt x="395605" y="647066"/>
                  </a:lnTo>
                  <a:cubicBezTo>
                    <a:pt x="396875" y="659766"/>
                    <a:pt x="405129" y="664846"/>
                    <a:pt x="415290" y="664846"/>
                  </a:cubicBezTo>
                  <a:cubicBezTo>
                    <a:pt x="421004" y="664846"/>
                    <a:pt x="426084" y="662941"/>
                    <a:pt x="430530" y="658496"/>
                  </a:cubicBezTo>
                  <a:lnTo>
                    <a:pt x="446405" y="671831"/>
                  </a:lnTo>
                  <a:cubicBezTo>
                    <a:pt x="438784" y="681991"/>
                    <a:pt x="425450" y="686436"/>
                    <a:pt x="413385" y="686436"/>
                  </a:cubicBezTo>
                  <a:cubicBezTo>
                    <a:pt x="387349" y="686436"/>
                    <a:pt x="372110" y="666116"/>
                    <a:pt x="372110" y="640081"/>
                  </a:cubicBezTo>
                  <a:cubicBezTo>
                    <a:pt x="372110" y="614046"/>
                    <a:pt x="388620" y="592456"/>
                    <a:pt x="412114" y="592456"/>
                  </a:cubicBezTo>
                  <a:close/>
                  <a:moveTo>
                    <a:pt x="326390" y="592456"/>
                  </a:moveTo>
                  <a:cubicBezTo>
                    <a:pt x="350519" y="592456"/>
                    <a:pt x="361314" y="615316"/>
                    <a:pt x="361314" y="639446"/>
                  </a:cubicBezTo>
                  <a:cubicBezTo>
                    <a:pt x="361314" y="662306"/>
                    <a:pt x="351790" y="686436"/>
                    <a:pt x="326390" y="686436"/>
                  </a:cubicBezTo>
                  <a:cubicBezTo>
                    <a:pt x="316230" y="686436"/>
                    <a:pt x="310515" y="682626"/>
                    <a:pt x="306070" y="678816"/>
                  </a:cubicBezTo>
                  <a:lnTo>
                    <a:pt x="306070" y="706121"/>
                  </a:lnTo>
                  <a:lnTo>
                    <a:pt x="283845" y="717551"/>
                  </a:lnTo>
                  <a:lnTo>
                    <a:pt x="283845" y="594361"/>
                  </a:lnTo>
                  <a:lnTo>
                    <a:pt x="306070" y="594361"/>
                  </a:lnTo>
                  <a:lnTo>
                    <a:pt x="306070" y="600711"/>
                  </a:lnTo>
                  <a:cubicBezTo>
                    <a:pt x="311784" y="595631"/>
                    <a:pt x="318135" y="592456"/>
                    <a:pt x="326390" y="592456"/>
                  </a:cubicBezTo>
                  <a:close/>
                  <a:moveTo>
                    <a:pt x="231775" y="592456"/>
                  </a:moveTo>
                  <a:cubicBezTo>
                    <a:pt x="254635" y="592456"/>
                    <a:pt x="268605" y="603251"/>
                    <a:pt x="268605" y="624206"/>
                  </a:cubicBezTo>
                  <a:lnTo>
                    <a:pt x="268605" y="684531"/>
                  </a:lnTo>
                  <a:lnTo>
                    <a:pt x="267970" y="684531"/>
                  </a:lnTo>
                  <a:lnTo>
                    <a:pt x="245745" y="684531"/>
                  </a:lnTo>
                  <a:lnTo>
                    <a:pt x="245745" y="678181"/>
                  </a:lnTo>
                  <a:cubicBezTo>
                    <a:pt x="240665" y="683261"/>
                    <a:pt x="233680" y="686436"/>
                    <a:pt x="224790" y="686436"/>
                  </a:cubicBezTo>
                  <a:cubicBezTo>
                    <a:pt x="207010" y="686436"/>
                    <a:pt x="193040" y="675006"/>
                    <a:pt x="193040" y="655321"/>
                  </a:cubicBezTo>
                  <a:cubicBezTo>
                    <a:pt x="193040" y="635636"/>
                    <a:pt x="206375" y="624841"/>
                    <a:pt x="227965" y="624841"/>
                  </a:cubicBezTo>
                  <a:cubicBezTo>
                    <a:pt x="233680" y="624841"/>
                    <a:pt x="239394" y="625476"/>
                    <a:pt x="245745" y="628651"/>
                  </a:cubicBezTo>
                  <a:lnTo>
                    <a:pt x="245745" y="623571"/>
                  </a:lnTo>
                  <a:cubicBezTo>
                    <a:pt x="245745" y="615316"/>
                    <a:pt x="240030" y="611506"/>
                    <a:pt x="230504" y="611506"/>
                  </a:cubicBezTo>
                  <a:cubicBezTo>
                    <a:pt x="223519" y="611506"/>
                    <a:pt x="216534" y="613411"/>
                    <a:pt x="209549" y="617221"/>
                  </a:cubicBezTo>
                  <a:lnTo>
                    <a:pt x="200659" y="601346"/>
                  </a:lnTo>
                  <a:cubicBezTo>
                    <a:pt x="210185" y="594996"/>
                    <a:pt x="219709" y="592456"/>
                    <a:pt x="231775" y="592456"/>
                  </a:cubicBezTo>
                  <a:close/>
                  <a:moveTo>
                    <a:pt x="1125855" y="591821"/>
                  </a:moveTo>
                  <a:cubicBezTo>
                    <a:pt x="1132204" y="591821"/>
                    <a:pt x="1137920" y="593726"/>
                    <a:pt x="1142364" y="598171"/>
                  </a:cubicBezTo>
                  <a:lnTo>
                    <a:pt x="1141730" y="598806"/>
                  </a:lnTo>
                  <a:lnTo>
                    <a:pt x="1132840" y="621031"/>
                  </a:lnTo>
                  <a:cubicBezTo>
                    <a:pt x="1129665" y="617856"/>
                    <a:pt x="1125220" y="615316"/>
                    <a:pt x="1120140" y="615316"/>
                  </a:cubicBezTo>
                  <a:cubicBezTo>
                    <a:pt x="1109345" y="615316"/>
                    <a:pt x="1106805" y="624206"/>
                    <a:pt x="1106805" y="635001"/>
                  </a:cubicBezTo>
                  <a:lnTo>
                    <a:pt x="1106805" y="683896"/>
                  </a:lnTo>
                  <a:lnTo>
                    <a:pt x="1084579" y="683896"/>
                  </a:lnTo>
                  <a:lnTo>
                    <a:pt x="1084579" y="593726"/>
                  </a:lnTo>
                  <a:lnTo>
                    <a:pt x="1106805" y="593726"/>
                  </a:lnTo>
                  <a:lnTo>
                    <a:pt x="1106805" y="600076"/>
                  </a:lnTo>
                  <a:cubicBezTo>
                    <a:pt x="1111885" y="594996"/>
                    <a:pt x="1118235" y="591821"/>
                    <a:pt x="1125855" y="591821"/>
                  </a:cubicBezTo>
                  <a:close/>
                  <a:moveTo>
                    <a:pt x="47625" y="563881"/>
                  </a:moveTo>
                  <a:cubicBezTo>
                    <a:pt x="66040" y="563881"/>
                    <a:pt x="79375" y="571501"/>
                    <a:pt x="90170" y="582296"/>
                  </a:cubicBezTo>
                  <a:lnTo>
                    <a:pt x="73659" y="598806"/>
                  </a:lnTo>
                  <a:cubicBezTo>
                    <a:pt x="66040" y="591186"/>
                    <a:pt x="58420" y="586741"/>
                    <a:pt x="46355" y="586741"/>
                  </a:cubicBezTo>
                  <a:cubicBezTo>
                    <a:pt x="36194" y="586741"/>
                    <a:pt x="28575" y="589916"/>
                    <a:pt x="28575" y="598171"/>
                  </a:cubicBezTo>
                  <a:cubicBezTo>
                    <a:pt x="28575" y="601981"/>
                    <a:pt x="29845" y="604521"/>
                    <a:pt x="33655" y="606426"/>
                  </a:cubicBezTo>
                  <a:cubicBezTo>
                    <a:pt x="38099" y="608966"/>
                    <a:pt x="43814" y="610236"/>
                    <a:pt x="52704" y="612776"/>
                  </a:cubicBezTo>
                  <a:cubicBezTo>
                    <a:pt x="63500" y="615951"/>
                    <a:pt x="73659" y="617856"/>
                    <a:pt x="81915" y="624841"/>
                  </a:cubicBezTo>
                  <a:lnTo>
                    <a:pt x="92427" y="648959"/>
                  </a:lnTo>
                  <a:lnTo>
                    <a:pt x="79454" y="677626"/>
                  </a:lnTo>
                  <a:cubicBezTo>
                    <a:pt x="71279" y="683738"/>
                    <a:pt x="60008" y="686436"/>
                    <a:pt x="47625" y="686436"/>
                  </a:cubicBezTo>
                  <a:cubicBezTo>
                    <a:pt x="29845" y="686436"/>
                    <a:pt x="10795" y="680721"/>
                    <a:pt x="0" y="664846"/>
                  </a:cubicBezTo>
                  <a:lnTo>
                    <a:pt x="16510" y="650241"/>
                  </a:lnTo>
                  <a:cubicBezTo>
                    <a:pt x="24129" y="659766"/>
                    <a:pt x="35560" y="664211"/>
                    <a:pt x="46989" y="664211"/>
                  </a:cubicBezTo>
                  <a:cubicBezTo>
                    <a:pt x="60325" y="664211"/>
                    <a:pt x="68579" y="657861"/>
                    <a:pt x="68579" y="649606"/>
                  </a:cubicBezTo>
                  <a:cubicBezTo>
                    <a:pt x="68579" y="646431"/>
                    <a:pt x="67310" y="642621"/>
                    <a:pt x="61595" y="640081"/>
                  </a:cubicBezTo>
                  <a:cubicBezTo>
                    <a:pt x="57150" y="638176"/>
                    <a:pt x="52069" y="636906"/>
                    <a:pt x="41909" y="634366"/>
                  </a:cubicBezTo>
                  <a:cubicBezTo>
                    <a:pt x="35560" y="633096"/>
                    <a:pt x="22860" y="629921"/>
                    <a:pt x="14605" y="623571"/>
                  </a:cubicBezTo>
                  <a:cubicBezTo>
                    <a:pt x="6349" y="617221"/>
                    <a:pt x="4444" y="607696"/>
                    <a:pt x="4444" y="599441"/>
                  </a:cubicBezTo>
                  <a:cubicBezTo>
                    <a:pt x="4444" y="574041"/>
                    <a:pt x="26034" y="563881"/>
                    <a:pt x="47625" y="563881"/>
                  </a:cubicBezTo>
                  <a:close/>
                  <a:moveTo>
                    <a:pt x="814070" y="560071"/>
                  </a:moveTo>
                  <a:cubicBezTo>
                    <a:pt x="820420" y="560071"/>
                    <a:pt x="824864" y="561341"/>
                    <a:pt x="830579" y="562611"/>
                  </a:cubicBezTo>
                  <a:lnTo>
                    <a:pt x="829945" y="562611"/>
                  </a:lnTo>
                  <a:lnTo>
                    <a:pt x="829945" y="581026"/>
                  </a:lnTo>
                  <a:cubicBezTo>
                    <a:pt x="824864" y="579756"/>
                    <a:pt x="821055" y="579121"/>
                    <a:pt x="818515" y="579121"/>
                  </a:cubicBezTo>
                  <a:cubicBezTo>
                    <a:pt x="810260" y="579121"/>
                    <a:pt x="808989" y="582296"/>
                    <a:pt x="808989" y="586741"/>
                  </a:cubicBezTo>
                  <a:lnTo>
                    <a:pt x="808989" y="594361"/>
                  </a:lnTo>
                  <a:lnTo>
                    <a:pt x="824230" y="594361"/>
                  </a:lnTo>
                  <a:lnTo>
                    <a:pt x="824230" y="615951"/>
                  </a:lnTo>
                  <a:lnTo>
                    <a:pt x="808989" y="615951"/>
                  </a:lnTo>
                  <a:lnTo>
                    <a:pt x="808989" y="684531"/>
                  </a:lnTo>
                  <a:lnTo>
                    <a:pt x="786765" y="684531"/>
                  </a:lnTo>
                  <a:lnTo>
                    <a:pt x="786765" y="615951"/>
                  </a:lnTo>
                  <a:lnTo>
                    <a:pt x="775970" y="615951"/>
                  </a:lnTo>
                  <a:lnTo>
                    <a:pt x="775970" y="594361"/>
                  </a:lnTo>
                  <a:lnTo>
                    <a:pt x="786765" y="594361"/>
                  </a:lnTo>
                  <a:lnTo>
                    <a:pt x="786765" y="583566"/>
                  </a:lnTo>
                  <a:cubicBezTo>
                    <a:pt x="786765" y="567691"/>
                    <a:pt x="795019" y="560071"/>
                    <a:pt x="814070" y="560071"/>
                  </a:cubicBezTo>
                  <a:close/>
                  <a:moveTo>
                    <a:pt x="957579" y="559436"/>
                  </a:moveTo>
                  <a:lnTo>
                    <a:pt x="957579" y="594361"/>
                  </a:lnTo>
                  <a:lnTo>
                    <a:pt x="979170" y="594361"/>
                  </a:lnTo>
                  <a:lnTo>
                    <a:pt x="979170" y="615951"/>
                  </a:lnTo>
                  <a:lnTo>
                    <a:pt x="957579" y="615951"/>
                  </a:lnTo>
                  <a:lnTo>
                    <a:pt x="957579" y="654051"/>
                  </a:lnTo>
                  <a:cubicBezTo>
                    <a:pt x="957579" y="661671"/>
                    <a:pt x="960754" y="664846"/>
                    <a:pt x="966470" y="664846"/>
                  </a:cubicBezTo>
                  <a:cubicBezTo>
                    <a:pt x="972185" y="664846"/>
                    <a:pt x="977900" y="661671"/>
                    <a:pt x="981075" y="658496"/>
                  </a:cubicBezTo>
                  <a:lnTo>
                    <a:pt x="977900" y="681356"/>
                  </a:lnTo>
                  <a:cubicBezTo>
                    <a:pt x="973454" y="685166"/>
                    <a:pt x="965200" y="686436"/>
                    <a:pt x="959485" y="686436"/>
                  </a:cubicBezTo>
                  <a:cubicBezTo>
                    <a:pt x="945515" y="686436"/>
                    <a:pt x="935355" y="676276"/>
                    <a:pt x="935355" y="659766"/>
                  </a:cubicBezTo>
                  <a:lnTo>
                    <a:pt x="935355" y="615951"/>
                  </a:lnTo>
                  <a:lnTo>
                    <a:pt x="922655" y="615951"/>
                  </a:lnTo>
                  <a:lnTo>
                    <a:pt x="922655" y="594361"/>
                  </a:lnTo>
                  <a:lnTo>
                    <a:pt x="935355" y="594361"/>
                  </a:lnTo>
                  <a:lnTo>
                    <a:pt x="935355" y="570866"/>
                  </a:lnTo>
                  <a:close/>
                  <a:moveTo>
                    <a:pt x="586739" y="559436"/>
                  </a:moveTo>
                  <a:lnTo>
                    <a:pt x="586739" y="600711"/>
                  </a:lnTo>
                  <a:cubicBezTo>
                    <a:pt x="591820" y="595631"/>
                    <a:pt x="597534" y="592456"/>
                    <a:pt x="607695" y="592456"/>
                  </a:cubicBezTo>
                  <a:cubicBezTo>
                    <a:pt x="631825" y="592456"/>
                    <a:pt x="639445" y="610871"/>
                    <a:pt x="639445" y="633731"/>
                  </a:cubicBezTo>
                  <a:lnTo>
                    <a:pt x="639445" y="684531"/>
                  </a:lnTo>
                  <a:lnTo>
                    <a:pt x="617220" y="684531"/>
                  </a:lnTo>
                  <a:lnTo>
                    <a:pt x="617220" y="635636"/>
                  </a:lnTo>
                  <a:cubicBezTo>
                    <a:pt x="617220" y="623571"/>
                    <a:pt x="614680" y="614681"/>
                    <a:pt x="601980" y="614681"/>
                  </a:cubicBezTo>
                  <a:cubicBezTo>
                    <a:pt x="589280" y="614681"/>
                    <a:pt x="586739" y="622936"/>
                    <a:pt x="586739" y="635001"/>
                  </a:cubicBezTo>
                  <a:lnTo>
                    <a:pt x="586739" y="684531"/>
                  </a:lnTo>
                  <a:lnTo>
                    <a:pt x="564515" y="684531"/>
                  </a:lnTo>
                  <a:lnTo>
                    <a:pt x="564515" y="570866"/>
                  </a:lnTo>
                  <a:close/>
                  <a:moveTo>
                    <a:pt x="529590" y="559436"/>
                  </a:moveTo>
                  <a:lnTo>
                    <a:pt x="529590" y="594361"/>
                  </a:lnTo>
                  <a:lnTo>
                    <a:pt x="550545" y="594361"/>
                  </a:lnTo>
                  <a:lnTo>
                    <a:pt x="550545" y="615951"/>
                  </a:lnTo>
                  <a:lnTo>
                    <a:pt x="529590" y="615951"/>
                  </a:lnTo>
                  <a:lnTo>
                    <a:pt x="529590" y="654051"/>
                  </a:lnTo>
                  <a:cubicBezTo>
                    <a:pt x="529590" y="661671"/>
                    <a:pt x="532765" y="664846"/>
                    <a:pt x="538480" y="664846"/>
                  </a:cubicBezTo>
                  <a:cubicBezTo>
                    <a:pt x="544195" y="664846"/>
                    <a:pt x="549275" y="661671"/>
                    <a:pt x="553084" y="658496"/>
                  </a:cubicBezTo>
                  <a:lnTo>
                    <a:pt x="549909" y="681356"/>
                  </a:lnTo>
                  <a:cubicBezTo>
                    <a:pt x="545465" y="685166"/>
                    <a:pt x="537209" y="686436"/>
                    <a:pt x="531495" y="686436"/>
                  </a:cubicBezTo>
                  <a:cubicBezTo>
                    <a:pt x="517525" y="686436"/>
                    <a:pt x="507364" y="676276"/>
                    <a:pt x="507364" y="659766"/>
                  </a:cubicBezTo>
                  <a:lnTo>
                    <a:pt x="507364" y="615951"/>
                  </a:lnTo>
                  <a:lnTo>
                    <a:pt x="491489" y="615951"/>
                  </a:lnTo>
                  <a:lnTo>
                    <a:pt x="491489" y="594361"/>
                  </a:lnTo>
                  <a:lnTo>
                    <a:pt x="507364" y="594361"/>
                  </a:lnTo>
                  <a:lnTo>
                    <a:pt x="507364" y="570866"/>
                  </a:lnTo>
                  <a:close/>
                  <a:moveTo>
                    <a:pt x="128269" y="559436"/>
                  </a:moveTo>
                  <a:lnTo>
                    <a:pt x="128269" y="600711"/>
                  </a:lnTo>
                  <a:cubicBezTo>
                    <a:pt x="133349" y="595631"/>
                    <a:pt x="139064" y="592456"/>
                    <a:pt x="149224" y="592456"/>
                  </a:cubicBezTo>
                  <a:cubicBezTo>
                    <a:pt x="173355" y="592456"/>
                    <a:pt x="180974" y="610871"/>
                    <a:pt x="180974" y="633731"/>
                  </a:cubicBezTo>
                  <a:lnTo>
                    <a:pt x="180974" y="684531"/>
                  </a:lnTo>
                  <a:lnTo>
                    <a:pt x="158750" y="684531"/>
                  </a:lnTo>
                  <a:lnTo>
                    <a:pt x="158750" y="635636"/>
                  </a:lnTo>
                  <a:cubicBezTo>
                    <a:pt x="158750" y="623571"/>
                    <a:pt x="156209" y="614681"/>
                    <a:pt x="143510" y="614681"/>
                  </a:cubicBezTo>
                  <a:cubicBezTo>
                    <a:pt x="130810" y="614681"/>
                    <a:pt x="128269" y="622936"/>
                    <a:pt x="128269" y="635001"/>
                  </a:cubicBezTo>
                  <a:lnTo>
                    <a:pt x="128269" y="684531"/>
                  </a:lnTo>
                  <a:lnTo>
                    <a:pt x="106045" y="684531"/>
                  </a:lnTo>
                  <a:lnTo>
                    <a:pt x="106045" y="570866"/>
                  </a:lnTo>
                  <a:close/>
                  <a:moveTo>
                    <a:pt x="269875" y="635"/>
                  </a:moveTo>
                  <a:lnTo>
                    <a:pt x="501015" y="635"/>
                  </a:lnTo>
                  <a:lnTo>
                    <a:pt x="554989" y="94615"/>
                  </a:lnTo>
                  <a:lnTo>
                    <a:pt x="391795" y="94615"/>
                  </a:lnTo>
                  <a:lnTo>
                    <a:pt x="391795" y="161925"/>
                  </a:lnTo>
                  <a:lnTo>
                    <a:pt x="539114" y="161925"/>
                  </a:lnTo>
                  <a:lnTo>
                    <a:pt x="539114" y="247650"/>
                  </a:lnTo>
                  <a:lnTo>
                    <a:pt x="391795" y="247650"/>
                  </a:lnTo>
                  <a:lnTo>
                    <a:pt x="391795" y="314325"/>
                  </a:lnTo>
                  <a:lnTo>
                    <a:pt x="595629" y="314325"/>
                  </a:lnTo>
                  <a:lnTo>
                    <a:pt x="595629" y="408305"/>
                  </a:lnTo>
                  <a:lnTo>
                    <a:pt x="269875" y="408305"/>
                  </a:lnTo>
                  <a:close/>
                  <a:moveTo>
                    <a:pt x="539114" y="0"/>
                  </a:moveTo>
                  <a:lnTo>
                    <a:pt x="674370" y="0"/>
                  </a:lnTo>
                  <a:lnTo>
                    <a:pt x="743584" y="132715"/>
                  </a:lnTo>
                  <a:lnTo>
                    <a:pt x="812799" y="0"/>
                  </a:lnTo>
                  <a:lnTo>
                    <a:pt x="946150" y="0"/>
                  </a:lnTo>
                  <a:lnTo>
                    <a:pt x="803275" y="246380"/>
                  </a:lnTo>
                  <a:lnTo>
                    <a:pt x="803275" y="407670"/>
                  </a:lnTo>
                  <a:lnTo>
                    <a:pt x="681355" y="407670"/>
                  </a:lnTo>
                  <a:lnTo>
                    <a:pt x="681355" y="246380"/>
                  </a:lnTo>
                  <a:close/>
                </a:path>
              </a:pathLst>
            </a:custGeom>
            <a:solidFill>
              <a:srgbClr val="FFFFFF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28" name="Subtitle 2">
            <a:extLst>
              <a:ext uri="{FF2B5EF4-FFF2-40B4-BE49-F238E27FC236}">
                <a16:creationId xmlns:a16="http://schemas.microsoft.com/office/drawing/2014/main" id="{632E76BF-46D5-8E94-88AA-4783DD302E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90225" y="4436486"/>
            <a:ext cx="4910184" cy="511939"/>
          </a:xfrm>
        </p:spPr>
        <p:txBody>
          <a:bodyPr wrap="square">
            <a:noAutofit/>
          </a:bodyPr>
          <a:lstStyle>
            <a:lvl1pPr marL="0" indent="0" algn="l">
              <a:buNone/>
              <a:defRPr lang="en-GB" sz="16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/>
          </a:p>
        </p:txBody>
      </p:sp>
      <p:sp>
        <p:nvSpPr>
          <p:cNvPr id="29" name="Title 4">
            <a:extLst>
              <a:ext uri="{FF2B5EF4-FFF2-40B4-BE49-F238E27FC236}">
                <a16:creationId xmlns:a16="http://schemas.microsoft.com/office/drawing/2014/main" id="{1F7B1FDC-B90E-6693-A750-B9BA4B535E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90226" y="2698752"/>
            <a:ext cx="4908564" cy="1654043"/>
          </a:xfrm>
        </p:spPr>
        <p:txBody>
          <a:bodyPr anchor="t">
            <a:noAutofit/>
          </a:bodyPr>
          <a:lstStyle>
            <a:lvl1pPr>
              <a:defRPr sz="4200" b="1" i="0">
                <a:solidFill>
                  <a:schemeClr val="bg1"/>
                </a:solidFill>
                <a:latin typeface="EYInterstate Regular" panose="02000503020000020004" pitchFamily="2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0" name="Text Placeholder 288">
            <a:extLst>
              <a:ext uri="{FF2B5EF4-FFF2-40B4-BE49-F238E27FC236}">
                <a16:creationId xmlns:a16="http://schemas.microsoft.com/office/drawing/2014/main" id="{1673B89D-F206-B9D2-CDB7-BDE045C7447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90226" y="5047486"/>
            <a:ext cx="4908565" cy="246221"/>
          </a:xfrm>
        </p:spPr>
        <p:txBody>
          <a:bodyPr wrap="square">
            <a:spAutoFit/>
          </a:bodyPr>
          <a:lstStyle>
            <a:lvl1pPr marL="0" indent="0">
              <a:buNone/>
              <a:defRPr sz="1600" b="1">
                <a:latin typeface="+mj-lt"/>
              </a:defRPr>
            </a:lvl1pPr>
            <a:lvl2pPr marL="252000" indent="0">
              <a:buNone/>
              <a:defRPr sz="1600" b="1">
                <a:latin typeface="+mj-lt"/>
              </a:defRPr>
            </a:lvl2pPr>
            <a:lvl3pPr marL="504000" indent="0">
              <a:buNone/>
              <a:defRPr sz="1600" b="1">
                <a:latin typeface="+mj-lt"/>
              </a:defRPr>
            </a:lvl3pPr>
            <a:lvl4pPr marL="756000" indent="0">
              <a:buNone/>
              <a:defRPr sz="1600" b="1">
                <a:latin typeface="+mj-lt"/>
              </a:defRPr>
            </a:lvl4pPr>
            <a:lvl5pPr marL="1008000" indent="0">
              <a:buNone/>
              <a:defRPr sz="1600" b="1">
                <a:latin typeface="+mj-lt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AA89752D-8E95-B790-7077-E6201AB412C3}"/>
              </a:ext>
            </a:extLst>
          </p:cNvPr>
          <p:cNvGrpSpPr/>
          <p:nvPr userDrawn="1"/>
        </p:nvGrpSpPr>
        <p:grpSpPr>
          <a:xfrm>
            <a:off x="486029" y="6164633"/>
            <a:ext cx="4943508" cy="318770"/>
            <a:chOff x="485775" y="6164633"/>
            <a:chExt cx="4940935" cy="318770"/>
          </a:xfrm>
        </p:grpSpPr>
        <p:sp>
          <p:nvSpPr>
            <p:cNvPr id="25" name="Freeform 24">
              <a:extLst>
                <a:ext uri="{FF2B5EF4-FFF2-40B4-BE49-F238E27FC236}">
                  <a16:creationId xmlns:a16="http://schemas.microsoft.com/office/drawing/2014/main" id="{F8AD9B21-63CE-8D03-9802-DB2391C6BC13}"/>
                </a:ext>
              </a:extLst>
            </p:cNvPr>
            <p:cNvSpPr/>
            <p:nvPr userDrawn="1"/>
          </p:nvSpPr>
          <p:spPr bwMode="black">
            <a:xfrm>
              <a:off x="485779" y="6344974"/>
              <a:ext cx="4940931" cy="138429"/>
            </a:xfrm>
            <a:custGeom>
              <a:avLst/>
              <a:gdLst>
                <a:gd name="connsiteX0" fmla="*/ 1032512 w 4940931"/>
                <a:gd name="connsiteY0" fmla="*/ 137477 h 138429"/>
                <a:gd name="connsiteX1" fmla="*/ 1032512 w 4940931"/>
                <a:gd name="connsiteY1" fmla="*/ 137794 h 138429"/>
                <a:gd name="connsiteX2" fmla="*/ 1030607 w 4940931"/>
                <a:gd name="connsiteY2" fmla="*/ 138429 h 138429"/>
                <a:gd name="connsiteX3" fmla="*/ 4929501 w 4940931"/>
                <a:gd name="connsiteY3" fmla="*/ 87629 h 138429"/>
                <a:gd name="connsiteX4" fmla="*/ 4933946 w 4940931"/>
                <a:gd name="connsiteY4" fmla="*/ 88264 h 138429"/>
                <a:gd name="connsiteX5" fmla="*/ 4937756 w 4940931"/>
                <a:gd name="connsiteY5" fmla="*/ 90804 h 138429"/>
                <a:gd name="connsiteX6" fmla="*/ 4940296 w 4940931"/>
                <a:gd name="connsiteY6" fmla="*/ 94614 h 138429"/>
                <a:gd name="connsiteX7" fmla="*/ 4940931 w 4940931"/>
                <a:gd name="connsiteY7" fmla="*/ 99059 h 138429"/>
                <a:gd name="connsiteX8" fmla="*/ 4940296 w 4940931"/>
                <a:gd name="connsiteY8" fmla="*/ 103504 h 138429"/>
                <a:gd name="connsiteX9" fmla="*/ 4937756 w 4940931"/>
                <a:gd name="connsiteY9" fmla="*/ 107314 h 138429"/>
                <a:gd name="connsiteX10" fmla="*/ 4933946 w 4940931"/>
                <a:gd name="connsiteY10" fmla="*/ 109854 h 138429"/>
                <a:gd name="connsiteX11" fmla="*/ 4929501 w 4940931"/>
                <a:gd name="connsiteY11" fmla="*/ 110489 h 138429"/>
                <a:gd name="connsiteX12" fmla="*/ 4925056 w 4940931"/>
                <a:gd name="connsiteY12" fmla="*/ 109854 h 138429"/>
                <a:gd name="connsiteX13" fmla="*/ 4921246 w 4940931"/>
                <a:gd name="connsiteY13" fmla="*/ 107314 h 138429"/>
                <a:gd name="connsiteX14" fmla="*/ 4918706 w 4940931"/>
                <a:gd name="connsiteY14" fmla="*/ 103504 h 138429"/>
                <a:gd name="connsiteX15" fmla="*/ 4918071 w 4940931"/>
                <a:gd name="connsiteY15" fmla="*/ 99059 h 138429"/>
                <a:gd name="connsiteX16" fmla="*/ 4918706 w 4940931"/>
                <a:gd name="connsiteY16" fmla="*/ 94614 h 138429"/>
                <a:gd name="connsiteX17" fmla="*/ 4921246 w 4940931"/>
                <a:gd name="connsiteY17" fmla="*/ 90804 h 138429"/>
                <a:gd name="connsiteX18" fmla="*/ 4925056 w 4940931"/>
                <a:gd name="connsiteY18" fmla="*/ 88264 h 138429"/>
                <a:gd name="connsiteX19" fmla="*/ 4929501 w 4940931"/>
                <a:gd name="connsiteY19" fmla="*/ 87629 h 138429"/>
                <a:gd name="connsiteX20" fmla="*/ 3079110 w 4940931"/>
                <a:gd name="connsiteY20" fmla="*/ 87629 h 138429"/>
                <a:gd name="connsiteX21" fmla="*/ 3083555 w 4940931"/>
                <a:gd name="connsiteY21" fmla="*/ 88264 h 138429"/>
                <a:gd name="connsiteX22" fmla="*/ 3087365 w 4940931"/>
                <a:gd name="connsiteY22" fmla="*/ 90804 h 138429"/>
                <a:gd name="connsiteX23" fmla="*/ 3089905 w 4940931"/>
                <a:gd name="connsiteY23" fmla="*/ 94614 h 138429"/>
                <a:gd name="connsiteX24" fmla="*/ 3090540 w 4940931"/>
                <a:gd name="connsiteY24" fmla="*/ 99059 h 138429"/>
                <a:gd name="connsiteX25" fmla="*/ 3089905 w 4940931"/>
                <a:gd name="connsiteY25" fmla="*/ 103504 h 138429"/>
                <a:gd name="connsiteX26" fmla="*/ 3087365 w 4940931"/>
                <a:gd name="connsiteY26" fmla="*/ 107314 h 138429"/>
                <a:gd name="connsiteX27" fmla="*/ 3083555 w 4940931"/>
                <a:gd name="connsiteY27" fmla="*/ 109854 h 138429"/>
                <a:gd name="connsiteX28" fmla="*/ 3079110 w 4940931"/>
                <a:gd name="connsiteY28" fmla="*/ 110489 h 138429"/>
                <a:gd name="connsiteX29" fmla="*/ 3074665 w 4940931"/>
                <a:gd name="connsiteY29" fmla="*/ 109854 h 138429"/>
                <a:gd name="connsiteX30" fmla="*/ 3070855 w 4940931"/>
                <a:gd name="connsiteY30" fmla="*/ 107314 h 138429"/>
                <a:gd name="connsiteX31" fmla="*/ 3068315 w 4940931"/>
                <a:gd name="connsiteY31" fmla="*/ 103504 h 138429"/>
                <a:gd name="connsiteX32" fmla="*/ 3067680 w 4940931"/>
                <a:gd name="connsiteY32" fmla="*/ 99059 h 138429"/>
                <a:gd name="connsiteX33" fmla="*/ 3068315 w 4940931"/>
                <a:gd name="connsiteY33" fmla="*/ 94614 h 138429"/>
                <a:gd name="connsiteX34" fmla="*/ 3070855 w 4940931"/>
                <a:gd name="connsiteY34" fmla="*/ 90804 h 138429"/>
                <a:gd name="connsiteX35" fmla="*/ 3074665 w 4940931"/>
                <a:gd name="connsiteY35" fmla="*/ 88264 h 138429"/>
                <a:gd name="connsiteX36" fmla="*/ 3079110 w 4940931"/>
                <a:gd name="connsiteY36" fmla="*/ 87629 h 138429"/>
                <a:gd name="connsiteX37" fmla="*/ 1565275 w 4940931"/>
                <a:gd name="connsiteY37" fmla="*/ 87629 h 138429"/>
                <a:gd name="connsiteX38" fmla="*/ 1569720 w 4940931"/>
                <a:gd name="connsiteY38" fmla="*/ 88264 h 138429"/>
                <a:gd name="connsiteX39" fmla="*/ 1573529 w 4940931"/>
                <a:gd name="connsiteY39" fmla="*/ 90804 h 138429"/>
                <a:gd name="connsiteX40" fmla="*/ 1576069 w 4940931"/>
                <a:gd name="connsiteY40" fmla="*/ 94614 h 138429"/>
                <a:gd name="connsiteX41" fmla="*/ 1576705 w 4940931"/>
                <a:gd name="connsiteY41" fmla="*/ 99059 h 138429"/>
                <a:gd name="connsiteX42" fmla="*/ 1576069 w 4940931"/>
                <a:gd name="connsiteY42" fmla="*/ 103504 h 138429"/>
                <a:gd name="connsiteX43" fmla="*/ 1573529 w 4940931"/>
                <a:gd name="connsiteY43" fmla="*/ 107314 h 138429"/>
                <a:gd name="connsiteX44" fmla="*/ 1569720 w 4940931"/>
                <a:gd name="connsiteY44" fmla="*/ 109854 h 138429"/>
                <a:gd name="connsiteX45" fmla="*/ 1565275 w 4940931"/>
                <a:gd name="connsiteY45" fmla="*/ 110489 h 138429"/>
                <a:gd name="connsiteX46" fmla="*/ 1560830 w 4940931"/>
                <a:gd name="connsiteY46" fmla="*/ 109854 h 138429"/>
                <a:gd name="connsiteX47" fmla="*/ 1557020 w 4940931"/>
                <a:gd name="connsiteY47" fmla="*/ 107314 h 138429"/>
                <a:gd name="connsiteX48" fmla="*/ 1554479 w 4940931"/>
                <a:gd name="connsiteY48" fmla="*/ 103504 h 138429"/>
                <a:gd name="connsiteX49" fmla="*/ 1553844 w 4940931"/>
                <a:gd name="connsiteY49" fmla="*/ 99059 h 138429"/>
                <a:gd name="connsiteX50" fmla="*/ 1554479 w 4940931"/>
                <a:gd name="connsiteY50" fmla="*/ 94614 h 138429"/>
                <a:gd name="connsiteX51" fmla="*/ 1557020 w 4940931"/>
                <a:gd name="connsiteY51" fmla="*/ 90804 h 138429"/>
                <a:gd name="connsiteX52" fmla="*/ 1560830 w 4940931"/>
                <a:gd name="connsiteY52" fmla="*/ 88264 h 138429"/>
                <a:gd name="connsiteX53" fmla="*/ 1565275 w 4940931"/>
                <a:gd name="connsiteY53" fmla="*/ 87629 h 138429"/>
                <a:gd name="connsiteX54" fmla="*/ 2642230 w 4940931"/>
                <a:gd name="connsiteY54" fmla="*/ 73024 h 138429"/>
                <a:gd name="connsiteX55" fmla="*/ 2630800 w 4940931"/>
                <a:gd name="connsiteY55" fmla="*/ 76199 h 138429"/>
                <a:gd name="connsiteX56" fmla="*/ 2626355 w 4940931"/>
                <a:gd name="connsiteY56" fmla="*/ 84454 h 138429"/>
                <a:gd name="connsiteX57" fmla="*/ 2627625 w 4940931"/>
                <a:gd name="connsiteY57" fmla="*/ 90169 h 138429"/>
                <a:gd name="connsiteX58" fmla="*/ 2630800 w 4940931"/>
                <a:gd name="connsiteY58" fmla="*/ 93979 h 138429"/>
                <a:gd name="connsiteX59" fmla="*/ 2635245 w 4940931"/>
                <a:gd name="connsiteY59" fmla="*/ 96519 h 138429"/>
                <a:gd name="connsiteX60" fmla="*/ 2641595 w 4940931"/>
                <a:gd name="connsiteY60" fmla="*/ 97154 h 138429"/>
                <a:gd name="connsiteX61" fmla="*/ 2647310 w 4940931"/>
                <a:gd name="connsiteY61" fmla="*/ 96519 h 138429"/>
                <a:gd name="connsiteX62" fmla="*/ 2652390 w 4940931"/>
                <a:gd name="connsiteY62" fmla="*/ 93979 h 138429"/>
                <a:gd name="connsiteX63" fmla="*/ 2656835 w 4940931"/>
                <a:gd name="connsiteY63" fmla="*/ 90804 h 138429"/>
                <a:gd name="connsiteX64" fmla="*/ 2660010 w 4940931"/>
                <a:gd name="connsiteY64" fmla="*/ 86994 h 138429"/>
                <a:gd name="connsiteX65" fmla="*/ 2660010 w 4940931"/>
                <a:gd name="connsiteY65" fmla="*/ 75564 h 138429"/>
                <a:gd name="connsiteX66" fmla="*/ 2656200 w 4940931"/>
                <a:gd name="connsiteY66" fmla="*/ 74294 h 138429"/>
                <a:gd name="connsiteX67" fmla="*/ 2652390 w 4940931"/>
                <a:gd name="connsiteY67" fmla="*/ 73659 h 138429"/>
                <a:gd name="connsiteX68" fmla="*/ 2647945 w 4940931"/>
                <a:gd name="connsiteY68" fmla="*/ 73024 h 138429"/>
                <a:gd name="connsiteX69" fmla="*/ 2642230 w 4940931"/>
                <a:gd name="connsiteY69" fmla="*/ 73024 h 138429"/>
                <a:gd name="connsiteX70" fmla="*/ 4664706 w 4940931"/>
                <a:gd name="connsiteY70" fmla="*/ 43814 h 138429"/>
                <a:gd name="connsiteX71" fmla="*/ 4657086 w 4940931"/>
                <a:gd name="connsiteY71" fmla="*/ 45719 h 138429"/>
                <a:gd name="connsiteX72" fmla="*/ 4651371 w 4940931"/>
                <a:gd name="connsiteY72" fmla="*/ 50799 h 138429"/>
                <a:gd name="connsiteX73" fmla="*/ 4647561 w 4940931"/>
                <a:gd name="connsiteY73" fmla="*/ 59054 h 138429"/>
                <a:gd name="connsiteX74" fmla="*/ 4646291 w 4940931"/>
                <a:gd name="connsiteY74" fmla="*/ 69849 h 138429"/>
                <a:gd name="connsiteX75" fmla="*/ 4647561 w 4940931"/>
                <a:gd name="connsiteY75" fmla="*/ 81279 h 138429"/>
                <a:gd name="connsiteX76" fmla="*/ 4651371 w 4940931"/>
                <a:gd name="connsiteY76" fmla="*/ 89534 h 138429"/>
                <a:gd name="connsiteX77" fmla="*/ 4657721 w 4940931"/>
                <a:gd name="connsiteY77" fmla="*/ 94614 h 138429"/>
                <a:gd name="connsiteX78" fmla="*/ 4665341 w 4940931"/>
                <a:gd name="connsiteY78" fmla="*/ 96519 h 138429"/>
                <a:gd name="connsiteX79" fmla="*/ 4672961 w 4940931"/>
                <a:gd name="connsiteY79" fmla="*/ 94614 h 138429"/>
                <a:gd name="connsiteX80" fmla="*/ 4678676 w 4940931"/>
                <a:gd name="connsiteY80" fmla="*/ 88899 h 138429"/>
                <a:gd name="connsiteX81" fmla="*/ 4682486 w 4940931"/>
                <a:gd name="connsiteY81" fmla="*/ 80644 h 138429"/>
                <a:gd name="connsiteX82" fmla="*/ 4683756 w 4940931"/>
                <a:gd name="connsiteY82" fmla="*/ 70484 h 138429"/>
                <a:gd name="connsiteX83" fmla="*/ 4684391 w 4940931"/>
                <a:gd name="connsiteY83" fmla="*/ 69849 h 138429"/>
                <a:gd name="connsiteX84" fmla="*/ 4683121 w 4940931"/>
                <a:gd name="connsiteY84" fmla="*/ 59054 h 138429"/>
                <a:gd name="connsiteX85" fmla="*/ 4679311 w 4940931"/>
                <a:gd name="connsiteY85" fmla="*/ 50799 h 138429"/>
                <a:gd name="connsiteX86" fmla="*/ 4672961 w 4940931"/>
                <a:gd name="connsiteY86" fmla="*/ 45719 h 138429"/>
                <a:gd name="connsiteX87" fmla="*/ 4664706 w 4940931"/>
                <a:gd name="connsiteY87" fmla="*/ 43814 h 138429"/>
                <a:gd name="connsiteX88" fmla="*/ 4264020 w 4940931"/>
                <a:gd name="connsiteY88" fmla="*/ 43814 h 138429"/>
                <a:gd name="connsiteX89" fmla="*/ 4256400 w 4940931"/>
                <a:gd name="connsiteY89" fmla="*/ 45719 h 138429"/>
                <a:gd name="connsiteX90" fmla="*/ 4250685 w 4940931"/>
                <a:gd name="connsiteY90" fmla="*/ 50799 h 138429"/>
                <a:gd name="connsiteX91" fmla="*/ 4246875 w 4940931"/>
                <a:gd name="connsiteY91" fmla="*/ 59054 h 138429"/>
                <a:gd name="connsiteX92" fmla="*/ 4245605 w 4940931"/>
                <a:gd name="connsiteY92" fmla="*/ 69849 h 138429"/>
                <a:gd name="connsiteX93" fmla="*/ 4246875 w 4940931"/>
                <a:gd name="connsiteY93" fmla="*/ 81279 h 138429"/>
                <a:gd name="connsiteX94" fmla="*/ 4250685 w 4940931"/>
                <a:gd name="connsiteY94" fmla="*/ 89534 h 138429"/>
                <a:gd name="connsiteX95" fmla="*/ 4257035 w 4940931"/>
                <a:gd name="connsiteY95" fmla="*/ 94614 h 138429"/>
                <a:gd name="connsiteX96" fmla="*/ 4264655 w 4940931"/>
                <a:gd name="connsiteY96" fmla="*/ 96519 h 138429"/>
                <a:gd name="connsiteX97" fmla="*/ 4272275 w 4940931"/>
                <a:gd name="connsiteY97" fmla="*/ 94614 h 138429"/>
                <a:gd name="connsiteX98" fmla="*/ 4277990 w 4940931"/>
                <a:gd name="connsiteY98" fmla="*/ 88899 h 138429"/>
                <a:gd name="connsiteX99" fmla="*/ 4281800 w 4940931"/>
                <a:gd name="connsiteY99" fmla="*/ 80644 h 138429"/>
                <a:gd name="connsiteX100" fmla="*/ 4283070 w 4940931"/>
                <a:gd name="connsiteY100" fmla="*/ 70484 h 138429"/>
                <a:gd name="connsiteX101" fmla="*/ 4283705 w 4940931"/>
                <a:gd name="connsiteY101" fmla="*/ 69849 h 138429"/>
                <a:gd name="connsiteX102" fmla="*/ 4282435 w 4940931"/>
                <a:gd name="connsiteY102" fmla="*/ 59054 h 138429"/>
                <a:gd name="connsiteX103" fmla="*/ 4278625 w 4940931"/>
                <a:gd name="connsiteY103" fmla="*/ 50799 h 138429"/>
                <a:gd name="connsiteX104" fmla="*/ 4272275 w 4940931"/>
                <a:gd name="connsiteY104" fmla="*/ 45719 h 138429"/>
                <a:gd name="connsiteX105" fmla="*/ 4264020 w 4940931"/>
                <a:gd name="connsiteY105" fmla="*/ 43814 h 138429"/>
                <a:gd name="connsiteX106" fmla="*/ 1420495 w 4940931"/>
                <a:gd name="connsiteY106" fmla="*/ 43814 h 138429"/>
                <a:gd name="connsiteX107" fmla="*/ 1412875 w 4940931"/>
                <a:gd name="connsiteY107" fmla="*/ 45719 h 138429"/>
                <a:gd name="connsiteX108" fmla="*/ 1407160 w 4940931"/>
                <a:gd name="connsiteY108" fmla="*/ 50799 h 138429"/>
                <a:gd name="connsiteX109" fmla="*/ 1403350 w 4940931"/>
                <a:gd name="connsiteY109" fmla="*/ 59054 h 138429"/>
                <a:gd name="connsiteX110" fmla="*/ 1402080 w 4940931"/>
                <a:gd name="connsiteY110" fmla="*/ 69849 h 138429"/>
                <a:gd name="connsiteX111" fmla="*/ 1403350 w 4940931"/>
                <a:gd name="connsiteY111" fmla="*/ 81279 h 138429"/>
                <a:gd name="connsiteX112" fmla="*/ 1407160 w 4940931"/>
                <a:gd name="connsiteY112" fmla="*/ 89534 h 138429"/>
                <a:gd name="connsiteX113" fmla="*/ 1413510 w 4940931"/>
                <a:gd name="connsiteY113" fmla="*/ 94614 h 138429"/>
                <a:gd name="connsiteX114" fmla="*/ 1421130 w 4940931"/>
                <a:gd name="connsiteY114" fmla="*/ 96519 h 138429"/>
                <a:gd name="connsiteX115" fmla="*/ 1428750 w 4940931"/>
                <a:gd name="connsiteY115" fmla="*/ 94614 h 138429"/>
                <a:gd name="connsiteX116" fmla="*/ 1434465 w 4940931"/>
                <a:gd name="connsiteY116" fmla="*/ 88899 h 138429"/>
                <a:gd name="connsiteX117" fmla="*/ 1438275 w 4940931"/>
                <a:gd name="connsiteY117" fmla="*/ 80644 h 138429"/>
                <a:gd name="connsiteX118" fmla="*/ 1439545 w 4940931"/>
                <a:gd name="connsiteY118" fmla="*/ 70484 h 138429"/>
                <a:gd name="connsiteX119" fmla="*/ 1440180 w 4940931"/>
                <a:gd name="connsiteY119" fmla="*/ 69849 h 138429"/>
                <a:gd name="connsiteX120" fmla="*/ 1438910 w 4940931"/>
                <a:gd name="connsiteY120" fmla="*/ 59054 h 138429"/>
                <a:gd name="connsiteX121" fmla="*/ 1435100 w 4940931"/>
                <a:gd name="connsiteY121" fmla="*/ 50799 h 138429"/>
                <a:gd name="connsiteX122" fmla="*/ 1428750 w 4940931"/>
                <a:gd name="connsiteY122" fmla="*/ 45719 h 138429"/>
                <a:gd name="connsiteX123" fmla="*/ 1420495 w 4940931"/>
                <a:gd name="connsiteY123" fmla="*/ 43814 h 138429"/>
                <a:gd name="connsiteX124" fmla="*/ 4041770 w 4940931"/>
                <a:gd name="connsiteY124" fmla="*/ 43180 h 138429"/>
                <a:gd name="connsiteX125" fmla="*/ 4034785 w 4940931"/>
                <a:gd name="connsiteY125" fmla="*/ 44450 h 138429"/>
                <a:gd name="connsiteX126" fmla="*/ 4029705 w 4940931"/>
                <a:gd name="connsiteY126" fmla="*/ 48260 h 138429"/>
                <a:gd name="connsiteX127" fmla="*/ 4025895 w 4940931"/>
                <a:gd name="connsiteY127" fmla="*/ 54610 h 138429"/>
                <a:gd name="connsiteX128" fmla="*/ 4023990 w 4940931"/>
                <a:gd name="connsiteY128" fmla="*/ 62865 h 138429"/>
                <a:gd name="connsiteX129" fmla="*/ 4060185 w 4940931"/>
                <a:gd name="connsiteY129" fmla="*/ 62865 h 138429"/>
                <a:gd name="connsiteX130" fmla="*/ 4058915 w 4940931"/>
                <a:gd name="connsiteY130" fmla="*/ 55245 h 138429"/>
                <a:gd name="connsiteX131" fmla="*/ 4055740 w 4940931"/>
                <a:gd name="connsiteY131" fmla="*/ 48895 h 138429"/>
                <a:gd name="connsiteX132" fmla="*/ 4050025 w 4940931"/>
                <a:gd name="connsiteY132" fmla="*/ 44450 h 138429"/>
                <a:gd name="connsiteX133" fmla="*/ 4041770 w 4940931"/>
                <a:gd name="connsiteY133" fmla="*/ 43180 h 138429"/>
                <a:gd name="connsiteX134" fmla="*/ 3728081 w 4940931"/>
                <a:gd name="connsiteY134" fmla="*/ 43180 h 138429"/>
                <a:gd name="connsiteX135" fmla="*/ 3721096 w 4940931"/>
                <a:gd name="connsiteY135" fmla="*/ 44450 h 138429"/>
                <a:gd name="connsiteX136" fmla="*/ 3716016 w 4940931"/>
                <a:gd name="connsiteY136" fmla="*/ 48260 h 138429"/>
                <a:gd name="connsiteX137" fmla="*/ 3712206 w 4940931"/>
                <a:gd name="connsiteY137" fmla="*/ 54610 h 138429"/>
                <a:gd name="connsiteX138" fmla="*/ 3710301 w 4940931"/>
                <a:gd name="connsiteY138" fmla="*/ 62865 h 138429"/>
                <a:gd name="connsiteX139" fmla="*/ 3746496 w 4940931"/>
                <a:gd name="connsiteY139" fmla="*/ 62865 h 138429"/>
                <a:gd name="connsiteX140" fmla="*/ 3745226 w 4940931"/>
                <a:gd name="connsiteY140" fmla="*/ 55245 h 138429"/>
                <a:gd name="connsiteX141" fmla="*/ 3742051 w 4940931"/>
                <a:gd name="connsiteY141" fmla="*/ 48895 h 138429"/>
                <a:gd name="connsiteX142" fmla="*/ 3736336 w 4940931"/>
                <a:gd name="connsiteY142" fmla="*/ 44450 h 138429"/>
                <a:gd name="connsiteX143" fmla="*/ 3728081 w 4940931"/>
                <a:gd name="connsiteY143" fmla="*/ 43180 h 138429"/>
                <a:gd name="connsiteX144" fmla="*/ 3541391 w 4940931"/>
                <a:gd name="connsiteY144" fmla="*/ 43180 h 138429"/>
                <a:gd name="connsiteX145" fmla="*/ 3534406 w 4940931"/>
                <a:gd name="connsiteY145" fmla="*/ 44450 h 138429"/>
                <a:gd name="connsiteX146" fmla="*/ 3529326 w 4940931"/>
                <a:gd name="connsiteY146" fmla="*/ 48260 h 138429"/>
                <a:gd name="connsiteX147" fmla="*/ 3525516 w 4940931"/>
                <a:gd name="connsiteY147" fmla="*/ 54610 h 138429"/>
                <a:gd name="connsiteX148" fmla="*/ 3523611 w 4940931"/>
                <a:gd name="connsiteY148" fmla="*/ 62865 h 138429"/>
                <a:gd name="connsiteX149" fmla="*/ 3559806 w 4940931"/>
                <a:gd name="connsiteY149" fmla="*/ 62865 h 138429"/>
                <a:gd name="connsiteX150" fmla="*/ 3558536 w 4940931"/>
                <a:gd name="connsiteY150" fmla="*/ 55245 h 138429"/>
                <a:gd name="connsiteX151" fmla="*/ 3555361 w 4940931"/>
                <a:gd name="connsiteY151" fmla="*/ 48895 h 138429"/>
                <a:gd name="connsiteX152" fmla="*/ 3549646 w 4940931"/>
                <a:gd name="connsiteY152" fmla="*/ 44450 h 138429"/>
                <a:gd name="connsiteX153" fmla="*/ 3541391 w 4940931"/>
                <a:gd name="connsiteY153" fmla="*/ 43180 h 138429"/>
                <a:gd name="connsiteX154" fmla="*/ 3463285 w 4940931"/>
                <a:gd name="connsiteY154" fmla="*/ 43180 h 138429"/>
                <a:gd name="connsiteX155" fmla="*/ 3458205 w 4940931"/>
                <a:gd name="connsiteY155" fmla="*/ 43815 h 138429"/>
                <a:gd name="connsiteX156" fmla="*/ 3453125 w 4940931"/>
                <a:gd name="connsiteY156" fmla="*/ 45720 h 138429"/>
                <a:gd name="connsiteX157" fmla="*/ 3448680 w 4940931"/>
                <a:gd name="connsiteY157" fmla="*/ 48895 h 138429"/>
                <a:gd name="connsiteX158" fmla="*/ 3445505 w 4940931"/>
                <a:gd name="connsiteY158" fmla="*/ 52705 h 138429"/>
                <a:gd name="connsiteX159" fmla="*/ 3445505 w 4940931"/>
                <a:gd name="connsiteY159" fmla="*/ 85725 h 138429"/>
                <a:gd name="connsiteX160" fmla="*/ 3448680 w 4940931"/>
                <a:gd name="connsiteY160" fmla="*/ 89535 h 138429"/>
                <a:gd name="connsiteX161" fmla="*/ 3453125 w 4940931"/>
                <a:gd name="connsiteY161" fmla="*/ 92710 h 138429"/>
                <a:gd name="connsiteX162" fmla="*/ 3458205 w 4940931"/>
                <a:gd name="connsiteY162" fmla="*/ 95250 h 138429"/>
                <a:gd name="connsiteX163" fmla="*/ 3463920 w 4940931"/>
                <a:gd name="connsiteY163" fmla="*/ 95885 h 138429"/>
                <a:gd name="connsiteX164" fmla="*/ 3476620 w 4940931"/>
                <a:gd name="connsiteY164" fmla="*/ 89535 h 138429"/>
                <a:gd name="connsiteX165" fmla="*/ 3481065 w 4940931"/>
                <a:gd name="connsiteY165" fmla="*/ 71120 h 138429"/>
                <a:gd name="connsiteX166" fmla="*/ 3480430 w 4940931"/>
                <a:gd name="connsiteY166" fmla="*/ 71755 h 138429"/>
                <a:gd name="connsiteX167" fmla="*/ 3475985 w 4940931"/>
                <a:gd name="connsiteY167" fmla="*/ 50165 h 138429"/>
                <a:gd name="connsiteX168" fmla="*/ 3463285 w 4940931"/>
                <a:gd name="connsiteY168" fmla="*/ 43180 h 138429"/>
                <a:gd name="connsiteX169" fmla="*/ 3343271 w 4940931"/>
                <a:gd name="connsiteY169" fmla="*/ 43180 h 138429"/>
                <a:gd name="connsiteX170" fmla="*/ 3336286 w 4940931"/>
                <a:gd name="connsiteY170" fmla="*/ 44450 h 138429"/>
                <a:gd name="connsiteX171" fmla="*/ 3331206 w 4940931"/>
                <a:gd name="connsiteY171" fmla="*/ 48260 h 138429"/>
                <a:gd name="connsiteX172" fmla="*/ 3327396 w 4940931"/>
                <a:gd name="connsiteY172" fmla="*/ 54610 h 138429"/>
                <a:gd name="connsiteX173" fmla="*/ 3325491 w 4940931"/>
                <a:gd name="connsiteY173" fmla="*/ 62865 h 138429"/>
                <a:gd name="connsiteX174" fmla="*/ 3361686 w 4940931"/>
                <a:gd name="connsiteY174" fmla="*/ 62865 h 138429"/>
                <a:gd name="connsiteX175" fmla="*/ 3360416 w 4940931"/>
                <a:gd name="connsiteY175" fmla="*/ 55245 h 138429"/>
                <a:gd name="connsiteX176" fmla="*/ 3357241 w 4940931"/>
                <a:gd name="connsiteY176" fmla="*/ 48895 h 138429"/>
                <a:gd name="connsiteX177" fmla="*/ 3351526 w 4940931"/>
                <a:gd name="connsiteY177" fmla="*/ 44450 h 138429"/>
                <a:gd name="connsiteX178" fmla="*/ 3343271 w 4940931"/>
                <a:gd name="connsiteY178" fmla="*/ 43180 h 138429"/>
                <a:gd name="connsiteX179" fmla="*/ 2976876 w 4940931"/>
                <a:gd name="connsiteY179" fmla="*/ 43180 h 138429"/>
                <a:gd name="connsiteX180" fmla="*/ 2969891 w 4940931"/>
                <a:gd name="connsiteY180" fmla="*/ 44450 h 138429"/>
                <a:gd name="connsiteX181" fmla="*/ 2964811 w 4940931"/>
                <a:gd name="connsiteY181" fmla="*/ 48260 h 138429"/>
                <a:gd name="connsiteX182" fmla="*/ 2961001 w 4940931"/>
                <a:gd name="connsiteY182" fmla="*/ 54610 h 138429"/>
                <a:gd name="connsiteX183" fmla="*/ 2959096 w 4940931"/>
                <a:gd name="connsiteY183" fmla="*/ 62865 h 138429"/>
                <a:gd name="connsiteX184" fmla="*/ 2995291 w 4940931"/>
                <a:gd name="connsiteY184" fmla="*/ 62865 h 138429"/>
                <a:gd name="connsiteX185" fmla="*/ 2994021 w 4940931"/>
                <a:gd name="connsiteY185" fmla="*/ 55245 h 138429"/>
                <a:gd name="connsiteX186" fmla="*/ 2990846 w 4940931"/>
                <a:gd name="connsiteY186" fmla="*/ 48895 h 138429"/>
                <a:gd name="connsiteX187" fmla="*/ 2985131 w 4940931"/>
                <a:gd name="connsiteY187" fmla="*/ 44450 h 138429"/>
                <a:gd name="connsiteX188" fmla="*/ 2976876 w 4940931"/>
                <a:gd name="connsiteY188" fmla="*/ 43180 h 138429"/>
                <a:gd name="connsiteX189" fmla="*/ 2527930 w 4940931"/>
                <a:gd name="connsiteY189" fmla="*/ 43180 h 138429"/>
                <a:gd name="connsiteX190" fmla="*/ 2520945 w 4940931"/>
                <a:gd name="connsiteY190" fmla="*/ 44450 h 138429"/>
                <a:gd name="connsiteX191" fmla="*/ 2515865 w 4940931"/>
                <a:gd name="connsiteY191" fmla="*/ 48260 h 138429"/>
                <a:gd name="connsiteX192" fmla="*/ 2512055 w 4940931"/>
                <a:gd name="connsiteY192" fmla="*/ 54610 h 138429"/>
                <a:gd name="connsiteX193" fmla="*/ 2510150 w 4940931"/>
                <a:gd name="connsiteY193" fmla="*/ 62865 h 138429"/>
                <a:gd name="connsiteX194" fmla="*/ 2546345 w 4940931"/>
                <a:gd name="connsiteY194" fmla="*/ 62865 h 138429"/>
                <a:gd name="connsiteX195" fmla="*/ 2545075 w 4940931"/>
                <a:gd name="connsiteY195" fmla="*/ 55245 h 138429"/>
                <a:gd name="connsiteX196" fmla="*/ 2541900 w 4940931"/>
                <a:gd name="connsiteY196" fmla="*/ 48895 h 138429"/>
                <a:gd name="connsiteX197" fmla="*/ 2536185 w 4940931"/>
                <a:gd name="connsiteY197" fmla="*/ 44450 h 138429"/>
                <a:gd name="connsiteX198" fmla="*/ 2527930 w 4940931"/>
                <a:gd name="connsiteY198" fmla="*/ 43180 h 138429"/>
                <a:gd name="connsiteX199" fmla="*/ 2214240 w 4940931"/>
                <a:gd name="connsiteY199" fmla="*/ 43180 h 138429"/>
                <a:gd name="connsiteX200" fmla="*/ 2207255 w 4940931"/>
                <a:gd name="connsiteY200" fmla="*/ 44450 h 138429"/>
                <a:gd name="connsiteX201" fmla="*/ 2202175 w 4940931"/>
                <a:gd name="connsiteY201" fmla="*/ 48260 h 138429"/>
                <a:gd name="connsiteX202" fmla="*/ 2198365 w 4940931"/>
                <a:gd name="connsiteY202" fmla="*/ 54610 h 138429"/>
                <a:gd name="connsiteX203" fmla="*/ 2196460 w 4940931"/>
                <a:gd name="connsiteY203" fmla="*/ 62865 h 138429"/>
                <a:gd name="connsiteX204" fmla="*/ 2232655 w 4940931"/>
                <a:gd name="connsiteY204" fmla="*/ 62865 h 138429"/>
                <a:gd name="connsiteX205" fmla="*/ 2231385 w 4940931"/>
                <a:gd name="connsiteY205" fmla="*/ 55245 h 138429"/>
                <a:gd name="connsiteX206" fmla="*/ 2228210 w 4940931"/>
                <a:gd name="connsiteY206" fmla="*/ 48895 h 138429"/>
                <a:gd name="connsiteX207" fmla="*/ 2222495 w 4940931"/>
                <a:gd name="connsiteY207" fmla="*/ 44450 h 138429"/>
                <a:gd name="connsiteX208" fmla="*/ 2214240 w 4940931"/>
                <a:gd name="connsiteY208" fmla="*/ 43180 h 138429"/>
                <a:gd name="connsiteX209" fmla="*/ 2027551 w 4940931"/>
                <a:gd name="connsiteY209" fmla="*/ 43180 h 138429"/>
                <a:gd name="connsiteX210" fmla="*/ 2020566 w 4940931"/>
                <a:gd name="connsiteY210" fmla="*/ 44450 h 138429"/>
                <a:gd name="connsiteX211" fmla="*/ 2015486 w 4940931"/>
                <a:gd name="connsiteY211" fmla="*/ 48260 h 138429"/>
                <a:gd name="connsiteX212" fmla="*/ 2011676 w 4940931"/>
                <a:gd name="connsiteY212" fmla="*/ 54610 h 138429"/>
                <a:gd name="connsiteX213" fmla="*/ 2009771 w 4940931"/>
                <a:gd name="connsiteY213" fmla="*/ 62865 h 138429"/>
                <a:gd name="connsiteX214" fmla="*/ 2045966 w 4940931"/>
                <a:gd name="connsiteY214" fmla="*/ 62865 h 138429"/>
                <a:gd name="connsiteX215" fmla="*/ 2044696 w 4940931"/>
                <a:gd name="connsiteY215" fmla="*/ 55245 h 138429"/>
                <a:gd name="connsiteX216" fmla="*/ 2041521 w 4940931"/>
                <a:gd name="connsiteY216" fmla="*/ 48895 h 138429"/>
                <a:gd name="connsiteX217" fmla="*/ 2035806 w 4940931"/>
                <a:gd name="connsiteY217" fmla="*/ 44450 h 138429"/>
                <a:gd name="connsiteX218" fmla="*/ 2027551 w 4940931"/>
                <a:gd name="connsiteY218" fmla="*/ 43180 h 138429"/>
                <a:gd name="connsiteX219" fmla="*/ 1949445 w 4940931"/>
                <a:gd name="connsiteY219" fmla="*/ 43180 h 138429"/>
                <a:gd name="connsiteX220" fmla="*/ 1944365 w 4940931"/>
                <a:gd name="connsiteY220" fmla="*/ 43815 h 138429"/>
                <a:gd name="connsiteX221" fmla="*/ 1939285 w 4940931"/>
                <a:gd name="connsiteY221" fmla="*/ 45720 h 138429"/>
                <a:gd name="connsiteX222" fmla="*/ 1934840 w 4940931"/>
                <a:gd name="connsiteY222" fmla="*/ 48895 h 138429"/>
                <a:gd name="connsiteX223" fmla="*/ 1931665 w 4940931"/>
                <a:gd name="connsiteY223" fmla="*/ 52705 h 138429"/>
                <a:gd name="connsiteX224" fmla="*/ 1931665 w 4940931"/>
                <a:gd name="connsiteY224" fmla="*/ 85725 h 138429"/>
                <a:gd name="connsiteX225" fmla="*/ 1934840 w 4940931"/>
                <a:gd name="connsiteY225" fmla="*/ 89535 h 138429"/>
                <a:gd name="connsiteX226" fmla="*/ 1939285 w 4940931"/>
                <a:gd name="connsiteY226" fmla="*/ 92710 h 138429"/>
                <a:gd name="connsiteX227" fmla="*/ 1944365 w 4940931"/>
                <a:gd name="connsiteY227" fmla="*/ 95250 h 138429"/>
                <a:gd name="connsiteX228" fmla="*/ 1950080 w 4940931"/>
                <a:gd name="connsiteY228" fmla="*/ 95885 h 138429"/>
                <a:gd name="connsiteX229" fmla="*/ 1962780 w 4940931"/>
                <a:gd name="connsiteY229" fmla="*/ 89535 h 138429"/>
                <a:gd name="connsiteX230" fmla="*/ 1967225 w 4940931"/>
                <a:gd name="connsiteY230" fmla="*/ 71120 h 138429"/>
                <a:gd name="connsiteX231" fmla="*/ 1966590 w 4940931"/>
                <a:gd name="connsiteY231" fmla="*/ 71755 h 138429"/>
                <a:gd name="connsiteX232" fmla="*/ 1962145 w 4940931"/>
                <a:gd name="connsiteY232" fmla="*/ 50165 h 138429"/>
                <a:gd name="connsiteX233" fmla="*/ 1949445 w 4940931"/>
                <a:gd name="connsiteY233" fmla="*/ 43180 h 138429"/>
                <a:gd name="connsiteX234" fmla="*/ 1829431 w 4940931"/>
                <a:gd name="connsiteY234" fmla="*/ 43180 h 138429"/>
                <a:gd name="connsiteX235" fmla="*/ 1822446 w 4940931"/>
                <a:gd name="connsiteY235" fmla="*/ 44450 h 138429"/>
                <a:gd name="connsiteX236" fmla="*/ 1817366 w 4940931"/>
                <a:gd name="connsiteY236" fmla="*/ 48260 h 138429"/>
                <a:gd name="connsiteX237" fmla="*/ 1813556 w 4940931"/>
                <a:gd name="connsiteY237" fmla="*/ 54610 h 138429"/>
                <a:gd name="connsiteX238" fmla="*/ 1811651 w 4940931"/>
                <a:gd name="connsiteY238" fmla="*/ 62865 h 138429"/>
                <a:gd name="connsiteX239" fmla="*/ 1847846 w 4940931"/>
                <a:gd name="connsiteY239" fmla="*/ 62865 h 138429"/>
                <a:gd name="connsiteX240" fmla="*/ 1846576 w 4940931"/>
                <a:gd name="connsiteY240" fmla="*/ 55245 h 138429"/>
                <a:gd name="connsiteX241" fmla="*/ 1843401 w 4940931"/>
                <a:gd name="connsiteY241" fmla="*/ 48895 h 138429"/>
                <a:gd name="connsiteX242" fmla="*/ 1837686 w 4940931"/>
                <a:gd name="connsiteY242" fmla="*/ 44450 h 138429"/>
                <a:gd name="connsiteX243" fmla="*/ 1829431 w 4940931"/>
                <a:gd name="connsiteY243" fmla="*/ 43180 h 138429"/>
                <a:gd name="connsiteX244" fmla="*/ 1178561 w 4940931"/>
                <a:gd name="connsiteY244" fmla="*/ 43180 h 138429"/>
                <a:gd name="connsiteX245" fmla="*/ 1171576 w 4940931"/>
                <a:gd name="connsiteY245" fmla="*/ 44450 h 138429"/>
                <a:gd name="connsiteX246" fmla="*/ 1166496 w 4940931"/>
                <a:gd name="connsiteY246" fmla="*/ 48260 h 138429"/>
                <a:gd name="connsiteX247" fmla="*/ 1162686 w 4940931"/>
                <a:gd name="connsiteY247" fmla="*/ 54610 h 138429"/>
                <a:gd name="connsiteX248" fmla="*/ 1160781 w 4940931"/>
                <a:gd name="connsiteY248" fmla="*/ 62865 h 138429"/>
                <a:gd name="connsiteX249" fmla="*/ 1196976 w 4940931"/>
                <a:gd name="connsiteY249" fmla="*/ 62865 h 138429"/>
                <a:gd name="connsiteX250" fmla="*/ 1195706 w 4940931"/>
                <a:gd name="connsiteY250" fmla="*/ 55245 h 138429"/>
                <a:gd name="connsiteX251" fmla="*/ 1192531 w 4940931"/>
                <a:gd name="connsiteY251" fmla="*/ 48895 h 138429"/>
                <a:gd name="connsiteX252" fmla="*/ 1186816 w 4940931"/>
                <a:gd name="connsiteY252" fmla="*/ 44450 h 138429"/>
                <a:gd name="connsiteX253" fmla="*/ 1178561 w 4940931"/>
                <a:gd name="connsiteY253" fmla="*/ 43180 h 138429"/>
                <a:gd name="connsiteX254" fmla="*/ 898525 w 4940931"/>
                <a:gd name="connsiteY254" fmla="*/ 43180 h 138429"/>
                <a:gd name="connsiteX255" fmla="*/ 891540 w 4940931"/>
                <a:gd name="connsiteY255" fmla="*/ 44450 h 138429"/>
                <a:gd name="connsiteX256" fmla="*/ 886460 w 4940931"/>
                <a:gd name="connsiteY256" fmla="*/ 48260 h 138429"/>
                <a:gd name="connsiteX257" fmla="*/ 882650 w 4940931"/>
                <a:gd name="connsiteY257" fmla="*/ 54610 h 138429"/>
                <a:gd name="connsiteX258" fmla="*/ 880745 w 4940931"/>
                <a:gd name="connsiteY258" fmla="*/ 62865 h 138429"/>
                <a:gd name="connsiteX259" fmla="*/ 916940 w 4940931"/>
                <a:gd name="connsiteY259" fmla="*/ 62865 h 138429"/>
                <a:gd name="connsiteX260" fmla="*/ 915670 w 4940931"/>
                <a:gd name="connsiteY260" fmla="*/ 55245 h 138429"/>
                <a:gd name="connsiteX261" fmla="*/ 912495 w 4940931"/>
                <a:gd name="connsiteY261" fmla="*/ 48895 h 138429"/>
                <a:gd name="connsiteX262" fmla="*/ 906780 w 4940931"/>
                <a:gd name="connsiteY262" fmla="*/ 44450 h 138429"/>
                <a:gd name="connsiteX263" fmla="*/ 898525 w 4940931"/>
                <a:gd name="connsiteY263" fmla="*/ 43180 h 138429"/>
                <a:gd name="connsiteX264" fmla="*/ 584834 w 4940931"/>
                <a:gd name="connsiteY264" fmla="*/ 43180 h 138429"/>
                <a:gd name="connsiteX265" fmla="*/ 577849 w 4940931"/>
                <a:gd name="connsiteY265" fmla="*/ 44450 h 138429"/>
                <a:gd name="connsiteX266" fmla="*/ 572769 w 4940931"/>
                <a:gd name="connsiteY266" fmla="*/ 48260 h 138429"/>
                <a:gd name="connsiteX267" fmla="*/ 568959 w 4940931"/>
                <a:gd name="connsiteY267" fmla="*/ 54610 h 138429"/>
                <a:gd name="connsiteX268" fmla="*/ 567054 w 4940931"/>
                <a:gd name="connsiteY268" fmla="*/ 62865 h 138429"/>
                <a:gd name="connsiteX269" fmla="*/ 603249 w 4940931"/>
                <a:gd name="connsiteY269" fmla="*/ 62865 h 138429"/>
                <a:gd name="connsiteX270" fmla="*/ 601979 w 4940931"/>
                <a:gd name="connsiteY270" fmla="*/ 55245 h 138429"/>
                <a:gd name="connsiteX271" fmla="*/ 598804 w 4940931"/>
                <a:gd name="connsiteY271" fmla="*/ 48895 h 138429"/>
                <a:gd name="connsiteX272" fmla="*/ 593089 w 4940931"/>
                <a:gd name="connsiteY272" fmla="*/ 44450 h 138429"/>
                <a:gd name="connsiteX273" fmla="*/ 584834 w 4940931"/>
                <a:gd name="connsiteY273" fmla="*/ 43180 h 138429"/>
                <a:gd name="connsiteX274" fmla="*/ 398145 w 4940931"/>
                <a:gd name="connsiteY274" fmla="*/ 43180 h 138429"/>
                <a:gd name="connsiteX275" fmla="*/ 391160 w 4940931"/>
                <a:gd name="connsiteY275" fmla="*/ 44450 h 138429"/>
                <a:gd name="connsiteX276" fmla="*/ 386080 w 4940931"/>
                <a:gd name="connsiteY276" fmla="*/ 48260 h 138429"/>
                <a:gd name="connsiteX277" fmla="*/ 382270 w 4940931"/>
                <a:gd name="connsiteY277" fmla="*/ 54610 h 138429"/>
                <a:gd name="connsiteX278" fmla="*/ 380365 w 4940931"/>
                <a:gd name="connsiteY278" fmla="*/ 62865 h 138429"/>
                <a:gd name="connsiteX279" fmla="*/ 416560 w 4940931"/>
                <a:gd name="connsiteY279" fmla="*/ 62865 h 138429"/>
                <a:gd name="connsiteX280" fmla="*/ 415290 w 4940931"/>
                <a:gd name="connsiteY280" fmla="*/ 55245 h 138429"/>
                <a:gd name="connsiteX281" fmla="*/ 412115 w 4940931"/>
                <a:gd name="connsiteY281" fmla="*/ 48895 h 138429"/>
                <a:gd name="connsiteX282" fmla="*/ 406400 w 4940931"/>
                <a:gd name="connsiteY282" fmla="*/ 44450 h 138429"/>
                <a:gd name="connsiteX283" fmla="*/ 398145 w 4940931"/>
                <a:gd name="connsiteY283" fmla="*/ 43180 h 138429"/>
                <a:gd name="connsiteX284" fmla="*/ 320039 w 4940931"/>
                <a:gd name="connsiteY284" fmla="*/ 43180 h 138429"/>
                <a:gd name="connsiteX285" fmla="*/ 314959 w 4940931"/>
                <a:gd name="connsiteY285" fmla="*/ 43815 h 138429"/>
                <a:gd name="connsiteX286" fmla="*/ 309879 w 4940931"/>
                <a:gd name="connsiteY286" fmla="*/ 45720 h 138429"/>
                <a:gd name="connsiteX287" fmla="*/ 305434 w 4940931"/>
                <a:gd name="connsiteY287" fmla="*/ 48895 h 138429"/>
                <a:gd name="connsiteX288" fmla="*/ 302259 w 4940931"/>
                <a:gd name="connsiteY288" fmla="*/ 52705 h 138429"/>
                <a:gd name="connsiteX289" fmla="*/ 302259 w 4940931"/>
                <a:gd name="connsiteY289" fmla="*/ 85725 h 138429"/>
                <a:gd name="connsiteX290" fmla="*/ 305434 w 4940931"/>
                <a:gd name="connsiteY290" fmla="*/ 89535 h 138429"/>
                <a:gd name="connsiteX291" fmla="*/ 309879 w 4940931"/>
                <a:gd name="connsiteY291" fmla="*/ 92710 h 138429"/>
                <a:gd name="connsiteX292" fmla="*/ 314959 w 4940931"/>
                <a:gd name="connsiteY292" fmla="*/ 95250 h 138429"/>
                <a:gd name="connsiteX293" fmla="*/ 320674 w 4940931"/>
                <a:gd name="connsiteY293" fmla="*/ 95885 h 138429"/>
                <a:gd name="connsiteX294" fmla="*/ 333374 w 4940931"/>
                <a:gd name="connsiteY294" fmla="*/ 89535 h 138429"/>
                <a:gd name="connsiteX295" fmla="*/ 337819 w 4940931"/>
                <a:gd name="connsiteY295" fmla="*/ 71120 h 138429"/>
                <a:gd name="connsiteX296" fmla="*/ 337184 w 4940931"/>
                <a:gd name="connsiteY296" fmla="*/ 71755 h 138429"/>
                <a:gd name="connsiteX297" fmla="*/ 332739 w 4940931"/>
                <a:gd name="connsiteY297" fmla="*/ 50165 h 138429"/>
                <a:gd name="connsiteX298" fmla="*/ 320039 w 4940931"/>
                <a:gd name="connsiteY298" fmla="*/ 43180 h 138429"/>
                <a:gd name="connsiteX299" fmla="*/ 200025 w 4940931"/>
                <a:gd name="connsiteY299" fmla="*/ 43180 h 138429"/>
                <a:gd name="connsiteX300" fmla="*/ 193040 w 4940931"/>
                <a:gd name="connsiteY300" fmla="*/ 44450 h 138429"/>
                <a:gd name="connsiteX301" fmla="*/ 187960 w 4940931"/>
                <a:gd name="connsiteY301" fmla="*/ 48260 h 138429"/>
                <a:gd name="connsiteX302" fmla="*/ 184150 w 4940931"/>
                <a:gd name="connsiteY302" fmla="*/ 54610 h 138429"/>
                <a:gd name="connsiteX303" fmla="*/ 182245 w 4940931"/>
                <a:gd name="connsiteY303" fmla="*/ 62865 h 138429"/>
                <a:gd name="connsiteX304" fmla="*/ 218440 w 4940931"/>
                <a:gd name="connsiteY304" fmla="*/ 62865 h 138429"/>
                <a:gd name="connsiteX305" fmla="*/ 217170 w 4940931"/>
                <a:gd name="connsiteY305" fmla="*/ 55245 h 138429"/>
                <a:gd name="connsiteX306" fmla="*/ 213995 w 4940931"/>
                <a:gd name="connsiteY306" fmla="*/ 48895 h 138429"/>
                <a:gd name="connsiteX307" fmla="*/ 208280 w 4940931"/>
                <a:gd name="connsiteY307" fmla="*/ 44450 h 138429"/>
                <a:gd name="connsiteX308" fmla="*/ 200025 w 4940931"/>
                <a:gd name="connsiteY308" fmla="*/ 43180 h 138429"/>
                <a:gd name="connsiteX309" fmla="*/ 4439281 w 4940931"/>
                <a:gd name="connsiteY309" fmla="*/ 43179 h 138429"/>
                <a:gd name="connsiteX310" fmla="*/ 4426581 w 4940931"/>
                <a:gd name="connsiteY310" fmla="*/ 49529 h 138429"/>
                <a:gd name="connsiteX311" fmla="*/ 4422136 w 4940931"/>
                <a:gd name="connsiteY311" fmla="*/ 67944 h 138429"/>
                <a:gd name="connsiteX312" fmla="*/ 4423406 w 4940931"/>
                <a:gd name="connsiteY312" fmla="*/ 80644 h 138429"/>
                <a:gd name="connsiteX313" fmla="*/ 4426581 w 4940931"/>
                <a:gd name="connsiteY313" fmla="*/ 89534 h 138429"/>
                <a:gd name="connsiteX314" fmla="*/ 4432296 w 4940931"/>
                <a:gd name="connsiteY314" fmla="*/ 94614 h 138429"/>
                <a:gd name="connsiteX315" fmla="*/ 4439916 w 4940931"/>
                <a:gd name="connsiteY315" fmla="*/ 96519 h 138429"/>
                <a:gd name="connsiteX316" fmla="*/ 4444996 w 4940931"/>
                <a:gd name="connsiteY316" fmla="*/ 95884 h 138429"/>
                <a:gd name="connsiteX317" fmla="*/ 4450076 w 4940931"/>
                <a:gd name="connsiteY317" fmla="*/ 93344 h 138429"/>
                <a:gd name="connsiteX318" fmla="*/ 4454521 w 4940931"/>
                <a:gd name="connsiteY318" fmla="*/ 90169 h 138429"/>
                <a:gd name="connsiteX319" fmla="*/ 4457696 w 4940931"/>
                <a:gd name="connsiteY319" fmla="*/ 86359 h 138429"/>
                <a:gd name="connsiteX320" fmla="*/ 4457696 w 4940931"/>
                <a:gd name="connsiteY320" fmla="*/ 53339 h 138429"/>
                <a:gd name="connsiteX321" fmla="*/ 4454521 w 4940931"/>
                <a:gd name="connsiteY321" fmla="*/ 49529 h 138429"/>
                <a:gd name="connsiteX322" fmla="*/ 4450076 w 4940931"/>
                <a:gd name="connsiteY322" fmla="*/ 46354 h 138429"/>
                <a:gd name="connsiteX323" fmla="*/ 4444996 w 4940931"/>
                <a:gd name="connsiteY323" fmla="*/ 43814 h 138429"/>
                <a:gd name="connsiteX324" fmla="*/ 4439281 w 4940931"/>
                <a:gd name="connsiteY324" fmla="*/ 43179 h 138429"/>
                <a:gd name="connsiteX325" fmla="*/ 1014731 w 4940931"/>
                <a:gd name="connsiteY325" fmla="*/ 43179 h 138429"/>
                <a:gd name="connsiteX326" fmla="*/ 1002032 w 4940931"/>
                <a:gd name="connsiteY326" fmla="*/ 49529 h 138429"/>
                <a:gd name="connsiteX327" fmla="*/ 997587 w 4940931"/>
                <a:gd name="connsiteY327" fmla="*/ 67944 h 138429"/>
                <a:gd name="connsiteX328" fmla="*/ 1002032 w 4940931"/>
                <a:gd name="connsiteY328" fmla="*/ 88899 h 138429"/>
                <a:gd name="connsiteX329" fmla="*/ 1015367 w 4940931"/>
                <a:gd name="connsiteY329" fmla="*/ 95884 h 138429"/>
                <a:gd name="connsiteX330" fmla="*/ 1024891 w 4940931"/>
                <a:gd name="connsiteY330" fmla="*/ 93344 h 138429"/>
                <a:gd name="connsiteX331" fmla="*/ 1033147 w 4940931"/>
                <a:gd name="connsiteY331" fmla="*/ 86359 h 138429"/>
                <a:gd name="connsiteX332" fmla="*/ 1033147 w 4940931"/>
                <a:gd name="connsiteY332" fmla="*/ 53339 h 138429"/>
                <a:gd name="connsiteX333" fmla="*/ 1029971 w 4940931"/>
                <a:gd name="connsiteY333" fmla="*/ 49529 h 138429"/>
                <a:gd name="connsiteX334" fmla="*/ 1025526 w 4940931"/>
                <a:gd name="connsiteY334" fmla="*/ 46354 h 138429"/>
                <a:gd name="connsiteX335" fmla="*/ 1020446 w 4940931"/>
                <a:gd name="connsiteY335" fmla="*/ 43814 h 138429"/>
                <a:gd name="connsiteX336" fmla="*/ 1014731 w 4940931"/>
                <a:gd name="connsiteY336" fmla="*/ 43179 h 138429"/>
                <a:gd name="connsiteX337" fmla="*/ 4524370 w 4940931"/>
                <a:gd name="connsiteY337" fmla="*/ 31114 h 138429"/>
                <a:gd name="connsiteX338" fmla="*/ 4538975 w 4940931"/>
                <a:gd name="connsiteY338" fmla="*/ 31114 h 138429"/>
                <a:gd name="connsiteX339" fmla="*/ 4552310 w 4940931"/>
                <a:gd name="connsiteY339" fmla="*/ 84454 h 138429"/>
                <a:gd name="connsiteX340" fmla="*/ 4566915 w 4940931"/>
                <a:gd name="connsiteY340" fmla="*/ 31114 h 138429"/>
                <a:gd name="connsiteX341" fmla="*/ 4579615 w 4940931"/>
                <a:gd name="connsiteY341" fmla="*/ 31114 h 138429"/>
                <a:gd name="connsiteX342" fmla="*/ 4594220 w 4940931"/>
                <a:gd name="connsiteY342" fmla="*/ 84454 h 138429"/>
                <a:gd name="connsiteX343" fmla="*/ 4606920 w 4940931"/>
                <a:gd name="connsiteY343" fmla="*/ 31114 h 138429"/>
                <a:gd name="connsiteX344" fmla="*/ 4622160 w 4940931"/>
                <a:gd name="connsiteY344" fmla="*/ 31114 h 138429"/>
                <a:gd name="connsiteX345" fmla="*/ 4600570 w 4940931"/>
                <a:gd name="connsiteY345" fmla="*/ 108584 h 138429"/>
                <a:gd name="connsiteX346" fmla="*/ 4587235 w 4940931"/>
                <a:gd name="connsiteY346" fmla="*/ 108584 h 138429"/>
                <a:gd name="connsiteX347" fmla="*/ 4572630 w 4940931"/>
                <a:gd name="connsiteY347" fmla="*/ 54609 h 138429"/>
                <a:gd name="connsiteX348" fmla="*/ 4558660 w 4940931"/>
                <a:gd name="connsiteY348" fmla="*/ 108584 h 138429"/>
                <a:gd name="connsiteX349" fmla="*/ 4545325 w 4940931"/>
                <a:gd name="connsiteY349" fmla="*/ 108584 h 138429"/>
                <a:gd name="connsiteX350" fmla="*/ 4123686 w 4940931"/>
                <a:gd name="connsiteY350" fmla="*/ 31114 h 138429"/>
                <a:gd name="connsiteX351" fmla="*/ 4138926 w 4940931"/>
                <a:gd name="connsiteY351" fmla="*/ 31114 h 138429"/>
                <a:gd name="connsiteX352" fmla="*/ 4152261 w 4940931"/>
                <a:gd name="connsiteY352" fmla="*/ 84454 h 138429"/>
                <a:gd name="connsiteX353" fmla="*/ 4166866 w 4940931"/>
                <a:gd name="connsiteY353" fmla="*/ 31114 h 138429"/>
                <a:gd name="connsiteX354" fmla="*/ 4178931 w 4940931"/>
                <a:gd name="connsiteY354" fmla="*/ 31114 h 138429"/>
                <a:gd name="connsiteX355" fmla="*/ 4193536 w 4940931"/>
                <a:gd name="connsiteY355" fmla="*/ 84454 h 138429"/>
                <a:gd name="connsiteX356" fmla="*/ 4206871 w 4940931"/>
                <a:gd name="connsiteY356" fmla="*/ 31114 h 138429"/>
                <a:gd name="connsiteX357" fmla="*/ 4222111 w 4940931"/>
                <a:gd name="connsiteY357" fmla="*/ 31114 h 138429"/>
                <a:gd name="connsiteX358" fmla="*/ 4200521 w 4940931"/>
                <a:gd name="connsiteY358" fmla="*/ 108584 h 138429"/>
                <a:gd name="connsiteX359" fmla="*/ 4187186 w 4940931"/>
                <a:gd name="connsiteY359" fmla="*/ 108584 h 138429"/>
                <a:gd name="connsiteX360" fmla="*/ 4172581 w 4940931"/>
                <a:gd name="connsiteY360" fmla="*/ 54609 h 138429"/>
                <a:gd name="connsiteX361" fmla="*/ 4157976 w 4940931"/>
                <a:gd name="connsiteY361" fmla="*/ 108584 h 138429"/>
                <a:gd name="connsiteX362" fmla="*/ 4145276 w 4940931"/>
                <a:gd name="connsiteY362" fmla="*/ 108584 h 138429"/>
                <a:gd name="connsiteX363" fmla="*/ 2837811 w 4940931"/>
                <a:gd name="connsiteY363" fmla="*/ 31114 h 138429"/>
                <a:gd name="connsiteX364" fmla="*/ 2852416 w 4940931"/>
                <a:gd name="connsiteY364" fmla="*/ 31114 h 138429"/>
                <a:gd name="connsiteX365" fmla="*/ 2865751 w 4940931"/>
                <a:gd name="connsiteY365" fmla="*/ 84454 h 138429"/>
                <a:gd name="connsiteX366" fmla="*/ 2880356 w 4940931"/>
                <a:gd name="connsiteY366" fmla="*/ 31114 h 138429"/>
                <a:gd name="connsiteX367" fmla="*/ 2893056 w 4940931"/>
                <a:gd name="connsiteY367" fmla="*/ 31114 h 138429"/>
                <a:gd name="connsiteX368" fmla="*/ 2907661 w 4940931"/>
                <a:gd name="connsiteY368" fmla="*/ 84454 h 138429"/>
                <a:gd name="connsiteX369" fmla="*/ 2920361 w 4940931"/>
                <a:gd name="connsiteY369" fmla="*/ 31114 h 138429"/>
                <a:gd name="connsiteX370" fmla="*/ 2935601 w 4940931"/>
                <a:gd name="connsiteY370" fmla="*/ 31114 h 138429"/>
                <a:gd name="connsiteX371" fmla="*/ 2914011 w 4940931"/>
                <a:gd name="connsiteY371" fmla="*/ 108584 h 138429"/>
                <a:gd name="connsiteX372" fmla="*/ 2900676 w 4940931"/>
                <a:gd name="connsiteY372" fmla="*/ 108584 h 138429"/>
                <a:gd name="connsiteX373" fmla="*/ 2886706 w 4940931"/>
                <a:gd name="connsiteY373" fmla="*/ 54609 h 138429"/>
                <a:gd name="connsiteX374" fmla="*/ 2872101 w 4940931"/>
                <a:gd name="connsiteY374" fmla="*/ 108584 h 138429"/>
                <a:gd name="connsiteX375" fmla="*/ 2858766 w 4940931"/>
                <a:gd name="connsiteY375" fmla="*/ 108584 h 138429"/>
                <a:gd name="connsiteX376" fmla="*/ 1354455 w 4940931"/>
                <a:gd name="connsiteY376" fmla="*/ 31114 h 138429"/>
                <a:gd name="connsiteX377" fmla="*/ 1369695 w 4940931"/>
                <a:gd name="connsiteY377" fmla="*/ 31114 h 138429"/>
                <a:gd name="connsiteX378" fmla="*/ 1369695 w 4940931"/>
                <a:gd name="connsiteY378" fmla="*/ 109219 h 138429"/>
                <a:gd name="connsiteX379" fmla="*/ 1354455 w 4940931"/>
                <a:gd name="connsiteY379" fmla="*/ 109219 h 138429"/>
                <a:gd name="connsiteX380" fmla="*/ 2646040 w 4940931"/>
                <a:gd name="connsiteY380" fmla="*/ 29844 h 138429"/>
                <a:gd name="connsiteX381" fmla="*/ 2658105 w 4940931"/>
                <a:gd name="connsiteY381" fmla="*/ 31749 h 138429"/>
                <a:gd name="connsiteX382" fmla="*/ 2667630 w 4940931"/>
                <a:gd name="connsiteY382" fmla="*/ 36829 h 138429"/>
                <a:gd name="connsiteX383" fmla="*/ 2673345 w 4940931"/>
                <a:gd name="connsiteY383" fmla="*/ 45084 h 138429"/>
                <a:gd name="connsiteX384" fmla="*/ 2675250 w 4940931"/>
                <a:gd name="connsiteY384" fmla="*/ 56514 h 138429"/>
                <a:gd name="connsiteX385" fmla="*/ 2675250 w 4940931"/>
                <a:gd name="connsiteY385" fmla="*/ 109854 h 138429"/>
                <a:gd name="connsiteX386" fmla="*/ 2660010 w 4940931"/>
                <a:gd name="connsiteY386" fmla="*/ 109854 h 138429"/>
                <a:gd name="connsiteX387" fmla="*/ 2660010 w 4940931"/>
                <a:gd name="connsiteY387" fmla="*/ 108584 h 138429"/>
                <a:gd name="connsiteX388" fmla="*/ 2660010 w 4940931"/>
                <a:gd name="connsiteY388" fmla="*/ 100964 h 138429"/>
                <a:gd name="connsiteX389" fmla="*/ 2654930 w 4940931"/>
                <a:gd name="connsiteY389" fmla="*/ 104774 h 138429"/>
                <a:gd name="connsiteX390" fmla="*/ 2651120 w 4940931"/>
                <a:gd name="connsiteY390" fmla="*/ 107314 h 138429"/>
                <a:gd name="connsiteX391" fmla="*/ 2646040 w 4940931"/>
                <a:gd name="connsiteY391" fmla="*/ 109219 h 138429"/>
                <a:gd name="connsiteX392" fmla="*/ 2639055 w 4940931"/>
                <a:gd name="connsiteY392" fmla="*/ 109854 h 138429"/>
                <a:gd name="connsiteX393" fmla="*/ 2629530 w 4940931"/>
                <a:gd name="connsiteY393" fmla="*/ 108584 h 138429"/>
                <a:gd name="connsiteX394" fmla="*/ 2620640 w 4940931"/>
                <a:gd name="connsiteY394" fmla="*/ 104139 h 138429"/>
                <a:gd name="connsiteX395" fmla="*/ 2614290 w 4940931"/>
                <a:gd name="connsiteY395" fmla="*/ 95884 h 138429"/>
                <a:gd name="connsiteX396" fmla="*/ 2611750 w 4940931"/>
                <a:gd name="connsiteY396" fmla="*/ 83819 h 138429"/>
                <a:gd name="connsiteX397" fmla="*/ 2614290 w 4940931"/>
                <a:gd name="connsiteY397" fmla="*/ 72389 h 138429"/>
                <a:gd name="connsiteX398" fmla="*/ 2620640 w 4940931"/>
                <a:gd name="connsiteY398" fmla="*/ 64769 h 138429"/>
                <a:gd name="connsiteX399" fmla="*/ 2630800 w 4940931"/>
                <a:gd name="connsiteY399" fmla="*/ 60324 h 138429"/>
                <a:gd name="connsiteX400" fmla="*/ 2642865 w 4940931"/>
                <a:gd name="connsiteY400" fmla="*/ 59054 h 138429"/>
                <a:gd name="connsiteX401" fmla="*/ 2653025 w 4940931"/>
                <a:gd name="connsiteY401" fmla="*/ 59689 h 138429"/>
                <a:gd name="connsiteX402" fmla="*/ 2660010 w 4940931"/>
                <a:gd name="connsiteY402" fmla="*/ 61594 h 138429"/>
                <a:gd name="connsiteX403" fmla="*/ 2660010 w 4940931"/>
                <a:gd name="connsiteY403" fmla="*/ 55879 h 138429"/>
                <a:gd name="connsiteX404" fmla="*/ 2656200 w 4940931"/>
                <a:gd name="connsiteY404" fmla="*/ 46354 h 138429"/>
                <a:gd name="connsiteX405" fmla="*/ 2645405 w 4940931"/>
                <a:gd name="connsiteY405" fmla="*/ 43179 h 138429"/>
                <a:gd name="connsiteX406" fmla="*/ 2634610 w 4940931"/>
                <a:gd name="connsiteY406" fmla="*/ 44449 h 138429"/>
                <a:gd name="connsiteX407" fmla="*/ 2625085 w 4940931"/>
                <a:gd name="connsiteY407" fmla="*/ 48259 h 138429"/>
                <a:gd name="connsiteX408" fmla="*/ 2619370 w 4940931"/>
                <a:gd name="connsiteY408" fmla="*/ 36829 h 138429"/>
                <a:gd name="connsiteX409" fmla="*/ 2631435 w 4940931"/>
                <a:gd name="connsiteY409" fmla="*/ 31749 h 138429"/>
                <a:gd name="connsiteX410" fmla="*/ 2646040 w 4940931"/>
                <a:gd name="connsiteY410" fmla="*/ 29844 h 138429"/>
                <a:gd name="connsiteX411" fmla="*/ 1114426 w 4940931"/>
                <a:gd name="connsiteY411" fmla="*/ 29844 h 138429"/>
                <a:gd name="connsiteX412" fmla="*/ 1129666 w 4940931"/>
                <a:gd name="connsiteY412" fmla="*/ 29844 h 138429"/>
                <a:gd name="connsiteX413" fmla="*/ 1129666 w 4940931"/>
                <a:gd name="connsiteY413" fmla="*/ 107949 h 138429"/>
                <a:gd name="connsiteX414" fmla="*/ 1114426 w 4940931"/>
                <a:gd name="connsiteY414" fmla="*/ 107949 h 138429"/>
                <a:gd name="connsiteX415" fmla="*/ 1114426 w 4940931"/>
                <a:gd name="connsiteY415" fmla="*/ 100964 h 138429"/>
                <a:gd name="connsiteX416" fmla="*/ 1106171 w 4940931"/>
                <a:gd name="connsiteY416" fmla="*/ 107314 h 138429"/>
                <a:gd name="connsiteX417" fmla="*/ 1094741 w 4940931"/>
                <a:gd name="connsiteY417" fmla="*/ 109854 h 138429"/>
                <a:gd name="connsiteX418" fmla="*/ 1073786 w 4940931"/>
                <a:gd name="connsiteY418" fmla="*/ 100964 h 138429"/>
                <a:gd name="connsiteX419" fmla="*/ 1066800 w 4940931"/>
                <a:gd name="connsiteY419" fmla="*/ 74929 h 138429"/>
                <a:gd name="connsiteX420" fmla="*/ 1066800 w 4940931"/>
                <a:gd name="connsiteY420" fmla="*/ 30479 h 138429"/>
                <a:gd name="connsiteX421" fmla="*/ 1082040 w 4940931"/>
                <a:gd name="connsiteY421" fmla="*/ 30479 h 138429"/>
                <a:gd name="connsiteX422" fmla="*/ 1082040 w 4940931"/>
                <a:gd name="connsiteY422" fmla="*/ 74294 h 138429"/>
                <a:gd name="connsiteX423" fmla="*/ 1085851 w 4940931"/>
                <a:gd name="connsiteY423" fmla="*/ 90169 h 138429"/>
                <a:gd name="connsiteX424" fmla="*/ 1097916 w 4940931"/>
                <a:gd name="connsiteY424" fmla="*/ 95249 h 138429"/>
                <a:gd name="connsiteX425" fmla="*/ 1109981 w 4940931"/>
                <a:gd name="connsiteY425" fmla="*/ 90169 h 138429"/>
                <a:gd name="connsiteX426" fmla="*/ 1114426 w 4940931"/>
                <a:gd name="connsiteY426" fmla="*/ 75564 h 138429"/>
                <a:gd name="connsiteX427" fmla="*/ 1011556 w 4940931"/>
                <a:gd name="connsiteY427" fmla="*/ 29844 h 138429"/>
                <a:gd name="connsiteX428" fmla="*/ 1017272 w 4940931"/>
                <a:gd name="connsiteY428" fmla="*/ 30479 h 138429"/>
                <a:gd name="connsiteX429" fmla="*/ 1022352 w 4940931"/>
                <a:gd name="connsiteY429" fmla="*/ 32384 h 138429"/>
                <a:gd name="connsiteX430" fmla="*/ 1026797 w 4940931"/>
                <a:gd name="connsiteY430" fmla="*/ 35559 h 138429"/>
                <a:gd name="connsiteX431" fmla="*/ 1030607 w 4940931"/>
                <a:gd name="connsiteY431" fmla="*/ 38734 h 138429"/>
                <a:gd name="connsiteX432" fmla="*/ 1030607 w 4940931"/>
                <a:gd name="connsiteY432" fmla="*/ 31749 h 138429"/>
                <a:gd name="connsiteX433" fmla="*/ 1045847 w 4940931"/>
                <a:gd name="connsiteY433" fmla="*/ 31749 h 138429"/>
                <a:gd name="connsiteX434" fmla="*/ 1045847 w 4940931"/>
                <a:gd name="connsiteY434" fmla="*/ 130809 h 138429"/>
                <a:gd name="connsiteX435" fmla="*/ 1032512 w 4940931"/>
                <a:gd name="connsiteY435" fmla="*/ 137477 h 138429"/>
                <a:gd name="connsiteX436" fmla="*/ 1032512 w 4940931"/>
                <a:gd name="connsiteY436" fmla="*/ 101599 h 138429"/>
                <a:gd name="connsiteX437" fmla="*/ 1022986 w 4940931"/>
                <a:gd name="connsiteY437" fmla="*/ 107949 h 138429"/>
                <a:gd name="connsiteX438" fmla="*/ 1011556 w 4940931"/>
                <a:gd name="connsiteY438" fmla="*/ 110489 h 138429"/>
                <a:gd name="connsiteX439" fmla="*/ 999491 w 4940931"/>
                <a:gd name="connsiteY439" fmla="*/ 107949 h 138429"/>
                <a:gd name="connsiteX440" fmla="*/ 989966 w 4940931"/>
                <a:gd name="connsiteY440" fmla="*/ 100329 h 138429"/>
                <a:gd name="connsiteX441" fmla="*/ 983616 w 4940931"/>
                <a:gd name="connsiteY441" fmla="*/ 87629 h 138429"/>
                <a:gd name="connsiteX442" fmla="*/ 981076 w 4940931"/>
                <a:gd name="connsiteY442" fmla="*/ 68579 h 138429"/>
                <a:gd name="connsiteX443" fmla="*/ 983616 w 4940931"/>
                <a:gd name="connsiteY443" fmla="*/ 51434 h 138429"/>
                <a:gd name="connsiteX444" fmla="*/ 990601 w 4940931"/>
                <a:gd name="connsiteY444" fmla="*/ 39369 h 138429"/>
                <a:gd name="connsiteX445" fmla="*/ 1000126 w 4940931"/>
                <a:gd name="connsiteY445" fmla="*/ 32384 h 138429"/>
                <a:gd name="connsiteX446" fmla="*/ 1011556 w 4940931"/>
                <a:gd name="connsiteY446" fmla="*/ 29844 h 138429"/>
                <a:gd name="connsiteX447" fmla="*/ 4871716 w 4940931"/>
                <a:gd name="connsiteY447" fmla="*/ 29210 h 138429"/>
                <a:gd name="connsiteX448" fmla="*/ 4885686 w 4940931"/>
                <a:gd name="connsiteY448" fmla="*/ 31750 h 138429"/>
                <a:gd name="connsiteX449" fmla="*/ 4897751 w 4940931"/>
                <a:gd name="connsiteY449" fmla="*/ 38100 h 138429"/>
                <a:gd name="connsiteX450" fmla="*/ 4899021 w 4940931"/>
                <a:gd name="connsiteY450" fmla="*/ 38100 h 138429"/>
                <a:gd name="connsiteX451" fmla="*/ 4892036 w 4940931"/>
                <a:gd name="connsiteY451" fmla="*/ 50165 h 138429"/>
                <a:gd name="connsiteX452" fmla="*/ 4882511 w 4940931"/>
                <a:gd name="connsiteY452" fmla="*/ 45085 h 138429"/>
                <a:gd name="connsiteX453" fmla="*/ 4872351 w 4940931"/>
                <a:gd name="connsiteY453" fmla="*/ 43180 h 138429"/>
                <a:gd name="connsiteX454" fmla="*/ 4864096 w 4940931"/>
                <a:gd name="connsiteY454" fmla="*/ 45085 h 138429"/>
                <a:gd name="connsiteX455" fmla="*/ 4861556 w 4940931"/>
                <a:gd name="connsiteY455" fmla="*/ 50165 h 138429"/>
                <a:gd name="connsiteX456" fmla="*/ 4861556 w 4940931"/>
                <a:gd name="connsiteY456" fmla="*/ 52705 h 138429"/>
                <a:gd name="connsiteX457" fmla="*/ 4863461 w 4940931"/>
                <a:gd name="connsiteY457" fmla="*/ 55245 h 138429"/>
                <a:gd name="connsiteX458" fmla="*/ 4867906 w 4940931"/>
                <a:gd name="connsiteY458" fmla="*/ 57785 h 138429"/>
                <a:gd name="connsiteX459" fmla="*/ 4874891 w 4940931"/>
                <a:gd name="connsiteY459" fmla="*/ 60960 h 138429"/>
                <a:gd name="connsiteX460" fmla="*/ 4886321 w 4940931"/>
                <a:gd name="connsiteY460" fmla="*/ 66040 h 138429"/>
                <a:gd name="connsiteX461" fmla="*/ 4894576 w 4940931"/>
                <a:gd name="connsiteY461" fmla="*/ 71120 h 138429"/>
                <a:gd name="connsiteX462" fmla="*/ 4899656 w 4940931"/>
                <a:gd name="connsiteY462" fmla="*/ 78105 h 138429"/>
                <a:gd name="connsiteX463" fmla="*/ 4901561 w 4940931"/>
                <a:gd name="connsiteY463" fmla="*/ 87630 h 138429"/>
                <a:gd name="connsiteX464" fmla="*/ 4899021 w 4940931"/>
                <a:gd name="connsiteY464" fmla="*/ 98425 h 138429"/>
                <a:gd name="connsiteX465" fmla="*/ 4892671 w 4940931"/>
                <a:gd name="connsiteY465" fmla="*/ 105410 h 138429"/>
                <a:gd name="connsiteX466" fmla="*/ 4883146 w 4940931"/>
                <a:gd name="connsiteY466" fmla="*/ 109220 h 138429"/>
                <a:gd name="connsiteX467" fmla="*/ 4872351 w 4940931"/>
                <a:gd name="connsiteY467" fmla="*/ 110490 h 138429"/>
                <a:gd name="connsiteX468" fmla="*/ 4857111 w 4940931"/>
                <a:gd name="connsiteY468" fmla="*/ 107950 h 138429"/>
                <a:gd name="connsiteX469" fmla="*/ 4842506 w 4940931"/>
                <a:gd name="connsiteY469" fmla="*/ 100965 h 138429"/>
                <a:gd name="connsiteX470" fmla="*/ 4849491 w 4940931"/>
                <a:gd name="connsiteY470" fmla="*/ 89535 h 138429"/>
                <a:gd name="connsiteX471" fmla="*/ 4860921 w 4940931"/>
                <a:gd name="connsiteY471" fmla="*/ 95250 h 138429"/>
                <a:gd name="connsiteX472" fmla="*/ 4872351 w 4940931"/>
                <a:gd name="connsiteY472" fmla="*/ 97155 h 138429"/>
                <a:gd name="connsiteX473" fmla="*/ 4883146 w 4940931"/>
                <a:gd name="connsiteY473" fmla="*/ 94615 h 138429"/>
                <a:gd name="connsiteX474" fmla="*/ 4886321 w 4940931"/>
                <a:gd name="connsiteY474" fmla="*/ 88265 h 138429"/>
                <a:gd name="connsiteX475" fmla="*/ 4885051 w 4940931"/>
                <a:gd name="connsiteY475" fmla="*/ 84455 h 138429"/>
                <a:gd name="connsiteX476" fmla="*/ 4881241 w 4940931"/>
                <a:gd name="connsiteY476" fmla="*/ 81280 h 138429"/>
                <a:gd name="connsiteX477" fmla="*/ 4875526 w 4940931"/>
                <a:gd name="connsiteY477" fmla="*/ 78105 h 138429"/>
                <a:gd name="connsiteX478" fmla="*/ 4867906 w 4940931"/>
                <a:gd name="connsiteY478" fmla="*/ 74930 h 138429"/>
                <a:gd name="connsiteX479" fmla="*/ 4857111 w 4940931"/>
                <a:gd name="connsiteY479" fmla="*/ 69850 h 138429"/>
                <a:gd name="connsiteX480" fmla="*/ 4850126 w 4940931"/>
                <a:gd name="connsiteY480" fmla="*/ 64770 h 138429"/>
                <a:gd name="connsiteX481" fmla="*/ 4846316 w 4940931"/>
                <a:gd name="connsiteY481" fmla="*/ 58420 h 138429"/>
                <a:gd name="connsiteX482" fmla="*/ 4845046 w 4940931"/>
                <a:gd name="connsiteY482" fmla="*/ 50165 h 138429"/>
                <a:gd name="connsiteX483" fmla="*/ 4846951 w 4940931"/>
                <a:gd name="connsiteY483" fmla="*/ 40640 h 138429"/>
                <a:gd name="connsiteX484" fmla="*/ 4852666 w 4940931"/>
                <a:gd name="connsiteY484" fmla="*/ 34290 h 138429"/>
                <a:gd name="connsiteX485" fmla="*/ 4860921 w 4940931"/>
                <a:gd name="connsiteY485" fmla="*/ 30480 h 138429"/>
                <a:gd name="connsiteX486" fmla="*/ 4871716 w 4940931"/>
                <a:gd name="connsiteY486" fmla="*/ 29210 h 138429"/>
                <a:gd name="connsiteX487" fmla="*/ 4749796 w 4940931"/>
                <a:gd name="connsiteY487" fmla="*/ 29210 h 138429"/>
                <a:gd name="connsiteX488" fmla="*/ 4757416 w 4940931"/>
                <a:gd name="connsiteY488" fmla="*/ 29845 h 138429"/>
                <a:gd name="connsiteX489" fmla="*/ 4763131 w 4940931"/>
                <a:gd name="connsiteY489" fmla="*/ 32385 h 138429"/>
                <a:gd name="connsiteX490" fmla="*/ 4759321 w 4940931"/>
                <a:gd name="connsiteY490" fmla="*/ 46990 h 138429"/>
                <a:gd name="connsiteX491" fmla="*/ 4758051 w 4940931"/>
                <a:gd name="connsiteY491" fmla="*/ 46990 h 138429"/>
                <a:gd name="connsiteX492" fmla="*/ 4752971 w 4940931"/>
                <a:gd name="connsiteY492" fmla="*/ 45085 h 138429"/>
                <a:gd name="connsiteX493" fmla="*/ 4746621 w 4940931"/>
                <a:gd name="connsiteY493" fmla="*/ 44450 h 138429"/>
                <a:gd name="connsiteX494" fmla="*/ 4735191 w 4940931"/>
                <a:gd name="connsiteY494" fmla="*/ 49530 h 138429"/>
                <a:gd name="connsiteX495" fmla="*/ 4731381 w 4940931"/>
                <a:gd name="connsiteY495" fmla="*/ 64770 h 138429"/>
                <a:gd name="connsiteX496" fmla="*/ 4731381 w 4940931"/>
                <a:gd name="connsiteY496" fmla="*/ 109220 h 138429"/>
                <a:gd name="connsiteX497" fmla="*/ 4716141 w 4940931"/>
                <a:gd name="connsiteY497" fmla="*/ 109220 h 138429"/>
                <a:gd name="connsiteX498" fmla="*/ 4716141 w 4940931"/>
                <a:gd name="connsiteY498" fmla="*/ 31115 h 138429"/>
                <a:gd name="connsiteX499" fmla="*/ 4731381 w 4940931"/>
                <a:gd name="connsiteY499" fmla="*/ 31115 h 138429"/>
                <a:gd name="connsiteX500" fmla="*/ 4731381 w 4940931"/>
                <a:gd name="connsiteY500" fmla="*/ 38735 h 138429"/>
                <a:gd name="connsiteX501" fmla="*/ 4734556 w 4940931"/>
                <a:gd name="connsiteY501" fmla="*/ 34925 h 138429"/>
                <a:gd name="connsiteX502" fmla="*/ 4739001 w 4940931"/>
                <a:gd name="connsiteY502" fmla="*/ 31750 h 138429"/>
                <a:gd name="connsiteX503" fmla="*/ 4744081 w 4940931"/>
                <a:gd name="connsiteY503" fmla="*/ 29845 h 138429"/>
                <a:gd name="connsiteX504" fmla="*/ 4749796 w 4940931"/>
                <a:gd name="connsiteY504" fmla="*/ 29210 h 138429"/>
                <a:gd name="connsiteX505" fmla="*/ 4349110 w 4940931"/>
                <a:gd name="connsiteY505" fmla="*/ 29210 h 138429"/>
                <a:gd name="connsiteX506" fmla="*/ 4356730 w 4940931"/>
                <a:gd name="connsiteY506" fmla="*/ 29845 h 138429"/>
                <a:gd name="connsiteX507" fmla="*/ 4362445 w 4940931"/>
                <a:gd name="connsiteY507" fmla="*/ 32385 h 138429"/>
                <a:gd name="connsiteX508" fmla="*/ 4358635 w 4940931"/>
                <a:gd name="connsiteY508" fmla="*/ 46990 h 138429"/>
                <a:gd name="connsiteX509" fmla="*/ 4357365 w 4940931"/>
                <a:gd name="connsiteY509" fmla="*/ 46990 h 138429"/>
                <a:gd name="connsiteX510" fmla="*/ 4352285 w 4940931"/>
                <a:gd name="connsiteY510" fmla="*/ 45085 h 138429"/>
                <a:gd name="connsiteX511" fmla="*/ 4345935 w 4940931"/>
                <a:gd name="connsiteY511" fmla="*/ 44450 h 138429"/>
                <a:gd name="connsiteX512" fmla="*/ 4334505 w 4940931"/>
                <a:gd name="connsiteY512" fmla="*/ 49530 h 138429"/>
                <a:gd name="connsiteX513" fmla="*/ 4330695 w 4940931"/>
                <a:gd name="connsiteY513" fmla="*/ 64770 h 138429"/>
                <a:gd name="connsiteX514" fmla="*/ 4330695 w 4940931"/>
                <a:gd name="connsiteY514" fmla="*/ 109220 h 138429"/>
                <a:gd name="connsiteX515" fmla="*/ 4315455 w 4940931"/>
                <a:gd name="connsiteY515" fmla="*/ 109220 h 138429"/>
                <a:gd name="connsiteX516" fmla="*/ 4315455 w 4940931"/>
                <a:gd name="connsiteY516" fmla="*/ 31115 h 138429"/>
                <a:gd name="connsiteX517" fmla="*/ 4330695 w 4940931"/>
                <a:gd name="connsiteY517" fmla="*/ 31115 h 138429"/>
                <a:gd name="connsiteX518" fmla="*/ 4330695 w 4940931"/>
                <a:gd name="connsiteY518" fmla="*/ 38735 h 138429"/>
                <a:gd name="connsiteX519" fmla="*/ 4333870 w 4940931"/>
                <a:gd name="connsiteY519" fmla="*/ 34925 h 138429"/>
                <a:gd name="connsiteX520" fmla="*/ 4338315 w 4940931"/>
                <a:gd name="connsiteY520" fmla="*/ 31750 h 138429"/>
                <a:gd name="connsiteX521" fmla="*/ 4343395 w 4940931"/>
                <a:gd name="connsiteY521" fmla="*/ 29845 h 138429"/>
                <a:gd name="connsiteX522" fmla="*/ 4349110 w 4940931"/>
                <a:gd name="connsiteY522" fmla="*/ 29210 h 138429"/>
                <a:gd name="connsiteX523" fmla="*/ 4044310 w 4940931"/>
                <a:gd name="connsiteY523" fmla="*/ 29210 h 138429"/>
                <a:gd name="connsiteX524" fmla="*/ 4058915 w 4940931"/>
                <a:gd name="connsiteY524" fmla="*/ 32385 h 138429"/>
                <a:gd name="connsiteX525" fmla="*/ 4069075 w 4940931"/>
                <a:gd name="connsiteY525" fmla="*/ 40640 h 138429"/>
                <a:gd name="connsiteX526" fmla="*/ 4075425 w 4940931"/>
                <a:gd name="connsiteY526" fmla="*/ 53340 h 138429"/>
                <a:gd name="connsiteX527" fmla="*/ 4077330 w 4940931"/>
                <a:gd name="connsiteY527" fmla="*/ 68580 h 138429"/>
                <a:gd name="connsiteX528" fmla="*/ 4076060 w 4940931"/>
                <a:gd name="connsiteY528" fmla="*/ 68580 h 138429"/>
                <a:gd name="connsiteX529" fmla="*/ 4076060 w 4940931"/>
                <a:gd name="connsiteY529" fmla="*/ 72390 h 138429"/>
                <a:gd name="connsiteX530" fmla="*/ 4076060 w 4940931"/>
                <a:gd name="connsiteY530" fmla="*/ 75565 h 138429"/>
                <a:gd name="connsiteX531" fmla="*/ 4024625 w 4940931"/>
                <a:gd name="connsiteY531" fmla="*/ 75565 h 138429"/>
                <a:gd name="connsiteX532" fmla="*/ 4027165 w 4940931"/>
                <a:gd name="connsiteY532" fmla="*/ 85090 h 138429"/>
                <a:gd name="connsiteX533" fmla="*/ 4031610 w 4940931"/>
                <a:gd name="connsiteY533" fmla="*/ 91440 h 138429"/>
                <a:gd name="connsiteX534" fmla="*/ 4037325 w 4940931"/>
                <a:gd name="connsiteY534" fmla="*/ 95250 h 138429"/>
                <a:gd name="connsiteX535" fmla="*/ 4044310 w 4940931"/>
                <a:gd name="connsiteY535" fmla="*/ 96520 h 138429"/>
                <a:gd name="connsiteX536" fmla="*/ 4049390 w 4940931"/>
                <a:gd name="connsiteY536" fmla="*/ 96520 h 138429"/>
                <a:gd name="connsiteX537" fmla="*/ 4053835 w 4940931"/>
                <a:gd name="connsiteY537" fmla="*/ 95250 h 138429"/>
                <a:gd name="connsiteX538" fmla="*/ 4057645 w 4940931"/>
                <a:gd name="connsiteY538" fmla="*/ 93345 h 138429"/>
                <a:gd name="connsiteX539" fmla="*/ 4062090 w 4940931"/>
                <a:gd name="connsiteY539" fmla="*/ 90805 h 138429"/>
                <a:gd name="connsiteX540" fmla="*/ 4070980 w 4940931"/>
                <a:gd name="connsiteY540" fmla="*/ 100330 h 138429"/>
                <a:gd name="connsiteX541" fmla="*/ 4065265 w 4940931"/>
                <a:gd name="connsiteY541" fmla="*/ 104775 h 138429"/>
                <a:gd name="connsiteX542" fmla="*/ 4059550 w 4940931"/>
                <a:gd name="connsiteY542" fmla="*/ 107950 h 138429"/>
                <a:gd name="connsiteX543" fmla="*/ 4052565 w 4940931"/>
                <a:gd name="connsiteY543" fmla="*/ 109855 h 138429"/>
                <a:gd name="connsiteX544" fmla="*/ 4043675 w 4940931"/>
                <a:gd name="connsiteY544" fmla="*/ 110490 h 138429"/>
                <a:gd name="connsiteX545" fmla="*/ 4034150 w 4940931"/>
                <a:gd name="connsiteY545" fmla="*/ 109220 h 138429"/>
                <a:gd name="connsiteX546" fmla="*/ 4026530 w 4940931"/>
                <a:gd name="connsiteY546" fmla="*/ 105410 h 138429"/>
                <a:gd name="connsiteX547" fmla="*/ 4020180 w 4940931"/>
                <a:gd name="connsiteY547" fmla="*/ 100330 h 138429"/>
                <a:gd name="connsiteX548" fmla="*/ 4015100 w 4940931"/>
                <a:gd name="connsiteY548" fmla="*/ 92710 h 138429"/>
                <a:gd name="connsiteX549" fmla="*/ 4011290 w 4940931"/>
                <a:gd name="connsiteY549" fmla="*/ 82550 h 138429"/>
                <a:gd name="connsiteX550" fmla="*/ 4010020 w 4940931"/>
                <a:gd name="connsiteY550" fmla="*/ 69850 h 138429"/>
                <a:gd name="connsiteX551" fmla="*/ 4012560 w 4940931"/>
                <a:gd name="connsiteY551" fmla="*/ 52070 h 138429"/>
                <a:gd name="connsiteX552" fmla="*/ 4019545 w 4940931"/>
                <a:gd name="connsiteY552" fmla="*/ 39370 h 138429"/>
                <a:gd name="connsiteX553" fmla="*/ 4030340 w 4940931"/>
                <a:gd name="connsiteY553" fmla="*/ 31750 h 138429"/>
                <a:gd name="connsiteX554" fmla="*/ 4044310 w 4940931"/>
                <a:gd name="connsiteY554" fmla="*/ 29210 h 138429"/>
                <a:gd name="connsiteX555" fmla="*/ 3811900 w 4940931"/>
                <a:gd name="connsiteY555" fmla="*/ 29210 h 138429"/>
                <a:gd name="connsiteX556" fmla="*/ 3819520 w 4940931"/>
                <a:gd name="connsiteY556" fmla="*/ 29845 h 138429"/>
                <a:gd name="connsiteX557" fmla="*/ 3825235 w 4940931"/>
                <a:gd name="connsiteY557" fmla="*/ 32385 h 138429"/>
                <a:gd name="connsiteX558" fmla="*/ 3821425 w 4940931"/>
                <a:gd name="connsiteY558" fmla="*/ 46990 h 138429"/>
                <a:gd name="connsiteX559" fmla="*/ 3820155 w 4940931"/>
                <a:gd name="connsiteY559" fmla="*/ 46990 h 138429"/>
                <a:gd name="connsiteX560" fmla="*/ 3815075 w 4940931"/>
                <a:gd name="connsiteY560" fmla="*/ 45085 h 138429"/>
                <a:gd name="connsiteX561" fmla="*/ 3808725 w 4940931"/>
                <a:gd name="connsiteY561" fmla="*/ 44450 h 138429"/>
                <a:gd name="connsiteX562" fmla="*/ 3797295 w 4940931"/>
                <a:gd name="connsiteY562" fmla="*/ 49530 h 138429"/>
                <a:gd name="connsiteX563" fmla="*/ 3793485 w 4940931"/>
                <a:gd name="connsiteY563" fmla="*/ 64770 h 138429"/>
                <a:gd name="connsiteX564" fmla="*/ 3793485 w 4940931"/>
                <a:gd name="connsiteY564" fmla="*/ 109220 h 138429"/>
                <a:gd name="connsiteX565" fmla="*/ 3778245 w 4940931"/>
                <a:gd name="connsiteY565" fmla="*/ 109220 h 138429"/>
                <a:gd name="connsiteX566" fmla="*/ 3778245 w 4940931"/>
                <a:gd name="connsiteY566" fmla="*/ 31115 h 138429"/>
                <a:gd name="connsiteX567" fmla="*/ 3793485 w 4940931"/>
                <a:gd name="connsiteY567" fmla="*/ 31115 h 138429"/>
                <a:gd name="connsiteX568" fmla="*/ 3793485 w 4940931"/>
                <a:gd name="connsiteY568" fmla="*/ 38735 h 138429"/>
                <a:gd name="connsiteX569" fmla="*/ 3796660 w 4940931"/>
                <a:gd name="connsiteY569" fmla="*/ 34925 h 138429"/>
                <a:gd name="connsiteX570" fmla="*/ 3801105 w 4940931"/>
                <a:gd name="connsiteY570" fmla="*/ 31750 h 138429"/>
                <a:gd name="connsiteX571" fmla="*/ 3806185 w 4940931"/>
                <a:gd name="connsiteY571" fmla="*/ 29845 h 138429"/>
                <a:gd name="connsiteX572" fmla="*/ 3811900 w 4940931"/>
                <a:gd name="connsiteY572" fmla="*/ 29210 h 138429"/>
                <a:gd name="connsiteX573" fmla="*/ 3729986 w 4940931"/>
                <a:gd name="connsiteY573" fmla="*/ 29210 h 138429"/>
                <a:gd name="connsiteX574" fmla="*/ 3744591 w 4940931"/>
                <a:gd name="connsiteY574" fmla="*/ 32385 h 138429"/>
                <a:gd name="connsiteX575" fmla="*/ 3754751 w 4940931"/>
                <a:gd name="connsiteY575" fmla="*/ 40640 h 138429"/>
                <a:gd name="connsiteX576" fmla="*/ 3761101 w 4940931"/>
                <a:gd name="connsiteY576" fmla="*/ 53340 h 138429"/>
                <a:gd name="connsiteX577" fmla="*/ 3763006 w 4940931"/>
                <a:gd name="connsiteY577" fmla="*/ 68580 h 138429"/>
                <a:gd name="connsiteX578" fmla="*/ 3761736 w 4940931"/>
                <a:gd name="connsiteY578" fmla="*/ 68580 h 138429"/>
                <a:gd name="connsiteX579" fmla="*/ 3761736 w 4940931"/>
                <a:gd name="connsiteY579" fmla="*/ 72390 h 138429"/>
                <a:gd name="connsiteX580" fmla="*/ 3761736 w 4940931"/>
                <a:gd name="connsiteY580" fmla="*/ 75565 h 138429"/>
                <a:gd name="connsiteX581" fmla="*/ 3710301 w 4940931"/>
                <a:gd name="connsiteY581" fmla="*/ 75565 h 138429"/>
                <a:gd name="connsiteX582" fmla="*/ 3712841 w 4940931"/>
                <a:gd name="connsiteY582" fmla="*/ 85090 h 138429"/>
                <a:gd name="connsiteX583" fmla="*/ 3717286 w 4940931"/>
                <a:gd name="connsiteY583" fmla="*/ 91440 h 138429"/>
                <a:gd name="connsiteX584" fmla="*/ 3723001 w 4940931"/>
                <a:gd name="connsiteY584" fmla="*/ 95250 h 138429"/>
                <a:gd name="connsiteX585" fmla="*/ 3729986 w 4940931"/>
                <a:gd name="connsiteY585" fmla="*/ 96520 h 138429"/>
                <a:gd name="connsiteX586" fmla="*/ 3735066 w 4940931"/>
                <a:gd name="connsiteY586" fmla="*/ 96520 h 138429"/>
                <a:gd name="connsiteX587" fmla="*/ 3739511 w 4940931"/>
                <a:gd name="connsiteY587" fmla="*/ 95250 h 138429"/>
                <a:gd name="connsiteX588" fmla="*/ 3743321 w 4940931"/>
                <a:gd name="connsiteY588" fmla="*/ 93345 h 138429"/>
                <a:gd name="connsiteX589" fmla="*/ 3747766 w 4940931"/>
                <a:gd name="connsiteY589" fmla="*/ 90805 h 138429"/>
                <a:gd name="connsiteX590" fmla="*/ 3756656 w 4940931"/>
                <a:gd name="connsiteY590" fmla="*/ 100330 h 138429"/>
                <a:gd name="connsiteX591" fmla="*/ 3750941 w 4940931"/>
                <a:gd name="connsiteY591" fmla="*/ 104775 h 138429"/>
                <a:gd name="connsiteX592" fmla="*/ 3745226 w 4940931"/>
                <a:gd name="connsiteY592" fmla="*/ 107950 h 138429"/>
                <a:gd name="connsiteX593" fmla="*/ 3738241 w 4940931"/>
                <a:gd name="connsiteY593" fmla="*/ 109855 h 138429"/>
                <a:gd name="connsiteX594" fmla="*/ 3729351 w 4940931"/>
                <a:gd name="connsiteY594" fmla="*/ 110490 h 138429"/>
                <a:gd name="connsiteX595" fmla="*/ 3719826 w 4940931"/>
                <a:gd name="connsiteY595" fmla="*/ 109220 h 138429"/>
                <a:gd name="connsiteX596" fmla="*/ 3712206 w 4940931"/>
                <a:gd name="connsiteY596" fmla="*/ 105410 h 138429"/>
                <a:gd name="connsiteX597" fmla="*/ 3705856 w 4940931"/>
                <a:gd name="connsiteY597" fmla="*/ 100330 h 138429"/>
                <a:gd name="connsiteX598" fmla="*/ 3700776 w 4940931"/>
                <a:gd name="connsiteY598" fmla="*/ 92710 h 138429"/>
                <a:gd name="connsiteX599" fmla="*/ 3696966 w 4940931"/>
                <a:gd name="connsiteY599" fmla="*/ 82550 h 138429"/>
                <a:gd name="connsiteX600" fmla="*/ 3695696 w 4940931"/>
                <a:gd name="connsiteY600" fmla="*/ 69850 h 138429"/>
                <a:gd name="connsiteX601" fmla="*/ 3698236 w 4940931"/>
                <a:gd name="connsiteY601" fmla="*/ 52070 h 138429"/>
                <a:gd name="connsiteX602" fmla="*/ 3705221 w 4940931"/>
                <a:gd name="connsiteY602" fmla="*/ 39370 h 138429"/>
                <a:gd name="connsiteX603" fmla="*/ 3716016 w 4940931"/>
                <a:gd name="connsiteY603" fmla="*/ 31750 h 138429"/>
                <a:gd name="connsiteX604" fmla="*/ 3729986 w 4940931"/>
                <a:gd name="connsiteY604" fmla="*/ 29210 h 138429"/>
                <a:gd name="connsiteX605" fmla="*/ 3543296 w 4940931"/>
                <a:gd name="connsiteY605" fmla="*/ 29210 h 138429"/>
                <a:gd name="connsiteX606" fmla="*/ 3557901 w 4940931"/>
                <a:gd name="connsiteY606" fmla="*/ 32385 h 138429"/>
                <a:gd name="connsiteX607" fmla="*/ 3568061 w 4940931"/>
                <a:gd name="connsiteY607" fmla="*/ 40640 h 138429"/>
                <a:gd name="connsiteX608" fmla="*/ 3574411 w 4940931"/>
                <a:gd name="connsiteY608" fmla="*/ 53340 h 138429"/>
                <a:gd name="connsiteX609" fmla="*/ 3576316 w 4940931"/>
                <a:gd name="connsiteY609" fmla="*/ 68580 h 138429"/>
                <a:gd name="connsiteX610" fmla="*/ 3575046 w 4940931"/>
                <a:gd name="connsiteY610" fmla="*/ 68580 h 138429"/>
                <a:gd name="connsiteX611" fmla="*/ 3575046 w 4940931"/>
                <a:gd name="connsiteY611" fmla="*/ 72390 h 138429"/>
                <a:gd name="connsiteX612" fmla="*/ 3575046 w 4940931"/>
                <a:gd name="connsiteY612" fmla="*/ 75565 h 138429"/>
                <a:gd name="connsiteX613" fmla="*/ 3523611 w 4940931"/>
                <a:gd name="connsiteY613" fmla="*/ 75565 h 138429"/>
                <a:gd name="connsiteX614" fmla="*/ 3526151 w 4940931"/>
                <a:gd name="connsiteY614" fmla="*/ 85090 h 138429"/>
                <a:gd name="connsiteX615" fmla="*/ 3530596 w 4940931"/>
                <a:gd name="connsiteY615" fmla="*/ 91440 h 138429"/>
                <a:gd name="connsiteX616" fmla="*/ 3536311 w 4940931"/>
                <a:gd name="connsiteY616" fmla="*/ 95250 h 138429"/>
                <a:gd name="connsiteX617" fmla="*/ 3543296 w 4940931"/>
                <a:gd name="connsiteY617" fmla="*/ 96520 h 138429"/>
                <a:gd name="connsiteX618" fmla="*/ 3548376 w 4940931"/>
                <a:gd name="connsiteY618" fmla="*/ 96520 h 138429"/>
                <a:gd name="connsiteX619" fmla="*/ 3552821 w 4940931"/>
                <a:gd name="connsiteY619" fmla="*/ 95250 h 138429"/>
                <a:gd name="connsiteX620" fmla="*/ 3556631 w 4940931"/>
                <a:gd name="connsiteY620" fmla="*/ 93345 h 138429"/>
                <a:gd name="connsiteX621" fmla="*/ 3561076 w 4940931"/>
                <a:gd name="connsiteY621" fmla="*/ 90805 h 138429"/>
                <a:gd name="connsiteX622" fmla="*/ 3569966 w 4940931"/>
                <a:gd name="connsiteY622" fmla="*/ 100330 h 138429"/>
                <a:gd name="connsiteX623" fmla="*/ 3564251 w 4940931"/>
                <a:gd name="connsiteY623" fmla="*/ 104775 h 138429"/>
                <a:gd name="connsiteX624" fmla="*/ 3558536 w 4940931"/>
                <a:gd name="connsiteY624" fmla="*/ 107950 h 138429"/>
                <a:gd name="connsiteX625" fmla="*/ 3551551 w 4940931"/>
                <a:gd name="connsiteY625" fmla="*/ 109855 h 138429"/>
                <a:gd name="connsiteX626" fmla="*/ 3542661 w 4940931"/>
                <a:gd name="connsiteY626" fmla="*/ 110490 h 138429"/>
                <a:gd name="connsiteX627" fmla="*/ 3533136 w 4940931"/>
                <a:gd name="connsiteY627" fmla="*/ 109220 h 138429"/>
                <a:gd name="connsiteX628" fmla="*/ 3525516 w 4940931"/>
                <a:gd name="connsiteY628" fmla="*/ 105410 h 138429"/>
                <a:gd name="connsiteX629" fmla="*/ 3519166 w 4940931"/>
                <a:gd name="connsiteY629" fmla="*/ 100330 h 138429"/>
                <a:gd name="connsiteX630" fmla="*/ 3514086 w 4940931"/>
                <a:gd name="connsiteY630" fmla="*/ 92710 h 138429"/>
                <a:gd name="connsiteX631" fmla="*/ 3510276 w 4940931"/>
                <a:gd name="connsiteY631" fmla="*/ 82550 h 138429"/>
                <a:gd name="connsiteX632" fmla="*/ 3509006 w 4940931"/>
                <a:gd name="connsiteY632" fmla="*/ 69850 h 138429"/>
                <a:gd name="connsiteX633" fmla="*/ 3511546 w 4940931"/>
                <a:gd name="connsiteY633" fmla="*/ 52070 h 138429"/>
                <a:gd name="connsiteX634" fmla="*/ 3518531 w 4940931"/>
                <a:gd name="connsiteY634" fmla="*/ 39370 h 138429"/>
                <a:gd name="connsiteX635" fmla="*/ 3529326 w 4940931"/>
                <a:gd name="connsiteY635" fmla="*/ 31750 h 138429"/>
                <a:gd name="connsiteX636" fmla="*/ 3543296 w 4940931"/>
                <a:gd name="connsiteY636" fmla="*/ 29210 h 138429"/>
                <a:gd name="connsiteX637" fmla="*/ 3345176 w 4940931"/>
                <a:gd name="connsiteY637" fmla="*/ 29210 h 138429"/>
                <a:gd name="connsiteX638" fmla="*/ 3359781 w 4940931"/>
                <a:gd name="connsiteY638" fmla="*/ 32385 h 138429"/>
                <a:gd name="connsiteX639" fmla="*/ 3369941 w 4940931"/>
                <a:gd name="connsiteY639" fmla="*/ 40640 h 138429"/>
                <a:gd name="connsiteX640" fmla="*/ 3376291 w 4940931"/>
                <a:gd name="connsiteY640" fmla="*/ 53340 h 138429"/>
                <a:gd name="connsiteX641" fmla="*/ 3378196 w 4940931"/>
                <a:gd name="connsiteY641" fmla="*/ 68580 h 138429"/>
                <a:gd name="connsiteX642" fmla="*/ 3376926 w 4940931"/>
                <a:gd name="connsiteY642" fmla="*/ 68580 h 138429"/>
                <a:gd name="connsiteX643" fmla="*/ 3376926 w 4940931"/>
                <a:gd name="connsiteY643" fmla="*/ 72390 h 138429"/>
                <a:gd name="connsiteX644" fmla="*/ 3376926 w 4940931"/>
                <a:gd name="connsiteY644" fmla="*/ 75565 h 138429"/>
                <a:gd name="connsiteX645" fmla="*/ 3325491 w 4940931"/>
                <a:gd name="connsiteY645" fmla="*/ 75565 h 138429"/>
                <a:gd name="connsiteX646" fmla="*/ 3328031 w 4940931"/>
                <a:gd name="connsiteY646" fmla="*/ 85090 h 138429"/>
                <a:gd name="connsiteX647" fmla="*/ 3332476 w 4940931"/>
                <a:gd name="connsiteY647" fmla="*/ 91440 h 138429"/>
                <a:gd name="connsiteX648" fmla="*/ 3338191 w 4940931"/>
                <a:gd name="connsiteY648" fmla="*/ 95250 h 138429"/>
                <a:gd name="connsiteX649" fmla="*/ 3345176 w 4940931"/>
                <a:gd name="connsiteY649" fmla="*/ 96520 h 138429"/>
                <a:gd name="connsiteX650" fmla="*/ 3350256 w 4940931"/>
                <a:gd name="connsiteY650" fmla="*/ 96520 h 138429"/>
                <a:gd name="connsiteX651" fmla="*/ 3354701 w 4940931"/>
                <a:gd name="connsiteY651" fmla="*/ 95250 h 138429"/>
                <a:gd name="connsiteX652" fmla="*/ 3358511 w 4940931"/>
                <a:gd name="connsiteY652" fmla="*/ 93345 h 138429"/>
                <a:gd name="connsiteX653" fmla="*/ 3362956 w 4940931"/>
                <a:gd name="connsiteY653" fmla="*/ 90805 h 138429"/>
                <a:gd name="connsiteX654" fmla="*/ 3371846 w 4940931"/>
                <a:gd name="connsiteY654" fmla="*/ 100330 h 138429"/>
                <a:gd name="connsiteX655" fmla="*/ 3366131 w 4940931"/>
                <a:gd name="connsiteY655" fmla="*/ 104775 h 138429"/>
                <a:gd name="connsiteX656" fmla="*/ 3360416 w 4940931"/>
                <a:gd name="connsiteY656" fmla="*/ 107950 h 138429"/>
                <a:gd name="connsiteX657" fmla="*/ 3353431 w 4940931"/>
                <a:gd name="connsiteY657" fmla="*/ 109855 h 138429"/>
                <a:gd name="connsiteX658" fmla="*/ 3344541 w 4940931"/>
                <a:gd name="connsiteY658" fmla="*/ 110490 h 138429"/>
                <a:gd name="connsiteX659" fmla="*/ 3335016 w 4940931"/>
                <a:gd name="connsiteY659" fmla="*/ 109220 h 138429"/>
                <a:gd name="connsiteX660" fmla="*/ 3327396 w 4940931"/>
                <a:gd name="connsiteY660" fmla="*/ 105410 h 138429"/>
                <a:gd name="connsiteX661" fmla="*/ 3321046 w 4940931"/>
                <a:gd name="connsiteY661" fmla="*/ 100330 h 138429"/>
                <a:gd name="connsiteX662" fmla="*/ 3315966 w 4940931"/>
                <a:gd name="connsiteY662" fmla="*/ 92710 h 138429"/>
                <a:gd name="connsiteX663" fmla="*/ 3312156 w 4940931"/>
                <a:gd name="connsiteY663" fmla="*/ 82550 h 138429"/>
                <a:gd name="connsiteX664" fmla="*/ 3310886 w 4940931"/>
                <a:gd name="connsiteY664" fmla="*/ 69850 h 138429"/>
                <a:gd name="connsiteX665" fmla="*/ 3313426 w 4940931"/>
                <a:gd name="connsiteY665" fmla="*/ 52070 h 138429"/>
                <a:gd name="connsiteX666" fmla="*/ 3320411 w 4940931"/>
                <a:gd name="connsiteY666" fmla="*/ 39370 h 138429"/>
                <a:gd name="connsiteX667" fmla="*/ 3331206 w 4940931"/>
                <a:gd name="connsiteY667" fmla="*/ 31750 h 138429"/>
                <a:gd name="connsiteX668" fmla="*/ 3345176 w 4940931"/>
                <a:gd name="connsiteY668" fmla="*/ 29210 h 138429"/>
                <a:gd name="connsiteX669" fmla="*/ 3060696 w 4940931"/>
                <a:gd name="connsiteY669" fmla="*/ 29210 h 138429"/>
                <a:gd name="connsiteX670" fmla="*/ 3068316 w 4940931"/>
                <a:gd name="connsiteY670" fmla="*/ 29845 h 138429"/>
                <a:gd name="connsiteX671" fmla="*/ 3074031 w 4940931"/>
                <a:gd name="connsiteY671" fmla="*/ 32385 h 138429"/>
                <a:gd name="connsiteX672" fmla="*/ 3070221 w 4940931"/>
                <a:gd name="connsiteY672" fmla="*/ 46990 h 138429"/>
                <a:gd name="connsiteX673" fmla="*/ 3068951 w 4940931"/>
                <a:gd name="connsiteY673" fmla="*/ 46990 h 138429"/>
                <a:gd name="connsiteX674" fmla="*/ 3063871 w 4940931"/>
                <a:gd name="connsiteY674" fmla="*/ 45085 h 138429"/>
                <a:gd name="connsiteX675" fmla="*/ 3057521 w 4940931"/>
                <a:gd name="connsiteY675" fmla="*/ 44450 h 138429"/>
                <a:gd name="connsiteX676" fmla="*/ 3046091 w 4940931"/>
                <a:gd name="connsiteY676" fmla="*/ 49530 h 138429"/>
                <a:gd name="connsiteX677" fmla="*/ 3042281 w 4940931"/>
                <a:gd name="connsiteY677" fmla="*/ 64770 h 138429"/>
                <a:gd name="connsiteX678" fmla="*/ 3042281 w 4940931"/>
                <a:gd name="connsiteY678" fmla="*/ 109220 h 138429"/>
                <a:gd name="connsiteX679" fmla="*/ 3027041 w 4940931"/>
                <a:gd name="connsiteY679" fmla="*/ 109220 h 138429"/>
                <a:gd name="connsiteX680" fmla="*/ 3027041 w 4940931"/>
                <a:gd name="connsiteY680" fmla="*/ 31115 h 138429"/>
                <a:gd name="connsiteX681" fmla="*/ 3042281 w 4940931"/>
                <a:gd name="connsiteY681" fmla="*/ 31115 h 138429"/>
                <a:gd name="connsiteX682" fmla="*/ 3042281 w 4940931"/>
                <a:gd name="connsiteY682" fmla="*/ 38735 h 138429"/>
                <a:gd name="connsiteX683" fmla="*/ 3045456 w 4940931"/>
                <a:gd name="connsiteY683" fmla="*/ 34925 h 138429"/>
                <a:gd name="connsiteX684" fmla="*/ 3049901 w 4940931"/>
                <a:gd name="connsiteY684" fmla="*/ 31750 h 138429"/>
                <a:gd name="connsiteX685" fmla="*/ 3054981 w 4940931"/>
                <a:gd name="connsiteY685" fmla="*/ 29845 h 138429"/>
                <a:gd name="connsiteX686" fmla="*/ 3060696 w 4940931"/>
                <a:gd name="connsiteY686" fmla="*/ 29210 h 138429"/>
                <a:gd name="connsiteX687" fmla="*/ 2978781 w 4940931"/>
                <a:gd name="connsiteY687" fmla="*/ 29210 h 138429"/>
                <a:gd name="connsiteX688" fmla="*/ 2993386 w 4940931"/>
                <a:gd name="connsiteY688" fmla="*/ 32385 h 138429"/>
                <a:gd name="connsiteX689" fmla="*/ 3003546 w 4940931"/>
                <a:gd name="connsiteY689" fmla="*/ 40640 h 138429"/>
                <a:gd name="connsiteX690" fmla="*/ 3009896 w 4940931"/>
                <a:gd name="connsiteY690" fmla="*/ 53340 h 138429"/>
                <a:gd name="connsiteX691" fmla="*/ 3011801 w 4940931"/>
                <a:gd name="connsiteY691" fmla="*/ 68580 h 138429"/>
                <a:gd name="connsiteX692" fmla="*/ 3010531 w 4940931"/>
                <a:gd name="connsiteY692" fmla="*/ 68580 h 138429"/>
                <a:gd name="connsiteX693" fmla="*/ 3010531 w 4940931"/>
                <a:gd name="connsiteY693" fmla="*/ 72390 h 138429"/>
                <a:gd name="connsiteX694" fmla="*/ 3010531 w 4940931"/>
                <a:gd name="connsiteY694" fmla="*/ 75565 h 138429"/>
                <a:gd name="connsiteX695" fmla="*/ 2959096 w 4940931"/>
                <a:gd name="connsiteY695" fmla="*/ 75565 h 138429"/>
                <a:gd name="connsiteX696" fmla="*/ 2961636 w 4940931"/>
                <a:gd name="connsiteY696" fmla="*/ 85090 h 138429"/>
                <a:gd name="connsiteX697" fmla="*/ 2966081 w 4940931"/>
                <a:gd name="connsiteY697" fmla="*/ 91440 h 138429"/>
                <a:gd name="connsiteX698" fmla="*/ 2971796 w 4940931"/>
                <a:gd name="connsiteY698" fmla="*/ 95250 h 138429"/>
                <a:gd name="connsiteX699" fmla="*/ 2978781 w 4940931"/>
                <a:gd name="connsiteY699" fmla="*/ 96520 h 138429"/>
                <a:gd name="connsiteX700" fmla="*/ 2983861 w 4940931"/>
                <a:gd name="connsiteY700" fmla="*/ 96520 h 138429"/>
                <a:gd name="connsiteX701" fmla="*/ 2988306 w 4940931"/>
                <a:gd name="connsiteY701" fmla="*/ 95250 h 138429"/>
                <a:gd name="connsiteX702" fmla="*/ 2992116 w 4940931"/>
                <a:gd name="connsiteY702" fmla="*/ 93345 h 138429"/>
                <a:gd name="connsiteX703" fmla="*/ 2996561 w 4940931"/>
                <a:gd name="connsiteY703" fmla="*/ 90805 h 138429"/>
                <a:gd name="connsiteX704" fmla="*/ 3005451 w 4940931"/>
                <a:gd name="connsiteY704" fmla="*/ 100330 h 138429"/>
                <a:gd name="connsiteX705" fmla="*/ 2999736 w 4940931"/>
                <a:gd name="connsiteY705" fmla="*/ 104775 h 138429"/>
                <a:gd name="connsiteX706" fmla="*/ 2994021 w 4940931"/>
                <a:gd name="connsiteY706" fmla="*/ 107950 h 138429"/>
                <a:gd name="connsiteX707" fmla="*/ 2987036 w 4940931"/>
                <a:gd name="connsiteY707" fmla="*/ 109855 h 138429"/>
                <a:gd name="connsiteX708" fmla="*/ 2978146 w 4940931"/>
                <a:gd name="connsiteY708" fmla="*/ 110490 h 138429"/>
                <a:gd name="connsiteX709" fmla="*/ 2968621 w 4940931"/>
                <a:gd name="connsiteY709" fmla="*/ 109220 h 138429"/>
                <a:gd name="connsiteX710" fmla="*/ 2961001 w 4940931"/>
                <a:gd name="connsiteY710" fmla="*/ 105410 h 138429"/>
                <a:gd name="connsiteX711" fmla="*/ 2954651 w 4940931"/>
                <a:gd name="connsiteY711" fmla="*/ 100330 h 138429"/>
                <a:gd name="connsiteX712" fmla="*/ 2949571 w 4940931"/>
                <a:gd name="connsiteY712" fmla="*/ 92710 h 138429"/>
                <a:gd name="connsiteX713" fmla="*/ 2945761 w 4940931"/>
                <a:gd name="connsiteY713" fmla="*/ 82550 h 138429"/>
                <a:gd name="connsiteX714" fmla="*/ 2944491 w 4940931"/>
                <a:gd name="connsiteY714" fmla="*/ 69850 h 138429"/>
                <a:gd name="connsiteX715" fmla="*/ 2947031 w 4940931"/>
                <a:gd name="connsiteY715" fmla="*/ 52070 h 138429"/>
                <a:gd name="connsiteX716" fmla="*/ 2954016 w 4940931"/>
                <a:gd name="connsiteY716" fmla="*/ 39370 h 138429"/>
                <a:gd name="connsiteX717" fmla="*/ 2964811 w 4940931"/>
                <a:gd name="connsiteY717" fmla="*/ 31750 h 138429"/>
                <a:gd name="connsiteX718" fmla="*/ 2978781 w 4940931"/>
                <a:gd name="connsiteY718" fmla="*/ 29210 h 138429"/>
                <a:gd name="connsiteX719" fmla="*/ 2798440 w 4940931"/>
                <a:gd name="connsiteY719" fmla="*/ 29210 h 138429"/>
                <a:gd name="connsiteX720" fmla="*/ 2813045 w 4940931"/>
                <a:gd name="connsiteY720" fmla="*/ 31750 h 138429"/>
                <a:gd name="connsiteX721" fmla="*/ 2825110 w 4940931"/>
                <a:gd name="connsiteY721" fmla="*/ 38100 h 138429"/>
                <a:gd name="connsiteX722" fmla="*/ 2827015 w 4940931"/>
                <a:gd name="connsiteY722" fmla="*/ 38100 h 138429"/>
                <a:gd name="connsiteX723" fmla="*/ 2820030 w 4940931"/>
                <a:gd name="connsiteY723" fmla="*/ 50165 h 138429"/>
                <a:gd name="connsiteX724" fmla="*/ 2810505 w 4940931"/>
                <a:gd name="connsiteY724" fmla="*/ 45085 h 138429"/>
                <a:gd name="connsiteX725" fmla="*/ 2799710 w 4940931"/>
                <a:gd name="connsiteY725" fmla="*/ 43180 h 138429"/>
                <a:gd name="connsiteX726" fmla="*/ 2791455 w 4940931"/>
                <a:gd name="connsiteY726" fmla="*/ 45085 h 138429"/>
                <a:gd name="connsiteX727" fmla="*/ 2788915 w 4940931"/>
                <a:gd name="connsiteY727" fmla="*/ 50165 h 138429"/>
                <a:gd name="connsiteX728" fmla="*/ 2788915 w 4940931"/>
                <a:gd name="connsiteY728" fmla="*/ 52705 h 138429"/>
                <a:gd name="connsiteX729" fmla="*/ 2790820 w 4940931"/>
                <a:gd name="connsiteY729" fmla="*/ 55245 h 138429"/>
                <a:gd name="connsiteX730" fmla="*/ 2795265 w 4940931"/>
                <a:gd name="connsiteY730" fmla="*/ 57785 h 138429"/>
                <a:gd name="connsiteX731" fmla="*/ 2802250 w 4940931"/>
                <a:gd name="connsiteY731" fmla="*/ 60960 h 138429"/>
                <a:gd name="connsiteX732" fmla="*/ 2813680 w 4940931"/>
                <a:gd name="connsiteY732" fmla="*/ 66040 h 138429"/>
                <a:gd name="connsiteX733" fmla="*/ 2821935 w 4940931"/>
                <a:gd name="connsiteY733" fmla="*/ 71120 h 138429"/>
                <a:gd name="connsiteX734" fmla="*/ 2827015 w 4940931"/>
                <a:gd name="connsiteY734" fmla="*/ 78105 h 138429"/>
                <a:gd name="connsiteX735" fmla="*/ 2828920 w 4940931"/>
                <a:gd name="connsiteY735" fmla="*/ 87630 h 138429"/>
                <a:gd name="connsiteX736" fmla="*/ 2826380 w 4940931"/>
                <a:gd name="connsiteY736" fmla="*/ 98425 h 138429"/>
                <a:gd name="connsiteX737" fmla="*/ 2820030 w 4940931"/>
                <a:gd name="connsiteY737" fmla="*/ 105410 h 138429"/>
                <a:gd name="connsiteX738" fmla="*/ 2810505 w 4940931"/>
                <a:gd name="connsiteY738" fmla="*/ 109220 h 138429"/>
                <a:gd name="connsiteX739" fmla="*/ 2799710 w 4940931"/>
                <a:gd name="connsiteY739" fmla="*/ 110490 h 138429"/>
                <a:gd name="connsiteX740" fmla="*/ 2783835 w 4940931"/>
                <a:gd name="connsiteY740" fmla="*/ 107950 h 138429"/>
                <a:gd name="connsiteX741" fmla="*/ 2769230 w 4940931"/>
                <a:gd name="connsiteY741" fmla="*/ 100965 h 138429"/>
                <a:gd name="connsiteX742" fmla="*/ 2776215 w 4940931"/>
                <a:gd name="connsiteY742" fmla="*/ 89535 h 138429"/>
                <a:gd name="connsiteX743" fmla="*/ 2787645 w 4940931"/>
                <a:gd name="connsiteY743" fmla="*/ 95250 h 138429"/>
                <a:gd name="connsiteX744" fmla="*/ 2799075 w 4940931"/>
                <a:gd name="connsiteY744" fmla="*/ 97155 h 138429"/>
                <a:gd name="connsiteX745" fmla="*/ 2809870 w 4940931"/>
                <a:gd name="connsiteY745" fmla="*/ 94615 h 138429"/>
                <a:gd name="connsiteX746" fmla="*/ 2813045 w 4940931"/>
                <a:gd name="connsiteY746" fmla="*/ 88265 h 138429"/>
                <a:gd name="connsiteX747" fmla="*/ 2811775 w 4940931"/>
                <a:gd name="connsiteY747" fmla="*/ 84455 h 138429"/>
                <a:gd name="connsiteX748" fmla="*/ 2807965 w 4940931"/>
                <a:gd name="connsiteY748" fmla="*/ 81280 h 138429"/>
                <a:gd name="connsiteX749" fmla="*/ 2802250 w 4940931"/>
                <a:gd name="connsiteY749" fmla="*/ 78105 h 138429"/>
                <a:gd name="connsiteX750" fmla="*/ 2794630 w 4940931"/>
                <a:gd name="connsiteY750" fmla="*/ 74930 h 138429"/>
                <a:gd name="connsiteX751" fmla="*/ 2783835 w 4940931"/>
                <a:gd name="connsiteY751" fmla="*/ 69850 h 138429"/>
                <a:gd name="connsiteX752" fmla="*/ 2776850 w 4940931"/>
                <a:gd name="connsiteY752" fmla="*/ 64770 h 138429"/>
                <a:gd name="connsiteX753" fmla="*/ 2773040 w 4940931"/>
                <a:gd name="connsiteY753" fmla="*/ 58420 h 138429"/>
                <a:gd name="connsiteX754" fmla="*/ 2771770 w 4940931"/>
                <a:gd name="connsiteY754" fmla="*/ 50165 h 138429"/>
                <a:gd name="connsiteX755" fmla="*/ 2773675 w 4940931"/>
                <a:gd name="connsiteY755" fmla="*/ 40640 h 138429"/>
                <a:gd name="connsiteX756" fmla="*/ 2779390 w 4940931"/>
                <a:gd name="connsiteY756" fmla="*/ 34290 h 138429"/>
                <a:gd name="connsiteX757" fmla="*/ 2787645 w 4940931"/>
                <a:gd name="connsiteY757" fmla="*/ 30480 h 138429"/>
                <a:gd name="connsiteX758" fmla="*/ 2798440 w 4940931"/>
                <a:gd name="connsiteY758" fmla="*/ 29210 h 138429"/>
                <a:gd name="connsiteX759" fmla="*/ 2723510 w 4940931"/>
                <a:gd name="connsiteY759" fmla="*/ 29210 h 138429"/>
                <a:gd name="connsiteX760" fmla="*/ 2729225 w 4940931"/>
                <a:gd name="connsiteY760" fmla="*/ 29210 h 138429"/>
                <a:gd name="connsiteX761" fmla="*/ 2741290 w 4940931"/>
                <a:gd name="connsiteY761" fmla="*/ 31750 h 138429"/>
                <a:gd name="connsiteX762" fmla="*/ 2750180 w 4940931"/>
                <a:gd name="connsiteY762" fmla="*/ 38100 h 138429"/>
                <a:gd name="connsiteX763" fmla="*/ 2755260 w 4940931"/>
                <a:gd name="connsiteY763" fmla="*/ 48895 h 138429"/>
                <a:gd name="connsiteX764" fmla="*/ 2757165 w 4940931"/>
                <a:gd name="connsiteY764" fmla="*/ 64135 h 138429"/>
                <a:gd name="connsiteX765" fmla="*/ 2757165 w 4940931"/>
                <a:gd name="connsiteY765" fmla="*/ 108585 h 138429"/>
                <a:gd name="connsiteX766" fmla="*/ 2741925 w 4940931"/>
                <a:gd name="connsiteY766" fmla="*/ 108585 h 138429"/>
                <a:gd name="connsiteX767" fmla="*/ 2741290 w 4940931"/>
                <a:gd name="connsiteY767" fmla="*/ 108585 h 138429"/>
                <a:gd name="connsiteX768" fmla="*/ 2741290 w 4940931"/>
                <a:gd name="connsiteY768" fmla="*/ 64770 h 138429"/>
                <a:gd name="connsiteX769" fmla="*/ 2737480 w 4940931"/>
                <a:gd name="connsiteY769" fmla="*/ 48895 h 138429"/>
                <a:gd name="connsiteX770" fmla="*/ 2725415 w 4940931"/>
                <a:gd name="connsiteY770" fmla="*/ 43180 h 138429"/>
                <a:gd name="connsiteX771" fmla="*/ 2718430 w 4940931"/>
                <a:gd name="connsiteY771" fmla="*/ 44450 h 138429"/>
                <a:gd name="connsiteX772" fmla="*/ 2713350 w 4940931"/>
                <a:gd name="connsiteY772" fmla="*/ 48260 h 138429"/>
                <a:gd name="connsiteX773" fmla="*/ 2710175 w 4940931"/>
                <a:gd name="connsiteY773" fmla="*/ 54610 h 138429"/>
                <a:gd name="connsiteX774" fmla="*/ 2709540 w 4940931"/>
                <a:gd name="connsiteY774" fmla="*/ 62865 h 138429"/>
                <a:gd name="connsiteX775" fmla="*/ 2709540 w 4940931"/>
                <a:gd name="connsiteY775" fmla="*/ 108585 h 138429"/>
                <a:gd name="connsiteX776" fmla="*/ 2694300 w 4940931"/>
                <a:gd name="connsiteY776" fmla="*/ 108585 h 138429"/>
                <a:gd name="connsiteX777" fmla="*/ 2694300 w 4940931"/>
                <a:gd name="connsiteY777" fmla="*/ 30480 h 138429"/>
                <a:gd name="connsiteX778" fmla="*/ 2709540 w 4940931"/>
                <a:gd name="connsiteY778" fmla="*/ 30480 h 138429"/>
                <a:gd name="connsiteX779" fmla="*/ 2709540 w 4940931"/>
                <a:gd name="connsiteY779" fmla="*/ 38100 h 138429"/>
                <a:gd name="connsiteX780" fmla="*/ 2713350 w 4940931"/>
                <a:gd name="connsiteY780" fmla="*/ 34290 h 138429"/>
                <a:gd name="connsiteX781" fmla="*/ 2717795 w 4940931"/>
                <a:gd name="connsiteY781" fmla="*/ 31115 h 138429"/>
                <a:gd name="connsiteX782" fmla="*/ 2723510 w 4940931"/>
                <a:gd name="connsiteY782" fmla="*/ 29210 h 138429"/>
                <a:gd name="connsiteX783" fmla="*/ 2530470 w 4940931"/>
                <a:gd name="connsiteY783" fmla="*/ 29210 h 138429"/>
                <a:gd name="connsiteX784" fmla="*/ 2545075 w 4940931"/>
                <a:gd name="connsiteY784" fmla="*/ 32385 h 138429"/>
                <a:gd name="connsiteX785" fmla="*/ 2555235 w 4940931"/>
                <a:gd name="connsiteY785" fmla="*/ 40640 h 138429"/>
                <a:gd name="connsiteX786" fmla="*/ 2561585 w 4940931"/>
                <a:gd name="connsiteY786" fmla="*/ 53340 h 138429"/>
                <a:gd name="connsiteX787" fmla="*/ 2563490 w 4940931"/>
                <a:gd name="connsiteY787" fmla="*/ 68580 h 138429"/>
                <a:gd name="connsiteX788" fmla="*/ 2562220 w 4940931"/>
                <a:gd name="connsiteY788" fmla="*/ 68580 h 138429"/>
                <a:gd name="connsiteX789" fmla="*/ 2562220 w 4940931"/>
                <a:gd name="connsiteY789" fmla="*/ 72390 h 138429"/>
                <a:gd name="connsiteX790" fmla="*/ 2562220 w 4940931"/>
                <a:gd name="connsiteY790" fmla="*/ 75565 h 138429"/>
                <a:gd name="connsiteX791" fmla="*/ 2510785 w 4940931"/>
                <a:gd name="connsiteY791" fmla="*/ 75565 h 138429"/>
                <a:gd name="connsiteX792" fmla="*/ 2513325 w 4940931"/>
                <a:gd name="connsiteY792" fmla="*/ 85090 h 138429"/>
                <a:gd name="connsiteX793" fmla="*/ 2517770 w 4940931"/>
                <a:gd name="connsiteY793" fmla="*/ 91440 h 138429"/>
                <a:gd name="connsiteX794" fmla="*/ 2523485 w 4940931"/>
                <a:gd name="connsiteY794" fmla="*/ 95250 h 138429"/>
                <a:gd name="connsiteX795" fmla="*/ 2530470 w 4940931"/>
                <a:gd name="connsiteY795" fmla="*/ 96520 h 138429"/>
                <a:gd name="connsiteX796" fmla="*/ 2535550 w 4940931"/>
                <a:gd name="connsiteY796" fmla="*/ 96520 h 138429"/>
                <a:gd name="connsiteX797" fmla="*/ 2539995 w 4940931"/>
                <a:gd name="connsiteY797" fmla="*/ 95250 h 138429"/>
                <a:gd name="connsiteX798" fmla="*/ 2543805 w 4940931"/>
                <a:gd name="connsiteY798" fmla="*/ 93345 h 138429"/>
                <a:gd name="connsiteX799" fmla="*/ 2548250 w 4940931"/>
                <a:gd name="connsiteY799" fmla="*/ 90805 h 138429"/>
                <a:gd name="connsiteX800" fmla="*/ 2557140 w 4940931"/>
                <a:gd name="connsiteY800" fmla="*/ 100330 h 138429"/>
                <a:gd name="connsiteX801" fmla="*/ 2551425 w 4940931"/>
                <a:gd name="connsiteY801" fmla="*/ 104775 h 138429"/>
                <a:gd name="connsiteX802" fmla="*/ 2545710 w 4940931"/>
                <a:gd name="connsiteY802" fmla="*/ 107950 h 138429"/>
                <a:gd name="connsiteX803" fmla="*/ 2538725 w 4940931"/>
                <a:gd name="connsiteY803" fmla="*/ 109855 h 138429"/>
                <a:gd name="connsiteX804" fmla="*/ 2529835 w 4940931"/>
                <a:gd name="connsiteY804" fmla="*/ 110490 h 138429"/>
                <a:gd name="connsiteX805" fmla="*/ 2520310 w 4940931"/>
                <a:gd name="connsiteY805" fmla="*/ 109220 h 138429"/>
                <a:gd name="connsiteX806" fmla="*/ 2512690 w 4940931"/>
                <a:gd name="connsiteY806" fmla="*/ 105410 h 138429"/>
                <a:gd name="connsiteX807" fmla="*/ 2506340 w 4940931"/>
                <a:gd name="connsiteY807" fmla="*/ 100330 h 138429"/>
                <a:gd name="connsiteX808" fmla="*/ 2501260 w 4940931"/>
                <a:gd name="connsiteY808" fmla="*/ 92710 h 138429"/>
                <a:gd name="connsiteX809" fmla="*/ 2497450 w 4940931"/>
                <a:gd name="connsiteY809" fmla="*/ 82550 h 138429"/>
                <a:gd name="connsiteX810" fmla="*/ 2496180 w 4940931"/>
                <a:gd name="connsiteY810" fmla="*/ 69850 h 138429"/>
                <a:gd name="connsiteX811" fmla="*/ 2498720 w 4940931"/>
                <a:gd name="connsiteY811" fmla="*/ 52070 h 138429"/>
                <a:gd name="connsiteX812" fmla="*/ 2505705 w 4940931"/>
                <a:gd name="connsiteY812" fmla="*/ 39370 h 138429"/>
                <a:gd name="connsiteX813" fmla="*/ 2516500 w 4940931"/>
                <a:gd name="connsiteY813" fmla="*/ 31750 h 138429"/>
                <a:gd name="connsiteX814" fmla="*/ 2530470 w 4940931"/>
                <a:gd name="connsiteY814" fmla="*/ 29210 h 138429"/>
                <a:gd name="connsiteX815" fmla="*/ 2298061 w 4940931"/>
                <a:gd name="connsiteY815" fmla="*/ 29210 h 138429"/>
                <a:gd name="connsiteX816" fmla="*/ 2305681 w 4940931"/>
                <a:gd name="connsiteY816" fmla="*/ 29845 h 138429"/>
                <a:gd name="connsiteX817" fmla="*/ 2311396 w 4940931"/>
                <a:gd name="connsiteY817" fmla="*/ 32385 h 138429"/>
                <a:gd name="connsiteX818" fmla="*/ 2307586 w 4940931"/>
                <a:gd name="connsiteY818" fmla="*/ 46990 h 138429"/>
                <a:gd name="connsiteX819" fmla="*/ 2306316 w 4940931"/>
                <a:gd name="connsiteY819" fmla="*/ 46990 h 138429"/>
                <a:gd name="connsiteX820" fmla="*/ 2301236 w 4940931"/>
                <a:gd name="connsiteY820" fmla="*/ 45085 h 138429"/>
                <a:gd name="connsiteX821" fmla="*/ 2294886 w 4940931"/>
                <a:gd name="connsiteY821" fmla="*/ 44450 h 138429"/>
                <a:gd name="connsiteX822" fmla="*/ 2283456 w 4940931"/>
                <a:gd name="connsiteY822" fmla="*/ 49530 h 138429"/>
                <a:gd name="connsiteX823" fmla="*/ 2279646 w 4940931"/>
                <a:gd name="connsiteY823" fmla="*/ 64770 h 138429"/>
                <a:gd name="connsiteX824" fmla="*/ 2279646 w 4940931"/>
                <a:gd name="connsiteY824" fmla="*/ 109220 h 138429"/>
                <a:gd name="connsiteX825" fmla="*/ 2264406 w 4940931"/>
                <a:gd name="connsiteY825" fmla="*/ 109220 h 138429"/>
                <a:gd name="connsiteX826" fmla="*/ 2264406 w 4940931"/>
                <a:gd name="connsiteY826" fmla="*/ 31115 h 138429"/>
                <a:gd name="connsiteX827" fmla="*/ 2279646 w 4940931"/>
                <a:gd name="connsiteY827" fmla="*/ 31115 h 138429"/>
                <a:gd name="connsiteX828" fmla="*/ 2279646 w 4940931"/>
                <a:gd name="connsiteY828" fmla="*/ 38735 h 138429"/>
                <a:gd name="connsiteX829" fmla="*/ 2282821 w 4940931"/>
                <a:gd name="connsiteY829" fmla="*/ 34925 h 138429"/>
                <a:gd name="connsiteX830" fmla="*/ 2287266 w 4940931"/>
                <a:gd name="connsiteY830" fmla="*/ 31750 h 138429"/>
                <a:gd name="connsiteX831" fmla="*/ 2292346 w 4940931"/>
                <a:gd name="connsiteY831" fmla="*/ 29845 h 138429"/>
                <a:gd name="connsiteX832" fmla="*/ 2298061 w 4940931"/>
                <a:gd name="connsiteY832" fmla="*/ 29210 h 138429"/>
                <a:gd name="connsiteX833" fmla="*/ 2216145 w 4940931"/>
                <a:gd name="connsiteY833" fmla="*/ 29210 h 138429"/>
                <a:gd name="connsiteX834" fmla="*/ 2230750 w 4940931"/>
                <a:gd name="connsiteY834" fmla="*/ 32385 h 138429"/>
                <a:gd name="connsiteX835" fmla="*/ 2240910 w 4940931"/>
                <a:gd name="connsiteY835" fmla="*/ 40640 h 138429"/>
                <a:gd name="connsiteX836" fmla="*/ 2247260 w 4940931"/>
                <a:gd name="connsiteY836" fmla="*/ 53340 h 138429"/>
                <a:gd name="connsiteX837" fmla="*/ 2249165 w 4940931"/>
                <a:gd name="connsiteY837" fmla="*/ 68580 h 138429"/>
                <a:gd name="connsiteX838" fmla="*/ 2247895 w 4940931"/>
                <a:gd name="connsiteY838" fmla="*/ 68580 h 138429"/>
                <a:gd name="connsiteX839" fmla="*/ 2247895 w 4940931"/>
                <a:gd name="connsiteY839" fmla="*/ 72390 h 138429"/>
                <a:gd name="connsiteX840" fmla="*/ 2247895 w 4940931"/>
                <a:gd name="connsiteY840" fmla="*/ 75565 h 138429"/>
                <a:gd name="connsiteX841" fmla="*/ 2196460 w 4940931"/>
                <a:gd name="connsiteY841" fmla="*/ 75565 h 138429"/>
                <a:gd name="connsiteX842" fmla="*/ 2199000 w 4940931"/>
                <a:gd name="connsiteY842" fmla="*/ 85090 h 138429"/>
                <a:gd name="connsiteX843" fmla="*/ 2203445 w 4940931"/>
                <a:gd name="connsiteY843" fmla="*/ 91440 h 138429"/>
                <a:gd name="connsiteX844" fmla="*/ 2209160 w 4940931"/>
                <a:gd name="connsiteY844" fmla="*/ 95250 h 138429"/>
                <a:gd name="connsiteX845" fmla="*/ 2216145 w 4940931"/>
                <a:gd name="connsiteY845" fmla="*/ 96520 h 138429"/>
                <a:gd name="connsiteX846" fmla="*/ 2221225 w 4940931"/>
                <a:gd name="connsiteY846" fmla="*/ 96520 h 138429"/>
                <a:gd name="connsiteX847" fmla="*/ 2225670 w 4940931"/>
                <a:gd name="connsiteY847" fmla="*/ 95250 h 138429"/>
                <a:gd name="connsiteX848" fmla="*/ 2229480 w 4940931"/>
                <a:gd name="connsiteY848" fmla="*/ 93345 h 138429"/>
                <a:gd name="connsiteX849" fmla="*/ 2233925 w 4940931"/>
                <a:gd name="connsiteY849" fmla="*/ 90805 h 138429"/>
                <a:gd name="connsiteX850" fmla="*/ 2242815 w 4940931"/>
                <a:gd name="connsiteY850" fmla="*/ 100330 h 138429"/>
                <a:gd name="connsiteX851" fmla="*/ 2237100 w 4940931"/>
                <a:gd name="connsiteY851" fmla="*/ 104775 h 138429"/>
                <a:gd name="connsiteX852" fmla="*/ 2231385 w 4940931"/>
                <a:gd name="connsiteY852" fmla="*/ 107950 h 138429"/>
                <a:gd name="connsiteX853" fmla="*/ 2224400 w 4940931"/>
                <a:gd name="connsiteY853" fmla="*/ 109855 h 138429"/>
                <a:gd name="connsiteX854" fmla="*/ 2215510 w 4940931"/>
                <a:gd name="connsiteY854" fmla="*/ 110490 h 138429"/>
                <a:gd name="connsiteX855" fmla="*/ 2205985 w 4940931"/>
                <a:gd name="connsiteY855" fmla="*/ 109220 h 138429"/>
                <a:gd name="connsiteX856" fmla="*/ 2198365 w 4940931"/>
                <a:gd name="connsiteY856" fmla="*/ 105410 h 138429"/>
                <a:gd name="connsiteX857" fmla="*/ 2192015 w 4940931"/>
                <a:gd name="connsiteY857" fmla="*/ 100330 h 138429"/>
                <a:gd name="connsiteX858" fmla="*/ 2186935 w 4940931"/>
                <a:gd name="connsiteY858" fmla="*/ 92710 h 138429"/>
                <a:gd name="connsiteX859" fmla="*/ 2183125 w 4940931"/>
                <a:gd name="connsiteY859" fmla="*/ 82550 h 138429"/>
                <a:gd name="connsiteX860" fmla="*/ 2181855 w 4940931"/>
                <a:gd name="connsiteY860" fmla="*/ 69850 h 138429"/>
                <a:gd name="connsiteX861" fmla="*/ 2184395 w 4940931"/>
                <a:gd name="connsiteY861" fmla="*/ 52070 h 138429"/>
                <a:gd name="connsiteX862" fmla="*/ 2191380 w 4940931"/>
                <a:gd name="connsiteY862" fmla="*/ 39370 h 138429"/>
                <a:gd name="connsiteX863" fmla="*/ 2202175 w 4940931"/>
                <a:gd name="connsiteY863" fmla="*/ 31750 h 138429"/>
                <a:gd name="connsiteX864" fmla="*/ 2216145 w 4940931"/>
                <a:gd name="connsiteY864" fmla="*/ 29210 h 138429"/>
                <a:gd name="connsiteX865" fmla="*/ 2029456 w 4940931"/>
                <a:gd name="connsiteY865" fmla="*/ 29210 h 138429"/>
                <a:gd name="connsiteX866" fmla="*/ 2044061 w 4940931"/>
                <a:gd name="connsiteY866" fmla="*/ 32385 h 138429"/>
                <a:gd name="connsiteX867" fmla="*/ 2054221 w 4940931"/>
                <a:gd name="connsiteY867" fmla="*/ 40640 h 138429"/>
                <a:gd name="connsiteX868" fmla="*/ 2060571 w 4940931"/>
                <a:gd name="connsiteY868" fmla="*/ 53340 h 138429"/>
                <a:gd name="connsiteX869" fmla="*/ 2062476 w 4940931"/>
                <a:gd name="connsiteY869" fmla="*/ 68580 h 138429"/>
                <a:gd name="connsiteX870" fmla="*/ 2061206 w 4940931"/>
                <a:gd name="connsiteY870" fmla="*/ 68580 h 138429"/>
                <a:gd name="connsiteX871" fmla="*/ 2061206 w 4940931"/>
                <a:gd name="connsiteY871" fmla="*/ 72390 h 138429"/>
                <a:gd name="connsiteX872" fmla="*/ 2061206 w 4940931"/>
                <a:gd name="connsiteY872" fmla="*/ 75565 h 138429"/>
                <a:gd name="connsiteX873" fmla="*/ 2009771 w 4940931"/>
                <a:gd name="connsiteY873" fmla="*/ 75565 h 138429"/>
                <a:gd name="connsiteX874" fmla="*/ 2012311 w 4940931"/>
                <a:gd name="connsiteY874" fmla="*/ 85090 h 138429"/>
                <a:gd name="connsiteX875" fmla="*/ 2016756 w 4940931"/>
                <a:gd name="connsiteY875" fmla="*/ 91440 h 138429"/>
                <a:gd name="connsiteX876" fmla="*/ 2022471 w 4940931"/>
                <a:gd name="connsiteY876" fmla="*/ 95250 h 138429"/>
                <a:gd name="connsiteX877" fmla="*/ 2029456 w 4940931"/>
                <a:gd name="connsiteY877" fmla="*/ 96520 h 138429"/>
                <a:gd name="connsiteX878" fmla="*/ 2034536 w 4940931"/>
                <a:gd name="connsiteY878" fmla="*/ 96520 h 138429"/>
                <a:gd name="connsiteX879" fmla="*/ 2038981 w 4940931"/>
                <a:gd name="connsiteY879" fmla="*/ 95250 h 138429"/>
                <a:gd name="connsiteX880" fmla="*/ 2042791 w 4940931"/>
                <a:gd name="connsiteY880" fmla="*/ 93345 h 138429"/>
                <a:gd name="connsiteX881" fmla="*/ 2047236 w 4940931"/>
                <a:gd name="connsiteY881" fmla="*/ 90805 h 138429"/>
                <a:gd name="connsiteX882" fmla="*/ 2056126 w 4940931"/>
                <a:gd name="connsiteY882" fmla="*/ 100330 h 138429"/>
                <a:gd name="connsiteX883" fmla="*/ 2050411 w 4940931"/>
                <a:gd name="connsiteY883" fmla="*/ 104775 h 138429"/>
                <a:gd name="connsiteX884" fmla="*/ 2044696 w 4940931"/>
                <a:gd name="connsiteY884" fmla="*/ 107950 h 138429"/>
                <a:gd name="connsiteX885" fmla="*/ 2037711 w 4940931"/>
                <a:gd name="connsiteY885" fmla="*/ 109855 h 138429"/>
                <a:gd name="connsiteX886" fmla="*/ 2028821 w 4940931"/>
                <a:gd name="connsiteY886" fmla="*/ 110490 h 138429"/>
                <a:gd name="connsiteX887" fmla="*/ 2019296 w 4940931"/>
                <a:gd name="connsiteY887" fmla="*/ 109220 h 138429"/>
                <a:gd name="connsiteX888" fmla="*/ 2011676 w 4940931"/>
                <a:gd name="connsiteY888" fmla="*/ 105410 h 138429"/>
                <a:gd name="connsiteX889" fmla="*/ 2005326 w 4940931"/>
                <a:gd name="connsiteY889" fmla="*/ 100330 h 138429"/>
                <a:gd name="connsiteX890" fmla="*/ 2000246 w 4940931"/>
                <a:gd name="connsiteY890" fmla="*/ 92710 h 138429"/>
                <a:gd name="connsiteX891" fmla="*/ 1996436 w 4940931"/>
                <a:gd name="connsiteY891" fmla="*/ 82550 h 138429"/>
                <a:gd name="connsiteX892" fmla="*/ 1995166 w 4940931"/>
                <a:gd name="connsiteY892" fmla="*/ 69850 h 138429"/>
                <a:gd name="connsiteX893" fmla="*/ 1997706 w 4940931"/>
                <a:gd name="connsiteY893" fmla="*/ 52070 h 138429"/>
                <a:gd name="connsiteX894" fmla="*/ 2004691 w 4940931"/>
                <a:gd name="connsiteY894" fmla="*/ 39370 h 138429"/>
                <a:gd name="connsiteX895" fmla="*/ 2015486 w 4940931"/>
                <a:gd name="connsiteY895" fmla="*/ 31750 h 138429"/>
                <a:gd name="connsiteX896" fmla="*/ 2029456 w 4940931"/>
                <a:gd name="connsiteY896" fmla="*/ 29210 h 138429"/>
                <a:gd name="connsiteX897" fmla="*/ 1831336 w 4940931"/>
                <a:gd name="connsiteY897" fmla="*/ 29210 h 138429"/>
                <a:gd name="connsiteX898" fmla="*/ 1845941 w 4940931"/>
                <a:gd name="connsiteY898" fmla="*/ 32385 h 138429"/>
                <a:gd name="connsiteX899" fmla="*/ 1856101 w 4940931"/>
                <a:gd name="connsiteY899" fmla="*/ 40640 h 138429"/>
                <a:gd name="connsiteX900" fmla="*/ 1862451 w 4940931"/>
                <a:gd name="connsiteY900" fmla="*/ 53340 h 138429"/>
                <a:gd name="connsiteX901" fmla="*/ 1864356 w 4940931"/>
                <a:gd name="connsiteY901" fmla="*/ 68580 h 138429"/>
                <a:gd name="connsiteX902" fmla="*/ 1863086 w 4940931"/>
                <a:gd name="connsiteY902" fmla="*/ 68580 h 138429"/>
                <a:gd name="connsiteX903" fmla="*/ 1863086 w 4940931"/>
                <a:gd name="connsiteY903" fmla="*/ 72390 h 138429"/>
                <a:gd name="connsiteX904" fmla="*/ 1863086 w 4940931"/>
                <a:gd name="connsiteY904" fmla="*/ 75565 h 138429"/>
                <a:gd name="connsiteX905" fmla="*/ 1811651 w 4940931"/>
                <a:gd name="connsiteY905" fmla="*/ 75565 h 138429"/>
                <a:gd name="connsiteX906" fmla="*/ 1814191 w 4940931"/>
                <a:gd name="connsiteY906" fmla="*/ 85090 h 138429"/>
                <a:gd name="connsiteX907" fmla="*/ 1818636 w 4940931"/>
                <a:gd name="connsiteY907" fmla="*/ 91440 h 138429"/>
                <a:gd name="connsiteX908" fmla="*/ 1824351 w 4940931"/>
                <a:gd name="connsiteY908" fmla="*/ 95250 h 138429"/>
                <a:gd name="connsiteX909" fmla="*/ 1831336 w 4940931"/>
                <a:gd name="connsiteY909" fmla="*/ 96520 h 138429"/>
                <a:gd name="connsiteX910" fmla="*/ 1836416 w 4940931"/>
                <a:gd name="connsiteY910" fmla="*/ 96520 h 138429"/>
                <a:gd name="connsiteX911" fmla="*/ 1840861 w 4940931"/>
                <a:gd name="connsiteY911" fmla="*/ 95250 h 138429"/>
                <a:gd name="connsiteX912" fmla="*/ 1844671 w 4940931"/>
                <a:gd name="connsiteY912" fmla="*/ 93345 h 138429"/>
                <a:gd name="connsiteX913" fmla="*/ 1849116 w 4940931"/>
                <a:gd name="connsiteY913" fmla="*/ 90805 h 138429"/>
                <a:gd name="connsiteX914" fmla="*/ 1858006 w 4940931"/>
                <a:gd name="connsiteY914" fmla="*/ 100330 h 138429"/>
                <a:gd name="connsiteX915" fmla="*/ 1852291 w 4940931"/>
                <a:gd name="connsiteY915" fmla="*/ 104775 h 138429"/>
                <a:gd name="connsiteX916" fmla="*/ 1846576 w 4940931"/>
                <a:gd name="connsiteY916" fmla="*/ 107950 h 138429"/>
                <a:gd name="connsiteX917" fmla="*/ 1839591 w 4940931"/>
                <a:gd name="connsiteY917" fmla="*/ 109855 h 138429"/>
                <a:gd name="connsiteX918" fmla="*/ 1830701 w 4940931"/>
                <a:gd name="connsiteY918" fmla="*/ 110490 h 138429"/>
                <a:gd name="connsiteX919" fmla="*/ 1821176 w 4940931"/>
                <a:gd name="connsiteY919" fmla="*/ 109220 h 138429"/>
                <a:gd name="connsiteX920" fmla="*/ 1813556 w 4940931"/>
                <a:gd name="connsiteY920" fmla="*/ 105410 h 138429"/>
                <a:gd name="connsiteX921" fmla="*/ 1807206 w 4940931"/>
                <a:gd name="connsiteY921" fmla="*/ 100330 h 138429"/>
                <a:gd name="connsiteX922" fmla="*/ 1802126 w 4940931"/>
                <a:gd name="connsiteY922" fmla="*/ 92710 h 138429"/>
                <a:gd name="connsiteX923" fmla="*/ 1798316 w 4940931"/>
                <a:gd name="connsiteY923" fmla="*/ 82550 h 138429"/>
                <a:gd name="connsiteX924" fmla="*/ 1797046 w 4940931"/>
                <a:gd name="connsiteY924" fmla="*/ 69850 h 138429"/>
                <a:gd name="connsiteX925" fmla="*/ 1799586 w 4940931"/>
                <a:gd name="connsiteY925" fmla="*/ 52070 h 138429"/>
                <a:gd name="connsiteX926" fmla="*/ 1806571 w 4940931"/>
                <a:gd name="connsiteY926" fmla="*/ 39370 h 138429"/>
                <a:gd name="connsiteX927" fmla="*/ 1817366 w 4940931"/>
                <a:gd name="connsiteY927" fmla="*/ 31750 h 138429"/>
                <a:gd name="connsiteX928" fmla="*/ 1831336 w 4940931"/>
                <a:gd name="connsiteY928" fmla="*/ 29210 h 138429"/>
                <a:gd name="connsiteX929" fmla="*/ 1501140 w 4940931"/>
                <a:gd name="connsiteY929" fmla="*/ 29210 h 138429"/>
                <a:gd name="connsiteX930" fmla="*/ 1506856 w 4940931"/>
                <a:gd name="connsiteY930" fmla="*/ 29210 h 138429"/>
                <a:gd name="connsiteX931" fmla="*/ 1518920 w 4940931"/>
                <a:gd name="connsiteY931" fmla="*/ 31750 h 138429"/>
                <a:gd name="connsiteX932" fmla="*/ 1527811 w 4940931"/>
                <a:gd name="connsiteY932" fmla="*/ 38100 h 138429"/>
                <a:gd name="connsiteX933" fmla="*/ 1532891 w 4940931"/>
                <a:gd name="connsiteY933" fmla="*/ 48895 h 138429"/>
                <a:gd name="connsiteX934" fmla="*/ 1534796 w 4940931"/>
                <a:gd name="connsiteY934" fmla="*/ 64135 h 138429"/>
                <a:gd name="connsiteX935" fmla="*/ 1534796 w 4940931"/>
                <a:gd name="connsiteY935" fmla="*/ 108585 h 138429"/>
                <a:gd name="connsiteX936" fmla="*/ 1519556 w 4940931"/>
                <a:gd name="connsiteY936" fmla="*/ 108585 h 138429"/>
                <a:gd name="connsiteX937" fmla="*/ 1518920 w 4940931"/>
                <a:gd name="connsiteY937" fmla="*/ 108585 h 138429"/>
                <a:gd name="connsiteX938" fmla="*/ 1518920 w 4940931"/>
                <a:gd name="connsiteY938" fmla="*/ 64770 h 138429"/>
                <a:gd name="connsiteX939" fmla="*/ 1515111 w 4940931"/>
                <a:gd name="connsiteY939" fmla="*/ 48895 h 138429"/>
                <a:gd name="connsiteX940" fmla="*/ 1503046 w 4940931"/>
                <a:gd name="connsiteY940" fmla="*/ 43180 h 138429"/>
                <a:gd name="connsiteX941" fmla="*/ 1496061 w 4940931"/>
                <a:gd name="connsiteY941" fmla="*/ 44450 h 138429"/>
                <a:gd name="connsiteX942" fmla="*/ 1490981 w 4940931"/>
                <a:gd name="connsiteY942" fmla="*/ 48260 h 138429"/>
                <a:gd name="connsiteX943" fmla="*/ 1487806 w 4940931"/>
                <a:gd name="connsiteY943" fmla="*/ 54610 h 138429"/>
                <a:gd name="connsiteX944" fmla="*/ 1487170 w 4940931"/>
                <a:gd name="connsiteY944" fmla="*/ 62865 h 138429"/>
                <a:gd name="connsiteX945" fmla="*/ 1487170 w 4940931"/>
                <a:gd name="connsiteY945" fmla="*/ 108585 h 138429"/>
                <a:gd name="connsiteX946" fmla="*/ 1471931 w 4940931"/>
                <a:gd name="connsiteY946" fmla="*/ 108585 h 138429"/>
                <a:gd name="connsiteX947" fmla="*/ 1471931 w 4940931"/>
                <a:gd name="connsiteY947" fmla="*/ 30480 h 138429"/>
                <a:gd name="connsiteX948" fmla="*/ 1487170 w 4940931"/>
                <a:gd name="connsiteY948" fmla="*/ 30480 h 138429"/>
                <a:gd name="connsiteX949" fmla="*/ 1487170 w 4940931"/>
                <a:gd name="connsiteY949" fmla="*/ 38100 h 138429"/>
                <a:gd name="connsiteX950" fmla="*/ 1490981 w 4940931"/>
                <a:gd name="connsiteY950" fmla="*/ 34290 h 138429"/>
                <a:gd name="connsiteX951" fmla="*/ 1495426 w 4940931"/>
                <a:gd name="connsiteY951" fmla="*/ 31115 h 138429"/>
                <a:gd name="connsiteX952" fmla="*/ 1501140 w 4940931"/>
                <a:gd name="connsiteY952" fmla="*/ 29210 h 138429"/>
                <a:gd name="connsiteX953" fmla="*/ 1250316 w 4940931"/>
                <a:gd name="connsiteY953" fmla="*/ 29210 h 138429"/>
                <a:gd name="connsiteX954" fmla="*/ 1264286 w 4940931"/>
                <a:gd name="connsiteY954" fmla="*/ 31750 h 138429"/>
                <a:gd name="connsiteX955" fmla="*/ 1276350 w 4940931"/>
                <a:gd name="connsiteY955" fmla="*/ 38100 h 138429"/>
                <a:gd name="connsiteX956" fmla="*/ 1278256 w 4940931"/>
                <a:gd name="connsiteY956" fmla="*/ 38100 h 138429"/>
                <a:gd name="connsiteX957" fmla="*/ 1271271 w 4940931"/>
                <a:gd name="connsiteY957" fmla="*/ 50165 h 138429"/>
                <a:gd name="connsiteX958" fmla="*/ 1261746 w 4940931"/>
                <a:gd name="connsiteY958" fmla="*/ 45085 h 138429"/>
                <a:gd name="connsiteX959" fmla="*/ 1250951 w 4940931"/>
                <a:gd name="connsiteY959" fmla="*/ 43180 h 138429"/>
                <a:gd name="connsiteX960" fmla="*/ 1242696 w 4940931"/>
                <a:gd name="connsiteY960" fmla="*/ 45085 h 138429"/>
                <a:gd name="connsiteX961" fmla="*/ 1240156 w 4940931"/>
                <a:gd name="connsiteY961" fmla="*/ 50165 h 138429"/>
                <a:gd name="connsiteX962" fmla="*/ 1240156 w 4940931"/>
                <a:gd name="connsiteY962" fmla="*/ 52705 h 138429"/>
                <a:gd name="connsiteX963" fmla="*/ 1242061 w 4940931"/>
                <a:gd name="connsiteY963" fmla="*/ 55245 h 138429"/>
                <a:gd name="connsiteX964" fmla="*/ 1246506 w 4940931"/>
                <a:gd name="connsiteY964" fmla="*/ 57785 h 138429"/>
                <a:gd name="connsiteX965" fmla="*/ 1253491 w 4940931"/>
                <a:gd name="connsiteY965" fmla="*/ 60960 h 138429"/>
                <a:gd name="connsiteX966" fmla="*/ 1264921 w 4940931"/>
                <a:gd name="connsiteY966" fmla="*/ 66040 h 138429"/>
                <a:gd name="connsiteX967" fmla="*/ 1273176 w 4940931"/>
                <a:gd name="connsiteY967" fmla="*/ 71120 h 138429"/>
                <a:gd name="connsiteX968" fmla="*/ 1278256 w 4940931"/>
                <a:gd name="connsiteY968" fmla="*/ 78105 h 138429"/>
                <a:gd name="connsiteX969" fmla="*/ 1280161 w 4940931"/>
                <a:gd name="connsiteY969" fmla="*/ 87630 h 138429"/>
                <a:gd name="connsiteX970" fmla="*/ 1277621 w 4940931"/>
                <a:gd name="connsiteY970" fmla="*/ 98425 h 138429"/>
                <a:gd name="connsiteX971" fmla="*/ 1271271 w 4940931"/>
                <a:gd name="connsiteY971" fmla="*/ 105410 h 138429"/>
                <a:gd name="connsiteX972" fmla="*/ 1261746 w 4940931"/>
                <a:gd name="connsiteY972" fmla="*/ 109220 h 138429"/>
                <a:gd name="connsiteX973" fmla="*/ 1250951 w 4940931"/>
                <a:gd name="connsiteY973" fmla="*/ 110490 h 138429"/>
                <a:gd name="connsiteX974" fmla="*/ 1235711 w 4940931"/>
                <a:gd name="connsiteY974" fmla="*/ 107950 h 138429"/>
                <a:gd name="connsiteX975" fmla="*/ 1221106 w 4940931"/>
                <a:gd name="connsiteY975" fmla="*/ 100965 h 138429"/>
                <a:gd name="connsiteX976" fmla="*/ 1228091 w 4940931"/>
                <a:gd name="connsiteY976" fmla="*/ 89535 h 138429"/>
                <a:gd name="connsiteX977" fmla="*/ 1239521 w 4940931"/>
                <a:gd name="connsiteY977" fmla="*/ 95250 h 138429"/>
                <a:gd name="connsiteX978" fmla="*/ 1250951 w 4940931"/>
                <a:gd name="connsiteY978" fmla="*/ 97155 h 138429"/>
                <a:gd name="connsiteX979" fmla="*/ 1261746 w 4940931"/>
                <a:gd name="connsiteY979" fmla="*/ 94615 h 138429"/>
                <a:gd name="connsiteX980" fmla="*/ 1264921 w 4940931"/>
                <a:gd name="connsiteY980" fmla="*/ 88265 h 138429"/>
                <a:gd name="connsiteX981" fmla="*/ 1263650 w 4940931"/>
                <a:gd name="connsiteY981" fmla="*/ 84455 h 138429"/>
                <a:gd name="connsiteX982" fmla="*/ 1259841 w 4940931"/>
                <a:gd name="connsiteY982" fmla="*/ 81280 h 138429"/>
                <a:gd name="connsiteX983" fmla="*/ 1254125 w 4940931"/>
                <a:gd name="connsiteY983" fmla="*/ 78105 h 138429"/>
                <a:gd name="connsiteX984" fmla="*/ 1246506 w 4940931"/>
                <a:gd name="connsiteY984" fmla="*/ 74930 h 138429"/>
                <a:gd name="connsiteX985" fmla="*/ 1235711 w 4940931"/>
                <a:gd name="connsiteY985" fmla="*/ 69850 h 138429"/>
                <a:gd name="connsiteX986" fmla="*/ 1228726 w 4940931"/>
                <a:gd name="connsiteY986" fmla="*/ 64770 h 138429"/>
                <a:gd name="connsiteX987" fmla="*/ 1224916 w 4940931"/>
                <a:gd name="connsiteY987" fmla="*/ 58420 h 138429"/>
                <a:gd name="connsiteX988" fmla="*/ 1223646 w 4940931"/>
                <a:gd name="connsiteY988" fmla="*/ 50165 h 138429"/>
                <a:gd name="connsiteX989" fmla="*/ 1225551 w 4940931"/>
                <a:gd name="connsiteY989" fmla="*/ 40640 h 138429"/>
                <a:gd name="connsiteX990" fmla="*/ 1231266 w 4940931"/>
                <a:gd name="connsiteY990" fmla="*/ 34290 h 138429"/>
                <a:gd name="connsiteX991" fmla="*/ 1239521 w 4940931"/>
                <a:gd name="connsiteY991" fmla="*/ 30480 h 138429"/>
                <a:gd name="connsiteX992" fmla="*/ 1250316 w 4940931"/>
                <a:gd name="connsiteY992" fmla="*/ 29210 h 138429"/>
                <a:gd name="connsiteX993" fmla="*/ 1180466 w 4940931"/>
                <a:gd name="connsiteY993" fmla="*/ 29210 h 138429"/>
                <a:gd name="connsiteX994" fmla="*/ 1195071 w 4940931"/>
                <a:gd name="connsiteY994" fmla="*/ 32385 h 138429"/>
                <a:gd name="connsiteX995" fmla="*/ 1205231 w 4940931"/>
                <a:gd name="connsiteY995" fmla="*/ 40640 h 138429"/>
                <a:gd name="connsiteX996" fmla="*/ 1211581 w 4940931"/>
                <a:gd name="connsiteY996" fmla="*/ 53340 h 138429"/>
                <a:gd name="connsiteX997" fmla="*/ 1213486 w 4940931"/>
                <a:gd name="connsiteY997" fmla="*/ 68580 h 138429"/>
                <a:gd name="connsiteX998" fmla="*/ 1212216 w 4940931"/>
                <a:gd name="connsiteY998" fmla="*/ 68580 h 138429"/>
                <a:gd name="connsiteX999" fmla="*/ 1212216 w 4940931"/>
                <a:gd name="connsiteY999" fmla="*/ 72390 h 138429"/>
                <a:gd name="connsiteX1000" fmla="*/ 1212216 w 4940931"/>
                <a:gd name="connsiteY1000" fmla="*/ 75565 h 138429"/>
                <a:gd name="connsiteX1001" fmla="*/ 1160781 w 4940931"/>
                <a:gd name="connsiteY1001" fmla="*/ 75565 h 138429"/>
                <a:gd name="connsiteX1002" fmla="*/ 1163321 w 4940931"/>
                <a:gd name="connsiteY1002" fmla="*/ 85090 h 138429"/>
                <a:gd name="connsiteX1003" fmla="*/ 1167766 w 4940931"/>
                <a:gd name="connsiteY1003" fmla="*/ 91440 h 138429"/>
                <a:gd name="connsiteX1004" fmla="*/ 1173481 w 4940931"/>
                <a:gd name="connsiteY1004" fmla="*/ 95250 h 138429"/>
                <a:gd name="connsiteX1005" fmla="*/ 1180466 w 4940931"/>
                <a:gd name="connsiteY1005" fmla="*/ 96520 h 138429"/>
                <a:gd name="connsiteX1006" fmla="*/ 1185546 w 4940931"/>
                <a:gd name="connsiteY1006" fmla="*/ 96520 h 138429"/>
                <a:gd name="connsiteX1007" fmla="*/ 1189991 w 4940931"/>
                <a:gd name="connsiteY1007" fmla="*/ 95250 h 138429"/>
                <a:gd name="connsiteX1008" fmla="*/ 1193801 w 4940931"/>
                <a:gd name="connsiteY1008" fmla="*/ 93345 h 138429"/>
                <a:gd name="connsiteX1009" fmla="*/ 1198246 w 4940931"/>
                <a:gd name="connsiteY1009" fmla="*/ 90805 h 138429"/>
                <a:gd name="connsiteX1010" fmla="*/ 1207136 w 4940931"/>
                <a:gd name="connsiteY1010" fmla="*/ 100330 h 138429"/>
                <a:gd name="connsiteX1011" fmla="*/ 1201421 w 4940931"/>
                <a:gd name="connsiteY1011" fmla="*/ 104775 h 138429"/>
                <a:gd name="connsiteX1012" fmla="*/ 1195706 w 4940931"/>
                <a:gd name="connsiteY1012" fmla="*/ 107950 h 138429"/>
                <a:gd name="connsiteX1013" fmla="*/ 1188721 w 4940931"/>
                <a:gd name="connsiteY1013" fmla="*/ 109855 h 138429"/>
                <a:gd name="connsiteX1014" fmla="*/ 1179831 w 4940931"/>
                <a:gd name="connsiteY1014" fmla="*/ 110490 h 138429"/>
                <a:gd name="connsiteX1015" fmla="*/ 1170306 w 4940931"/>
                <a:gd name="connsiteY1015" fmla="*/ 109220 h 138429"/>
                <a:gd name="connsiteX1016" fmla="*/ 1162686 w 4940931"/>
                <a:gd name="connsiteY1016" fmla="*/ 105410 h 138429"/>
                <a:gd name="connsiteX1017" fmla="*/ 1156336 w 4940931"/>
                <a:gd name="connsiteY1017" fmla="*/ 100330 h 138429"/>
                <a:gd name="connsiteX1018" fmla="*/ 1151256 w 4940931"/>
                <a:gd name="connsiteY1018" fmla="*/ 92710 h 138429"/>
                <a:gd name="connsiteX1019" fmla="*/ 1147446 w 4940931"/>
                <a:gd name="connsiteY1019" fmla="*/ 82550 h 138429"/>
                <a:gd name="connsiteX1020" fmla="*/ 1146176 w 4940931"/>
                <a:gd name="connsiteY1020" fmla="*/ 69850 h 138429"/>
                <a:gd name="connsiteX1021" fmla="*/ 1148716 w 4940931"/>
                <a:gd name="connsiteY1021" fmla="*/ 52070 h 138429"/>
                <a:gd name="connsiteX1022" fmla="*/ 1155701 w 4940931"/>
                <a:gd name="connsiteY1022" fmla="*/ 39370 h 138429"/>
                <a:gd name="connsiteX1023" fmla="*/ 1166496 w 4940931"/>
                <a:gd name="connsiteY1023" fmla="*/ 31750 h 138429"/>
                <a:gd name="connsiteX1024" fmla="*/ 1180466 w 4940931"/>
                <a:gd name="connsiteY1024" fmla="*/ 29210 h 138429"/>
                <a:gd name="connsiteX1025" fmla="*/ 901065 w 4940931"/>
                <a:gd name="connsiteY1025" fmla="*/ 29210 h 138429"/>
                <a:gd name="connsiteX1026" fmla="*/ 915670 w 4940931"/>
                <a:gd name="connsiteY1026" fmla="*/ 32385 h 138429"/>
                <a:gd name="connsiteX1027" fmla="*/ 925830 w 4940931"/>
                <a:gd name="connsiteY1027" fmla="*/ 40640 h 138429"/>
                <a:gd name="connsiteX1028" fmla="*/ 932180 w 4940931"/>
                <a:gd name="connsiteY1028" fmla="*/ 53340 h 138429"/>
                <a:gd name="connsiteX1029" fmla="*/ 934085 w 4940931"/>
                <a:gd name="connsiteY1029" fmla="*/ 68580 h 138429"/>
                <a:gd name="connsiteX1030" fmla="*/ 932815 w 4940931"/>
                <a:gd name="connsiteY1030" fmla="*/ 68580 h 138429"/>
                <a:gd name="connsiteX1031" fmla="*/ 932815 w 4940931"/>
                <a:gd name="connsiteY1031" fmla="*/ 72390 h 138429"/>
                <a:gd name="connsiteX1032" fmla="*/ 932815 w 4940931"/>
                <a:gd name="connsiteY1032" fmla="*/ 75565 h 138429"/>
                <a:gd name="connsiteX1033" fmla="*/ 881380 w 4940931"/>
                <a:gd name="connsiteY1033" fmla="*/ 75565 h 138429"/>
                <a:gd name="connsiteX1034" fmla="*/ 883920 w 4940931"/>
                <a:gd name="connsiteY1034" fmla="*/ 85090 h 138429"/>
                <a:gd name="connsiteX1035" fmla="*/ 888365 w 4940931"/>
                <a:gd name="connsiteY1035" fmla="*/ 91440 h 138429"/>
                <a:gd name="connsiteX1036" fmla="*/ 894080 w 4940931"/>
                <a:gd name="connsiteY1036" fmla="*/ 95250 h 138429"/>
                <a:gd name="connsiteX1037" fmla="*/ 901065 w 4940931"/>
                <a:gd name="connsiteY1037" fmla="*/ 96520 h 138429"/>
                <a:gd name="connsiteX1038" fmla="*/ 906145 w 4940931"/>
                <a:gd name="connsiteY1038" fmla="*/ 96520 h 138429"/>
                <a:gd name="connsiteX1039" fmla="*/ 910590 w 4940931"/>
                <a:gd name="connsiteY1039" fmla="*/ 95250 h 138429"/>
                <a:gd name="connsiteX1040" fmla="*/ 914400 w 4940931"/>
                <a:gd name="connsiteY1040" fmla="*/ 93345 h 138429"/>
                <a:gd name="connsiteX1041" fmla="*/ 918845 w 4940931"/>
                <a:gd name="connsiteY1041" fmla="*/ 90805 h 138429"/>
                <a:gd name="connsiteX1042" fmla="*/ 927735 w 4940931"/>
                <a:gd name="connsiteY1042" fmla="*/ 100330 h 138429"/>
                <a:gd name="connsiteX1043" fmla="*/ 922020 w 4940931"/>
                <a:gd name="connsiteY1043" fmla="*/ 104775 h 138429"/>
                <a:gd name="connsiteX1044" fmla="*/ 916305 w 4940931"/>
                <a:gd name="connsiteY1044" fmla="*/ 107950 h 138429"/>
                <a:gd name="connsiteX1045" fmla="*/ 909320 w 4940931"/>
                <a:gd name="connsiteY1045" fmla="*/ 109855 h 138429"/>
                <a:gd name="connsiteX1046" fmla="*/ 900430 w 4940931"/>
                <a:gd name="connsiteY1046" fmla="*/ 110490 h 138429"/>
                <a:gd name="connsiteX1047" fmla="*/ 890905 w 4940931"/>
                <a:gd name="connsiteY1047" fmla="*/ 109220 h 138429"/>
                <a:gd name="connsiteX1048" fmla="*/ 883285 w 4940931"/>
                <a:gd name="connsiteY1048" fmla="*/ 105410 h 138429"/>
                <a:gd name="connsiteX1049" fmla="*/ 876935 w 4940931"/>
                <a:gd name="connsiteY1049" fmla="*/ 100330 h 138429"/>
                <a:gd name="connsiteX1050" fmla="*/ 871855 w 4940931"/>
                <a:gd name="connsiteY1050" fmla="*/ 92710 h 138429"/>
                <a:gd name="connsiteX1051" fmla="*/ 868045 w 4940931"/>
                <a:gd name="connsiteY1051" fmla="*/ 82550 h 138429"/>
                <a:gd name="connsiteX1052" fmla="*/ 866775 w 4940931"/>
                <a:gd name="connsiteY1052" fmla="*/ 69850 h 138429"/>
                <a:gd name="connsiteX1053" fmla="*/ 869315 w 4940931"/>
                <a:gd name="connsiteY1053" fmla="*/ 52070 h 138429"/>
                <a:gd name="connsiteX1054" fmla="*/ 876300 w 4940931"/>
                <a:gd name="connsiteY1054" fmla="*/ 39370 h 138429"/>
                <a:gd name="connsiteX1055" fmla="*/ 887095 w 4940931"/>
                <a:gd name="connsiteY1055" fmla="*/ 31750 h 138429"/>
                <a:gd name="connsiteX1056" fmla="*/ 901065 w 4940931"/>
                <a:gd name="connsiteY1056" fmla="*/ 29210 h 138429"/>
                <a:gd name="connsiteX1057" fmla="*/ 668656 w 4940931"/>
                <a:gd name="connsiteY1057" fmla="*/ 29210 h 138429"/>
                <a:gd name="connsiteX1058" fmla="*/ 676275 w 4940931"/>
                <a:gd name="connsiteY1058" fmla="*/ 29845 h 138429"/>
                <a:gd name="connsiteX1059" fmla="*/ 681991 w 4940931"/>
                <a:gd name="connsiteY1059" fmla="*/ 32385 h 138429"/>
                <a:gd name="connsiteX1060" fmla="*/ 678181 w 4940931"/>
                <a:gd name="connsiteY1060" fmla="*/ 46990 h 138429"/>
                <a:gd name="connsiteX1061" fmla="*/ 676910 w 4940931"/>
                <a:gd name="connsiteY1061" fmla="*/ 46990 h 138429"/>
                <a:gd name="connsiteX1062" fmla="*/ 671830 w 4940931"/>
                <a:gd name="connsiteY1062" fmla="*/ 45085 h 138429"/>
                <a:gd name="connsiteX1063" fmla="*/ 665480 w 4940931"/>
                <a:gd name="connsiteY1063" fmla="*/ 44450 h 138429"/>
                <a:gd name="connsiteX1064" fmla="*/ 654050 w 4940931"/>
                <a:gd name="connsiteY1064" fmla="*/ 49530 h 138429"/>
                <a:gd name="connsiteX1065" fmla="*/ 650240 w 4940931"/>
                <a:gd name="connsiteY1065" fmla="*/ 64770 h 138429"/>
                <a:gd name="connsiteX1066" fmla="*/ 650240 w 4940931"/>
                <a:gd name="connsiteY1066" fmla="*/ 109220 h 138429"/>
                <a:gd name="connsiteX1067" fmla="*/ 635000 w 4940931"/>
                <a:gd name="connsiteY1067" fmla="*/ 109220 h 138429"/>
                <a:gd name="connsiteX1068" fmla="*/ 635000 w 4940931"/>
                <a:gd name="connsiteY1068" fmla="*/ 31115 h 138429"/>
                <a:gd name="connsiteX1069" fmla="*/ 650240 w 4940931"/>
                <a:gd name="connsiteY1069" fmla="*/ 31115 h 138429"/>
                <a:gd name="connsiteX1070" fmla="*/ 650240 w 4940931"/>
                <a:gd name="connsiteY1070" fmla="*/ 38735 h 138429"/>
                <a:gd name="connsiteX1071" fmla="*/ 653416 w 4940931"/>
                <a:gd name="connsiteY1071" fmla="*/ 34925 h 138429"/>
                <a:gd name="connsiteX1072" fmla="*/ 657861 w 4940931"/>
                <a:gd name="connsiteY1072" fmla="*/ 31750 h 138429"/>
                <a:gd name="connsiteX1073" fmla="*/ 662940 w 4940931"/>
                <a:gd name="connsiteY1073" fmla="*/ 29845 h 138429"/>
                <a:gd name="connsiteX1074" fmla="*/ 668656 w 4940931"/>
                <a:gd name="connsiteY1074" fmla="*/ 29210 h 138429"/>
                <a:gd name="connsiteX1075" fmla="*/ 586739 w 4940931"/>
                <a:gd name="connsiteY1075" fmla="*/ 29210 h 138429"/>
                <a:gd name="connsiteX1076" fmla="*/ 601344 w 4940931"/>
                <a:gd name="connsiteY1076" fmla="*/ 32385 h 138429"/>
                <a:gd name="connsiteX1077" fmla="*/ 611504 w 4940931"/>
                <a:gd name="connsiteY1077" fmla="*/ 40640 h 138429"/>
                <a:gd name="connsiteX1078" fmla="*/ 617854 w 4940931"/>
                <a:gd name="connsiteY1078" fmla="*/ 53340 h 138429"/>
                <a:gd name="connsiteX1079" fmla="*/ 619759 w 4940931"/>
                <a:gd name="connsiteY1079" fmla="*/ 68580 h 138429"/>
                <a:gd name="connsiteX1080" fmla="*/ 618489 w 4940931"/>
                <a:gd name="connsiteY1080" fmla="*/ 68580 h 138429"/>
                <a:gd name="connsiteX1081" fmla="*/ 618489 w 4940931"/>
                <a:gd name="connsiteY1081" fmla="*/ 72390 h 138429"/>
                <a:gd name="connsiteX1082" fmla="*/ 618489 w 4940931"/>
                <a:gd name="connsiteY1082" fmla="*/ 75565 h 138429"/>
                <a:gd name="connsiteX1083" fmla="*/ 567054 w 4940931"/>
                <a:gd name="connsiteY1083" fmla="*/ 75565 h 138429"/>
                <a:gd name="connsiteX1084" fmla="*/ 569594 w 4940931"/>
                <a:gd name="connsiteY1084" fmla="*/ 85090 h 138429"/>
                <a:gd name="connsiteX1085" fmla="*/ 574039 w 4940931"/>
                <a:gd name="connsiteY1085" fmla="*/ 91440 h 138429"/>
                <a:gd name="connsiteX1086" fmla="*/ 579754 w 4940931"/>
                <a:gd name="connsiteY1086" fmla="*/ 95250 h 138429"/>
                <a:gd name="connsiteX1087" fmla="*/ 586739 w 4940931"/>
                <a:gd name="connsiteY1087" fmla="*/ 96520 h 138429"/>
                <a:gd name="connsiteX1088" fmla="*/ 591819 w 4940931"/>
                <a:gd name="connsiteY1088" fmla="*/ 96520 h 138429"/>
                <a:gd name="connsiteX1089" fmla="*/ 596264 w 4940931"/>
                <a:gd name="connsiteY1089" fmla="*/ 95250 h 138429"/>
                <a:gd name="connsiteX1090" fmla="*/ 600074 w 4940931"/>
                <a:gd name="connsiteY1090" fmla="*/ 93345 h 138429"/>
                <a:gd name="connsiteX1091" fmla="*/ 604519 w 4940931"/>
                <a:gd name="connsiteY1091" fmla="*/ 90805 h 138429"/>
                <a:gd name="connsiteX1092" fmla="*/ 613409 w 4940931"/>
                <a:gd name="connsiteY1092" fmla="*/ 100330 h 138429"/>
                <a:gd name="connsiteX1093" fmla="*/ 607694 w 4940931"/>
                <a:gd name="connsiteY1093" fmla="*/ 104775 h 138429"/>
                <a:gd name="connsiteX1094" fmla="*/ 601979 w 4940931"/>
                <a:gd name="connsiteY1094" fmla="*/ 107950 h 138429"/>
                <a:gd name="connsiteX1095" fmla="*/ 594994 w 4940931"/>
                <a:gd name="connsiteY1095" fmla="*/ 109855 h 138429"/>
                <a:gd name="connsiteX1096" fmla="*/ 586104 w 4940931"/>
                <a:gd name="connsiteY1096" fmla="*/ 110490 h 138429"/>
                <a:gd name="connsiteX1097" fmla="*/ 576579 w 4940931"/>
                <a:gd name="connsiteY1097" fmla="*/ 109220 h 138429"/>
                <a:gd name="connsiteX1098" fmla="*/ 568959 w 4940931"/>
                <a:gd name="connsiteY1098" fmla="*/ 105410 h 138429"/>
                <a:gd name="connsiteX1099" fmla="*/ 562609 w 4940931"/>
                <a:gd name="connsiteY1099" fmla="*/ 100330 h 138429"/>
                <a:gd name="connsiteX1100" fmla="*/ 557529 w 4940931"/>
                <a:gd name="connsiteY1100" fmla="*/ 92710 h 138429"/>
                <a:gd name="connsiteX1101" fmla="*/ 553719 w 4940931"/>
                <a:gd name="connsiteY1101" fmla="*/ 82550 h 138429"/>
                <a:gd name="connsiteX1102" fmla="*/ 552449 w 4940931"/>
                <a:gd name="connsiteY1102" fmla="*/ 69850 h 138429"/>
                <a:gd name="connsiteX1103" fmla="*/ 554989 w 4940931"/>
                <a:gd name="connsiteY1103" fmla="*/ 52070 h 138429"/>
                <a:gd name="connsiteX1104" fmla="*/ 561974 w 4940931"/>
                <a:gd name="connsiteY1104" fmla="*/ 39370 h 138429"/>
                <a:gd name="connsiteX1105" fmla="*/ 572769 w 4940931"/>
                <a:gd name="connsiteY1105" fmla="*/ 31750 h 138429"/>
                <a:gd name="connsiteX1106" fmla="*/ 586739 w 4940931"/>
                <a:gd name="connsiteY1106" fmla="*/ 29210 h 138429"/>
                <a:gd name="connsiteX1107" fmla="*/ 400050 w 4940931"/>
                <a:gd name="connsiteY1107" fmla="*/ 29210 h 138429"/>
                <a:gd name="connsiteX1108" fmla="*/ 414655 w 4940931"/>
                <a:gd name="connsiteY1108" fmla="*/ 32385 h 138429"/>
                <a:gd name="connsiteX1109" fmla="*/ 424815 w 4940931"/>
                <a:gd name="connsiteY1109" fmla="*/ 40640 h 138429"/>
                <a:gd name="connsiteX1110" fmla="*/ 431165 w 4940931"/>
                <a:gd name="connsiteY1110" fmla="*/ 53340 h 138429"/>
                <a:gd name="connsiteX1111" fmla="*/ 433070 w 4940931"/>
                <a:gd name="connsiteY1111" fmla="*/ 68580 h 138429"/>
                <a:gd name="connsiteX1112" fmla="*/ 431800 w 4940931"/>
                <a:gd name="connsiteY1112" fmla="*/ 68580 h 138429"/>
                <a:gd name="connsiteX1113" fmla="*/ 431800 w 4940931"/>
                <a:gd name="connsiteY1113" fmla="*/ 72390 h 138429"/>
                <a:gd name="connsiteX1114" fmla="*/ 431800 w 4940931"/>
                <a:gd name="connsiteY1114" fmla="*/ 75565 h 138429"/>
                <a:gd name="connsiteX1115" fmla="*/ 380365 w 4940931"/>
                <a:gd name="connsiteY1115" fmla="*/ 75565 h 138429"/>
                <a:gd name="connsiteX1116" fmla="*/ 382905 w 4940931"/>
                <a:gd name="connsiteY1116" fmla="*/ 85090 h 138429"/>
                <a:gd name="connsiteX1117" fmla="*/ 387350 w 4940931"/>
                <a:gd name="connsiteY1117" fmla="*/ 91440 h 138429"/>
                <a:gd name="connsiteX1118" fmla="*/ 393065 w 4940931"/>
                <a:gd name="connsiteY1118" fmla="*/ 95250 h 138429"/>
                <a:gd name="connsiteX1119" fmla="*/ 400050 w 4940931"/>
                <a:gd name="connsiteY1119" fmla="*/ 96520 h 138429"/>
                <a:gd name="connsiteX1120" fmla="*/ 405130 w 4940931"/>
                <a:gd name="connsiteY1120" fmla="*/ 96520 h 138429"/>
                <a:gd name="connsiteX1121" fmla="*/ 409575 w 4940931"/>
                <a:gd name="connsiteY1121" fmla="*/ 95250 h 138429"/>
                <a:gd name="connsiteX1122" fmla="*/ 413385 w 4940931"/>
                <a:gd name="connsiteY1122" fmla="*/ 93345 h 138429"/>
                <a:gd name="connsiteX1123" fmla="*/ 417830 w 4940931"/>
                <a:gd name="connsiteY1123" fmla="*/ 90805 h 138429"/>
                <a:gd name="connsiteX1124" fmla="*/ 426720 w 4940931"/>
                <a:gd name="connsiteY1124" fmla="*/ 100330 h 138429"/>
                <a:gd name="connsiteX1125" fmla="*/ 421005 w 4940931"/>
                <a:gd name="connsiteY1125" fmla="*/ 104775 h 138429"/>
                <a:gd name="connsiteX1126" fmla="*/ 415290 w 4940931"/>
                <a:gd name="connsiteY1126" fmla="*/ 107950 h 138429"/>
                <a:gd name="connsiteX1127" fmla="*/ 408305 w 4940931"/>
                <a:gd name="connsiteY1127" fmla="*/ 109855 h 138429"/>
                <a:gd name="connsiteX1128" fmla="*/ 399415 w 4940931"/>
                <a:gd name="connsiteY1128" fmla="*/ 110490 h 138429"/>
                <a:gd name="connsiteX1129" fmla="*/ 389890 w 4940931"/>
                <a:gd name="connsiteY1129" fmla="*/ 109220 h 138429"/>
                <a:gd name="connsiteX1130" fmla="*/ 382270 w 4940931"/>
                <a:gd name="connsiteY1130" fmla="*/ 105410 h 138429"/>
                <a:gd name="connsiteX1131" fmla="*/ 375920 w 4940931"/>
                <a:gd name="connsiteY1131" fmla="*/ 100330 h 138429"/>
                <a:gd name="connsiteX1132" fmla="*/ 370840 w 4940931"/>
                <a:gd name="connsiteY1132" fmla="*/ 92710 h 138429"/>
                <a:gd name="connsiteX1133" fmla="*/ 367030 w 4940931"/>
                <a:gd name="connsiteY1133" fmla="*/ 82550 h 138429"/>
                <a:gd name="connsiteX1134" fmla="*/ 365760 w 4940931"/>
                <a:gd name="connsiteY1134" fmla="*/ 69850 h 138429"/>
                <a:gd name="connsiteX1135" fmla="*/ 368300 w 4940931"/>
                <a:gd name="connsiteY1135" fmla="*/ 52070 h 138429"/>
                <a:gd name="connsiteX1136" fmla="*/ 375285 w 4940931"/>
                <a:gd name="connsiteY1136" fmla="*/ 39370 h 138429"/>
                <a:gd name="connsiteX1137" fmla="*/ 386080 w 4940931"/>
                <a:gd name="connsiteY1137" fmla="*/ 31750 h 138429"/>
                <a:gd name="connsiteX1138" fmla="*/ 400050 w 4940931"/>
                <a:gd name="connsiteY1138" fmla="*/ 29210 h 138429"/>
                <a:gd name="connsiteX1139" fmla="*/ 201930 w 4940931"/>
                <a:gd name="connsiteY1139" fmla="*/ 29210 h 138429"/>
                <a:gd name="connsiteX1140" fmla="*/ 216535 w 4940931"/>
                <a:gd name="connsiteY1140" fmla="*/ 32385 h 138429"/>
                <a:gd name="connsiteX1141" fmla="*/ 226695 w 4940931"/>
                <a:gd name="connsiteY1141" fmla="*/ 40640 h 138429"/>
                <a:gd name="connsiteX1142" fmla="*/ 233045 w 4940931"/>
                <a:gd name="connsiteY1142" fmla="*/ 53340 h 138429"/>
                <a:gd name="connsiteX1143" fmla="*/ 234950 w 4940931"/>
                <a:gd name="connsiteY1143" fmla="*/ 68580 h 138429"/>
                <a:gd name="connsiteX1144" fmla="*/ 233680 w 4940931"/>
                <a:gd name="connsiteY1144" fmla="*/ 68580 h 138429"/>
                <a:gd name="connsiteX1145" fmla="*/ 233680 w 4940931"/>
                <a:gd name="connsiteY1145" fmla="*/ 72390 h 138429"/>
                <a:gd name="connsiteX1146" fmla="*/ 233680 w 4940931"/>
                <a:gd name="connsiteY1146" fmla="*/ 75565 h 138429"/>
                <a:gd name="connsiteX1147" fmla="*/ 182245 w 4940931"/>
                <a:gd name="connsiteY1147" fmla="*/ 75565 h 138429"/>
                <a:gd name="connsiteX1148" fmla="*/ 184785 w 4940931"/>
                <a:gd name="connsiteY1148" fmla="*/ 85090 h 138429"/>
                <a:gd name="connsiteX1149" fmla="*/ 189230 w 4940931"/>
                <a:gd name="connsiteY1149" fmla="*/ 91440 h 138429"/>
                <a:gd name="connsiteX1150" fmla="*/ 194945 w 4940931"/>
                <a:gd name="connsiteY1150" fmla="*/ 95250 h 138429"/>
                <a:gd name="connsiteX1151" fmla="*/ 201930 w 4940931"/>
                <a:gd name="connsiteY1151" fmla="*/ 96520 h 138429"/>
                <a:gd name="connsiteX1152" fmla="*/ 207010 w 4940931"/>
                <a:gd name="connsiteY1152" fmla="*/ 96520 h 138429"/>
                <a:gd name="connsiteX1153" fmla="*/ 211455 w 4940931"/>
                <a:gd name="connsiteY1153" fmla="*/ 95250 h 138429"/>
                <a:gd name="connsiteX1154" fmla="*/ 215265 w 4940931"/>
                <a:gd name="connsiteY1154" fmla="*/ 93345 h 138429"/>
                <a:gd name="connsiteX1155" fmla="*/ 219710 w 4940931"/>
                <a:gd name="connsiteY1155" fmla="*/ 90805 h 138429"/>
                <a:gd name="connsiteX1156" fmla="*/ 228600 w 4940931"/>
                <a:gd name="connsiteY1156" fmla="*/ 100330 h 138429"/>
                <a:gd name="connsiteX1157" fmla="*/ 222885 w 4940931"/>
                <a:gd name="connsiteY1157" fmla="*/ 104775 h 138429"/>
                <a:gd name="connsiteX1158" fmla="*/ 217170 w 4940931"/>
                <a:gd name="connsiteY1158" fmla="*/ 107950 h 138429"/>
                <a:gd name="connsiteX1159" fmla="*/ 210185 w 4940931"/>
                <a:gd name="connsiteY1159" fmla="*/ 109855 h 138429"/>
                <a:gd name="connsiteX1160" fmla="*/ 201295 w 4940931"/>
                <a:gd name="connsiteY1160" fmla="*/ 110490 h 138429"/>
                <a:gd name="connsiteX1161" fmla="*/ 191770 w 4940931"/>
                <a:gd name="connsiteY1161" fmla="*/ 109220 h 138429"/>
                <a:gd name="connsiteX1162" fmla="*/ 184150 w 4940931"/>
                <a:gd name="connsiteY1162" fmla="*/ 105410 h 138429"/>
                <a:gd name="connsiteX1163" fmla="*/ 177800 w 4940931"/>
                <a:gd name="connsiteY1163" fmla="*/ 100330 h 138429"/>
                <a:gd name="connsiteX1164" fmla="*/ 172720 w 4940931"/>
                <a:gd name="connsiteY1164" fmla="*/ 92710 h 138429"/>
                <a:gd name="connsiteX1165" fmla="*/ 168910 w 4940931"/>
                <a:gd name="connsiteY1165" fmla="*/ 82550 h 138429"/>
                <a:gd name="connsiteX1166" fmla="*/ 167640 w 4940931"/>
                <a:gd name="connsiteY1166" fmla="*/ 69850 h 138429"/>
                <a:gd name="connsiteX1167" fmla="*/ 170180 w 4940931"/>
                <a:gd name="connsiteY1167" fmla="*/ 52070 h 138429"/>
                <a:gd name="connsiteX1168" fmla="*/ 177165 w 4940931"/>
                <a:gd name="connsiteY1168" fmla="*/ 39370 h 138429"/>
                <a:gd name="connsiteX1169" fmla="*/ 187960 w 4940931"/>
                <a:gd name="connsiteY1169" fmla="*/ 31750 h 138429"/>
                <a:gd name="connsiteX1170" fmla="*/ 201930 w 4940931"/>
                <a:gd name="connsiteY1170" fmla="*/ 29210 h 138429"/>
                <a:gd name="connsiteX1171" fmla="*/ 4664706 w 4940931"/>
                <a:gd name="connsiteY1171" fmla="*/ 28574 h 138429"/>
                <a:gd name="connsiteX1172" fmla="*/ 4678676 w 4940931"/>
                <a:gd name="connsiteY1172" fmla="*/ 31749 h 138429"/>
                <a:gd name="connsiteX1173" fmla="*/ 4689471 w 4940931"/>
                <a:gd name="connsiteY1173" fmla="*/ 40004 h 138429"/>
                <a:gd name="connsiteX1174" fmla="*/ 4696456 w 4940931"/>
                <a:gd name="connsiteY1174" fmla="*/ 52704 h 138429"/>
                <a:gd name="connsiteX1175" fmla="*/ 4698996 w 4940931"/>
                <a:gd name="connsiteY1175" fmla="*/ 69214 h 138429"/>
                <a:gd name="connsiteX1176" fmla="*/ 4699631 w 4940931"/>
                <a:gd name="connsiteY1176" fmla="*/ 69214 h 138429"/>
                <a:gd name="connsiteX1177" fmla="*/ 4697091 w 4940931"/>
                <a:gd name="connsiteY1177" fmla="*/ 86359 h 138429"/>
                <a:gd name="connsiteX1178" fmla="*/ 4689471 w 4940931"/>
                <a:gd name="connsiteY1178" fmla="*/ 99059 h 138429"/>
                <a:gd name="connsiteX1179" fmla="*/ 4678041 w 4940931"/>
                <a:gd name="connsiteY1179" fmla="*/ 107314 h 138429"/>
                <a:gd name="connsiteX1180" fmla="*/ 4664071 w 4940931"/>
                <a:gd name="connsiteY1180" fmla="*/ 109854 h 138429"/>
                <a:gd name="connsiteX1181" fmla="*/ 4650101 w 4940931"/>
                <a:gd name="connsiteY1181" fmla="*/ 106679 h 138429"/>
                <a:gd name="connsiteX1182" fmla="*/ 4639306 w 4940931"/>
                <a:gd name="connsiteY1182" fmla="*/ 98424 h 138429"/>
                <a:gd name="connsiteX1183" fmla="*/ 4632321 w 4940931"/>
                <a:gd name="connsiteY1183" fmla="*/ 85724 h 138429"/>
                <a:gd name="connsiteX1184" fmla="*/ 4629781 w 4940931"/>
                <a:gd name="connsiteY1184" fmla="*/ 69214 h 138429"/>
                <a:gd name="connsiteX1185" fmla="*/ 4632321 w 4940931"/>
                <a:gd name="connsiteY1185" fmla="*/ 52069 h 138429"/>
                <a:gd name="connsiteX1186" fmla="*/ 4639941 w 4940931"/>
                <a:gd name="connsiteY1186" fmla="*/ 39369 h 138429"/>
                <a:gd name="connsiteX1187" fmla="*/ 4650736 w 4940931"/>
                <a:gd name="connsiteY1187" fmla="*/ 31114 h 138429"/>
                <a:gd name="connsiteX1188" fmla="*/ 4664706 w 4940931"/>
                <a:gd name="connsiteY1188" fmla="*/ 28574 h 138429"/>
                <a:gd name="connsiteX1189" fmla="*/ 4264655 w 4940931"/>
                <a:gd name="connsiteY1189" fmla="*/ 28574 h 138429"/>
                <a:gd name="connsiteX1190" fmla="*/ 4278625 w 4940931"/>
                <a:gd name="connsiteY1190" fmla="*/ 31749 h 138429"/>
                <a:gd name="connsiteX1191" fmla="*/ 4289420 w 4940931"/>
                <a:gd name="connsiteY1191" fmla="*/ 40004 h 138429"/>
                <a:gd name="connsiteX1192" fmla="*/ 4296405 w 4940931"/>
                <a:gd name="connsiteY1192" fmla="*/ 52704 h 138429"/>
                <a:gd name="connsiteX1193" fmla="*/ 4298945 w 4940931"/>
                <a:gd name="connsiteY1193" fmla="*/ 69214 h 138429"/>
                <a:gd name="connsiteX1194" fmla="*/ 4299580 w 4940931"/>
                <a:gd name="connsiteY1194" fmla="*/ 69214 h 138429"/>
                <a:gd name="connsiteX1195" fmla="*/ 4297040 w 4940931"/>
                <a:gd name="connsiteY1195" fmla="*/ 86359 h 138429"/>
                <a:gd name="connsiteX1196" fmla="*/ 4289420 w 4940931"/>
                <a:gd name="connsiteY1196" fmla="*/ 99059 h 138429"/>
                <a:gd name="connsiteX1197" fmla="*/ 4277990 w 4940931"/>
                <a:gd name="connsiteY1197" fmla="*/ 107314 h 138429"/>
                <a:gd name="connsiteX1198" fmla="*/ 4264020 w 4940931"/>
                <a:gd name="connsiteY1198" fmla="*/ 109854 h 138429"/>
                <a:gd name="connsiteX1199" fmla="*/ 4250050 w 4940931"/>
                <a:gd name="connsiteY1199" fmla="*/ 106679 h 138429"/>
                <a:gd name="connsiteX1200" fmla="*/ 4239255 w 4940931"/>
                <a:gd name="connsiteY1200" fmla="*/ 98424 h 138429"/>
                <a:gd name="connsiteX1201" fmla="*/ 4232270 w 4940931"/>
                <a:gd name="connsiteY1201" fmla="*/ 85724 h 138429"/>
                <a:gd name="connsiteX1202" fmla="*/ 4229730 w 4940931"/>
                <a:gd name="connsiteY1202" fmla="*/ 69214 h 138429"/>
                <a:gd name="connsiteX1203" fmla="*/ 4232270 w 4940931"/>
                <a:gd name="connsiteY1203" fmla="*/ 52069 h 138429"/>
                <a:gd name="connsiteX1204" fmla="*/ 4239890 w 4940931"/>
                <a:gd name="connsiteY1204" fmla="*/ 39369 h 138429"/>
                <a:gd name="connsiteX1205" fmla="*/ 4250685 w 4940931"/>
                <a:gd name="connsiteY1205" fmla="*/ 31114 h 138429"/>
                <a:gd name="connsiteX1206" fmla="*/ 4264655 w 4940931"/>
                <a:gd name="connsiteY1206" fmla="*/ 28574 h 138429"/>
                <a:gd name="connsiteX1207" fmla="*/ 1420495 w 4940931"/>
                <a:gd name="connsiteY1207" fmla="*/ 28574 h 138429"/>
                <a:gd name="connsiteX1208" fmla="*/ 1434465 w 4940931"/>
                <a:gd name="connsiteY1208" fmla="*/ 31749 h 138429"/>
                <a:gd name="connsiteX1209" fmla="*/ 1445260 w 4940931"/>
                <a:gd name="connsiteY1209" fmla="*/ 40004 h 138429"/>
                <a:gd name="connsiteX1210" fmla="*/ 1452245 w 4940931"/>
                <a:gd name="connsiteY1210" fmla="*/ 52704 h 138429"/>
                <a:gd name="connsiteX1211" fmla="*/ 1454785 w 4940931"/>
                <a:gd name="connsiteY1211" fmla="*/ 69214 h 138429"/>
                <a:gd name="connsiteX1212" fmla="*/ 1455420 w 4940931"/>
                <a:gd name="connsiteY1212" fmla="*/ 69214 h 138429"/>
                <a:gd name="connsiteX1213" fmla="*/ 1452880 w 4940931"/>
                <a:gd name="connsiteY1213" fmla="*/ 86359 h 138429"/>
                <a:gd name="connsiteX1214" fmla="*/ 1445260 w 4940931"/>
                <a:gd name="connsiteY1214" fmla="*/ 99059 h 138429"/>
                <a:gd name="connsiteX1215" fmla="*/ 1433830 w 4940931"/>
                <a:gd name="connsiteY1215" fmla="*/ 107314 h 138429"/>
                <a:gd name="connsiteX1216" fmla="*/ 1419860 w 4940931"/>
                <a:gd name="connsiteY1216" fmla="*/ 109854 h 138429"/>
                <a:gd name="connsiteX1217" fmla="*/ 1405890 w 4940931"/>
                <a:gd name="connsiteY1217" fmla="*/ 106679 h 138429"/>
                <a:gd name="connsiteX1218" fmla="*/ 1395095 w 4940931"/>
                <a:gd name="connsiteY1218" fmla="*/ 98424 h 138429"/>
                <a:gd name="connsiteX1219" fmla="*/ 1388110 w 4940931"/>
                <a:gd name="connsiteY1219" fmla="*/ 85724 h 138429"/>
                <a:gd name="connsiteX1220" fmla="*/ 1385570 w 4940931"/>
                <a:gd name="connsiteY1220" fmla="*/ 69214 h 138429"/>
                <a:gd name="connsiteX1221" fmla="*/ 1388110 w 4940931"/>
                <a:gd name="connsiteY1221" fmla="*/ 52069 h 138429"/>
                <a:gd name="connsiteX1222" fmla="*/ 1395730 w 4940931"/>
                <a:gd name="connsiteY1222" fmla="*/ 39369 h 138429"/>
                <a:gd name="connsiteX1223" fmla="*/ 1406525 w 4940931"/>
                <a:gd name="connsiteY1223" fmla="*/ 31114 h 138429"/>
                <a:gd name="connsiteX1224" fmla="*/ 1420495 w 4940931"/>
                <a:gd name="connsiteY1224" fmla="*/ 28574 h 138429"/>
                <a:gd name="connsiteX1225" fmla="*/ 3143245 w 4940931"/>
                <a:gd name="connsiteY1225" fmla="*/ 5079 h 138429"/>
                <a:gd name="connsiteX1226" fmla="*/ 3219445 w 4940931"/>
                <a:gd name="connsiteY1226" fmla="*/ 5079 h 138429"/>
                <a:gd name="connsiteX1227" fmla="*/ 3219445 w 4940931"/>
                <a:gd name="connsiteY1227" fmla="*/ 20319 h 138429"/>
                <a:gd name="connsiteX1228" fmla="*/ 3188965 w 4940931"/>
                <a:gd name="connsiteY1228" fmla="*/ 20319 h 138429"/>
                <a:gd name="connsiteX1229" fmla="*/ 3188965 w 4940931"/>
                <a:gd name="connsiteY1229" fmla="*/ 108584 h 138429"/>
                <a:gd name="connsiteX1230" fmla="*/ 3173090 w 4940931"/>
                <a:gd name="connsiteY1230" fmla="*/ 108584 h 138429"/>
                <a:gd name="connsiteX1231" fmla="*/ 3173090 w 4940931"/>
                <a:gd name="connsiteY1231" fmla="*/ 20319 h 138429"/>
                <a:gd name="connsiteX1232" fmla="*/ 3143245 w 4940931"/>
                <a:gd name="connsiteY1232" fmla="*/ 20319 h 138429"/>
                <a:gd name="connsiteX1233" fmla="*/ 1628774 w 4940931"/>
                <a:gd name="connsiteY1233" fmla="*/ 5079 h 138429"/>
                <a:gd name="connsiteX1234" fmla="*/ 1704970 w 4940931"/>
                <a:gd name="connsiteY1234" fmla="*/ 5079 h 138429"/>
                <a:gd name="connsiteX1235" fmla="*/ 1704970 w 4940931"/>
                <a:gd name="connsiteY1235" fmla="*/ 20319 h 138429"/>
                <a:gd name="connsiteX1236" fmla="*/ 1675129 w 4940931"/>
                <a:gd name="connsiteY1236" fmla="*/ 20319 h 138429"/>
                <a:gd name="connsiteX1237" fmla="*/ 1675129 w 4940931"/>
                <a:gd name="connsiteY1237" fmla="*/ 108584 h 138429"/>
                <a:gd name="connsiteX1238" fmla="*/ 1659255 w 4940931"/>
                <a:gd name="connsiteY1238" fmla="*/ 108584 h 138429"/>
                <a:gd name="connsiteX1239" fmla="*/ 1659255 w 4940931"/>
                <a:gd name="connsiteY1239" fmla="*/ 20319 h 138429"/>
                <a:gd name="connsiteX1240" fmla="*/ 1628774 w 4940931"/>
                <a:gd name="connsiteY1240" fmla="*/ 20319 h 138429"/>
                <a:gd name="connsiteX1241" fmla="*/ 0 w 4940931"/>
                <a:gd name="connsiteY1241" fmla="*/ 5079 h 138429"/>
                <a:gd name="connsiteX1242" fmla="*/ 76200 w 4940931"/>
                <a:gd name="connsiteY1242" fmla="*/ 5079 h 138429"/>
                <a:gd name="connsiteX1243" fmla="*/ 76200 w 4940931"/>
                <a:gd name="connsiteY1243" fmla="*/ 20319 h 138429"/>
                <a:gd name="connsiteX1244" fmla="*/ 45720 w 4940931"/>
                <a:gd name="connsiteY1244" fmla="*/ 20319 h 138429"/>
                <a:gd name="connsiteX1245" fmla="*/ 45720 w 4940931"/>
                <a:gd name="connsiteY1245" fmla="*/ 108584 h 138429"/>
                <a:gd name="connsiteX1246" fmla="*/ 29845 w 4940931"/>
                <a:gd name="connsiteY1246" fmla="*/ 108584 h 138429"/>
                <a:gd name="connsiteX1247" fmla="*/ 29845 w 4940931"/>
                <a:gd name="connsiteY1247" fmla="*/ 20319 h 138429"/>
                <a:gd name="connsiteX1248" fmla="*/ 0 w 4940931"/>
                <a:gd name="connsiteY1248" fmla="*/ 20319 h 138429"/>
                <a:gd name="connsiteX1249" fmla="*/ 1362075 w 4940931"/>
                <a:gd name="connsiteY1249" fmla="*/ 1269 h 138429"/>
                <a:gd name="connsiteX1250" fmla="*/ 1365885 w 4940931"/>
                <a:gd name="connsiteY1250" fmla="*/ 1904 h 138429"/>
                <a:gd name="connsiteX1251" fmla="*/ 1369060 w 4940931"/>
                <a:gd name="connsiteY1251" fmla="*/ 3809 h 138429"/>
                <a:gd name="connsiteX1252" fmla="*/ 1370965 w 4940931"/>
                <a:gd name="connsiteY1252" fmla="*/ 6984 h 138429"/>
                <a:gd name="connsiteX1253" fmla="*/ 1371600 w 4940931"/>
                <a:gd name="connsiteY1253" fmla="*/ 10794 h 138429"/>
                <a:gd name="connsiteX1254" fmla="*/ 1370965 w 4940931"/>
                <a:gd name="connsiteY1254" fmla="*/ 14604 h 138429"/>
                <a:gd name="connsiteX1255" fmla="*/ 1369060 w 4940931"/>
                <a:gd name="connsiteY1255" fmla="*/ 17779 h 138429"/>
                <a:gd name="connsiteX1256" fmla="*/ 1365885 w 4940931"/>
                <a:gd name="connsiteY1256" fmla="*/ 19684 h 138429"/>
                <a:gd name="connsiteX1257" fmla="*/ 1362075 w 4940931"/>
                <a:gd name="connsiteY1257" fmla="*/ 20319 h 138429"/>
                <a:gd name="connsiteX1258" fmla="*/ 1358265 w 4940931"/>
                <a:gd name="connsiteY1258" fmla="*/ 19684 h 138429"/>
                <a:gd name="connsiteX1259" fmla="*/ 1355090 w 4940931"/>
                <a:gd name="connsiteY1259" fmla="*/ 17779 h 138429"/>
                <a:gd name="connsiteX1260" fmla="*/ 1353185 w 4940931"/>
                <a:gd name="connsiteY1260" fmla="*/ 14604 h 138429"/>
                <a:gd name="connsiteX1261" fmla="*/ 1352550 w 4940931"/>
                <a:gd name="connsiteY1261" fmla="*/ 10794 h 138429"/>
                <a:gd name="connsiteX1262" fmla="*/ 1353185 w 4940931"/>
                <a:gd name="connsiteY1262" fmla="*/ 6984 h 138429"/>
                <a:gd name="connsiteX1263" fmla="*/ 1355090 w 4940931"/>
                <a:gd name="connsiteY1263" fmla="*/ 3809 h 138429"/>
                <a:gd name="connsiteX1264" fmla="*/ 1358265 w 4940931"/>
                <a:gd name="connsiteY1264" fmla="*/ 1904 h 138429"/>
                <a:gd name="connsiteX1265" fmla="*/ 1362075 w 4940931"/>
                <a:gd name="connsiteY1265" fmla="*/ 1269 h 138429"/>
                <a:gd name="connsiteX1266" fmla="*/ 4789801 w 4940931"/>
                <a:gd name="connsiteY1266" fmla="*/ 634 h 138429"/>
                <a:gd name="connsiteX1267" fmla="*/ 4789801 w 4940931"/>
                <a:gd name="connsiteY1267" fmla="*/ 65404 h 138429"/>
                <a:gd name="connsiteX1268" fmla="*/ 4814566 w 4940931"/>
                <a:gd name="connsiteY1268" fmla="*/ 31114 h 138429"/>
                <a:gd name="connsiteX1269" fmla="*/ 4831711 w 4940931"/>
                <a:gd name="connsiteY1269" fmla="*/ 31114 h 138429"/>
                <a:gd name="connsiteX1270" fmla="*/ 4812026 w 4940931"/>
                <a:gd name="connsiteY1270" fmla="*/ 57149 h 138429"/>
                <a:gd name="connsiteX1271" fmla="*/ 4835521 w 4940931"/>
                <a:gd name="connsiteY1271" fmla="*/ 108584 h 138429"/>
                <a:gd name="connsiteX1272" fmla="*/ 4819011 w 4940931"/>
                <a:gd name="connsiteY1272" fmla="*/ 108584 h 138429"/>
                <a:gd name="connsiteX1273" fmla="*/ 4801866 w 4940931"/>
                <a:gd name="connsiteY1273" fmla="*/ 69849 h 138429"/>
                <a:gd name="connsiteX1274" fmla="*/ 4789801 w 4940931"/>
                <a:gd name="connsiteY1274" fmla="*/ 85724 h 138429"/>
                <a:gd name="connsiteX1275" fmla="*/ 4789801 w 4940931"/>
                <a:gd name="connsiteY1275" fmla="*/ 108584 h 138429"/>
                <a:gd name="connsiteX1276" fmla="*/ 4774561 w 4940931"/>
                <a:gd name="connsiteY1276" fmla="*/ 108584 h 138429"/>
                <a:gd name="connsiteX1277" fmla="*/ 4774561 w 4940931"/>
                <a:gd name="connsiteY1277" fmla="*/ 8889 h 138429"/>
                <a:gd name="connsiteX1278" fmla="*/ 4472301 w 4940931"/>
                <a:gd name="connsiteY1278" fmla="*/ 634 h 138429"/>
                <a:gd name="connsiteX1279" fmla="*/ 4472301 w 4940931"/>
                <a:gd name="connsiteY1279" fmla="*/ 109219 h 138429"/>
                <a:gd name="connsiteX1280" fmla="*/ 4457061 w 4940931"/>
                <a:gd name="connsiteY1280" fmla="*/ 109219 h 138429"/>
                <a:gd name="connsiteX1281" fmla="*/ 4457696 w 4940931"/>
                <a:gd name="connsiteY1281" fmla="*/ 108584 h 138429"/>
                <a:gd name="connsiteX1282" fmla="*/ 4457696 w 4940931"/>
                <a:gd name="connsiteY1282" fmla="*/ 100964 h 138429"/>
                <a:gd name="connsiteX1283" fmla="*/ 4453251 w 4940931"/>
                <a:gd name="connsiteY1283" fmla="*/ 104774 h 138429"/>
                <a:gd name="connsiteX1284" fmla="*/ 4448171 w 4940931"/>
                <a:gd name="connsiteY1284" fmla="*/ 107949 h 138429"/>
                <a:gd name="connsiteX1285" fmla="*/ 4443091 w 4940931"/>
                <a:gd name="connsiteY1285" fmla="*/ 109854 h 138429"/>
                <a:gd name="connsiteX1286" fmla="*/ 4437376 w 4940931"/>
                <a:gd name="connsiteY1286" fmla="*/ 109854 h 138429"/>
                <a:gd name="connsiteX1287" fmla="*/ 4425946 w 4940931"/>
                <a:gd name="connsiteY1287" fmla="*/ 107314 h 138429"/>
                <a:gd name="connsiteX1288" fmla="*/ 4416421 w 4940931"/>
                <a:gd name="connsiteY1288" fmla="*/ 99694 h 138429"/>
                <a:gd name="connsiteX1289" fmla="*/ 4410071 w 4940931"/>
                <a:gd name="connsiteY1289" fmla="*/ 86994 h 138429"/>
                <a:gd name="connsiteX1290" fmla="*/ 4407531 w 4940931"/>
                <a:gd name="connsiteY1290" fmla="*/ 67944 h 138429"/>
                <a:gd name="connsiteX1291" fmla="*/ 4410071 w 4940931"/>
                <a:gd name="connsiteY1291" fmla="*/ 50799 h 138429"/>
                <a:gd name="connsiteX1292" fmla="*/ 4417056 w 4940931"/>
                <a:gd name="connsiteY1292" fmla="*/ 38734 h 138429"/>
                <a:gd name="connsiteX1293" fmla="*/ 4426581 w 4940931"/>
                <a:gd name="connsiteY1293" fmla="*/ 31749 h 138429"/>
                <a:gd name="connsiteX1294" fmla="*/ 4438011 w 4940931"/>
                <a:gd name="connsiteY1294" fmla="*/ 29209 h 138429"/>
                <a:gd name="connsiteX1295" fmla="*/ 4443726 w 4940931"/>
                <a:gd name="connsiteY1295" fmla="*/ 29844 h 138429"/>
                <a:gd name="connsiteX1296" fmla="*/ 4448806 w 4940931"/>
                <a:gd name="connsiteY1296" fmla="*/ 31749 h 138429"/>
                <a:gd name="connsiteX1297" fmla="*/ 4453251 w 4940931"/>
                <a:gd name="connsiteY1297" fmla="*/ 34924 h 138429"/>
                <a:gd name="connsiteX1298" fmla="*/ 4457061 w 4940931"/>
                <a:gd name="connsiteY1298" fmla="*/ 38099 h 138429"/>
                <a:gd name="connsiteX1299" fmla="*/ 4457061 w 4940931"/>
                <a:gd name="connsiteY1299" fmla="*/ 8254 h 138429"/>
                <a:gd name="connsiteX1300" fmla="*/ 4390385 w 4940931"/>
                <a:gd name="connsiteY1300" fmla="*/ 634 h 138429"/>
                <a:gd name="connsiteX1301" fmla="*/ 4390385 w 4940931"/>
                <a:gd name="connsiteY1301" fmla="*/ 108584 h 138429"/>
                <a:gd name="connsiteX1302" fmla="*/ 4375145 w 4940931"/>
                <a:gd name="connsiteY1302" fmla="*/ 108584 h 138429"/>
                <a:gd name="connsiteX1303" fmla="*/ 4375145 w 4940931"/>
                <a:gd name="connsiteY1303" fmla="*/ 8889 h 138429"/>
                <a:gd name="connsiteX1304" fmla="*/ 3946521 w 4940931"/>
                <a:gd name="connsiteY1304" fmla="*/ 634 h 138429"/>
                <a:gd name="connsiteX1305" fmla="*/ 3946521 w 4940931"/>
                <a:gd name="connsiteY1305" fmla="*/ 38099 h 138429"/>
                <a:gd name="connsiteX1306" fmla="*/ 3950331 w 4940931"/>
                <a:gd name="connsiteY1306" fmla="*/ 34289 h 138429"/>
                <a:gd name="connsiteX1307" fmla="*/ 3954776 w 4940931"/>
                <a:gd name="connsiteY1307" fmla="*/ 31114 h 138429"/>
                <a:gd name="connsiteX1308" fmla="*/ 3960491 w 4940931"/>
                <a:gd name="connsiteY1308" fmla="*/ 29209 h 138429"/>
                <a:gd name="connsiteX1309" fmla="*/ 3966206 w 4940931"/>
                <a:gd name="connsiteY1309" fmla="*/ 29209 h 138429"/>
                <a:gd name="connsiteX1310" fmla="*/ 3978271 w 4940931"/>
                <a:gd name="connsiteY1310" fmla="*/ 31749 h 138429"/>
                <a:gd name="connsiteX1311" fmla="*/ 3987161 w 4940931"/>
                <a:gd name="connsiteY1311" fmla="*/ 38099 h 138429"/>
                <a:gd name="connsiteX1312" fmla="*/ 3992241 w 4940931"/>
                <a:gd name="connsiteY1312" fmla="*/ 49529 h 138429"/>
                <a:gd name="connsiteX1313" fmla="*/ 3994146 w 4940931"/>
                <a:gd name="connsiteY1313" fmla="*/ 64134 h 138429"/>
                <a:gd name="connsiteX1314" fmla="*/ 3994146 w 4940931"/>
                <a:gd name="connsiteY1314" fmla="*/ 108584 h 138429"/>
                <a:gd name="connsiteX1315" fmla="*/ 3978906 w 4940931"/>
                <a:gd name="connsiteY1315" fmla="*/ 108584 h 138429"/>
                <a:gd name="connsiteX1316" fmla="*/ 3978271 w 4940931"/>
                <a:gd name="connsiteY1316" fmla="*/ 108584 h 138429"/>
                <a:gd name="connsiteX1317" fmla="*/ 3978271 w 4940931"/>
                <a:gd name="connsiteY1317" fmla="*/ 64769 h 138429"/>
                <a:gd name="connsiteX1318" fmla="*/ 3974461 w 4940931"/>
                <a:gd name="connsiteY1318" fmla="*/ 48894 h 138429"/>
                <a:gd name="connsiteX1319" fmla="*/ 3962396 w 4940931"/>
                <a:gd name="connsiteY1319" fmla="*/ 43814 h 138429"/>
                <a:gd name="connsiteX1320" fmla="*/ 3956046 w 4940931"/>
                <a:gd name="connsiteY1320" fmla="*/ 45084 h 138429"/>
                <a:gd name="connsiteX1321" fmla="*/ 3950966 w 4940931"/>
                <a:gd name="connsiteY1321" fmla="*/ 48894 h 138429"/>
                <a:gd name="connsiteX1322" fmla="*/ 3947791 w 4940931"/>
                <a:gd name="connsiteY1322" fmla="*/ 55244 h 138429"/>
                <a:gd name="connsiteX1323" fmla="*/ 3946521 w 4940931"/>
                <a:gd name="connsiteY1323" fmla="*/ 63499 h 138429"/>
                <a:gd name="connsiteX1324" fmla="*/ 3946521 w 4940931"/>
                <a:gd name="connsiteY1324" fmla="*/ 109219 h 138429"/>
                <a:gd name="connsiteX1325" fmla="*/ 3931281 w 4940931"/>
                <a:gd name="connsiteY1325" fmla="*/ 109219 h 138429"/>
                <a:gd name="connsiteX1326" fmla="*/ 3931281 w 4940931"/>
                <a:gd name="connsiteY1326" fmla="*/ 8889 h 138429"/>
                <a:gd name="connsiteX1327" fmla="*/ 3248021 w 4940931"/>
                <a:gd name="connsiteY1327" fmla="*/ 634 h 138429"/>
                <a:gd name="connsiteX1328" fmla="*/ 3248021 w 4940931"/>
                <a:gd name="connsiteY1328" fmla="*/ 38099 h 138429"/>
                <a:gd name="connsiteX1329" fmla="*/ 3251831 w 4940931"/>
                <a:gd name="connsiteY1329" fmla="*/ 34289 h 138429"/>
                <a:gd name="connsiteX1330" fmla="*/ 3256276 w 4940931"/>
                <a:gd name="connsiteY1330" fmla="*/ 31114 h 138429"/>
                <a:gd name="connsiteX1331" fmla="*/ 3261991 w 4940931"/>
                <a:gd name="connsiteY1331" fmla="*/ 29209 h 138429"/>
                <a:gd name="connsiteX1332" fmla="*/ 3267706 w 4940931"/>
                <a:gd name="connsiteY1332" fmla="*/ 29209 h 138429"/>
                <a:gd name="connsiteX1333" fmla="*/ 3279771 w 4940931"/>
                <a:gd name="connsiteY1333" fmla="*/ 31749 h 138429"/>
                <a:gd name="connsiteX1334" fmla="*/ 3288661 w 4940931"/>
                <a:gd name="connsiteY1334" fmla="*/ 38099 h 138429"/>
                <a:gd name="connsiteX1335" fmla="*/ 3293741 w 4940931"/>
                <a:gd name="connsiteY1335" fmla="*/ 49529 h 138429"/>
                <a:gd name="connsiteX1336" fmla="*/ 3295646 w 4940931"/>
                <a:gd name="connsiteY1336" fmla="*/ 64134 h 138429"/>
                <a:gd name="connsiteX1337" fmla="*/ 3295646 w 4940931"/>
                <a:gd name="connsiteY1337" fmla="*/ 108584 h 138429"/>
                <a:gd name="connsiteX1338" fmla="*/ 3280406 w 4940931"/>
                <a:gd name="connsiteY1338" fmla="*/ 108584 h 138429"/>
                <a:gd name="connsiteX1339" fmla="*/ 3279771 w 4940931"/>
                <a:gd name="connsiteY1339" fmla="*/ 108584 h 138429"/>
                <a:gd name="connsiteX1340" fmla="*/ 3279771 w 4940931"/>
                <a:gd name="connsiteY1340" fmla="*/ 64769 h 138429"/>
                <a:gd name="connsiteX1341" fmla="*/ 3275961 w 4940931"/>
                <a:gd name="connsiteY1341" fmla="*/ 48894 h 138429"/>
                <a:gd name="connsiteX1342" fmla="*/ 3263896 w 4940931"/>
                <a:gd name="connsiteY1342" fmla="*/ 43814 h 138429"/>
                <a:gd name="connsiteX1343" fmla="*/ 3257546 w 4940931"/>
                <a:gd name="connsiteY1343" fmla="*/ 45084 h 138429"/>
                <a:gd name="connsiteX1344" fmla="*/ 3252466 w 4940931"/>
                <a:gd name="connsiteY1344" fmla="*/ 48894 h 138429"/>
                <a:gd name="connsiteX1345" fmla="*/ 3249291 w 4940931"/>
                <a:gd name="connsiteY1345" fmla="*/ 55244 h 138429"/>
                <a:gd name="connsiteX1346" fmla="*/ 3248021 w 4940931"/>
                <a:gd name="connsiteY1346" fmla="*/ 63499 h 138429"/>
                <a:gd name="connsiteX1347" fmla="*/ 3248021 w 4940931"/>
                <a:gd name="connsiteY1347" fmla="*/ 109219 h 138429"/>
                <a:gd name="connsiteX1348" fmla="*/ 3232781 w 4940931"/>
                <a:gd name="connsiteY1348" fmla="*/ 109219 h 138429"/>
                <a:gd name="connsiteX1349" fmla="*/ 3232781 w 4940931"/>
                <a:gd name="connsiteY1349" fmla="*/ 8889 h 138429"/>
                <a:gd name="connsiteX1350" fmla="*/ 2432681 w 4940931"/>
                <a:gd name="connsiteY1350" fmla="*/ 634 h 138429"/>
                <a:gd name="connsiteX1351" fmla="*/ 2432681 w 4940931"/>
                <a:gd name="connsiteY1351" fmla="*/ 38099 h 138429"/>
                <a:gd name="connsiteX1352" fmla="*/ 2436491 w 4940931"/>
                <a:gd name="connsiteY1352" fmla="*/ 34289 h 138429"/>
                <a:gd name="connsiteX1353" fmla="*/ 2440936 w 4940931"/>
                <a:gd name="connsiteY1353" fmla="*/ 31114 h 138429"/>
                <a:gd name="connsiteX1354" fmla="*/ 2446651 w 4940931"/>
                <a:gd name="connsiteY1354" fmla="*/ 29209 h 138429"/>
                <a:gd name="connsiteX1355" fmla="*/ 2452366 w 4940931"/>
                <a:gd name="connsiteY1355" fmla="*/ 29209 h 138429"/>
                <a:gd name="connsiteX1356" fmla="*/ 2464431 w 4940931"/>
                <a:gd name="connsiteY1356" fmla="*/ 31749 h 138429"/>
                <a:gd name="connsiteX1357" fmla="*/ 2473321 w 4940931"/>
                <a:gd name="connsiteY1357" fmla="*/ 38099 h 138429"/>
                <a:gd name="connsiteX1358" fmla="*/ 2478401 w 4940931"/>
                <a:gd name="connsiteY1358" fmla="*/ 49529 h 138429"/>
                <a:gd name="connsiteX1359" fmla="*/ 2480306 w 4940931"/>
                <a:gd name="connsiteY1359" fmla="*/ 64134 h 138429"/>
                <a:gd name="connsiteX1360" fmla="*/ 2480306 w 4940931"/>
                <a:gd name="connsiteY1360" fmla="*/ 108584 h 138429"/>
                <a:gd name="connsiteX1361" fmla="*/ 2465066 w 4940931"/>
                <a:gd name="connsiteY1361" fmla="*/ 108584 h 138429"/>
                <a:gd name="connsiteX1362" fmla="*/ 2464431 w 4940931"/>
                <a:gd name="connsiteY1362" fmla="*/ 108584 h 138429"/>
                <a:gd name="connsiteX1363" fmla="*/ 2464431 w 4940931"/>
                <a:gd name="connsiteY1363" fmla="*/ 64769 h 138429"/>
                <a:gd name="connsiteX1364" fmla="*/ 2460621 w 4940931"/>
                <a:gd name="connsiteY1364" fmla="*/ 48894 h 138429"/>
                <a:gd name="connsiteX1365" fmla="*/ 2448556 w 4940931"/>
                <a:gd name="connsiteY1365" fmla="*/ 43814 h 138429"/>
                <a:gd name="connsiteX1366" fmla="*/ 2442206 w 4940931"/>
                <a:gd name="connsiteY1366" fmla="*/ 45084 h 138429"/>
                <a:gd name="connsiteX1367" fmla="*/ 2437126 w 4940931"/>
                <a:gd name="connsiteY1367" fmla="*/ 48894 h 138429"/>
                <a:gd name="connsiteX1368" fmla="*/ 2433951 w 4940931"/>
                <a:gd name="connsiteY1368" fmla="*/ 55244 h 138429"/>
                <a:gd name="connsiteX1369" fmla="*/ 2432681 w 4940931"/>
                <a:gd name="connsiteY1369" fmla="*/ 63499 h 138429"/>
                <a:gd name="connsiteX1370" fmla="*/ 2432681 w 4940931"/>
                <a:gd name="connsiteY1370" fmla="*/ 109219 h 138429"/>
                <a:gd name="connsiteX1371" fmla="*/ 2417441 w 4940931"/>
                <a:gd name="connsiteY1371" fmla="*/ 109219 h 138429"/>
                <a:gd name="connsiteX1372" fmla="*/ 2417441 w 4940931"/>
                <a:gd name="connsiteY1372" fmla="*/ 8889 h 138429"/>
                <a:gd name="connsiteX1373" fmla="*/ 1734181 w 4940931"/>
                <a:gd name="connsiteY1373" fmla="*/ 634 h 138429"/>
                <a:gd name="connsiteX1374" fmla="*/ 1734181 w 4940931"/>
                <a:gd name="connsiteY1374" fmla="*/ 38099 h 138429"/>
                <a:gd name="connsiteX1375" fmla="*/ 1737991 w 4940931"/>
                <a:gd name="connsiteY1375" fmla="*/ 34289 h 138429"/>
                <a:gd name="connsiteX1376" fmla="*/ 1742436 w 4940931"/>
                <a:gd name="connsiteY1376" fmla="*/ 31114 h 138429"/>
                <a:gd name="connsiteX1377" fmla="*/ 1748151 w 4940931"/>
                <a:gd name="connsiteY1377" fmla="*/ 29209 h 138429"/>
                <a:gd name="connsiteX1378" fmla="*/ 1753866 w 4940931"/>
                <a:gd name="connsiteY1378" fmla="*/ 29209 h 138429"/>
                <a:gd name="connsiteX1379" fmla="*/ 1765931 w 4940931"/>
                <a:gd name="connsiteY1379" fmla="*/ 31749 h 138429"/>
                <a:gd name="connsiteX1380" fmla="*/ 1774821 w 4940931"/>
                <a:gd name="connsiteY1380" fmla="*/ 38099 h 138429"/>
                <a:gd name="connsiteX1381" fmla="*/ 1779901 w 4940931"/>
                <a:gd name="connsiteY1381" fmla="*/ 49529 h 138429"/>
                <a:gd name="connsiteX1382" fmla="*/ 1781806 w 4940931"/>
                <a:gd name="connsiteY1382" fmla="*/ 64134 h 138429"/>
                <a:gd name="connsiteX1383" fmla="*/ 1781806 w 4940931"/>
                <a:gd name="connsiteY1383" fmla="*/ 108584 h 138429"/>
                <a:gd name="connsiteX1384" fmla="*/ 1766566 w 4940931"/>
                <a:gd name="connsiteY1384" fmla="*/ 108584 h 138429"/>
                <a:gd name="connsiteX1385" fmla="*/ 1765931 w 4940931"/>
                <a:gd name="connsiteY1385" fmla="*/ 108584 h 138429"/>
                <a:gd name="connsiteX1386" fmla="*/ 1765931 w 4940931"/>
                <a:gd name="connsiteY1386" fmla="*/ 64769 h 138429"/>
                <a:gd name="connsiteX1387" fmla="*/ 1762121 w 4940931"/>
                <a:gd name="connsiteY1387" fmla="*/ 48894 h 138429"/>
                <a:gd name="connsiteX1388" fmla="*/ 1750056 w 4940931"/>
                <a:gd name="connsiteY1388" fmla="*/ 43814 h 138429"/>
                <a:gd name="connsiteX1389" fmla="*/ 1743706 w 4940931"/>
                <a:gd name="connsiteY1389" fmla="*/ 45084 h 138429"/>
                <a:gd name="connsiteX1390" fmla="*/ 1738626 w 4940931"/>
                <a:gd name="connsiteY1390" fmla="*/ 48894 h 138429"/>
                <a:gd name="connsiteX1391" fmla="*/ 1735451 w 4940931"/>
                <a:gd name="connsiteY1391" fmla="*/ 55244 h 138429"/>
                <a:gd name="connsiteX1392" fmla="*/ 1734181 w 4940931"/>
                <a:gd name="connsiteY1392" fmla="*/ 63499 h 138429"/>
                <a:gd name="connsiteX1393" fmla="*/ 1734181 w 4940931"/>
                <a:gd name="connsiteY1393" fmla="*/ 109219 h 138429"/>
                <a:gd name="connsiteX1394" fmla="*/ 1718941 w 4940931"/>
                <a:gd name="connsiteY1394" fmla="*/ 109219 h 138429"/>
                <a:gd name="connsiteX1395" fmla="*/ 1718941 w 4940931"/>
                <a:gd name="connsiteY1395" fmla="*/ 8889 h 138429"/>
                <a:gd name="connsiteX1396" fmla="*/ 803275 w 4940931"/>
                <a:gd name="connsiteY1396" fmla="*/ 634 h 138429"/>
                <a:gd name="connsiteX1397" fmla="*/ 803275 w 4940931"/>
                <a:gd name="connsiteY1397" fmla="*/ 38099 h 138429"/>
                <a:gd name="connsiteX1398" fmla="*/ 807085 w 4940931"/>
                <a:gd name="connsiteY1398" fmla="*/ 34289 h 138429"/>
                <a:gd name="connsiteX1399" fmla="*/ 811530 w 4940931"/>
                <a:gd name="connsiteY1399" fmla="*/ 31114 h 138429"/>
                <a:gd name="connsiteX1400" fmla="*/ 817245 w 4940931"/>
                <a:gd name="connsiteY1400" fmla="*/ 29209 h 138429"/>
                <a:gd name="connsiteX1401" fmla="*/ 822960 w 4940931"/>
                <a:gd name="connsiteY1401" fmla="*/ 29209 h 138429"/>
                <a:gd name="connsiteX1402" fmla="*/ 835025 w 4940931"/>
                <a:gd name="connsiteY1402" fmla="*/ 31749 h 138429"/>
                <a:gd name="connsiteX1403" fmla="*/ 843915 w 4940931"/>
                <a:gd name="connsiteY1403" fmla="*/ 38099 h 138429"/>
                <a:gd name="connsiteX1404" fmla="*/ 848995 w 4940931"/>
                <a:gd name="connsiteY1404" fmla="*/ 49529 h 138429"/>
                <a:gd name="connsiteX1405" fmla="*/ 850900 w 4940931"/>
                <a:gd name="connsiteY1405" fmla="*/ 64134 h 138429"/>
                <a:gd name="connsiteX1406" fmla="*/ 850900 w 4940931"/>
                <a:gd name="connsiteY1406" fmla="*/ 108584 h 138429"/>
                <a:gd name="connsiteX1407" fmla="*/ 835660 w 4940931"/>
                <a:gd name="connsiteY1407" fmla="*/ 108584 h 138429"/>
                <a:gd name="connsiteX1408" fmla="*/ 835025 w 4940931"/>
                <a:gd name="connsiteY1408" fmla="*/ 108584 h 138429"/>
                <a:gd name="connsiteX1409" fmla="*/ 835025 w 4940931"/>
                <a:gd name="connsiteY1409" fmla="*/ 64769 h 138429"/>
                <a:gd name="connsiteX1410" fmla="*/ 831215 w 4940931"/>
                <a:gd name="connsiteY1410" fmla="*/ 48894 h 138429"/>
                <a:gd name="connsiteX1411" fmla="*/ 819150 w 4940931"/>
                <a:gd name="connsiteY1411" fmla="*/ 43814 h 138429"/>
                <a:gd name="connsiteX1412" fmla="*/ 812800 w 4940931"/>
                <a:gd name="connsiteY1412" fmla="*/ 45084 h 138429"/>
                <a:gd name="connsiteX1413" fmla="*/ 807720 w 4940931"/>
                <a:gd name="connsiteY1413" fmla="*/ 48894 h 138429"/>
                <a:gd name="connsiteX1414" fmla="*/ 804545 w 4940931"/>
                <a:gd name="connsiteY1414" fmla="*/ 55244 h 138429"/>
                <a:gd name="connsiteX1415" fmla="*/ 803275 w 4940931"/>
                <a:gd name="connsiteY1415" fmla="*/ 63499 h 138429"/>
                <a:gd name="connsiteX1416" fmla="*/ 803275 w 4940931"/>
                <a:gd name="connsiteY1416" fmla="*/ 109219 h 138429"/>
                <a:gd name="connsiteX1417" fmla="*/ 788035 w 4940931"/>
                <a:gd name="connsiteY1417" fmla="*/ 109219 h 138429"/>
                <a:gd name="connsiteX1418" fmla="*/ 788035 w 4940931"/>
                <a:gd name="connsiteY1418" fmla="*/ 8889 h 138429"/>
                <a:gd name="connsiteX1419" fmla="*/ 104774 w 4940931"/>
                <a:gd name="connsiteY1419" fmla="*/ 634 h 138429"/>
                <a:gd name="connsiteX1420" fmla="*/ 104774 w 4940931"/>
                <a:gd name="connsiteY1420" fmla="*/ 38099 h 138429"/>
                <a:gd name="connsiteX1421" fmla="*/ 108584 w 4940931"/>
                <a:gd name="connsiteY1421" fmla="*/ 34289 h 138429"/>
                <a:gd name="connsiteX1422" fmla="*/ 113029 w 4940931"/>
                <a:gd name="connsiteY1422" fmla="*/ 31114 h 138429"/>
                <a:gd name="connsiteX1423" fmla="*/ 118744 w 4940931"/>
                <a:gd name="connsiteY1423" fmla="*/ 29209 h 138429"/>
                <a:gd name="connsiteX1424" fmla="*/ 124459 w 4940931"/>
                <a:gd name="connsiteY1424" fmla="*/ 29209 h 138429"/>
                <a:gd name="connsiteX1425" fmla="*/ 136524 w 4940931"/>
                <a:gd name="connsiteY1425" fmla="*/ 31749 h 138429"/>
                <a:gd name="connsiteX1426" fmla="*/ 145414 w 4940931"/>
                <a:gd name="connsiteY1426" fmla="*/ 38099 h 138429"/>
                <a:gd name="connsiteX1427" fmla="*/ 150494 w 4940931"/>
                <a:gd name="connsiteY1427" fmla="*/ 49529 h 138429"/>
                <a:gd name="connsiteX1428" fmla="*/ 152399 w 4940931"/>
                <a:gd name="connsiteY1428" fmla="*/ 64134 h 138429"/>
                <a:gd name="connsiteX1429" fmla="*/ 152399 w 4940931"/>
                <a:gd name="connsiteY1429" fmla="*/ 108584 h 138429"/>
                <a:gd name="connsiteX1430" fmla="*/ 137159 w 4940931"/>
                <a:gd name="connsiteY1430" fmla="*/ 108584 h 138429"/>
                <a:gd name="connsiteX1431" fmla="*/ 136524 w 4940931"/>
                <a:gd name="connsiteY1431" fmla="*/ 108584 h 138429"/>
                <a:gd name="connsiteX1432" fmla="*/ 136524 w 4940931"/>
                <a:gd name="connsiteY1432" fmla="*/ 64769 h 138429"/>
                <a:gd name="connsiteX1433" fmla="*/ 132714 w 4940931"/>
                <a:gd name="connsiteY1433" fmla="*/ 48894 h 138429"/>
                <a:gd name="connsiteX1434" fmla="*/ 120649 w 4940931"/>
                <a:gd name="connsiteY1434" fmla="*/ 43814 h 138429"/>
                <a:gd name="connsiteX1435" fmla="*/ 114299 w 4940931"/>
                <a:gd name="connsiteY1435" fmla="*/ 45084 h 138429"/>
                <a:gd name="connsiteX1436" fmla="*/ 109219 w 4940931"/>
                <a:gd name="connsiteY1436" fmla="*/ 48894 h 138429"/>
                <a:gd name="connsiteX1437" fmla="*/ 106044 w 4940931"/>
                <a:gd name="connsiteY1437" fmla="*/ 55244 h 138429"/>
                <a:gd name="connsiteX1438" fmla="*/ 104774 w 4940931"/>
                <a:gd name="connsiteY1438" fmla="*/ 63499 h 138429"/>
                <a:gd name="connsiteX1439" fmla="*/ 104774 w 4940931"/>
                <a:gd name="connsiteY1439" fmla="*/ 109219 h 138429"/>
                <a:gd name="connsiteX1440" fmla="*/ 89534 w 4940931"/>
                <a:gd name="connsiteY1440" fmla="*/ 109219 h 138429"/>
                <a:gd name="connsiteX1441" fmla="*/ 89534 w 4940931"/>
                <a:gd name="connsiteY1441" fmla="*/ 8889 h 138429"/>
                <a:gd name="connsiteX1442" fmla="*/ 3894450 w 4940931"/>
                <a:gd name="connsiteY1442" fmla="*/ 0 h 138429"/>
                <a:gd name="connsiteX1443" fmla="*/ 3894450 w 4940931"/>
                <a:gd name="connsiteY1443" fmla="*/ 30480 h 138429"/>
                <a:gd name="connsiteX1444" fmla="*/ 3913500 w 4940931"/>
                <a:gd name="connsiteY1444" fmla="*/ 30480 h 138429"/>
                <a:gd name="connsiteX1445" fmla="*/ 3913500 w 4940931"/>
                <a:gd name="connsiteY1445" fmla="*/ 44450 h 138429"/>
                <a:gd name="connsiteX1446" fmla="*/ 3894450 w 4940931"/>
                <a:gd name="connsiteY1446" fmla="*/ 44450 h 138429"/>
                <a:gd name="connsiteX1447" fmla="*/ 3894450 w 4940931"/>
                <a:gd name="connsiteY1447" fmla="*/ 86995 h 138429"/>
                <a:gd name="connsiteX1448" fmla="*/ 3894450 w 4940931"/>
                <a:gd name="connsiteY1448" fmla="*/ 91440 h 138429"/>
                <a:gd name="connsiteX1449" fmla="*/ 3895720 w 4940931"/>
                <a:gd name="connsiteY1449" fmla="*/ 94615 h 138429"/>
                <a:gd name="connsiteX1450" fmla="*/ 3898260 w 4940931"/>
                <a:gd name="connsiteY1450" fmla="*/ 95885 h 138429"/>
                <a:gd name="connsiteX1451" fmla="*/ 3902070 w 4940931"/>
                <a:gd name="connsiteY1451" fmla="*/ 95885 h 138429"/>
                <a:gd name="connsiteX1452" fmla="*/ 3908420 w 4940931"/>
                <a:gd name="connsiteY1452" fmla="*/ 95250 h 138429"/>
                <a:gd name="connsiteX1453" fmla="*/ 3913500 w 4940931"/>
                <a:gd name="connsiteY1453" fmla="*/ 93345 h 138429"/>
                <a:gd name="connsiteX1454" fmla="*/ 3911595 w 4940931"/>
                <a:gd name="connsiteY1454" fmla="*/ 106680 h 138429"/>
                <a:gd name="connsiteX1455" fmla="*/ 3905245 w 4940931"/>
                <a:gd name="connsiteY1455" fmla="*/ 109220 h 138429"/>
                <a:gd name="connsiteX1456" fmla="*/ 3896990 w 4940931"/>
                <a:gd name="connsiteY1456" fmla="*/ 110490 h 138429"/>
                <a:gd name="connsiteX1457" fmla="*/ 3890005 w 4940931"/>
                <a:gd name="connsiteY1457" fmla="*/ 109220 h 138429"/>
                <a:gd name="connsiteX1458" fmla="*/ 3884290 w 4940931"/>
                <a:gd name="connsiteY1458" fmla="*/ 105410 h 138429"/>
                <a:gd name="connsiteX1459" fmla="*/ 3880480 w 4940931"/>
                <a:gd name="connsiteY1459" fmla="*/ 99060 h 138429"/>
                <a:gd name="connsiteX1460" fmla="*/ 3879210 w 4940931"/>
                <a:gd name="connsiteY1460" fmla="*/ 89535 h 138429"/>
                <a:gd name="connsiteX1461" fmla="*/ 3879210 w 4940931"/>
                <a:gd name="connsiteY1461" fmla="*/ 44450 h 138429"/>
                <a:gd name="connsiteX1462" fmla="*/ 3868415 w 4940931"/>
                <a:gd name="connsiteY1462" fmla="*/ 44450 h 138429"/>
                <a:gd name="connsiteX1463" fmla="*/ 3868415 w 4940931"/>
                <a:gd name="connsiteY1463" fmla="*/ 30480 h 138429"/>
                <a:gd name="connsiteX1464" fmla="*/ 3879210 w 4940931"/>
                <a:gd name="connsiteY1464" fmla="*/ 30480 h 138429"/>
                <a:gd name="connsiteX1465" fmla="*/ 3879210 w 4940931"/>
                <a:gd name="connsiteY1465" fmla="*/ 8255 h 138429"/>
                <a:gd name="connsiteX1466" fmla="*/ 3664581 w 4940931"/>
                <a:gd name="connsiteY1466" fmla="*/ 0 h 138429"/>
                <a:gd name="connsiteX1467" fmla="*/ 3664581 w 4940931"/>
                <a:gd name="connsiteY1467" fmla="*/ 30480 h 138429"/>
                <a:gd name="connsiteX1468" fmla="*/ 3683631 w 4940931"/>
                <a:gd name="connsiteY1468" fmla="*/ 30480 h 138429"/>
                <a:gd name="connsiteX1469" fmla="*/ 3683631 w 4940931"/>
                <a:gd name="connsiteY1469" fmla="*/ 44450 h 138429"/>
                <a:gd name="connsiteX1470" fmla="*/ 3664581 w 4940931"/>
                <a:gd name="connsiteY1470" fmla="*/ 44450 h 138429"/>
                <a:gd name="connsiteX1471" fmla="*/ 3664581 w 4940931"/>
                <a:gd name="connsiteY1471" fmla="*/ 86995 h 138429"/>
                <a:gd name="connsiteX1472" fmla="*/ 3664581 w 4940931"/>
                <a:gd name="connsiteY1472" fmla="*/ 91440 h 138429"/>
                <a:gd name="connsiteX1473" fmla="*/ 3665851 w 4940931"/>
                <a:gd name="connsiteY1473" fmla="*/ 94615 h 138429"/>
                <a:gd name="connsiteX1474" fmla="*/ 3668391 w 4940931"/>
                <a:gd name="connsiteY1474" fmla="*/ 95885 h 138429"/>
                <a:gd name="connsiteX1475" fmla="*/ 3672201 w 4940931"/>
                <a:gd name="connsiteY1475" fmla="*/ 95885 h 138429"/>
                <a:gd name="connsiteX1476" fmla="*/ 3678551 w 4940931"/>
                <a:gd name="connsiteY1476" fmla="*/ 95250 h 138429"/>
                <a:gd name="connsiteX1477" fmla="*/ 3683631 w 4940931"/>
                <a:gd name="connsiteY1477" fmla="*/ 93345 h 138429"/>
                <a:gd name="connsiteX1478" fmla="*/ 3681726 w 4940931"/>
                <a:gd name="connsiteY1478" fmla="*/ 106680 h 138429"/>
                <a:gd name="connsiteX1479" fmla="*/ 3675376 w 4940931"/>
                <a:gd name="connsiteY1479" fmla="*/ 109220 h 138429"/>
                <a:gd name="connsiteX1480" fmla="*/ 3667121 w 4940931"/>
                <a:gd name="connsiteY1480" fmla="*/ 110490 h 138429"/>
                <a:gd name="connsiteX1481" fmla="*/ 3660136 w 4940931"/>
                <a:gd name="connsiteY1481" fmla="*/ 109220 h 138429"/>
                <a:gd name="connsiteX1482" fmla="*/ 3654421 w 4940931"/>
                <a:gd name="connsiteY1482" fmla="*/ 105410 h 138429"/>
                <a:gd name="connsiteX1483" fmla="*/ 3650611 w 4940931"/>
                <a:gd name="connsiteY1483" fmla="*/ 99060 h 138429"/>
                <a:gd name="connsiteX1484" fmla="*/ 3649341 w 4940931"/>
                <a:gd name="connsiteY1484" fmla="*/ 89535 h 138429"/>
                <a:gd name="connsiteX1485" fmla="*/ 3649341 w 4940931"/>
                <a:gd name="connsiteY1485" fmla="*/ 44450 h 138429"/>
                <a:gd name="connsiteX1486" fmla="*/ 3638546 w 4940931"/>
                <a:gd name="connsiteY1486" fmla="*/ 44450 h 138429"/>
                <a:gd name="connsiteX1487" fmla="*/ 3638546 w 4940931"/>
                <a:gd name="connsiteY1487" fmla="*/ 30480 h 138429"/>
                <a:gd name="connsiteX1488" fmla="*/ 3649341 w 4940931"/>
                <a:gd name="connsiteY1488" fmla="*/ 30480 h 138429"/>
                <a:gd name="connsiteX1489" fmla="*/ 3649341 w 4940931"/>
                <a:gd name="connsiteY1489" fmla="*/ 8255 h 138429"/>
                <a:gd name="connsiteX1490" fmla="*/ 3610605 w 4940931"/>
                <a:gd name="connsiteY1490" fmla="*/ 0 h 138429"/>
                <a:gd name="connsiteX1491" fmla="*/ 3610605 w 4940931"/>
                <a:gd name="connsiteY1491" fmla="*/ 30480 h 138429"/>
                <a:gd name="connsiteX1492" fmla="*/ 3629655 w 4940931"/>
                <a:gd name="connsiteY1492" fmla="*/ 30480 h 138429"/>
                <a:gd name="connsiteX1493" fmla="*/ 3629655 w 4940931"/>
                <a:gd name="connsiteY1493" fmla="*/ 44450 h 138429"/>
                <a:gd name="connsiteX1494" fmla="*/ 3610605 w 4940931"/>
                <a:gd name="connsiteY1494" fmla="*/ 44450 h 138429"/>
                <a:gd name="connsiteX1495" fmla="*/ 3610605 w 4940931"/>
                <a:gd name="connsiteY1495" fmla="*/ 86995 h 138429"/>
                <a:gd name="connsiteX1496" fmla="*/ 3610605 w 4940931"/>
                <a:gd name="connsiteY1496" fmla="*/ 91440 h 138429"/>
                <a:gd name="connsiteX1497" fmla="*/ 3611875 w 4940931"/>
                <a:gd name="connsiteY1497" fmla="*/ 94615 h 138429"/>
                <a:gd name="connsiteX1498" fmla="*/ 3614415 w 4940931"/>
                <a:gd name="connsiteY1498" fmla="*/ 95885 h 138429"/>
                <a:gd name="connsiteX1499" fmla="*/ 3618225 w 4940931"/>
                <a:gd name="connsiteY1499" fmla="*/ 95885 h 138429"/>
                <a:gd name="connsiteX1500" fmla="*/ 3624575 w 4940931"/>
                <a:gd name="connsiteY1500" fmla="*/ 95250 h 138429"/>
                <a:gd name="connsiteX1501" fmla="*/ 3629655 w 4940931"/>
                <a:gd name="connsiteY1501" fmla="*/ 93345 h 138429"/>
                <a:gd name="connsiteX1502" fmla="*/ 3627750 w 4940931"/>
                <a:gd name="connsiteY1502" fmla="*/ 106680 h 138429"/>
                <a:gd name="connsiteX1503" fmla="*/ 3621400 w 4940931"/>
                <a:gd name="connsiteY1503" fmla="*/ 109220 h 138429"/>
                <a:gd name="connsiteX1504" fmla="*/ 3613145 w 4940931"/>
                <a:gd name="connsiteY1504" fmla="*/ 110490 h 138429"/>
                <a:gd name="connsiteX1505" fmla="*/ 3606160 w 4940931"/>
                <a:gd name="connsiteY1505" fmla="*/ 109220 h 138429"/>
                <a:gd name="connsiteX1506" fmla="*/ 3600445 w 4940931"/>
                <a:gd name="connsiteY1506" fmla="*/ 105410 h 138429"/>
                <a:gd name="connsiteX1507" fmla="*/ 3596635 w 4940931"/>
                <a:gd name="connsiteY1507" fmla="*/ 99060 h 138429"/>
                <a:gd name="connsiteX1508" fmla="*/ 3595365 w 4940931"/>
                <a:gd name="connsiteY1508" fmla="*/ 89535 h 138429"/>
                <a:gd name="connsiteX1509" fmla="*/ 3595365 w 4940931"/>
                <a:gd name="connsiteY1509" fmla="*/ 44450 h 138429"/>
                <a:gd name="connsiteX1510" fmla="*/ 3584570 w 4940931"/>
                <a:gd name="connsiteY1510" fmla="*/ 44450 h 138429"/>
                <a:gd name="connsiteX1511" fmla="*/ 3584570 w 4940931"/>
                <a:gd name="connsiteY1511" fmla="*/ 30480 h 138429"/>
                <a:gd name="connsiteX1512" fmla="*/ 3595365 w 4940931"/>
                <a:gd name="connsiteY1512" fmla="*/ 30480 h 138429"/>
                <a:gd name="connsiteX1513" fmla="*/ 3595365 w 4940931"/>
                <a:gd name="connsiteY1513" fmla="*/ 8255 h 138429"/>
                <a:gd name="connsiteX1514" fmla="*/ 3445505 w 4940931"/>
                <a:gd name="connsiteY1514" fmla="*/ 0 h 138429"/>
                <a:gd name="connsiteX1515" fmla="*/ 3445505 w 4940931"/>
                <a:gd name="connsiteY1515" fmla="*/ 37465 h 138429"/>
                <a:gd name="connsiteX1516" fmla="*/ 3449950 w 4940931"/>
                <a:gd name="connsiteY1516" fmla="*/ 33655 h 138429"/>
                <a:gd name="connsiteX1517" fmla="*/ 3453760 w 4940931"/>
                <a:gd name="connsiteY1517" fmla="*/ 31115 h 138429"/>
                <a:gd name="connsiteX1518" fmla="*/ 3458840 w 4940931"/>
                <a:gd name="connsiteY1518" fmla="*/ 29210 h 138429"/>
                <a:gd name="connsiteX1519" fmla="*/ 3465825 w 4940931"/>
                <a:gd name="connsiteY1519" fmla="*/ 28575 h 138429"/>
                <a:gd name="connsiteX1520" fmla="*/ 3477890 w 4940931"/>
                <a:gd name="connsiteY1520" fmla="*/ 31115 h 138429"/>
                <a:gd name="connsiteX1521" fmla="*/ 3487415 w 4940931"/>
                <a:gd name="connsiteY1521" fmla="*/ 38735 h 138429"/>
                <a:gd name="connsiteX1522" fmla="*/ 3493765 w 4940931"/>
                <a:gd name="connsiteY1522" fmla="*/ 51435 h 138429"/>
                <a:gd name="connsiteX1523" fmla="*/ 3496305 w 4940931"/>
                <a:gd name="connsiteY1523" fmla="*/ 70485 h 138429"/>
                <a:gd name="connsiteX1524" fmla="*/ 3495670 w 4940931"/>
                <a:gd name="connsiteY1524" fmla="*/ 71120 h 138429"/>
                <a:gd name="connsiteX1525" fmla="*/ 3493130 w 4940931"/>
                <a:gd name="connsiteY1525" fmla="*/ 88265 h 138429"/>
                <a:gd name="connsiteX1526" fmla="*/ 3486145 w 4940931"/>
                <a:gd name="connsiteY1526" fmla="*/ 100330 h 138429"/>
                <a:gd name="connsiteX1527" fmla="*/ 3476620 w 4940931"/>
                <a:gd name="connsiteY1527" fmla="*/ 107315 h 138429"/>
                <a:gd name="connsiteX1528" fmla="*/ 3465190 w 4940931"/>
                <a:gd name="connsiteY1528" fmla="*/ 109855 h 138429"/>
                <a:gd name="connsiteX1529" fmla="*/ 3454395 w 4940931"/>
                <a:gd name="connsiteY1529" fmla="*/ 107315 h 138429"/>
                <a:gd name="connsiteX1530" fmla="*/ 3445505 w 4940931"/>
                <a:gd name="connsiteY1530" fmla="*/ 100965 h 138429"/>
                <a:gd name="connsiteX1531" fmla="*/ 3445505 w 4940931"/>
                <a:gd name="connsiteY1531" fmla="*/ 107950 h 138429"/>
                <a:gd name="connsiteX1532" fmla="*/ 3430265 w 4940931"/>
                <a:gd name="connsiteY1532" fmla="*/ 107950 h 138429"/>
                <a:gd name="connsiteX1533" fmla="*/ 3430265 w 4940931"/>
                <a:gd name="connsiteY1533" fmla="*/ 7620 h 138429"/>
                <a:gd name="connsiteX1534" fmla="*/ 2380611 w 4940931"/>
                <a:gd name="connsiteY1534" fmla="*/ 0 h 138429"/>
                <a:gd name="connsiteX1535" fmla="*/ 2380611 w 4940931"/>
                <a:gd name="connsiteY1535" fmla="*/ 30480 h 138429"/>
                <a:gd name="connsiteX1536" fmla="*/ 2399661 w 4940931"/>
                <a:gd name="connsiteY1536" fmla="*/ 30480 h 138429"/>
                <a:gd name="connsiteX1537" fmla="*/ 2399661 w 4940931"/>
                <a:gd name="connsiteY1537" fmla="*/ 44450 h 138429"/>
                <a:gd name="connsiteX1538" fmla="*/ 2380611 w 4940931"/>
                <a:gd name="connsiteY1538" fmla="*/ 44450 h 138429"/>
                <a:gd name="connsiteX1539" fmla="*/ 2380611 w 4940931"/>
                <a:gd name="connsiteY1539" fmla="*/ 86995 h 138429"/>
                <a:gd name="connsiteX1540" fmla="*/ 2380611 w 4940931"/>
                <a:gd name="connsiteY1540" fmla="*/ 91440 h 138429"/>
                <a:gd name="connsiteX1541" fmla="*/ 2381881 w 4940931"/>
                <a:gd name="connsiteY1541" fmla="*/ 94615 h 138429"/>
                <a:gd name="connsiteX1542" fmla="*/ 2384421 w 4940931"/>
                <a:gd name="connsiteY1542" fmla="*/ 95885 h 138429"/>
                <a:gd name="connsiteX1543" fmla="*/ 2388231 w 4940931"/>
                <a:gd name="connsiteY1543" fmla="*/ 95885 h 138429"/>
                <a:gd name="connsiteX1544" fmla="*/ 2394581 w 4940931"/>
                <a:gd name="connsiteY1544" fmla="*/ 95250 h 138429"/>
                <a:gd name="connsiteX1545" fmla="*/ 2399661 w 4940931"/>
                <a:gd name="connsiteY1545" fmla="*/ 93345 h 138429"/>
                <a:gd name="connsiteX1546" fmla="*/ 2397756 w 4940931"/>
                <a:gd name="connsiteY1546" fmla="*/ 106680 h 138429"/>
                <a:gd name="connsiteX1547" fmla="*/ 2391406 w 4940931"/>
                <a:gd name="connsiteY1547" fmla="*/ 109220 h 138429"/>
                <a:gd name="connsiteX1548" fmla="*/ 2383151 w 4940931"/>
                <a:gd name="connsiteY1548" fmla="*/ 110490 h 138429"/>
                <a:gd name="connsiteX1549" fmla="*/ 2376166 w 4940931"/>
                <a:gd name="connsiteY1549" fmla="*/ 109220 h 138429"/>
                <a:gd name="connsiteX1550" fmla="*/ 2370451 w 4940931"/>
                <a:gd name="connsiteY1550" fmla="*/ 105410 h 138429"/>
                <a:gd name="connsiteX1551" fmla="*/ 2366641 w 4940931"/>
                <a:gd name="connsiteY1551" fmla="*/ 99060 h 138429"/>
                <a:gd name="connsiteX1552" fmla="*/ 2365371 w 4940931"/>
                <a:gd name="connsiteY1552" fmla="*/ 89535 h 138429"/>
                <a:gd name="connsiteX1553" fmla="*/ 2365371 w 4940931"/>
                <a:gd name="connsiteY1553" fmla="*/ 44450 h 138429"/>
                <a:gd name="connsiteX1554" fmla="*/ 2354576 w 4940931"/>
                <a:gd name="connsiteY1554" fmla="*/ 44450 h 138429"/>
                <a:gd name="connsiteX1555" fmla="*/ 2354576 w 4940931"/>
                <a:gd name="connsiteY1555" fmla="*/ 30480 h 138429"/>
                <a:gd name="connsiteX1556" fmla="*/ 2365371 w 4940931"/>
                <a:gd name="connsiteY1556" fmla="*/ 30480 h 138429"/>
                <a:gd name="connsiteX1557" fmla="*/ 2365371 w 4940931"/>
                <a:gd name="connsiteY1557" fmla="*/ 8255 h 138429"/>
                <a:gd name="connsiteX1558" fmla="*/ 2150741 w 4940931"/>
                <a:gd name="connsiteY1558" fmla="*/ 0 h 138429"/>
                <a:gd name="connsiteX1559" fmla="*/ 2150741 w 4940931"/>
                <a:gd name="connsiteY1559" fmla="*/ 30480 h 138429"/>
                <a:gd name="connsiteX1560" fmla="*/ 2169791 w 4940931"/>
                <a:gd name="connsiteY1560" fmla="*/ 30480 h 138429"/>
                <a:gd name="connsiteX1561" fmla="*/ 2169791 w 4940931"/>
                <a:gd name="connsiteY1561" fmla="*/ 44450 h 138429"/>
                <a:gd name="connsiteX1562" fmla="*/ 2150741 w 4940931"/>
                <a:gd name="connsiteY1562" fmla="*/ 44450 h 138429"/>
                <a:gd name="connsiteX1563" fmla="*/ 2150741 w 4940931"/>
                <a:gd name="connsiteY1563" fmla="*/ 86995 h 138429"/>
                <a:gd name="connsiteX1564" fmla="*/ 2150741 w 4940931"/>
                <a:gd name="connsiteY1564" fmla="*/ 91440 h 138429"/>
                <a:gd name="connsiteX1565" fmla="*/ 2152011 w 4940931"/>
                <a:gd name="connsiteY1565" fmla="*/ 94615 h 138429"/>
                <a:gd name="connsiteX1566" fmla="*/ 2154551 w 4940931"/>
                <a:gd name="connsiteY1566" fmla="*/ 95885 h 138429"/>
                <a:gd name="connsiteX1567" fmla="*/ 2158361 w 4940931"/>
                <a:gd name="connsiteY1567" fmla="*/ 95885 h 138429"/>
                <a:gd name="connsiteX1568" fmla="*/ 2164711 w 4940931"/>
                <a:gd name="connsiteY1568" fmla="*/ 95250 h 138429"/>
                <a:gd name="connsiteX1569" fmla="*/ 2169791 w 4940931"/>
                <a:gd name="connsiteY1569" fmla="*/ 93345 h 138429"/>
                <a:gd name="connsiteX1570" fmla="*/ 2167886 w 4940931"/>
                <a:gd name="connsiteY1570" fmla="*/ 106680 h 138429"/>
                <a:gd name="connsiteX1571" fmla="*/ 2161536 w 4940931"/>
                <a:gd name="connsiteY1571" fmla="*/ 109220 h 138429"/>
                <a:gd name="connsiteX1572" fmla="*/ 2153281 w 4940931"/>
                <a:gd name="connsiteY1572" fmla="*/ 110490 h 138429"/>
                <a:gd name="connsiteX1573" fmla="*/ 2146296 w 4940931"/>
                <a:gd name="connsiteY1573" fmla="*/ 109220 h 138429"/>
                <a:gd name="connsiteX1574" fmla="*/ 2140581 w 4940931"/>
                <a:gd name="connsiteY1574" fmla="*/ 105410 h 138429"/>
                <a:gd name="connsiteX1575" fmla="*/ 2136771 w 4940931"/>
                <a:gd name="connsiteY1575" fmla="*/ 99060 h 138429"/>
                <a:gd name="connsiteX1576" fmla="*/ 2135501 w 4940931"/>
                <a:gd name="connsiteY1576" fmla="*/ 89535 h 138429"/>
                <a:gd name="connsiteX1577" fmla="*/ 2135501 w 4940931"/>
                <a:gd name="connsiteY1577" fmla="*/ 44450 h 138429"/>
                <a:gd name="connsiteX1578" fmla="*/ 2124706 w 4940931"/>
                <a:gd name="connsiteY1578" fmla="*/ 44450 h 138429"/>
                <a:gd name="connsiteX1579" fmla="*/ 2124706 w 4940931"/>
                <a:gd name="connsiteY1579" fmla="*/ 30480 h 138429"/>
                <a:gd name="connsiteX1580" fmla="*/ 2135501 w 4940931"/>
                <a:gd name="connsiteY1580" fmla="*/ 30480 h 138429"/>
                <a:gd name="connsiteX1581" fmla="*/ 2135501 w 4940931"/>
                <a:gd name="connsiteY1581" fmla="*/ 8255 h 138429"/>
                <a:gd name="connsiteX1582" fmla="*/ 2096131 w 4940931"/>
                <a:gd name="connsiteY1582" fmla="*/ 0 h 138429"/>
                <a:gd name="connsiteX1583" fmla="*/ 2096131 w 4940931"/>
                <a:gd name="connsiteY1583" fmla="*/ 30480 h 138429"/>
                <a:gd name="connsiteX1584" fmla="*/ 2115181 w 4940931"/>
                <a:gd name="connsiteY1584" fmla="*/ 30480 h 138429"/>
                <a:gd name="connsiteX1585" fmla="*/ 2115181 w 4940931"/>
                <a:gd name="connsiteY1585" fmla="*/ 44450 h 138429"/>
                <a:gd name="connsiteX1586" fmla="*/ 2096131 w 4940931"/>
                <a:gd name="connsiteY1586" fmla="*/ 44450 h 138429"/>
                <a:gd name="connsiteX1587" fmla="*/ 2096131 w 4940931"/>
                <a:gd name="connsiteY1587" fmla="*/ 86995 h 138429"/>
                <a:gd name="connsiteX1588" fmla="*/ 2096131 w 4940931"/>
                <a:gd name="connsiteY1588" fmla="*/ 91440 h 138429"/>
                <a:gd name="connsiteX1589" fmla="*/ 2097401 w 4940931"/>
                <a:gd name="connsiteY1589" fmla="*/ 94615 h 138429"/>
                <a:gd name="connsiteX1590" fmla="*/ 2099941 w 4940931"/>
                <a:gd name="connsiteY1590" fmla="*/ 95885 h 138429"/>
                <a:gd name="connsiteX1591" fmla="*/ 2103751 w 4940931"/>
                <a:gd name="connsiteY1591" fmla="*/ 95885 h 138429"/>
                <a:gd name="connsiteX1592" fmla="*/ 2110101 w 4940931"/>
                <a:gd name="connsiteY1592" fmla="*/ 95250 h 138429"/>
                <a:gd name="connsiteX1593" fmla="*/ 2115181 w 4940931"/>
                <a:gd name="connsiteY1593" fmla="*/ 93345 h 138429"/>
                <a:gd name="connsiteX1594" fmla="*/ 2113276 w 4940931"/>
                <a:gd name="connsiteY1594" fmla="*/ 106680 h 138429"/>
                <a:gd name="connsiteX1595" fmla="*/ 2106926 w 4940931"/>
                <a:gd name="connsiteY1595" fmla="*/ 109220 h 138429"/>
                <a:gd name="connsiteX1596" fmla="*/ 2098671 w 4940931"/>
                <a:gd name="connsiteY1596" fmla="*/ 110490 h 138429"/>
                <a:gd name="connsiteX1597" fmla="*/ 2091686 w 4940931"/>
                <a:gd name="connsiteY1597" fmla="*/ 109220 h 138429"/>
                <a:gd name="connsiteX1598" fmla="*/ 2085971 w 4940931"/>
                <a:gd name="connsiteY1598" fmla="*/ 105410 h 138429"/>
                <a:gd name="connsiteX1599" fmla="*/ 2082161 w 4940931"/>
                <a:gd name="connsiteY1599" fmla="*/ 99060 h 138429"/>
                <a:gd name="connsiteX1600" fmla="*/ 2080891 w 4940931"/>
                <a:gd name="connsiteY1600" fmla="*/ 89535 h 138429"/>
                <a:gd name="connsiteX1601" fmla="*/ 2080891 w 4940931"/>
                <a:gd name="connsiteY1601" fmla="*/ 44450 h 138429"/>
                <a:gd name="connsiteX1602" fmla="*/ 2070096 w 4940931"/>
                <a:gd name="connsiteY1602" fmla="*/ 44450 h 138429"/>
                <a:gd name="connsiteX1603" fmla="*/ 2070096 w 4940931"/>
                <a:gd name="connsiteY1603" fmla="*/ 30480 h 138429"/>
                <a:gd name="connsiteX1604" fmla="*/ 2080891 w 4940931"/>
                <a:gd name="connsiteY1604" fmla="*/ 30480 h 138429"/>
                <a:gd name="connsiteX1605" fmla="*/ 2080891 w 4940931"/>
                <a:gd name="connsiteY1605" fmla="*/ 8255 h 138429"/>
                <a:gd name="connsiteX1606" fmla="*/ 1931665 w 4940931"/>
                <a:gd name="connsiteY1606" fmla="*/ 0 h 138429"/>
                <a:gd name="connsiteX1607" fmla="*/ 1931665 w 4940931"/>
                <a:gd name="connsiteY1607" fmla="*/ 37465 h 138429"/>
                <a:gd name="connsiteX1608" fmla="*/ 1936110 w 4940931"/>
                <a:gd name="connsiteY1608" fmla="*/ 33655 h 138429"/>
                <a:gd name="connsiteX1609" fmla="*/ 1939920 w 4940931"/>
                <a:gd name="connsiteY1609" fmla="*/ 31115 h 138429"/>
                <a:gd name="connsiteX1610" fmla="*/ 1945000 w 4940931"/>
                <a:gd name="connsiteY1610" fmla="*/ 29210 h 138429"/>
                <a:gd name="connsiteX1611" fmla="*/ 1951985 w 4940931"/>
                <a:gd name="connsiteY1611" fmla="*/ 28575 h 138429"/>
                <a:gd name="connsiteX1612" fmla="*/ 1964050 w 4940931"/>
                <a:gd name="connsiteY1612" fmla="*/ 31115 h 138429"/>
                <a:gd name="connsiteX1613" fmla="*/ 1973575 w 4940931"/>
                <a:gd name="connsiteY1613" fmla="*/ 38735 h 138429"/>
                <a:gd name="connsiteX1614" fmla="*/ 1979925 w 4940931"/>
                <a:gd name="connsiteY1614" fmla="*/ 51435 h 138429"/>
                <a:gd name="connsiteX1615" fmla="*/ 1982465 w 4940931"/>
                <a:gd name="connsiteY1615" fmla="*/ 70485 h 138429"/>
                <a:gd name="connsiteX1616" fmla="*/ 1981830 w 4940931"/>
                <a:gd name="connsiteY1616" fmla="*/ 71120 h 138429"/>
                <a:gd name="connsiteX1617" fmla="*/ 1979290 w 4940931"/>
                <a:gd name="connsiteY1617" fmla="*/ 88265 h 138429"/>
                <a:gd name="connsiteX1618" fmla="*/ 1972305 w 4940931"/>
                <a:gd name="connsiteY1618" fmla="*/ 100330 h 138429"/>
                <a:gd name="connsiteX1619" fmla="*/ 1962780 w 4940931"/>
                <a:gd name="connsiteY1619" fmla="*/ 107315 h 138429"/>
                <a:gd name="connsiteX1620" fmla="*/ 1951350 w 4940931"/>
                <a:gd name="connsiteY1620" fmla="*/ 109855 h 138429"/>
                <a:gd name="connsiteX1621" fmla="*/ 1940555 w 4940931"/>
                <a:gd name="connsiteY1621" fmla="*/ 107315 h 138429"/>
                <a:gd name="connsiteX1622" fmla="*/ 1931665 w 4940931"/>
                <a:gd name="connsiteY1622" fmla="*/ 100965 h 138429"/>
                <a:gd name="connsiteX1623" fmla="*/ 1931665 w 4940931"/>
                <a:gd name="connsiteY1623" fmla="*/ 107950 h 138429"/>
                <a:gd name="connsiteX1624" fmla="*/ 1916425 w 4940931"/>
                <a:gd name="connsiteY1624" fmla="*/ 107950 h 138429"/>
                <a:gd name="connsiteX1625" fmla="*/ 1916425 w 4940931"/>
                <a:gd name="connsiteY1625" fmla="*/ 7620 h 138429"/>
                <a:gd name="connsiteX1626" fmla="*/ 1316991 w 4940931"/>
                <a:gd name="connsiteY1626" fmla="*/ 0 h 138429"/>
                <a:gd name="connsiteX1627" fmla="*/ 1316991 w 4940931"/>
                <a:gd name="connsiteY1627" fmla="*/ 30480 h 138429"/>
                <a:gd name="connsiteX1628" fmla="*/ 1336041 w 4940931"/>
                <a:gd name="connsiteY1628" fmla="*/ 30480 h 138429"/>
                <a:gd name="connsiteX1629" fmla="*/ 1336041 w 4940931"/>
                <a:gd name="connsiteY1629" fmla="*/ 44450 h 138429"/>
                <a:gd name="connsiteX1630" fmla="*/ 1316991 w 4940931"/>
                <a:gd name="connsiteY1630" fmla="*/ 44450 h 138429"/>
                <a:gd name="connsiteX1631" fmla="*/ 1316991 w 4940931"/>
                <a:gd name="connsiteY1631" fmla="*/ 86995 h 138429"/>
                <a:gd name="connsiteX1632" fmla="*/ 1316991 w 4940931"/>
                <a:gd name="connsiteY1632" fmla="*/ 91440 h 138429"/>
                <a:gd name="connsiteX1633" fmla="*/ 1318261 w 4940931"/>
                <a:gd name="connsiteY1633" fmla="*/ 94615 h 138429"/>
                <a:gd name="connsiteX1634" fmla="*/ 1320801 w 4940931"/>
                <a:gd name="connsiteY1634" fmla="*/ 95885 h 138429"/>
                <a:gd name="connsiteX1635" fmla="*/ 1324611 w 4940931"/>
                <a:gd name="connsiteY1635" fmla="*/ 95885 h 138429"/>
                <a:gd name="connsiteX1636" fmla="*/ 1330961 w 4940931"/>
                <a:gd name="connsiteY1636" fmla="*/ 95250 h 138429"/>
                <a:gd name="connsiteX1637" fmla="*/ 1336041 w 4940931"/>
                <a:gd name="connsiteY1637" fmla="*/ 93345 h 138429"/>
                <a:gd name="connsiteX1638" fmla="*/ 1334136 w 4940931"/>
                <a:gd name="connsiteY1638" fmla="*/ 106680 h 138429"/>
                <a:gd name="connsiteX1639" fmla="*/ 1327786 w 4940931"/>
                <a:gd name="connsiteY1639" fmla="*/ 109220 h 138429"/>
                <a:gd name="connsiteX1640" fmla="*/ 1319531 w 4940931"/>
                <a:gd name="connsiteY1640" fmla="*/ 110490 h 138429"/>
                <a:gd name="connsiteX1641" fmla="*/ 1312546 w 4940931"/>
                <a:gd name="connsiteY1641" fmla="*/ 109220 h 138429"/>
                <a:gd name="connsiteX1642" fmla="*/ 1306831 w 4940931"/>
                <a:gd name="connsiteY1642" fmla="*/ 105410 h 138429"/>
                <a:gd name="connsiteX1643" fmla="*/ 1303021 w 4940931"/>
                <a:gd name="connsiteY1643" fmla="*/ 99060 h 138429"/>
                <a:gd name="connsiteX1644" fmla="*/ 1301751 w 4940931"/>
                <a:gd name="connsiteY1644" fmla="*/ 89535 h 138429"/>
                <a:gd name="connsiteX1645" fmla="*/ 1301751 w 4940931"/>
                <a:gd name="connsiteY1645" fmla="*/ 44450 h 138429"/>
                <a:gd name="connsiteX1646" fmla="*/ 1290956 w 4940931"/>
                <a:gd name="connsiteY1646" fmla="*/ 44450 h 138429"/>
                <a:gd name="connsiteX1647" fmla="*/ 1290956 w 4940931"/>
                <a:gd name="connsiteY1647" fmla="*/ 30480 h 138429"/>
                <a:gd name="connsiteX1648" fmla="*/ 1301751 w 4940931"/>
                <a:gd name="connsiteY1648" fmla="*/ 30480 h 138429"/>
                <a:gd name="connsiteX1649" fmla="*/ 1301751 w 4940931"/>
                <a:gd name="connsiteY1649" fmla="*/ 8255 h 138429"/>
                <a:gd name="connsiteX1650" fmla="*/ 751206 w 4940931"/>
                <a:gd name="connsiteY1650" fmla="*/ 0 h 138429"/>
                <a:gd name="connsiteX1651" fmla="*/ 751206 w 4940931"/>
                <a:gd name="connsiteY1651" fmla="*/ 30480 h 138429"/>
                <a:gd name="connsiteX1652" fmla="*/ 770256 w 4940931"/>
                <a:gd name="connsiteY1652" fmla="*/ 30480 h 138429"/>
                <a:gd name="connsiteX1653" fmla="*/ 770256 w 4940931"/>
                <a:gd name="connsiteY1653" fmla="*/ 44450 h 138429"/>
                <a:gd name="connsiteX1654" fmla="*/ 751206 w 4940931"/>
                <a:gd name="connsiteY1654" fmla="*/ 44450 h 138429"/>
                <a:gd name="connsiteX1655" fmla="*/ 751206 w 4940931"/>
                <a:gd name="connsiteY1655" fmla="*/ 86995 h 138429"/>
                <a:gd name="connsiteX1656" fmla="*/ 751206 w 4940931"/>
                <a:gd name="connsiteY1656" fmla="*/ 91440 h 138429"/>
                <a:gd name="connsiteX1657" fmla="*/ 752476 w 4940931"/>
                <a:gd name="connsiteY1657" fmla="*/ 94615 h 138429"/>
                <a:gd name="connsiteX1658" fmla="*/ 755016 w 4940931"/>
                <a:gd name="connsiteY1658" fmla="*/ 95885 h 138429"/>
                <a:gd name="connsiteX1659" fmla="*/ 758826 w 4940931"/>
                <a:gd name="connsiteY1659" fmla="*/ 95885 h 138429"/>
                <a:gd name="connsiteX1660" fmla="*/ 765176 w 4940931"/>
                <a:gd name="connsiteY1660" fmla="*/ 95250 h 138429"/>
                <a:gd name="connsiteX1661" fmla="*/ 770256 w 4940931"/>
                <a:gd name="connsiteY1661" fmla="*/ 93345 h 138429"/>
                <a:gd name="connsiteX1662" fmla="*/ 768351 w 4940931"/>
                <a:gd name="connsiteY1662" fmla="*/ 106680 h 138429"/>
                <a:gd name="connsiteX1663" fmla="*/ 762001 w 4940931"/>
                <a:gd name="connsiteY1663" fmla="*/ 109220 h 138429"/>
                <a:gd name="connsiteX1664" fmla="*/ 753746 w 4940931"/>
                <a:gd name="connsiteY1664" fmla="*/ 110490 h 138429"/>
                <a:gd name="connsiteX1665" fmla="*/ 746761 w 4940931"/>
                <a:gd name="connsiteY1665" fmla="*/ 109220 h 138429"/>
                <a:gd name="connsiteX1666" fmla="*/ 741045 w 4940931"/>
                <a:gd name="connsiteY1666" fmla="*/ 105410 h 138429"/>
                <a:gd name="connsiteX1667" fmla="*/ 737236 w 4940931"/>
                <a:gd name="connsiteY1667" fmla="*/ 99060 h 138429"/>
                <a:gd name="connsiteX1668" fmla="*/ 735966 w 4940931"/>
                <a:gd name="connsiteY1668" fmla="*/ 89535 h 138429"/>
                <a:gd name="connsiteX1669" fmla="*/ 735966 w 4940931"/>
                <a:gd name="connsiteY1669" fmla="*/ 44450 h 138429"/>
                <a:gd name="connsiteX1670" fmla="*/ 725171 w 4940931"/>
                <a:gd name="connsiteY1670" fmla="*/ 44450 h 138429"/>
                <a:gd name="connsiteX1671" fmla="*/ 725171 w 4940931"/>
                <a:gd name="connsiteY1671" fmla="*/ 30480 h 138429"/>
                <a:gd name="connsiteX1672" fmla="*/ 735966 w 4940931"/>
                <a:gd name="connsiteY1672" fmla="*/ 30480 h 138429"/>
                <a:gd name="connsiteX1673" fmla="*/ 735966 w 4940931"/>
                <a:gd name="connsiteY1673" fmla="*/ 8255 h 138429"/>
                <a:gd name="connsiteX1674" fmla="*/ 521335 w 4940931"/>
                <a:gd name="connsiteY1674" fmla="*/ 0 h 138429"/>
                <a:gd name="connsiteX1675" fmla="*/ 521335 w 4940931"/>
                <a:gd name="connsiteY1675" fmla="*/ 30480 h 138429"/>
                <a:gd name="connsiteX1676" fmla="*/ 540385 w 4940931"/>
                <a:gd name="connsiteY1676" fmla="*/ 30480 h 138429"/>
                <a:gd name="connsiteX1677" fmla="*/ 540385 w 4940931"/>
                <a:gd name="connsiteY1677" fmla="*/ 44450 h 138429"/>
                <a:gd name="connsiteX1678" fmla="*/ 521335 w 4940931"/>
                <a:gd name="connsiteY1678" fmla="*/ 44450 h 138429"/>
                <a:gd name="connsiteX1679" fmla="*/ 521335 w 4940931"/>
                <a:gd name="connsiteY1679" fmla="*/ 86995 h 138429"/>
                <a:gd name="connsiteX1680" fmla="*/ 521335 w 4940931"/>
                <a:gd name="connsiteY1680" fmla="*/ 91440 h 138429"/>
                <a:gd name="connsiteX1681" fmla="*/ 522605 w 4940931"/>
                <a:gd name="connsiteY1681" fmla="*/ 94615 h 138429"/>
                <a:gd name="connsiteX1682" fmla="*/ 525145 w 4940931"/>
                <a:gd name="connsiteY1682" fmla="*/ 95885 h 138429"/>
                <a:gd name="connsiteX1683" fmla="*/ 528955 w 4940931"/>
                <a:gd name="connsiteY1683" fmla="*/ 95885 h 138429"/>
                <a:gd name="connsiteX1684" fmla="*/ 535305 w 4940931"/>
                <a:gd name="connsiteY1684" fmla="*/ 95250 h 138429"/>
                <a:gd name="connsiteX1685" fmla="*/ 540385 w 4940931"/>
                <a:gd name="connsiteY1685" fmla="*/ 93345 h 138429"/>
                <a:gd name="connsiteX1686" fmla="*/ 538480 w 4940931"/>
                <a:gd name="connsiteY1686" fmla="*/ 106680 h 138429"/>
                <a:gd name="connsiteX1687" fmla="*/ 532130 w 4940931"/>
                <a:gd name="connsiteY1687" fmla="*/ 109220 h 138429"/>
                <a:gd name="connsiteX1688" fmla="*/ 523875 w 4940931"/>
                <a:gd name="connsiteY1688" fmla="*/ 110490 h 138429"/>
                <a:gd name="connsiteX1689" fmla="*/ 516890 w 4940931"/>
                <a:gd name="connsiteY1689" fmla="*/ 109220 h 138429"/>
                <a:gd name="connsiteX1690" fmla="*/ 511175 w 4940931"/>
                <a:gd name="connsiteY1690" fmla="*/ 105410 h 138429"/>
                <a:gd name="connsiteX1691" fmla="*/ 507365 w 4940931"/>
                <a:gd name="connsiteY1691" fmla="*/ 99060 h 138429"/>
                <a:gd name="connsiteX1692" fmla="*/ 506095 w 4940931"/>
                <a:gd name="connsiteY1692" fmla="*/ 89535 h 138429"/>
                <a:gd name="connsiteX1693" fmla="*/ 506095 w 4940931"/>
                <a:gd name="connsiteY1693" fmla="*/ 44450 h 138429"/>
                <a:gd name="connsiteX1694" fmla="*/ 495300 w 4940931"/>
                <a:gd name="connsiteY1694" fmla="*/ 44450 h 138429"/>
                <a:gd name="connsiteX1695" fmla="*/ 495300 w 4940931"/>
                <a:gd name="connsiteY1695" fmla="*/ 30480 h 138429"/>
                <a:gd name="connsiteX1696" fmla="*/ 506095 w 4940931"/>
                <a:gd name="connsiteY1696" fmla="*/ 30480 h 138429"/>
                <a:gd name="connsiteX1697" fmla="*/ 506095 w 4940931"/>
                <a:gd name="connsiteY1697" fmla="*/ 8255 h 138429"/>
                <a:gd name="connsiteX1698" fmla="*/ 466724 w 4940931"/>
                <a:gd name="connsiteY1698" fmla="*/ 0 h 138429"/>
                <a:gd name="connsiteX1699" fmla="*/ 466724 w 4940931"/>
                <a:gd name="connsiteY1699" fmla="*/ 30480 h 138429"/>
                <a:gd name="connsiteX1700" fmla="*/ 485774 w 4940931"/>
                <a:gd name="connsiteY1700" fmla="*/ 30480 h 138429"/>
                <a:gd name="connsiteX1701" fmla="*/ 485774 w 4940931"/>
                <a:gd name="connsiteY1701" fmla="*/ 44450 h 138429"/>
                <a:gd name="connsiteX1702" fmla="*/ 466724 w 4940931"/>
                <a:gd name="connsiteY1702" fmla="*/ 44450 h 138429"/>
                <a:gd name="connsiteX1703" fmla="*/ 466724 w 4940931"/>
                <a:gd name="connsiteY1703" fmla="*/ 86995 h 138429"/>
                <a:gd name="connsiteX1704" fmla="*/ 466724 w 4940931"/>
                <a:gd name="connsiteY1704" fmla="*/ 91440 h 138429"/>
                <a:gd name="connsiteX1705" fmla="*/ 467994 w 4940931"/>
                <a:gd name="connsiteY1705" fmla="*/ 94615 h 138429"/>
                <a:gd name="connsiteX1706" fmla="*/ 470534 w 4940931"/>
                <a:gd name="connsiteY1706" fmla="*/ 95885 h 138429"/>
                <a:gd name="connsiteX1707" fmla="*/ 474344 w 4940931"/>
                <a:gd name="connsiteY1707" fmla="*/ 95885 h 138429"/>
                <a:gd name="connsiteX1708" fmla="*/ 480694 w 4940931"/>
                <a:gd name="connsiteY1708" fmla="*/ 95250 h 138429"/>
                <a:gd name="connsiteX1709" fmla="*/ 485774 w 4940931"/>
                <a:gd name="connsiteY1709" fmla="*/ 93345 h 138429"/>
                <a:gd name="connsiteX1710" fmla="*/ 483869 w 4940931"/>
                <a:gd name="connsiteY1710" fmla="*/ 106680 h 138429"/>
                <a:gd name="connsiteX1711" fmla="*/ 477519 w 4940931"/>
                <a:gd name="connsiteY1711" fmla="*/ 109220 h 138429"/>
                <a:gd name="connsiteX1712" fmla="*/ 469264 w 4940931"/>
                <a:gd name="connsiteY1712" fmla="*/ 110490 h 138429"/>
                <a:gd name="connsiteX1713" fmla="*/ 462279 w 4940931"/>
                <a:gd name="connsiteY1713" fmla="*/ 109220 h 138429"/>
                <a:gd name="connsiteX1714" fmla="*/ 456564 w 4940931"/>
                <a:gd name="connsiteY1714" fmla="*/ 105410 h 138429"/>
                <a:gd name="connsiteX1715" fmla="*/ 452754 w 4940931"/>
                <a:gd name="connsiteY1715" fmla="*/ 99060 h 138429"/>
                <a:gd name="connsiteX1716" fmla="*/ 451484 w 4940931"/>
                <a:gd name="connsiteY1716" fmla="*/ 89535 h 138429"/>
                <a:gd name="connsiteX1717" fmla="*/ 451484 w 4940931"/>
                <a:gd name="connsiteY1717" fmla="*/ 44450 h 138429"/>
                <a:gd name="connsiteX1718" fmla="*/ 440689 w 4940931"/>
                <a:gd name="connsiteY1718" fmla="*/ 44450 h 138429"/>
                <a:gd name="connsiteX1719" fmla="*/ 440689 w 4940931"/>
                <a:gd name="connsiteY1719" fmla="*/ 30480 h 138429"/>
                <a:gd name="connsiteX1720" fmla="*/ 451484 w 4940931"/>
                <a:gd name="connsiteY1720" fmla="*/ 30480 h 138429"/>
                <a:gd name="connsiteX1721" fmla="*/ 451484 w 4940931"/>
                <a:gd name="connsiteY1721" fmla="*/ 8255 h 138429"/>
                <a:gd name="connsiteX1722" fmla="*/ 302259 w 4940931"/>
                <a:gd name="connsiteY1722" fmla="*/ 0 h 138429"/>
                <a:gd name="connsiteX1723" fmla="*/ 302259 w 4940931"/>
                <a:gd name="connsiteY1723" fmla="*/ 37465 h 138429"/>
                <a:gd name="connsiteX1724" fmla="*/ 306704 w 4940931"/>
                <a:gd name="connsiteY1724" fmla="*/ 33655 h 138429"/>
                <a:gd name="connsiteX1725" fmla="*/ 310514 w 4940931"/>
                <a:gd name="connsiteY1725" fmla="*/ 31115 h 138429"/>
                <a:gd name="connsiteX1726" fmla="*/ 315594 w 4940931"/>
                <a:gd name="connsiteY1726" fmla="*/ 29210 h 138429"/>
                <a:gd name="connsiteX1727" fmla="*/ 322579 w 4940931"/>
                <a:gd name="connsiteY1727" fmla="*/ 28575 h 138429"/>
                <a:gd name="connsiteX1728" fmla="*/ 334644 w 4940931"/>
                <a:gd name="connsiteY1728" fmla="*/ 31115 h 138429"/>
                <a:gd name="connsiteX1729" fmla="*/ 344169 w 4940931"/>
                <a:gd name="connsiteY1729" fmla="*/ 38735 h 138429"/>
                <a:gd name="connsiteX1730" fmla="*/ 350519 w 4940931"/>
                <a:gd name="connsiteY1730" fmla="*/ 51435 h 138429"/>
                <a:gd name="connsiteX1731" fmla="*/ 353059 w 4940931"/>
                <a:gd name="connsiteY1731" fmla="*/ 70485 h 138429"/>
                <a:gd name="connsiteX1732" fmla="*/ 352424 w 4940931"/>
                <a:gd name="connsiteY1732" fmla="*/ 71120 h 138429"/>
                <a:gd name="connsiteX1733" fmla="*/ 349884 w 4940931"/>
                <a:gd name="connsiteY1733" fmla="*/ 88265 h 138429"/>
                <a:gd name="connsiteX1734" fmla="*/ 342899 w 4940931"/>
                <a:gd name="connsiteY1734" fmla="*/ 100330 h 138429"/>
                <a:gd name="connsiteX1735" fmla="*/ 333374 w 4940931"/>
                <a:gd name="connsiteY1735" fmla="*/ 107315 h 138429"/>
                <a:gd name="connsiteX1736" fmla="*/ 321944 w 4940931"/>
                <a:gd name="connsiteY1736" fmla="*/ 109855 h 138429"/>
                <a:gd name="connsiteX1737" fmla="*/ 311149 w 4940931"/>
                <a:gd name="connsiteY1737" fmla="*/ 107315 h 138429"/>
                <a:gd name="connsiteX1738" fmla="*/ 302259 w 4940931"/>
                <a:gd name="connsiteY1738" fmla="*/ 100965 h 138429"/>
                <a:gd name="connsiteX1739" fmla="*/ 302259 w 4940931"/>
                <a:gd name="connsiteY1739" fmla="*/ 107950 h 138429"/>
                <a:gd name="connsiteX1740" fmla="*/ 287019 w 4940931"/>
                <a:gd name="connsiteY1740" fmla="*/ 107950 h 138429"/>
                <a:gd name="connsiteX1741" fmla="*/ 287019 w 4940931"/>
                <a:gd name="connsiteY1741" fmla="*/ 7620 h 138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  <a:cxn ang="0">
                  <a:pos x="connsiteX1535" y="connsiteY1535"/>
                </a:cxn>
                <a:cxn ang="0">
                  <a:pos x="connsiteX1536" y="connsiteY1536"/>
                </a:cxn>
                <a:cxn ang="0">
                  <a:pos x="connsiteX1537" y="connsiteY1537"/>
                </a:cxn>
                <a:cxn ang="0">
                  <a:pos x="connsiteX1538" y="connsiteY1538"/>
                </a:cxn>
                <a:cxn ang="0">
                  <a:pos x="connsiteX1539" y="connsiteY1539"/>
                </a:cxn>
                <a:cxn ang="0">
                  <a:pos x="connsiteX1540" y="connsiteY1540"/>
                </a:cxn>
                <a:cxn ang="0">
                  <a:pos x="connsiteX1541" y="connsiteY1541"/>
                </a:cxn>
                <a:cxn ang="0">
                  <a:pos x="connsiteX1542" y="connsiteY1542"/>
                </a:cxn>
                <a:cxn ang="0">
                  <a:pos x="connsiteX1543" y="connsiteY1543"/>
                </a:cxn>
                <a:cxn ang="0">
                  <a:pos x="connsiteX1544" y="connsiteY1544"/>
                </a:cxn>
                <a:cxn ang="0">
                  <a:pos x="connsiteX1545" y="connsiteY1545"/>
                </a:cxn>
                <a:cxn ang="0">
                  <a:pos x="connsiteX1546" y="connsiteY1546"/>
                </a:cxn>
                <a:cxn ang="0">
                  <a:pos x="connsiteX1547" y="connsiteY1547"/>
                </a:cxn>
                <a:cxn ang="0">
                  <a:pos x="connsiteX1548" y="connsiteY1548"/>
                </a:cxn>
                <a:cxn ang="0">
                  <a:pos x="connsiteX1549" y="connsiteY1549"/>
                </a:cxn>
                <a:cxn ang="0">
                  <a:pos x="connsiteX1550" y="connsiteY1550"/>
                </a:cxn>
                <a:cxn ang="0">
                  <a:pos x="connsiteX1551" y="connsiteY1551"/>
                </a:cxn>
                <a:cxn ang="0">
                  <a:pos x="connsiteX1552" y="connsiteY1552"/>
                </a:cxn>
                <a:cxn ang="0">
                  <a:pos x="connsiteX1553" y="connsiteY1553"/>
                </a:cxn>
                <a:cxn ang="0">
                  <a:pos x="connsiteX1554" y="connsiteY1554"/>
                </a:cxn>
                <a:cxn ang="0">
                  <a:pos x="connsiteX1555" y="connsiteY1555"/>
                </a:cxn>
                <a:cxn ang="0">
                  <a:pos x="connsiteX1556" y="connsiteY1556"/>
                </a:cxn>
                <a:cxn ang="0">
                  <a:pos x="connsiteX1557" y="connsiteY1557"/>
                </a:cxn>
                <a:cxn ang="0">
                  <a:pos x="connsiteX1558" y="connsiteY1558"/>
                </a:cxn>
                <a:cxn ang="0">
                  <a:pos x="connsiteX1559" y="connsiteY1559"/>
                </a:cxn>
                <a:cxn ang="0">
                  <a:pos x="connsiteX1560" y="connsiteY1560"/>
                </a:cxn>
                <a:cxn ang="0">
                  <a:pos x="connsiteX1561" y="connsiteY1561"/>
                </a:cxn>
                <a:cxn ang="0">
                  <a:pos x="connsiteX1562" y="connsiteY1562"/>
                </a:cxn>
                <a:cxn ang="0">
                  <a:pos x="connsiteX1563" y="connsiteY1563"/>
                </a:cxn>
                <a:cxn ang="0">
                  <a:pos x="connsiteX1564" y="connsiteY1564"/>
                </a:cxn>
                <a:cxn ang="0">
                  <a:pos x="connsiteX1565" y="connsiteY1565"/>
                </a:cxn>
                <a:cxn ang="0">
                  <a:pos x="connsiteX1566" y="connsiteY1566"/>
                </a:cxn>
                <a:cxn ang="0">
                  <a:pos x="connsiteX1567" y="connsiteY1567"/>
                </a:cxn>
                <a:cxn ang="0">
                  <a:pos x="connsiteX1568" y="connsiteY1568"/>
                </a:cxn>
                <a:cxn ang="0">
                  <a:pos x="connsiteX1569" y="connsiteY1569"/>
                </a:cxn>
                <a:cxn ang="0">
                  <a:pos x="connsiteX1570" y="connsiteY1570"/>
                </a:cxn>
                <a:cxn ang="0">
                  <a:pos x="connsiteX1571" y="connsiteY1571"/>
                </a:cxn>
                <a:cxn ang="0">
                  <a:pos x="connsiteX1572" y="connsiteY1572"/>
                </a:cxn>
                <a:cxn ang="0">
                  <a:pos x="connsiteX1573" y="connsiteY1573"/>
                </a:cxn>
                <a:cxn ang="0">
                  <a:pos x="connsiteX1574" y="connsiteY1574"/>
                </a:cxn>
                <a:cxn ang="0">
                  <a:pos x="connsiteX1575" y="connsiteY1575"/>
                </a:cxn>
                <a:cxn ang="0">
                  <a:pos x="connsiteX1576" y="connsiteY1576"/>
                </a:cxn>
                <a:cxn ang="0">
                  <a:pos x="connsiteX1577" y="connsiteY1577"/>
                </a:cxn>
                <a:cxn ang="0">
                  <a:pos x="connsiteX1578" y="connsiteY1578"/>
                </a:cxn>
                <a:cxn ang="0">
                  <a:pos x="connsiteX1579" y="connsiteY1579"/>
                </a:cxn>
                <a:cxn ang="0">
                  <a:pos x="connsiteX1580" y="connsiteY1580"/>
                </a:cxn>
                <a:cxn ang="0">
                  <a:pos x="connsiteX1581" y="connsiteY1581"/>
                </a:cxn>
                <a:cxn ang="0">
                  <a:pos x="connsiteX1582" y="connsiteY1582"/>
                </a:cxn>
                <a:cxn ang="0">
                  <a:pos x="connsiteX1583" y="connsiteY1583"/>
                </a:cxn>
                <a:cxn ang="0">
                  <a:pos x="connsiteX1584" y="connsiteY1584"/>
                </a:cxn>
                <a:cxn ang="0">
                  <a:pos x="connsiteX1585" y="connsiteY1585"/>
                </a:cxn>
                <a:cxn ang="0">
                  <a:pos x="connsiteX1586" y="connsiteY1586"/>
                </a:cxn>
                <a:cxn ang="0">
                  <a:pos x="connsiteX1587" y="connsiteY1587"/>
                </a:cxn>
                <a:cxn ang="0">
                  <a:pos x="connsiteX1588" y="connsiteY1588"/>
                </a:cxn>
                <a:cxn ang="0">
                  <a:pos x="connsiteX1589" y="connsiteY1589"/>
                </a:cxn>
                <a:cxn ang="0">
                  <a:pos x="connsiteX1590" y="connsiteY1590"/>
                </a:cxn>
                <a:cxn ang="0">
                  <a:pos x="connsiteX1591" y="connsiteY1591"/>
                </a:cxn>
                <a:cxn ang="0">
                  <a:pos x="connsiteX1592" y="connsiteY1592"/>
                </a:cxn>
                <a:cxn ang="0">
                  <a:pos x="connsiteX1593" y="connsiteY1593"/>
                </a:cxn>
                <a:cxn ang="0">
                  <a:pos x="connsiteX1594" y="connsiteY1594"/>
                </a:cxn>
                <a:cxn ang="0">
                  <a:pos x="connsiteX1595" y="connsiteY1595"/>
                </a:cxn>
                <a:cxn ang="0">
                  <a:pos x="connsiteX1596" y="connsiteY1596"/>
                </a:cxn>
                <a:cxn ang="0">
                  <a:pos x="connsiteX1597" y="connsiteY1597"/>
                </a:cxn>
                <a:cxn ang="0">
                  <a:pos x="connsiteX1598" y="connsiteY1598"/>
                </a:cxn>
                <a:cxn ang="0">
                  <a:pos x="connsiteX1599" y="connsiteY1599"/>
                </a:cxn>
                <a:cxn ang="0">
                  <a:pos x="connsiteX1600" y="connsiteY1600"/>
                </a:cxn>
                <a:cxn ang="0">
                  <a:pos x="connsiteX1601" y="connsiteY1601"/>
                </a:cxn>
                <a:cxn ang="0">
                  <a:pos x="connsiteX1602" y="connsiteY1602"/>
                </a:cxn>
                <a:cxn ang="0">
                  <a:pos x="connsiteX1603" y="connsiteY1603"/>
                </a:cxn>
                <a:cxn ang="0">
                  <a:pos x="connsiteX1604" y="connsiteY1604"/>
                </a:cxn>
                <a:cxn ang="0">
                  <a:pos x="connsiteX1605" y="connsiteY1605"/>
                </a:cxn>
                <a:cxn ang="0">
                  <a:pos x="connsiteX1606" y="connsiteY1606"/>
                </a:cxn>
                <a:cxn ang="0">
                  <a:pos x="connsiteX1607" y="connsiteY1607"/>
                </a:cxn>
                <a:cxn ang="0">
                  <a:pos x="connsiteX1608" y="connsiteY1608"/>
                </a:cxn>
                <a:cxn ang="0">
                  <a:pos x="connsiteX1609" y="connsiteY1609"/>
                </a:cxn>
                <a:cxn ang="0">
                  <a:pos x="connsiteX1610" y="connsiteY1610"/>
                </a:cxn>
                <a:cxn ang="0">
                  <a:pos x="connsiteX1611" y="connsiteY1611"/>
                </a:cxn>
                <a:cxn ang="0">
                  <a:pos x="connsiteX1612" y="connsiteY1612"/>
                </a:cxn>
                <a:cxn ang="0">
                  <a:pos x="connsiteX1613" y="connsiteY1613"/>
                </a:cxn>
                <a:cxn ang="0">
                  <a:pos x="connsiteX1614" y="connsiteY1614"/>
                </a:cxn>
                <a:cxn ang="0">
                  <a:pos x="connsiteX1615" y="connsiteY1615"/>
                </a:cxn>
                <a:cxn ang="0">
                  <a:pos x="connsiteX1616" y="connsiteY1616"/>
                </a:cxn>
                <a:cxn ang="0">
                  <a:pos x="connsiteX1617" y="connsiteY1617"/>
                </a:cxn>
                <a:cxn ang="0">
                  <a:pos x="connsiteX1618" y="connsiteY1618"/>
                </a:cxn>
                <a:cxn ang="0">
                  <a:pos x="connsiteX1619" y="connsiteY1619"/>
                </a:cxn>
                <a:cxn ang="0">
                  <a:pos x="connsiteX1620" y="connsiteY1620"/>
                </a:cxn>
                <a:cxn ang="0">
                  <a:pos x="connsiteX1621" y="connsiteY1621"/>
                </a:cxn>
                <a:cxn ang="0">
                  <a:pos x="connsiteX1622" y="connsiteY1622"/>
                </a:cxn>
                <a:cxn ang="0">
                  <a:pos x="connsiteX1623" y="connsiteY1623"/>
                </a:cxn>
                <a:cxn ang="0">
                  <a:pos x="connsiteX1624" y="connsiteY1624"/>
                </a:cxn>
                <a:cxn ang="0">
                  <a:pos x="connsiteX1625" y="connsiteY1625"/>
                </a:cxn>
                <a:cxn ang="0">
                  <a:pos x="connsiteX1626" y="connsiteY1626"/>
                </a:cxn>
                <a:cxn ang="0">
                  <a:pos x="connsiteX1627" y="connsiteY1627"/>
                </a:cxn>
                <a:cxn ang="0">
                  <a:pos x="connsiteX1628" y="connsiteY1628"/>
                </a:cxn>
                <a:cxn ang="0">
                  <a:pos x="connsiteX1629" y="connsiteY1629"/>
                </a:cxn>
                <a:cxn ang="0">
                  <a:pos x="connsiteX1630" y="connsiteY1630"/>
                </a:cxn>
                <a:cxn ang="0">
                  <a:pos x="connsiteX1631" y="connsiteY1631"/>
                </a:cxn>
                <a:cxn ang="0">
                  <a:pos x="connsiteX1632" y="connsiteY1632"/>
                </a:cxn>
                <a:cxn ang="0">
                  <a:pos x="connsiteX1633" y="connsiteY1633"/>
                </a:cxn>
                <a:cxn ang="0">
                  <a:pos x="connsiteX1634" y="connsiteY1634"/>
                </a:cxn>
                <a:cxn ang="0">
                  <a:pos x="connsiteX1635" y="connsiteY1635"/>
                </a:cxn>
                <a:cxn ang="0">
                  <a:pos x="connsiteX1636" y="connsiteY1636"/>
                </a:cxn>
                <a:cxn ang="0">
                  <a:pos x="connsiteX1637" y="connsiteY1637"/>
                </a:cxn>
                <a:cxn ang="0">
                  <a:pos x="connsiteX1638" y="connsiteY1638"/>
                </a:cxn>
                <a:cxn ang="0">
                  <a:pos x="connsiteX1639" y="connsiteY1639"/>
                </a:cxn>
                <a:cxn ang="0">
                  <a:pos x="connsiteX1640" y="connsiteY1640"/>
                </a:cxn>
                <a:cxn ang="0">
                  <a:pos x="connsiteX1641" y="connsiteY1641"/>
                </a:cxn>
                <a:cxn ang="0">
                  <a:pos x="connsiteX1642" y="connsiteY1642"/>
                </a:cxn>
                <a:cxn ang="0">
                  <a:pos x="connsiteX1643" y="connsiteY1643"/>
                </a:cxn>
                <a:cxn ang="0">
                  <a:pos x="connsiteX1644" y="connsiteY1644"/>
                </a:cxn>
                <a:cxn ang="0">
                  <a:pos x="connsiteX1645" y="connsiteY1645"/>
                </a:cxn>
                <a:cxn ang="0">
                  <a:pos x="connsiteX1646" y="connsiteY1646"/>
                </a:cxn>
                <a:cxn ang="0">
                  <a:pos x="connsiteX1647" y="connsiteY1647"/>
                </a:cxn>
                <a:cxn ang="0">
                  <a:pos x="connsiteX1648" y="connsiteY1648"/>
                </a:cxn>
                <a:cxn ang="0">
                  <a:pos x="connsiteX1649" y="connsiteY1649"/>
                </a:cxn>
                <a:cxn ang="0">
                  <a:pos x="connsiteX1650" y="connsiteY1650"/>
                </a:cxn>
                <a:cxn ang="0">
                  <a:pos x="connsiteX1651" y="connsiteY1651"/>
                </a:cxn>
                <a:cxn ang="0">
                  <a:pos x="connsiteX1652" y="connsiteY1652"/>
                </a:cxn>
                <a:cxn ang="0">
                  <a:pos x="connsiteX1653" y="connsiteY1653"/>
                </a:cxn>
                <a:cxn ang="0">
                  <a:pos x="connsiteX1654" y="connsiteY1654"/>
                </a:cxn>
                <a:cxn ang="0">
                  <a:pos x="connsiteX1655" y="connsiteY1655"/>
                </a:cxn>
                <a:cxn ang="0">
                  <a:pos x="connsiteX1656" y="connsiteY1656"/>
                </a:cxn>
                <a:cxn ang="0">
                  <a:pos x="connsiteX1657" y="connsiteY1657"/>
                </a:cxn>
                <a:cxn ang="0">
                  <a:pos x="connsiteX1658" y="connsiteY1658"/>
                </a:cxn>
                <a:cxn ang="0">
                  <a:pos x="connsiteX1659" y="connsiteY1659"/>
                </a:cxn>
                <a:cxn ang="0">
                  <a:pos x="connsiteX1660" y="connsiteY1660"/>
                </a:cxn>
                <a:cxn ang="0">
                  <a:pos x="connsiteX1661" y="connsiteY1661"/>
                </a:cxn>
                <a:cxn ang="0">
                  <a:pos x="connsiteX1662" y="connsiteY1662"/>
                </a:cxn>
                <a:cxn ang="0">
                  <a:pos x="connsiteX1663" y="connsiteY1663"/>
                </a:cxn>
                <a:cxn ang="0">
                  <a:pos x="connsiteX1664" y="connsiteY1664"/>
                </a:cxn>
                <a:cxn ang="0">
                  <a:pos x="connsiteX1665" y="connsiteY1665"/>
                </a:cxn>
                <a:cxn ang="0">
                  <a:pos x="connsiteX1666" y="connsiteY1666"/>
                </a:cxn>
                <a:cxn ang="0">
                  <a:pos x="connsiteX1667" y="connsiteY1667"/>
                </a:cxn>
                <a:cxn ang="0">
                  <a:pos x="connsiteX1668" y="connsiteY1668"/>
                </a:cxn>
                <a:cxn ang="0">
                  <a:pos x="connsiteX1669" y="connsiteY1669"/>
                </a:cxn>
                <a:cxn ang="0">
                  <a:pos x="connsiteX1670" y="connsiteY1670"/>
                </a:cxn>
                <a:cxn ang="0">
                  <a:pos x="connsiteX1671" y="connsiteY1671"/>
                </a:cxn>
                <a:cxn ang="0">
                  <a:pos x="connsiteX1672" y="connsiteY1672"/>
                </a:cxn>
                <a:cxn ang="0">
                  <a:pos x="connsiteX1673" y="connsiteY1673"/>
                </a:cxn>
                <a:cxn ang="0">
                  <a:pos x="connsiteX1674" y="connsiteY1674"/>
                </a:cxn>
                <a:cxn ang="0">
                  <a:pos x="connsiteX1675" y="connsiteY1675"/>
                </a:cxn>
                <a:cxn ang="0">
                  <a:pos x="connsiteX1676" y="connsiteY1676"/>
                </a:cxn>
                <a:cxn ang="0">
                  <a:pos x="connsiteX1677" y="connsiteY1677"/>
                </a:cxn>
                <a:cxn ang="0">
                  <a:pos x="connsiteX1678" y="connsiteY1678"/>
                </a:cxn>
                <a:cxn ang="0">
                  <a:pos x="connsiteX1679" y="connsiteY1679"/>
                </a:cxn>
                <a:cxn ang="0">
                  <a:pos x="connsiteX1680" y="connsiteY1680"/>
                </a:cxn>
                <a:cxn ang="0">
                  <a:pos x="connsiteX1681" y="connsiteY1681"/>
                </a:cxn>
                <a:cxn ang="0">
                  <a:pos x="connsiteX1682" y="connsiteY1682"/>
                </a:cxn>
                <a:cxn ang="0">
                  <a:pos x="connsiteX1683" y="connsiteY1683"/>
                </a:cxn>
                <a:cxn ang="0">
                  <a:pos x="connsiteX1684" y="connsiteY1684"/>
                </a:cxn>
                <a:cxn ang="0">
                  <a:pos x="connsiteX1685" y="connsiteY1685"/>
                </a:cxn>
                <a:cxn ang="0">
                  <a:pos x="connsiteX1686" y="connsiteY1686"/>
                </a:cxn>
                <a:cxn ang="0">
                  <a:pos x="connsiteX1687" y="connsiteY1687"/>
                </a:cxn>
                <a:cxn ang="0">
                  <a:pos x="connsiteX1688" y="connsiteY1688"/>
                </a:cxn>
                <a:cxn ang="0">
                  <a:pos x="connsiteX1689" y="connsiteY1689"/>
                </a:cxn>
                <a:cxn ang="0">
                  <a:pos x="connsiteX1690" y="connsiteY1690"/>
                </a:cxn>
                <a:cxn ang="0">
                  <a:pos x="connsiteX1691" y="connsiteY1691"/>
                </a:cxn>
                <a:cxn ang="0">
                  <a:pos x="connsiteX1692" y="connsiteY1692"/>
                </a:cxn>
                <a:cxn ang="0">
                  <a:pos x="connsiteX1693" y="connsiteY1693"/>
                </a:cxn>
                <a:cxn ang="0">
                  <a:pos x="connsiteX1694" y="connsiteY1694"/>
                </a:cxn>
                <a:cxn ang="0">
                  <a:pos x="connsiteX1695" y="connsiteY1695"/>
                </a:cxn>
                <a:cxn ang="0">
                  <a:pos x="connsiteX1696" y="connsiteY1696"/>
                </a:cxn>
                <a:cxn ang="0">
                  <a:pos x="connsiteX1697" y="connsiteY1697"/>
                </a:cxn>
                <a:cxn ang="0">
                  <a:pos x="connsiteX1698" y="connsiteY1698"/>
                </a:cxn>
                <a:cxn ang="0">
                  <a:pos x="connsiteX1699" y="connsiteY1699"/>
                </a:cxn>
                <a:cxn ang="0">
                  <a:pos x="connsiteX1700" y="connsiteY1700"/>
                </a:cxn>
                <a:cxn ang="0">
                  <a:pos x="connsiteX1701" y="connsiteY1701"/>
                </a:cxn>
                <a:cxn ang="0">
                  <a:pos x="connsiteX1702" y="connsiteY1702"/>
                </a:cxn>
                <a:cxn ang="0">
                  <a:pos x="connsiteX1703" y="connsiteY1703"/>
                </a:cxn>
                <a:cxn ang="0">
                  <a:pos x="connsiteX1704" y="connsiteY1704"/>
                </a:cxn>
                <a:cxn ang="0">
                  <a:pos x="connsiteX1705" y="connsiteY1705"/>
                </a:cxn>
                <a:cxn ang="0">
                  <a:pos x="connsiteX1706" y="connsiteY1706"/>
                </a:cxn>
                <a:cxn ang="0">
                  <a:pos x="connsiteX1707" y="connsiteY1707"/>
                </a:cxn>
                <a:cxn ang="0">
                  <a:pos x="connsiteX1708" y="connsiteY1708"/>
                </a:cxn>
                <a:cxn ang="0">
                  <a:pos x="connsiteX1709" y="connsiteY1709"/>
                </a:cxn>
                <a:cxn ang="0">
                  <a:pos x="connsiteX1710" y="connsiteY1710"/>
                </a:cxn>
                <a:cxn ang="0">
                  <a:pos x="connsiteX1711" y="connsiteY1711"/>
                </a:cxn>
                <a:cxn ang="0">
                  <a:pos x="connsiteX1712" y="connsiteY1712"/>
                </a:cxn>
                <a:cxn ang="0">
                  <a:pos x="connsiteX1713" y="connsiteY1713"/>
                </a:cxn>
                <a:cxn ang="0">
                  <a:pos x="connsiteX1714" y="connsiteY1714"/>
                </a:cxn>
                <a:cxn ang="0">
                  <a:pos x="connsiteX1715" y="connsiteY1715"/>
                </a:cxn>
                <a:cxn ang="0">
                  <a:pos x="connsiteX1716" y="connsiteY1716"/>
                </a:cxn>
                <a:cxn ang="0">
                  <a:pos x="connsiteX1717" y="connsiteY1717"/>
                </a:cxn>
                <a:cxn ang="0">
                  <a:pos x="connsiteX1718" y="connsiteY1718"/>
                </a:cxn>
                <a:cxn ang="0">
                  <a:pos x="connsiteX1719" y="connsiteY1719"/>
                </a:cxn>
                <a:cxn ang="0">
                  <a:pos x="connsiteX1720" y="connsiteY1720"/>
                </a:cxn>
                <a:cxn ang="0">
                  <a:pos x="connsiteX1721" y="connsiteY1721"/>
                </a:cxn>
                <a:cxn ang="0">
                  <a:pos x="connsiteX1722" y="connsiteY1722"/>
                </a:cxn>
                <a:cxn ang="0">
                  <a:pos x="connsiteX1723" y="connsiteY1723"/>
                </a:cxn>
                <a:cxn ang="0">
                  <a:pos x="connsiteX1724" y="connsiteY1724"/>
                </a:cxn>
                <a:cxn ang="0">
                  <a:pos x="connsiteX1725" y="connsiteY1725"/>
                </a:cxn>
                <a:cxn ang="0">
                  <a:pos x="connsiteX1726" y="connsiteY1726"/>
                </a:cxn>
                <a:cxn ang="0">
                  <a:pos x="connsiteX1727" y="connsiteY1727"/>
                </a:cxn>
                <a:cxn ang="0">
                  <a:pos x="connsiteX1728" y="connsiteY1728"/>
                </a:cxn>
                <a:cxn ang="0">
                  <a:pos x="connsiteX1729" y="connsiteY1729"/>
                </a:cxn>
                <a:cxn ang="0">
                  <a:pos x="connsiteX1730" y="connsiteY1730"/>
                </a:cxn>
                <a:cxn ang="0">
                  <a:pos x="connsiteX1731" y="connsiteY1731"/>
                </a:cxn>
                <a:cxn ang="0">
                  <a:pos x="connsiteX1732" y="connsiteY1732"/>
                </a:cxn>
                <a:cxn ang="0">
                  <a:pos x="connsiteX1733" y="connsiteY1733"/>
                </a:cxn>
                <a:cxn ang="0">
                  <a:pos x="connsiteX1734" y="connsiteY1734"/>
                </a:cxn>
                <a:cxn ang="0">
                  <a:pos x="connsiteX1735" y="connsiteY1735"/>
                </a:cxn>
                <a:cxn ang="0">
                  <a:pos x="connsiteX1736" y="connsiteY1736"/>
                </a:cxn>
                <a:cxn ang="0">
                  <a:pos x="connsiteX1737" y="connsiteY1737"/>
                </a:cxn>
                <a:cxn ang="0">
                  <a:pos x="connsiteX1738" y="connsiteY1738"/>
                </a:cxn>
                <a:cxn ang="0">
                  <a:pos x="connsiteX1739" y="connsiteY1739"/>
                </a:cxn>
                <a:cxn ang="0">
                  <a:pos x="connsiteX1740" y="connsiteY1740"/>
                </a:cxn>
                <a:cxn ang="0">
                  <a:pos x="connsiteX1741" y="connsiteY1741"/>
                </a:cxn>
              </a:cxnLst>
              <a:rect l="l" t="t" r="r" b="b"/>
              <a:pathLst>
                <a:path w="4940931" h="138429">
                  <a:moveTo>
                    <a:pt x="1032512" y="137477"/>
                  </a:moveTo>
                  <a:lnTo>
                    <a:pt x="1032512" y="137794"/>
                  </a:lnTo>
                  <a:lnTo>
                    <a:pt x="1030607" y="138429"/>
                  </a:lnTo>
                  <a:close/>
                  <a:moveTo>
                    <a:pt x="4929501" y="87629"/>
                  </a:moveTo>
                  <a:cubicBezTo>
                    <a:pt x="4930771" y="87629"/>
                    <a:pt x="4932676" y="87629"/>
                    <a:pt x="4933946" y="88264"/>
                  </a:cubicBezTo>
                  <a:cubicBezTo>
                    <a:pt x="4935216" y="88264"/>
                    <a:pt x="4936486" y="89534"/>
                    <a:pt x="4937756" y="90804"/>
                  </a:cubicBezTo>
                  <a:cubicBezTo>
                    <a:pt x="4939026" y="92074"/>
                    <a:pt x="4939661" y="93344"/>
                    <a:pt x="4940296" y="94614"/>
                  </a:cubicBezTo>
                  <a:cubicBezTo>
                    <a:pt x="4940296" y="95884"/>
                    <a:pt x="4940931" y="97789"/>
                    <a:pt x="4940931" y="99059"/>
                  </a:cubicBezTo>
                  <a:cubicBezTo>
                    <a:pt x="4940931" y="99059"/>
                    <a:pt x="4940931" y="102234"/>
                    <a:pt x="4940296" y="103504"/>
                  </a:cubicBezTo>
                  <a:cubicBezTo>
                    <a:pt x="4940296" y="104774"/>
                    <a:pt x="4939026" y="106044"/>
                    <a:pt x="4937756" y="107314"/>
                  </a:cubicBezTo>
                  <a:cubicBezTo>
                    <a:pt x="4936486" y="108584"/>
                    <a:pt x="4935216" y="109219"/>
                    <a:pt x="4933946" y="109854"/>
                  </a:cubicBezTo>
                  <a:cubicBezTo>
                    <a:pt x="4932676" y="109854"/>
                    <a:pt x="4930771" y="110489"/>
                    <a:pt x="4929501" y="110489"/>
                  </a:cubicBezTo>
                  <a:cubicBezTo>
                    <a:pt x="4928231" y="110489"/>
                    <a:pt x="4926326" y="110489"/>
                    <a:pt x="4925056" y="109854"/>
                  </a:cubicBezTo>
                  <a:cubicBezTo>
                    <a:pt x="4923786" y="109854"/>
                    <a:pt x="4922516" y="108584"/>
                    <a:pt x="4921246" y="107314"/>
                  </a:cubicBezTo>
                  <a:cubicBezTo>
                    <a:pt x="4919976" y="106044"/>
                    <a:pt x="4919341" y="104774"/>
                    <a:pt x="4918706" y="103504"/>
                  </a:cubicBezTo>
                  <a:cubicBezTo>
                    <a:pt x="4918706" y="102234"/>
                    <a:pt x="4918071" y="100329"/>
                    <a:pt x="4918071" y="99059"/>
                  </a:cubicBezTo>
                  <a:cubicBezTo>
                    <a:pt x="4918071" y="97789"/>
                    <a:pt x="4918071" y="95884"/>
                    <a:pt x="4918706" y="94614"/>
                  </a:cubicBezTo>
                  <a:cubicBezTo>
                    <a:pt x="4918706" y="93344"/>
                    <a:pt x="4919976" y="92074"/>
                    <a:pt x="4921246" y="90804"/>
                  </a:cubicBezTo>
                  <a:cubicBezTo>
                    <a:pt x="4922516" y="89534"/>
                    <a:pt x="4923786" y="88899"/>
                    <a:pt x="4925056" y="88264"/>
                  </a:cubicBezTo>
                  <a:cubicBezTo>
                    <a:pt x="4926326" y="88264"/>
                    <a:pt x="4928231" y="87629"/>
                    <a:pt x="4929501" y="87629"/>
                  </a:cubicBezTo>
                  <a:close/>
                  <a:moveTo>
                    <a:pt x="3079110" y="87629"/>
                  </a:moveTo>
                  <a:cubicBezTo>
                    <a:pt x="3080380" y="87629"/>
                    <a:pt x="3082285" y="87629"/>
                    <a:pt x="3083555" y="88264"/>
                  </a:cubicBezTo>
                  <a:cubicBezTo>
                    <a:pt x="3084825" y="88264"/>
                    <a:pt x="3086095" y="89534"/>
                    <a:pt x="3087365" y="90804"/>
                  </a:cubicBezTo>
                  <a:cubicBezTo>
                    <a:pt x="3088635" y="92074"/>
                    <a:pt x="3089270" y="93344"/>
                    <a:pt x="3089905" y="94614"/>
                  </a:cubicBezTo>
                  <a:cubicBezTo>
                    <a:pt x="3089905" y="95884"/>
                    <a:pt x="3090540" y="97789"/>
                    <a:pt x="3090540" y="99059"/>
                  </a:cubicBezTo>
                  <a:cubicBezTo>
                    <a:pt x="3090540" y="99059"/>
                    <a:pt x="3090540" y="102234"/>
                    <a:pt x="3089905" y="103504"/>
                  </a:cubicBezTo>
                  <a:cubicBezTo>
                    <a:pt x="3089905" y="104774"/>
                    <a:pt x="3088635" y="106044"/>
                    <a:pt x="3087365" y="107314"/>
                  </a:cubicBezTo>
                  <a:cubicBezTo>
                    <a:pt x="3086095" y="108584"/>
                    <a:pt x="3084825" y="109219"/>
                    <a:pt x="3083555" y="109854"/>
                  </a:cubicBezTo>
                  <a:cubicBezTo>
                    <a:pt x="3082285" y="109854"/>
                    <a:pt x="3080380" y="110489"/>
                    <a:pt x="3079110" y="110489"/>
                  </a:cubicBezTo>
                  <a:cubicBezTo>
                    <a:pt x="3077840" y="110489"/>
                    <a:pt x="3075935" y="110489"/>
                    <a:pt x="3074665" y="109854"/>
                  </a:cubicBezTo>
                  <a:cubicBezTo>
                    <a:pt x="3073395" y="109854"/>
                    <a:pt x="3072125" y="108584"/>
                    <a:pt x="3070855" y="107314"/>
                  </a:cubicBezTo>
                  <a:cubicBezTo>
                    <a:pt x="3069585" y="106044"/>
                    <a:pt x="3068950" y="104774"/>
                    <a:pt x="3068315" y="103504"/>
                  </a:cubicBezTo>
                  <a:cubicBezTo>
                    <a:pt x="3068315" y="102234"/>
                    <a:pt x="3067680" y="100329"/>
                    <a:pt x="3067680" y="99059"/>
                  </a:cubicBezTo>
                  <a:cubicBezTo>
                    <a:pt x="3067680" y="97789"/>
                    <a:pt x="3067680" y="95884"/>
                    <a:pt x="3068315" y="94614"/>
                  </a:cubicBezTo>
                  <a:cubicBezTo>
                    <a:pt x="3068315" y="93344"/>
                    <a:pt x="3069585" y="92074"/>
                    <a:pt x="3070855" y="90804"/>
                  </a:cubicBezTo>
                  <a:cubicBezTo>
                    <a:pt x="3072125" y="89534"/>
                    <a:pt x="3073395" y="88899"/>
                    <a:pt x="3074665" y="88264"/>
                  </a:cubicBezTo>
                  <a:cubicBezTo>
                    <a:pt x="3075935" y="88264"/>
                    <a:pt x="3077840" y="87629"/>
                    <a:pt x="3079110" y="87629"/>
                  </a:cubicBezTo>
                  <a:close/>
                  <a:moveTo>
                    <a:pt x="1565275" y="87629"/>
                  </a:moveTo>
                  <a:cubicBezTo>
                    <a:pt x="1566545" y="87629"/>
                    <a:pt x="1568450" y="87629"/>
                    <a:pt x="1569720" y="88264"/>
                  </a:cubicBezTo>
                  <a:cubicBezTo>
                    <a:pt x="1570990" y="88264"/>
                    <a:pt x="1572260" y="89534"/>
                    <a:pt x="1573529" y="90804"/>
                  </a:cubicBezTo>
                  <a:cubicBezTo>
                    <a:pt x="1574800" y="92074"/>
                    <a:pt x="1575435" y="93344"/>
                    <a:pt x="1576069" y="94614"/>
                  </a:cubicBezTo>
                  <a:cubicBezTo>
                    <a:pt x="1576069" y="95884"/>
                    <a:pt x="1576705" y="97789"/>
                    <a:pt x="1576705" y="99059"/>
                  </a:cubicBezTo>
                  <a:cubicBezTo>
                    <a:pt x="1576705" y="99059"/>
                    <a:pt x="1576705" y="102234"/>
                    <a:pt x="1576069" y="103504"/>
                  </a:cubicBezTo>
                  <a:cubicBezTo>
                    <a:pt x="1576069" y="104774"/>
                    <a:pt x="1574800" y="106044"/>
                    <a:pt x="1573529" y="107314"/>
                  </a:cubicBezTo>
                  <a:cubicBezTo>
                    <a:pt x="1572260" y="108584"/>
                    <a:pt x="1570990" y="109219"/>
                    <a:pt x="1569720" y="109854"/>
                  </a:cubicBezTo>
                  <a:cubicBezTo>
                    <a:pt x="1568450" y="109854"/>
                    <a:pt x="1566545" y="110489"/>
                    <a:pt x="1565275" y="110489"/>
                  </a:cubicBezTo>
                  <a:cubicBezTo>
                    <a:pt x="1564005" y="110489"/>
                    <a:pt x="1562099" y="110489"/>
                    <a:pt x="1560830" y="109854"/>
                  </a:cubicBezTo>
                  <a:cubicBezTo>
                    <a:pt x="1559559" y="109854"/>
                    <a:pt x="1558289" y="108584"/>
                    <a:pt x="1557020" y="107314"/>
                  </a:cubicBezTo>
                  <a:cubicBezTo>
                    <a:pt x="1555750" y="106044"/>
                    <a:pt x="1555114" y="104774"/>
                    <a:pt x="1554479" y="103504"/>
                  </a:cubicBezTo>
                  <a:cubicBezTo>
                    <a:pt x="1554479" y="102234"/>
                    <a:pt x="1553844" y="100329"/>
                    <a:pt x="1553844" y="99059"/>
                  </a:cubicBezTo>
                  <a:cubicBezTo>
                    <a:pt x="1553844" y="97789"/>
                    <a:pt x="1553844" y="95884"/>
                    <a:pt x="1554479" y="94614"/>
                  </a:cubicBezTo>
                  <a:cubicBezTo>
                    <a:pt x="1554479" y="93344"/>
                    <a:pt x="1555750" y="92074"/>
                    <a:pt x="1557020" y="90804"/>
                  </a:cubicBezTo>
                  <a:cubicBezTo>
                    <a:pt x="1558289" y="89534"/>
                    <a:pt x="1559559" y="88899"/>
                    <a:pt x="1560830" y="88264"/>
                  </a:cubicBezTo>
                  <a:cubicBezTo>
                    <a:pt x="1562099" y="88264"/>
                    <a:pt x="1564005" y="87629"/>
                    <a:pt x="1565275" y="87629"/>
                  </a:cubicBezTo>
                  <a:close/>
                  <a:moveTo>
                    <a:pt x="2642230" y="73024"/>
                  </a:moveTo>
                  <a:cubicBezTo>
                    <a:pt x="2637150" y="73024"/>
                    <a:pt x="2633340" y="74294"/>
                    <a:pt x="2630800" y="76199"/>
                  </a:cubicBezTo>
                  <a:cubicBezTo>
                    <a:pt x="2627625" y="78104"/>
                    <a:pt x="2626355" y="81279"/>
                    <a:pt x="2626355" y="84454"/>
                  </a:cubicBezTo>
                  <a:cubicBezTo>
                    <a:pt x="2626355" y="86994"/>
                    <a:pt x="2626355" y="88899"/>
                    <a:pt x="2627625" y="90169"/>
                  </a:cubicBezTo>
                  <a:cubicBezTo>
                    <a:pt x="2628260" y="92074"/>
                    <a:pt x="2629530" y="93344"/>
                    <a:pt x="2630800" y="93979"/>
                  </a:cubicBezTo>
                  <a:cubicBezTo>
                    <a:pt x="2632070" y="95249"/>
                    <a:pt x="2633340" y="95884"/>
                    <a:pt x="2635245" y="96519"/>
                  </a:cubicBezTo>
                  <a:cubicBezTo>
                    <a:pt x="2637150" y="96519"/>
                    <a:pt x="2639055" y="97154"/>
                    <a:pt x="2641595" y="97154"/>
                  </a:cubicBezTo>
                  <a:cubicBezTo>
                    <a:pt x="2643500" y="97154"/>
                    <a:pt x="2645405" y="97154"/>
                    <a:pt x="2647310" y="96519"/>
                  </a:cubicBezTo>
                  <a:cubicBezTo>
                    <a:pt x="2649215" y="96519"/>
                    <a:pt x="2651120" y="95249"/>
                    <a:pt x="2652390" y="93979"/>
                  </a:cubicBezTo>
                  <a:cubicBezTo>
                    <a:pt x="2654295" y="93344"/>
                    <a:pt x="2655565" y="92074"/>
                    <a:pt x="2656835" y="90804"/>
                  </a:cubicBezTo>
                  <a:cubicBezTo>
                    <a:pt x="2658105" y="89534"/>
                    <a:pt x="2659375" y="88264"/>
                    <a:pt x="2660010" y="86994"/>
                  </a:cubicBezTo>
                  <a:lnTo>
                    <a:pt x="2660010" y="75564"/>
                  </a:lnTo>
                  <a:cubicBezTo>
                    <a:pt x="2660010" y="75564"/>
                    <a:pt x="2657470" y="74294"/>
                    <a:pt x="2656200" y="74294"/>
                  </a:cubicBezTo>
                  <a:cubicBezTo>
                    <a:pt x="2654930" y="74294"/>
                    <a:pt x="2653660" y="73659"/>
                    <a:pt x="2652390" y="73659"/>
                  </a:cubicBezTo>
                  <a:cubicBezTo>
                    <a:pt x="2651120" y="73659"/>
                    <a:pt x="2649850" y="73659"/>
                    <a:pt x="2647945" y="73024"/>
                  </a:cubicBezTo>
                  <a:cubicBezTo>
                    <a:pt x="2646040" y="73024"/>
                    <a:pt x="2644135" y="73024"/>
                    <a:pt x="2642230" y="73024"/>
                  </a:cubicBezTo>
                  <a:close/>
                  <a:moveTo>
                    <a:pt x="4664706" y="43814"/>
                  </a:moveTo>
                  <a:cubicBezTo>
                    <a:pt x="4661531" y="43814"/>
                    <a:pt x="4658991" y="43814"/>
                    <a:pt x="4657086" y="45719"/>
                  </a:cubicBezTo>
                  <a:cubicBezTo>
                    <a:pt x="4654546" y="46989"/>
                    <a:pt x="4652641" y="48894"/>
                    <a:pt x="4651371" y="50799"/>
                  </a:cubicBezTo>
                  <a:cubicBezTo>
                    <a:pt x="4649466" y="53339"/>
                    <a:pt x="4648831" y="55879"/>
                    <a:pt x="4647561" y="59054"/>
                  </a:cubicBezTo>
                  <a:cubicBezTo>
                    <a:pt x="4646926" y="62229"/>
                    <a:pt x="4646291" y="65404"/>
                    <a:pt x="4646291" y="69849"/>
                  </a:cubicBezTo>
                  <a:cubicBezTo>
                    <a:pt x="4646291" y="74294"/>
                    <a:pt x="4646291" y="78104"/>
                    <a:pt x="4647561" y="81279"/>
                  </a:cubicBezTo>
                  <a:cubicBezTo>
                    <a:pt x="4648196" y="84454"/>
                    <a:pt x="4650101" y="87629"/>
                    <a:pt x="4651371" y="89534"/>
                  </a:cubicBezTo>
                  <a:cubicBezTo>
                    <a:pt x="4653276" y="92074"/>
                    <a:pt x="4655181" y="93344"/>
                    <a:pt x="4657721" y="94614"/>
                  </a:cubicBezTo>
                  <a:cubicBezTo>
                    <a:pt x="4660261" y="95884"/>
                    <a:pt x="4662801" y="96519"/>
                    <a:pt x="4665341" y="96519"/>
                  </a:cubicBezTo>
                  <a:cubicBezTo>
                    <a:pt x="4667881" y="96519"/>
                    <a:pt x="4671056" y="95884"/>
                    <a:pt x="4672961" y="94614"/>
                  </a:cubicBezTo>
                  <a:cubicBezTo>
                    <a:pt x="4675501" y="93344"/>
                    <a:pt x="4677406" y="91439"/>
                    <a:pt x="4678676" y="88899"/>
                  </a:cubicBezTo>
                  <a:cubicBezTo>
                    <a:pt x="4680581" y="86359"/>
                    <a:pt x="4681851" y="83819"/>
                    <a:pt x="4682486" y="80644"/>
                  </a:cubicBezTo>
                  <a:cubicBezTo>
                    <a:pt x="4683121" y="77469"/>
                    <a:pt x="4683756" y="74294"/>
                    <a:pt x="4683756" y="70484"/>
                  </a:cubicBezTo>
                  <a:lnTo>
                    <a:pt x="4684391" y="69849"/>
                  </a:lnTo>
                  <a:cubicBezTo>
                    <a:pt x="4684391" y="66039"/>
                    <a:pt x="4684391" y="62229"/>
                    <a:pt x="4683121" y="59054"/>
                  </a:cubicBezTo>
                  <a:cubicBezTo>
                    <a:pt x="4682486" y="55879"/>
                    <a:pt x="4680581" y="53339"/>
                    <a:pt x="4679311" y="50799"/>
                  </a:cubicBezTo>
                  <a:cubicBezTo>
                    <a:pt x="4677406" y="48259"/>
                    <a:pt x="4675501" y="46989"/>
                    <a:pt x="4672961" y="45719"/>
                  </a:cubicBezTo>
                  <a:cubicBezTo>
                    <a:pt x="4670421" y="44449"/>
                    <a:pt x="4667881" y="43814"/>
                    <a:pt x="4664706" y="43814"/>
                  </a:cubicBezTo>
                  <a:close/>
                  <a:moveTo>
                    <a:pt x="4264020" y="43814"/>
                  </a:moveTo>
                  <a:cubicBezTo>
                    <a:pt x="4260845" y="43814"/>
                    <a:pt x="4258305" y="43814"/>
                    <a:pt x="4256400" y="45719"/>
                  </a:cubicBezTo>
                  <a:cubicBezTo>
                    <a:pt x="4253860" y="46989"/>
                    <a:pt x="4251955" y="48894"/>
                    <a:pt x="4250685" y="50799"/>
                  </a:cubicBezTo>
                  <a:cubicBezTo>
                    <a:pt x="4248780" y="53339"/>
                    <a:pt x="4247510" y="55879"/>
                    <a:pt x="4246875" y="59054"/>
                  </a:cubicBezTo>
                  <a:cubicBezTo>
                    <a:pt x="4246240" y="62229"/>
                    <a:pt x="4245605" y="65404"/>
                    <a:pt x="4245605" y="69849"/>
                  </a:cubicBezTo>
                  <a:cubicBezTo>
                    <a:pt x="4245605" y="74294"/>
                    <a:pt x="4245605" y="78104"/>
                    <a:pt x="4246875" y="81279"/>
                  </a:cubicBezTo>
                  <a:cubicBezTo>
                    <a:pt x="4247510" y="84454"/>
                    <a:pt x="4249415" y="87629"/>
                    <a:pt x="4250685" y="89534"/>
                  </a:cubicBezTo>
                  <a:cubicBezTo>
                    <a:pt x="4252590" y="92074"/>
                    <a:pt x="4254495" y="93344"/>
                    <a:pt x="4257035" y="94614"/>
                  </a:cubicBezTo>
                  <a:cubicBezTo>
                    <a:pt x="4259575" y="95884"/>
                    <a:pt x="4262115" y="96519"/>
                    <a:pt x="4264655" y="96519"/>
                  </a:cubicBezTo>
                  <a:cubicBezTo>
                    <a:pt x="4267195" y="96519"/>
                    <a:pt x="4270370" y="95884"/>
                    <a:pt x="4272275" y="94614"/>
                  </a:cubicBezTo>
                  <a:cubicBezTo>
                    <a:pt x="4274815" y="93344"/>
                    <a:pt x="4276720" y="91439"/>
                    <a:pt x="4277990" y="88899"/>
                  </a:cubicBezTo>
                  <a:cubicBezTo>
                    <a:pt x="4279895" y="86359"/>
                    <a:pt x="4281165" y="83819"/>
                    <a:pt x="4281800" y="80644"/>
                  </a:cubicBezTo>
                  <a:cubicBezTo>
                    <a:pt x="4282435" y="77469"/>
                    <a:pt x="4283070" y="74294"/>
                    <a:pt x="4283070" y="70484"/>
                  </a:cubicBezTo>
                  <a:lnTo>
                    <a:pt x="4283705" y="69849"/>
                  </a:lnTo>
                  <a:cubicBezTo>
                    <a:pt x="4283705" y="66039"/>
                    <a:pt x="4283705" y="62229"/>
                    <a:pt x="4282435" y="59054"/>
                  </a:cubicBezTo>
                  <a:cubicBezTo>
                    <a:pt x="4281800" y="55879"/>
                    <a:pt x="4279895" y="53339"/>
                    <a:pt x="4278625" y="50799"/>
                  </a:cubicBezTo>
                  <a:cubicBezTo>
                    <a:pt x="4276720" y="48259"/>
                    <a:pt x="4274815" y="46989"/>
                    <a:pt x="4272275" y="45719"/>
                  </a:cubicBezTo>
                  <a:cubicBezTo>
                    <a:pt x="4269735" y="44449"/>
                    <a:pt x="4267195" y="43814"/>
                    <a:pt x="4264020" y="43814"/>
                  </a:cubicBezTo>
                  <a:close/>
                  <a:moveTo>
                    <a:pt x="1420495" y="43814"/>
                  </a:moveTo>
                  <a:cubicBezTo>
                    <a:pt x="1417320" y="43814"/>
                    <a:pt x="1414780" y="43814"/>
                    <a:pt x="1412875" y="45719"/>
                  </a:cubicBezTo>
                  <a:cubicBezTo>
                    <a:pt x="1410335" y="46989"/>
                    <a:pt x="1408430" y="48894"/>
                    <a:pt x="1407160" y="50799"/>
                  </a:cubicBezTo>
                  <a:cubicBezTo>
                    <a:pt x="1405255" y="53339"/>
                    <a:pt x="1403985" y="55879"/>
                    <a:pt x="1403350" y="59054"/>
                  </a:cubicBezTo>
                  <a:cubicBezTo>
                    <a:pt x="1402715" y="62229"/>
                    <a:pt x="1402080" y="65404"/>
                    <a:pt x="1402080" y="69849"/>
                  </a:cubicBezTo>
                  <a:cubicBezTo>
                    <a:pt x="1402080" y="74294"/>
                    <a:pt x="1402080" y="78104"/>
                    <a:pt x="1403350" y="81279"/>
                  </a:cubicBezTo>
                  <a:cubicBezTo>
                    <a:pt x="1403985" y="84454"/>
                    <a:pt x="1405890" y="87629"/>
                    <a:pt x="1407160" y="89534"/>
                  </a:cubicBezTo>
                  <a:cubicBezTo>
                    <a:pt x="1409065" y="92074"/>
                    <a:pt x="1410970" y="93344"/>
                    <a:pt x="1413510" y="94614"/>
                  </a:cubicBezTo>
                  <a:cubicBezTo>
                    <a:pt x="1416050" y="95884"/>
                    <a:pt x="1418590" y="96519"/>
                    <a:pt x="1421130" y="96519"/>
                  </a:cubicBezTo>
                  <a:cubicBezTo>
                    <a:pt x="1423670" y="96519"/>
                    <a:pt x="1426845" y="95884"/>
                    <a:pt x="1428750" y="94614"/>
                  </a:cubicBezTo>
                  <a:cubicBezTo>
                    <a:pt x="1431290" y="93344"/>
                    <a:pt x="1433195" y="91439"/>
                    <a:pt x="1434465" y="88899"/>
                  </a:cubicBezTo>
                  <a:cubicBezTo>
                    <a:pt x="1436370" y="86359"/>
                    <a:pt x="1437640" y="83819"/>
                    <a:pt x="1438275" y="80644"/>
                  </a:cubicBezTo>
                  <a:cubicBezTo>
                    <a:pt x="1438910" y="77469"/>
                    <a:pt x="1439545" y="74294"/>
                    <a:pt x="1439545" y="70484"/>
                  </a:cubicBezTo>
                  <a:lnTo>
                    <a:pt x="1440180" y="69849"/>
                  </a:lnTo>
                  <a:cubicBezTo>
                    <a:pt x="1440180" y="66039"/>
                    <a:pt x="1440180" y="62229"/>
                    <a:pt x="1438910" y="59054"/>
                  </a:cubicBezTo>
                  <a:cubicBezTo>
                    <a:pt x="1438275" y="55879"/>
                    <a:pt x="1436370" y="53339"/>
                    <a:pt x="1435100" y="50799"/>
                  </a:cubicBezTo>
                  <a:cubicBezTo>
                    <a:pt x="1433195" y="48259"/>
                    <a:pt x="1431290" y="46989"/>
                    <a:pt x="1428750" y="45719"/>
                  </a:cubicBezTo>
                  <a:cubicBezTo>
                    <a:pt x="1426210" y="44449"/>
                    <a:pt x="1423670" y="43814"/>
                    <a:pt x="1420495" y="43814"/>
                  </a:cubicBezTo>
                  <a:close/>
                  <a:moveTo>
                    <a:pt x="4041770" y="43180"/>
                  </a:moveTo>
                  <a:cubicBezTo>
                    <a:pt x="4039230" y="43180"/>
                    <a:pt x="4036690" y="43180"/>
                    <a:pt x="4034785" y="44450"/>
                  </a:cubicBezTo>
                  <a:cubicBezTo>
                    <a:pt x="4032880" y="45085"/>
                    <a:pt x="4030975" y="46355"/>
                    <a:pt x="4029705" y="48260"/>
                  </a:cubicBezTo>
                  <a:cubicBezTo>
                    <a:pt x="4028435" y="50165"/>
                    <a:pt x="4027165" y="52070"/>
                    <a:pt x="4025895" y="54610"/>
                  </a:cubicBezTo>
                  <a:cubicBezTo>
                    <a:pt x="4025260" y="57150"/>
                    <a:pt x="4023990" y="59690"/>
                    <a:pt x="4023990" y="62865"/>
                  </a:cubicBezTo>
                  <a:lnTo>
                    <a:pt x="4060185" y="62865"/>
                  </a:lnTo>
                  <a:cubicBezTo>
                    <a:pt x="4060185" y="62865"/>
                    <a:pt x="4059550" y="57785"/>
                    <a:pt x="4058915" y="55245"/>
                  </a:cubicBezTo>
                  <a:cubicBezTo>
                    <a:pt x="4058280" y="52705"/>
                    <a:pt x="4057010" y="50800"/>
                    <a:pt x="4055740" y="48895"/>
                  </a:cubicBezTo>
                  <a:cubicBezTo>
                    <a:pt x="4054470" y="46990"/>
                    <a:pt x="4052565" y="45720"/>
                    <a:pt x="4050025" y="44450"/>
                  </a:cubicBezTo>
                  <a:cubicBezTo>
                    <a:pt x="4047485" y="43180"/>
                    <a:pt x="4044945" y="43180"/>
                    <a:pt x="4041770" y="43180"/>
                  </a:cubicBezTo>
                  <a:close/>
                  <a:moveTo>
                    <a:pt x="3728081" y="43180"/>
                  </a:moveTo>
                  <a:cubicBezTo>
                    <a:pt x="3725541" y="43180"/>
                    <a:pt x="3723001" y="43180"/>
                    <a:pt x="3721096" y="44450"/>
                  </a:cubicBezTo>
                  <a:cubicBezTo>
                    <a:pt x="3719191" y="45085"/>
                    <a:pt x="3717286" y="46355"/>
                    <a:pt x="3716016" y="48260"/>
                  </a:cubicBezTo>
                  <a:cubicBezTo>
                    <a:pt x="3714746" y="50165"/>
                    <a:pt x="3713476" y="52070"/>
                    <a:pt x="3712206" y="54610"/>
                  </a:cubicBezTo>
                  <a:cubicBezTo>
                    <a:pt x="3711571" y="57150"/>
                    <a:pt x="3710301" y="59690"/>
                    <a:pt x="3710301" y="62865"/>
                  </a:cubicBezTo>
                  <a:lnTo>
                    <a:pt x="3746496" y="62865"/>
                  </a:lnTo>
                  <a:cubicBezTo>
                    <a:pt x="3746496" y="62865"/>
                    <a:pt x="3745861" y="57785"/>
                    <a:pt x="3745226" y="55245"/>
                  </a:cubicBezTo>
                  <a:cubicBezTo>
                    <a:pt x="3744591" y="52705"/>
                    <a:pt x="3743321" y="50800"/>
                    <a:pt x="3742051" y="48895"/>
                  </a:cubicBezTo>
                  <a:cubicBezTo>
                    <a:pt x="3740781" y="46990"/>
                    <a:pt x="3738876" y="45720"/>
                    <a:pt x="3736336" y="44450"/>
                  </a:cubicBezTo>
                  <a:cubicBezTo>
                    <a:pt x="3733796" y="43180"/>
                    <a:pt x="3731256" y="43180"/>
                    <a:pt x="3728081" y="43180"/>
                  </a:cubicBezTo>
                  <a:close/>
                  <a:moveTo>
                    <a:pt x="3541391" y="43180"/>
                  </a:moveTo>
                  <a:cubicBezTo>
                    <a:pt x="3538851" y="43180"/>
                    <a:pt x="3536311" y="43180"/>
                    <a:pt x="3534406" y="44450"/>
                  </a:cubicBezTo>
                  <a:cubicBezTo>
                    <a:pt x="3532501" y="45085"/>
                    <a:pt x="3530596" y="46355"/>
                    <a:pt x="3529326" y="48260"/>
                  </a:cubicBezTo>
                  <a:cubicBezTo>
                    <a:pt x="3528056" y="50165"/>
                    <a:pt x="3526786" y="52070"/>
                    <a:pt x="3525516" y="54610"/>
                  </a:cubicBezTo>
                  <a:cubicBezTo>
                    <a:pt x="3524881" y="57150"/>
                    <a:pt x="3524246" y="59690"/>
                    <a:pt x="3523611" y="62865"/>
                  </a:cubicBezTo>
                  <a:lnTo>
                    <a:pt x="3559806" y="62865"/>
                  </a:lnTo>
                  <a:cubicBezTo>
                    <a:pt x="3559806" y="62865"/>
                    <a:pt x="3559171" y="57785"/>
                    <a:pt x="3558536" y="55245"/>
                  </a:cubicBezTo>
                  <a:cubicBezTo>
                    <a:pt x="3557901" y="52705"/>
                    <a:pt x="3556631" y="50800"/>
                    <a:pt x="3555361" y="48895"/>
                  </a:cubicBezTo>
                  <a:cubicBezTo>
                    <a:pt x="3554091" y="46990"/>
                    <a:pt x="3552186" y="45720"/>
                    <a:pt x="3549646" y="44450"/>
                  </a:cubicBezTo>
                  <a:cubicBezTo>
                    <a:pt x="3547106" y="43180"/>
                    <a:pt x="3544566" y="43180"/>
                    <a:pt x="3541391" y="43180"/>
                  </a:cubicBezTo>
                  <a:close/>
                  <a:moveTo>
                    <a:pt x="3463285" y="43180"/>
                  </a:moveTo>
                  <a:cubicBezTo>
                    <a:pt x="3461380" y="43180"/>
                    <a:pt x="3459475" y="43180"/>
                    <a:pt x="3458205" y="43815"/>
                  </a:cubicBezTo>
                  <a:cubicBezTo>
                    <a:pt x="3456300" y="43815"/>
                    <a:pt x="3455030" y="45085"/>
                    <a:pt x="3453125" y="45720"/>
                  </a:cubicBezTo>
                  <a:cubicBezTo>
                    <a:pt x="3451855" y="46355"/>
                    <a:pt x="3449950" y="47625"/>
                    <a:pt x="3448680" y="48895"/>
                  </a:cubicBezTo>
                  <a:cubicBezTo>
                    <a:pt x="3447410" y="50165"/>
                    <a:pt x="3446140" y="51435"/>
                    <a:pt x="3445505" y="52705"/>
                  </a:cubicBezTo>
                  <a:lnTo>
                    <a:pt x="3445505" y="85725"/>
                  </a:lnTo>
                  <a:cubicBezTo>
                    <a:pt x="3445505" y="85725"/>
                    <a:pt x="3447410" y="88265"/>
                    <a:pt x="3448680" y="89535"/>
                  </a:cubicBezTo>
                  <a:cubicBezTo>
                    <a:pt x="3449950" y="90805"/>
                    <a:pt x="3451220" y="92075"/>
                    <a:pt x="3453125" y="92710"/>
                  </a:cubicBezTo>
                  <a:cubicBezTo>
                    <a:pt x="3455030" y="93980"/>
                    <a:pt x="3456300" y="94615"/>
                    <a:pt x="3458205" y="95250"/>
                  </a:cubicBezTo>
                  <a:cubicBezTo>
                    <a:pt x="3460110" y="95250"/>
                    <a:pt x="3462015" y="95885"/>
                    <a:pt x="3463920" y="95885"/>
                  </a:cubicBezTo>
                  <a:cubicBezTo>
                    <a:pt x="3469635" y="95885"/>
                    <a:pt x="3473445" y="93980"/>
                    <a:pt x="3476620" y="89535"/>
                  </a:cubicBezTo>
                  <a:cubicBezTo>
                    <a:pt x="3479795" y="85090"/>
                    <a:pt x="3481065" y="79375"/>
                    <a:pt x="3481065" y="71120"/>
                  </a:cubicBezTo>
                  <a:lnTo>
                    <a:pt x="3480430" y="71755"/>
                  </a:lnTo>
                  <a:cubicBezTo>
                    <a:pt x="3480430" y="62230"/>
                    <a:pt x="3479160" y="54610"/>
                    <a:pt x="3475985" y="50165"/>
                  </a:cubicBezTo>
                  <a:cubicBezTo>
                    <a:pt x="3472810" y="45720"/>
                    <a:pt x="3468365" y="43180"/>
                    <a:pt x="3463285" y="43180"/>
                  </a:cubicBezTo>
                  <a:close/>
                  <a:moveTo>
                    <a:pt x="3343271" y="43180"/>
                  </a:moveTo>
                  <a:cubicBezTo>
                    <a:pt x="3340731" y="43180"/>
                    <a:pt x="3338191" y="43180"/>
                    <a:pt x="3336286" y="44450"/>
                  </a:cubicBezTo>
                  <a:cubicBezTo>
                    <a:pt x="3334381" y="45085"/>
                    <a:pt x="3332476" y="46355"/>
                    <a:pt x="3331206" y="48260"/>
                  </a:cubicBezTo>
                  <a:cubicBezTo>
                    <a:pt x="3329936" y="50165"/>
                    <a:pt x="3328666" y="52070"/>
                    <a:pt x="3327396" y="54610"/>
                  </a:cubicBezTo>
                  <a:cubicBezTo>
                    <a:pt x="3326761" y="57150"/>
                    <a:pt x="3326126" y="59690"/>
                    <a:pt x="3325491" y="62865"/>
                  </a:cubicBezTo>
                  <a:lnTo>
                    <a:pt x="3361686" y="62865"/>
                  </a:lnTo>
                  <a:cubicBezTo>
                    <a:pt x="3361686" y="62865"/>
                    <a:pt x="3361051" y="57785"/>
                    <a:pt x="3360416" y="55245"/>
                  </a:cubicBezTo>
                  <a:cubicBezTo>
                    <a:pt x="3359781" y="52705"/>
                    <a:pt x="3358511" y="50800"/>
                    <a:pt x="3357241" y="48895"/>
                  </a:cubicBezTo>
                  <a:cubicBezTo>
                    <a:pt x="3355971" y="46990"/>
                    <a:pt x="3354066" y="45720"/>
                    <a:pt x="3351526" y="44450"/>
                  </a:cubicBezTo>
                  <a:cubicBezTo>
                    <a:pt x="3348986" y="43180"/>
                    <a:pt x="3346446" y="43180"/>
                    <a:pt x="3343271" y="43180"/>
                  </a:cubicBezTo>
                  <a:close/>
                  <a:moveTo>
                    <a:pt x="2976876" y="43180"/>
                  </a:moveTo>
                  <a:cubicBezTo>
                    <a:pt x="2974336" y="43180"/>
                    <a:pt x="2971796" y="43180"/>
                    <a:pt x="2969891" y="44450"/>
                  </a:cubicBezTo>
                  <a:cubicBezTo>
                    <a:pt x="2967986" y="45085"/>
                    <a:pt x="2966081" y="46355"/>
                    <a:pt x="2964811" y="48260"/>
                  </a:cubicBezTo>
                  <a:cubicBezTo>
                    <a:pt x="2963541" y="50165"/>
                    <a:pt x="2962271" y="52070"/>
                    <a:pt x="2961001" y="54610"/>
                  </a:cubicBezTo>
                  <a:cubicBezTo>
                    <a:pt x="2960366" y="57150"/>
                    <a:pt x="2959731" y="59690"/>
                    <a:pt x="2959096" y="62865"/>
                  </a:cubicBezTo>
                  <a:lnTo>
                    <a:pt x="2995291" y="62865"/>
                  </a:lnTo>
                  <a:cubicBezTo>
                    <a:pt x="2995291" y="62865"/>
                    <a:pt x="2994656" y="57785"/>
                    <a:pt x="2994021" y="55245"/>
                  </a:cubicBezTo>
                  <a:cubicBezTo>
                    <a:pt x="2993386" y="52705"/>
                    <a:pt x="2992116" y="50800"/>
                    <a:pt x="2990846" y="48895"/>
                  </a:cubicBezTo>
                  <a:cubicBezTo>
                    <a:pt x="2989576" y="46990"/>
                    <a:pt x="2987671" y="45720"/>
                    <a:pt x="2985131" y="44450"/>
                  </a:cubicBezTo>
                  <a:cubicBezTo>
                    <a:pt x="2982591" y="43180"/>
                    <a:pt x="2980051" y="43180"/>
                    <a:pt x="2976876" y="43180"/>
                  </a:cubicBezTo>
                  <a:close/>
                  <a:moveTo>
                    <a:pt x="2527930" y="43180"/>
                  </a:moveTo>
                  <a:cubicBezTo>
                    <a:pt x="2525390" y="43180"/>
                    <a:pt x="2522850" y="43180"/>
                    <a:pt x="2520945" y="44450"/>
                  </a:cubicBezTo>
                  <a:cubicBezTo>
                    <a:pt x="2519040" y="45085"/>
                    <a:pt x="2517135" y="46355"/>
                    <a:pt x="2515865" y="48260"/>
                  </a:cubicBezTo>
                  <a:cubicBezTo>
                    <a:pt x="2514595" y="50165"/>
                    <a:pt x="2513325" y="52070"/>
                    <a:pt x="2512055" y="54610"/>
                  </a:cubicBezTo>
                  <a:cubicBezTo>
                    <a:pt x="2511420" y="57150"/>
                    <a:pt x="2510150" y="59690"/>
                    <a:pt x="2510150" y="62865"/>
                  </a:cubicBezTo>
                  <a:lnTo>
                    <a:pt x="2546345" y="62865"/>
                  </a:lnTo>
                  <a:cubicBezTo>
                    <a:pt x="2546345" y="62865"/>
                    <a:pt x="2545710" y="57785"/>
                    <a:pt x="2545075" y="55245"/>
                  </a:cubicBezTo>
                  <a:cubicBezTo>
                    <a:pt x="2544440" y="52705"/>
                    <a:pt x="2543170" y="50800"/>
                    <a:pt x="2541900" y="48895"/>
                  </a:cubicBezTo>
                  <a:cubicBezTo>
                    <a:pt x="2540630" y="46990"/>
                    <a:pt x="2538725" y="45720"/>
                    <a:pt x="2536185" y="44450"/>
                  </a:cubicBezTo>
                  <a:cubicBezTo>
                    <a:pt x="2533645" y="43180"/>
                    <a:pt x="2531105" y="43180"/>
                    <a:pt x="2527930" y="43180"/>
                  </a:cubicBezTo>
                  <a:close/>
                  <a:moveTo>
                    <a:pt x="2214240" y="43180"/>
                  </a:moveTo>
                  <a:cubicBezTo>
                    <a:pt x="2211700" y="43180"/>
                    <a:pt x="2209160" y="43180"/>
                    <a:pt x="2207255" y="44450"/>
                  </a:cubicBezTo>
                  <a:cubicBezTo>
                    <a:pt x="2205350" y="45085"/>
                    <a:pt x="2203445" y="46355"/>
                    <a:pt x="2202175" y="48260"/>
                  </a:cubicBezTo>
                  <a:cubicBezTo>
                    <a:pt x="2200905" y="50165"/>
                    <a:pt x="2199635" y="52070"/>
                    <a:pt x="2198365" y="54610"/>
                  </a:cubicBezTo>
                  <a:cubicBezTo>
                    <a:pt x="2197730" y="57150"/>
                    <a:pt x="2196460" y="59690"/>
                    <a:pt x="2196460" y="62865"/>
                  </a:cubicBezTo>
                  <a:lnTo>
                    <a:pt x="2232655" y="62865"/>
                  </a:lnTo>
                  <a:cubicBezTo>
                    <a:pt x="2232655" y="62865"/>
                    <a:pt x="2232020" y="57785"/>
                    <a:pt x="2231385" y="55245"/>
                  </a:cubicBezTo>
                  <a:cubicBezTo>
                    <a:pt x="2230750" y="52705"/>
                    <a:pt x="2229480" y="50800"/>
                    <a:pt x="2228210" y="48895"/>
                  </a:cubicBezTo>
                  <a:cubicBezTo>
                    <a:pt x="2226940" y="46990"/>
                    <a:pt x="2225035" y="45720"/>
                    <a:pt x="2222495" y="44450"/>
                  </a:cubicBezTo>
                  <a:cubicBezTo>
                    <a:pt x="2219955" y="43180"/>
                    <a:pt x="2217415" y="43180"/>
                    <a:pt x="2214240" y="43180"/>
                  </a:cubicBezTo>
                  <a:close/>
                  <a:moveTo>
                    <a:pt x="2027551" y="43180"/>
                  </a:moveTo>
                  <a:cubicBezTo>
                    <a:pt x="2025011" y="43180"/>
                    <a:pt x="2022471" y="43180"/>
                    <a:pt x="2020566" y="44450"/>
                  </a:cubicBezTo>
                  <a:cubicBezTo>
                    <a:pt x="2018661" y="45085"/>
                    <a:pt x="2016756" y="46355"/>
                    <a:pt x="2015486" y="48260"/>
                  </a:cubicBezTo>
                  <a:cubicBezTo>
                    <a:pt x="2014216" y="50165"/>
                    <a:pt x="2012946" y="52070"/>
                    <a:pt x="2011676" y="54610"/>
                  </a:cubicBezTo>
                  <a:cubicBezTo>
                    <a:pt x="2011041" y="57150"/>
                    <a:pt x="2010406" y="59690"/>
                    <a:pt x="2009771" y="62865"/>
                  </a:cubicBezTo>
                  <a:lnTo>
                    <a:pt x="2045966" y="62865"/>
                  </a:lnTo>
                  <a:cubicBezTo>
                    <a:pt x="2045966" y="62865"/>
                    <a:pt x="2045331" y="57785"/>
                    <a:pt x="2044696" y="55245"/>
                  </a:cubicBezTo>
                  <a:cubicBezTo>
                    <a:pt x="2044061" y="52705"/>
                    <a:pt x="2042791" y="50800"/>
                    <a:pt x="2041521" y="48895"/>
                  </a:cubicBezTo>
                  <a:cubicBezTo>
                    <a:pt x="2040251" y="46990"/>
                    <a:pt x="2038346" y="45720"/>
                    <a:pt x="2035806" y="44450"/>
                  </a:cubicBezTo>
                  <a:cubicBezTo>
                    <a:pt x="2033266" y="43180"/>
                    <a:pt x="2030726" y="43180"/>
                    <a:pt x="2027551" y="43180"/>
                  </a:cubicBezTo>
                  <a:close/>
                  <a:moveTo>
                    <a:pt x="1949445" y="43180"/>
                  </a:moveTo>
                  <a:cubicBezTo>
                    <a:pt x="1947540" y="43180"/>
                    <a:pt x="1945635" y="43180"/>
                    <a:pt x="1944365" y="43815"/>
                  </a:cubicBezTo>
                  <a:cubicBezTo>
                    <a:pt x="1942460" y="43815"/>
                    <a:pt x="1941190" y="45085"/>
                    <a:pt x="1939285" y="45720"/>
                  </a:cubicBezTo>
                  <a:cubicBezTo>
                    <a:pt x="1938015" y="46355"/>
                    <a:pt x="1936110" y="47625"/>
                    <a:pt x="1934840" y="48895"/>
                  </a:cubicBezTo>
                  <a:cubicBezTo>
                    <a:pt x="1933570" y="50165"/>
                    <a:pt x="1932300" y="51435"/>
                    <a:pt x="1931665" y="52705"/>
                  </a:cubicBezTo>
                  <a:lnTo>
                    <a:pt x="1931665" y="85725"/>
                  </a:lnTo>
                  <a:cubicBezTo>
                    <a:pt x="1931665" y="85725"/>
                    <a:pt x="1933570" y="88265"/>
                    <a:pt x="1934840" y="89535"/>
                  </a:cubicBezTo>
                  <a:cubicBezTo>
                    <a:pt x="1936110" y="90805"/>
                    <a:pt x="1937380" y="92075"/>
                    <a:pt x="1939285" y="92710"/>
                  </a:cubicBezTo>
                  <a:cubicBezTo>
                    <a:pt x="1941190" y="93980"/>
                    <a:pt x="1942460" y="94615"/>
                    <a:pt x="1944365" y="95250"/>
                  </a:cubicBezTo>
                  <a:cubicBezTo>
                    <a:pt x="1946270" y="95250"/>
                    <a:pt x="1948175" y="95885"/>
                    <a:pt x="1950080" y="95885"/>
                  </a:cubicBezTo>
                  <a:cubicBezTo>
                    <a:pt x="1955795" y="95885"/>
                    <a:pt x="1959605" y="93980"/>
                    <a:pt x="1962780" y="89535"/>
                  </a:cubicBezTo>
                  <a:cubicBezTo>
                    <a:pt x="1965955" y="85090"/>
                    <a:pt x="1967225" y="79375"/>
                    <a:pt x="1967225" y="71120"/>
                  </a:cubicBezTo>
                  <a:lnTo>
                    <a:pt x="1966590" y="71755"/>
                  </a:lnTo>
                  <a:cubicBezTo>
                    <a:pt x="1966590" y="62230"/>
                    <a:pt x="1965320" y="54610"/>
                    <a:pt x="1962145" y="50165"/>
                  </a:cubicBezTo>
                  <a:cubicBezTo>
                    <a:pt x="1958970" y="45720"/>
                    <a:pt x="1954525" y="43180"/>
                    <a:pt x="1949445" y="43180"/>
                  </a:cubicBezTo>
                  <a:close/>
                  <a:moveTo>
                    <a:pt x="1829431" y="43180"/>
                  </a:moveTo>
                  <a:cubicBezTo>
                    <a:pt x="1826891" y="43180"/>
                    <a:pt x="1824351" y="43180"/>
                    <a:pt x="1822446" y="44450"/>
                  </a:cubicBezTo>
                  <a:cubicBezTo>
                    <a:pt x="1820541" y="45085"/>
                    <a:pt x="1818636" y="46355"/>
                    <a:pt x="1817366" y="48260"/>
                  </a:cubicBezTo>
                  <a:cubicBezTo>
                    <a:pt x="1816096" y="50165"/>
                    <a:pt x="1814826" y="52070"/>
                    <a:pt x="1813556" y="54610"/>
                  </a:cubicBezTo>
                  <a:cubicBezTo>
                    <a:pt x="1812921" y="57150"/>
                    <a:pt x="1811651" y="59690"/>
                    <a:pt x="1811651" y="62865"/>
                  </a:cubicBezTo>
                  <a:lnTo>
                    <a:pt x="1847846" y="62865"/>
                  </a:lnTo>
                  <a:cubicBezTo>
                    <a:pt x="1847846" y="62865"/>
                    <a:pt x="1847211" y="57785"/>
                    <a:pt x="1846576" y="55245"/>
                  </a:cubicBezTo>
                  <a:cubicBezTo>
                    <a:pt x="1845941" y="52705"/>
                    <a:pt x="1844671" y="50800"/>
                    <a:pt x="1843401" y="48895"/>
                  </a:cubicBezTo>
                  <a:cubicBezTo>
                    <a:pt x="1842131" y="46990"/>
                    <a:pt x="1840226" y="45720"/>
                    <a:pt x="1837686" y="44450"/>
                  </a:cubicBezTo>
                  <a:cubicBezTo>
                    <a:pt x="1835146" y="43180"/>
                    <a:pt x="1832606" y="43180"/>
                    <a:pt x="1829431" y="43180"/>
                  </a:cubicBezTo>
                  <a:close/>
                  <a:moveTo>
                    <a:pt x="1178561" y="43180"/>
                  </a:moveTo>
                  <a:cubicBezTo>
                    <a:pt x="1176021" y="43180"/>
                    <a:pt x="1173481" y="43180"/>
                    <a:pt x="1171576" y="44450"/>
                  </a:cubicBezTo>
                  <a:cubicBezTo>
                    <a:pt x="1169671" y="45085"/>
                    <a:pt x="1167766" y="46355"/>
                    <a:pt x="1166496" y="48260"/>
                  </a:cubicBezTo>
                  <a:cubicBezTo>
                    <a:pt x="1165226" y="50165"/>
                    <a:pt x="1163956" y="52070"/>
                    <a:pt x="1162686" y="54610"/>
                  </a:cubicBezTo>
                  <a:cubicBezTo>
                    <a:pt x="1162051" y="57150"/>
                    <a:pt x="1160781" y="59690"/>
                    <a:pt x="1160781" y="62865"/>
                  </a:cubicBezTo>
                  <a:lnTo>
                    <a:pt x="1196976" y="62865"/>
                  </a:lnTo>
                  <a:cubicBezTo>
                    <a:pt x="1196976" y="62865"/>
                    <a:pt x="1196341" y="57785"/>
                    <a:pt x="1195706" y="55245"/>
                  </a:cubicBezTo>
                  <a:cubicBezTo>
                    <a:pt x="1195071" y="52705"/>
                    <a:pt x="1193801" y="50800"/>
                    <a:pt x="1192531" y="48895"/>
                  </a:cubicBezTo>
                  <a:cubicBezTo>
                    <a:pt x="1191261" y="46990"/>
                    <a:pt x="1189356" y="45720"/>
                    <a:pt x="1186816" y="44450"/>
                  </a:cubicBezTo>
                  <a:cubicBezTo>
                    <a:pt x="1184276" y="43180"/>
                    <a:pt x="1181736" y="43180"/>
                    <a:pt x="1178561" y="43180"/>
                  </a:cubicBezTo>
                  <a:close/>
                  <a:moveTo>
                    <a:pt x="898525" y="43180"/>
                  </a:moveTo>
                  <a:cubicBezTo>
                    <a:pt x="895985" y="43180"/>
                    <a:pt x="893445" y="43180"/>
                    <a:pt x="891540" y="44450"/>
                  </a:cubicBezTo>
                  <a:cubicBezTo>
                    <a:pt x="889635" y="45085"/>
                    <a:pt x="887730" y="46355"/>
                    <a:pt x="886460" y="48260"/>
                  </a:cubicBezTo>
                  <a:cubicBezTo>
                    <a:pt x="885190" y="50165"/>
                    <a:pt x="883920" y="52070"/>
                    <a:pt x="882650" y="54610"/>
                  </a:cubicBezTo>
                  <a:cubicBezTo>
                    <a:pt x="882015" y="57150"/>
                    <a:pt x="881380" y="59690"/>
                    <a:pt x="880745" y="62865"/>
                  </a:cubicBezTo>
                  <a:lnTo>
                    <a:pt x="916940" y="62865"/>
                  </a:lnTo>
                  <a:cubicBezTo>
                    <a:pt x="916940" y="62865"/>
                    <a:pt x="916305" y="57785"/>
                    <a:pt x="915670" y="55245"/>
                  </a:cubicBezTo>
                  <a:cubicBezTo>
                    <a:pt x="915035" y="52705"/>
                    <a:pt x="913765" y="50800"/>
                    <a:pt x="912495" y="48895"/>
                  </a:cubicBezTo>
                  <a:cubicBezTo>
                    <a:pt x="911225" y="46990"/>
                    <a:pt x="909320" y="45720"/>
                    <a:pt x="906780" y="44450"/>
                  </a:cubicBezTo>
                  <a:cubicBezTo>
                    <a:pt x="904240" y="43180"/>
                    <a:pt x="901700" y="43180"/>
                    <a:pt x="898525" y="43180"/>
                  </a:cubicBezTo>
                  <a:close/>
                  <a:moveTo>
                    <a:pt x="584834" y="43180"/>
                  </a:moveTo>
                  <a:cubicBezTo>
                    <a:pt x="582294" y="43180"/>
                    <a:pt x="579754" y="43180"/>
                    <a:pt x="577849" y="44450"/>
                  </a:cubicBezTo>
                  <a:cubicBezTo>
                    <a:pt x="575944" y="45085"/>
                    <a:pt x="574039" y="46355"/>
                    <a:pt x="572769" y="48260"/>
                  </a:cubicBezTo>
                  <a:cubicBezTo>
                    <a:pt x="571499" y="50165"/>
                    <a:pt x="570229" y="52070"/>
                    <a:pt x="568959" y="54610"/>
                  </a:cubicBezTo>
                  <a:cubicBezTo>
                    <a:pt x="568324" y="57150"/>
                    <a:pt x="567689" y="59690"/>
                    <a:pt x="567054" y="62865"/>
                  </a:cubicBezTo>
                  <a:lnTo>
                    <a:pt x="603249" y="62865"/>
                  </a:lnTo>
                  <a:cubicBezTo>
                    <a:pt x="603249" y="62865"/>
                    <a:pt x="602614" y="57785"/>
                    <a:pt x="601979" y="55245"/>
                  </a:cubicBezTo>
                  <a:cubicBezTo>
                    <a:pt x="601344" y="52705"/>
                    <a:pt x="600074" y="50800"/>
                    <a:pt x="598804" y="48895"/>
                  </a:cubicBezTo>
                  <a:cubicBezTo>
                    <a:pt x="597534" y="46990"/>
                    <a:pt x="595629" y="45720"/>
                    <a:pt x="593089" y="44450"/>
                  </a:cubicBezTo>
                  <a:cubicBezTo>
                    <a:pt x="590549" y="43180"/>
                    <a:pt x="588009" y="43180"/>
                    <a:pt x="584834" y="43180"/>
                  </a:cubicBezTo>
                  <a:close/>
                  <a:moveTo>
                    <a:pt x="398145" y="43180"/>
                  </a:moveTo>
                  <a:cubicBezTo>
                    <a:pt x="395605" y="43180"/>
                    <a:pt x="393065" y="43180"/>
                    <a:pt x="391160" y="44450"/>
                  </a:cubicBezTo>
                  <a:cubicBezTo>
                    <a:pt x="389255" y="45085"/>
                    <a:pt x="387350" y="46355"/>
                    <a:pt x="386080" y="48260"/>
                  </a:cubicBezTo>
                  <a:cubicBezTo>
                    <a:pt x="384810" y="50165"/>
                    <a:pt x="383540" y="52070"/>
                    <a:pt x="382270" y="54610"/>
                  </a:cubicBezTo>
                  <a:cubicBezTo>
                    <a:pt x="381635" y="57150"/>
                    <a:pt x="380365" y="59690"/>
                    <a:pt x="380365" y="62865"/>
                  </a:cubicBezTo>
                  <a:lnTo>
                    <a:pt x="416560" y="62865"/>
                  </a:lnTo>
                  <a:cubicBezTo>
                    <a:pt x="416560" y="62865"/>
                    <a:pt x="415925" y="57785"/>
                    <a:pt x="415290" y="55245"/>
                  </a:cubicBezTo>
                  <a:cubicBezTo>
                    <a:pt x="414655" y="52705"/>
                    <a:pt x="413385" y="50800"/>
                    <a:pt x="412115" y="48895"/>
                  </a:cubicBezTo>
                  <a:cubicBezTo>
                    <a:pt x="410845" y="46990"/>
                    <a:pt x="408940" y="45720"/>
                    <a:pt x="406400" y="44450"/>
                  </a:cubicBezTo>
                  <a:cubicBezTo>
                    <a:pt x="403860" y="43180"/>
                    <a:pt x="401320" y="43180"/>
                    <a:pt x="398145" y="43180"/>
                  </a:cubicBezTo>
                  <a:close/>
                  <a:moveTo>
                    <a:pt x="320039" y="43180"/>
                  </a:moveTo>
                  <a:cubicBezTo>
                    <a:pt x="318134" y="43180"/>
                    <a:pt x="316229" y="43180"/>
                    <a:pt x="314959" y="43815"/>
                  </a:cubicBezTo>
                  <a:cubicBezTo>
                    <a:pt x="313054" y="43815"/>
                    <a:pt x="311784" y="45085"/>
                    <a:pt x="309879" y="45720"/>
                  </a:cubicBezTo>
                  <a:cubicBezTo>
                    <a:pt x="308609" y="46355"/>
                    <a:pt x="306704" y="47625"/>
                    <a:pt x="305434" y="48895"/>
                  </a:cubicBezTo>
                  <a:cubicBezTo>
                    <a:pt x="304164" y="50165"/>
                    <a:pt x="302894" y="51435"/>
                    <a:pt x="302259" y="52705"/>
                  </a:cubicBezTo>
                  <a:lnTo>
                    <a:pt x="302259" y="85725"/>
                  </a:lnTo>
                  <a:cubicBezTo>
                    <a:pt x="302259" y="85725"/>
                    <a:pt x="304164" y="88265"/>
                    <a:pt x="305434" y="89535"/>
                  </a:cubicBezTo>
                  <a:cubicBezTo>
                    <a:pt x="306704" y="90805"/>
                    <a:pt x="307974" y="92075"/>
                    <a:pt x="309879" y="92710"/>
                  </a:cubicBezTo>
                  <a:cubicBezTo>
                    <a:pt x="311784" y="93980"/>
                    <a:pt x="313054" y="94615"/>
                    <a:pt x="314959" y="95250"/>
                  </a:cubicBezTo>
                  <a:cubicBezTo>
                    <a:pt x="316864" y="95250"/>
                    <a:pt x="318769" y="95885"/>
                    <a:pt x="320674" y="95885"/>
                  </a:cubicBezTo>
                  <a:cubicBezTo>
                    <a:pt x="326389" y="95885"/>
                    <a:pt x="330199" y="93980"/>
                    <a:pt x="333374" y="89535"/>
                  </a:cubicBezTo>
                  <a:cubicBezTo>
                    <a:pt x="336549" y="85090"/>
                    <a:pt x="337819" y="79375"/>
                    <a:pt x="337819" y="71120"/>
                  </a:cubicBezTo>
                  <a:lnTo>
                    <a:pt x="337184" y="71755"/>
                  </a:lnTo>
                  <a:cubicBezTo>
                    <a:pt x="337184" y="62230"/>
                    <a:pt x="335914" y="54610"/>
                    <a:pt x="332739" y="50165"/>
                  </a:cubicBezTo>
                  <a:cubicBezTo>
                    <a:pt x="329564" y="45720"/>
                    <a:pt x="325119" y="43180"/>
                    <a:pt x="320039" y="43180"/>
                  </a:cubicBezTo>
                  <a:close/>
                  <a:moveTo>
                    <a:pt x="200025" y="43180"/>
                  </a:moveTo>
                  <a:cubicBezTo>
                    <a:pt x="197485" y="43180"/>
                    <a:pt x="194945" y="43180"/>
                    <a:pt x="193040" y="44450"/>
                  </a:cubicBezTo>
                  <a:cubicBezTo>
                    <a:pt x="191135" y="45085"/>
                    <a:pt x="189230" y="46355"/>
                    <a:pt x="187960" y="48260"/>
                  </a:cubicBezTo>
                  <a:cubicBezTo>
                    <a:pt x="186690" y="50165"/>
                    <a:pt x="185420" y="52070"/>
                    <a:pt x="184150" y="54610"/>
                  </a:cubicBezTo>
                  <a:cubicBezTo>
                    <a:pt x="183515" y="57150"/>
                    <a:pt x="182880" y="59690"/>
                    <a:pt x="182245" y="62865"/>
                  </a:cubicBezTo>
                  <a:lnTo>
                    <a:pt x="218440" y="62865"/>
                  </a:lnTo>
                  <a:cubicBezTo>
                    <a:pt x="218440" y="62865"/>
                    <a:pt x="217805" y="57785"/>
                    <a:pt x="217170" y="55245"/>
                  </a:cubicBezTo>
                  <a:cubicBezTo>
                    <a:pt x="216535" y="52705"/>
                    <a:pt x="215265" y="50800"/>
                    <a:pt x="213995" y="48895"/>
                  </a:cubicBezTo>
                  <a:cubicBezTo>
                    <a:pt x="212725" y="46990"/>
                    <a:pt x="210820" y="45720"/>
                    <a:pt x="208280" y="44450"/>
                  </a:cubicBezTo>
                  <a:cubicBezTo>
                    <a:pt x="205740" y="43180"/>
                    <a:pt x="203200" y="43180"/>
                    <a:pt x="200025" y="43180"/>
                  </a:cubicBezTo>
                  <a:close/>
                  <a:moveTo>
                    <a:pt x="4439281" y="43179"/>
                  </a:moveTo>
                  <a:cubicBezTo>
                    <a:pt x="4433566" y="43179"/>
                    <a:pt x="4429756" y="45084"/>
                    <a:pt x="4426581" y="49529"/>
                  </a:cubicBezTo>
                  <a:cubicBezTo>
                    <a:pt x="4423406" y="53974"/>
                    <a:pt x="4422136" y="59689"/>
                    <a:pt x="4422136" y="67944"/>
                  </a:cubicBezTo>
                  <a:cubicBezTo>
                    <a:pt x="4422136" y="73024"/>
                    <a:pt x="4422136" y="76834"/>
                    <a:pt x="4423406" y="80644"/>
                  </a:cubicBezTo>
                  <a:cubicBezTo>
                    <a:pt x="4424041" y="84454"/>
                    <a:pt x="4425311" y="86994"/>
                    <a:pt x="4426581" y="89534"/>
                  </a:cubicBezTo>
                  <a:cubicBezTo>
                    <a:pt x="4427851" y="92074"/>
                    <a:pt x="4429756" y="93344"/>
                    <a:pt x="4432296" y="94614"/>
                  </a:cubicBezTo>
                  <a:cubicBezTo>
                    <a:pt x="4434201" y="95884"/>
                    <a:pt x="4436741" y="96519"/>
                    <a:pt x="4439916" y="96519"/>
                  </a:cubicBezTo>
                  <a:cubicBezTo>
                    <a:pt x="4441821" y="96519"/>
                    <a:pt x="4443726" y="96519"/>
                    <a:pt x="4444996" y="95884"/>
                  </a:cubicBezTo>
                  <a:cubicBezTo>
                    <a:pt x="4446901" y="95884"/>
                    <a:pt x="4448171" y="94614"/>
                    <a:pt x="4450076" y="93344"/>
                  </a:cubicBezTo>
                  <a:cubicBezTo>
                    <a:pt x="4451346" y="92709"/>
                    <a:pt x="4453251" y="91439"/>
                    <a:pt x="4454521" y="90169"/>
                  </a:cubicBezTo>
                  <a:cubicBezTo>
                    <a:pt x="4455791" y="88899"/>
                    <a:pt x="4457061" y="87629"/>
                    <a:pt x="4457696" y="86359"/>
                  </a:cubicBezTo>
                  <a:lnTo>
                    <a:pt x="4457696" y="53339"/>
                  </a:lnTo>
                  <a:cubicBezTo>
                    <a:pt x="4457696" y="53339"/>
                    <a:pt x="4455791" y="50799"/>
                    <a:pt x="4454521" y="49529"/>
                  </a:cubicBezTo>
                  <a:cubicBezTo>
                    <a:pt x="4453251" y="48259"/>
                    <a:pt x="4451981" y="46989"/>
                    <a:pt x="4450076" y="46354"/>
                  </a:cubicBezTo>
                  <a:cubicBezTo>
                    <a:pt x="4448806" y="45084"/>
                    <a:pt x="4446901" y="44449"/>
                    <a:pt x="4444996" y="43814"/>
                  </a:cubicBezTo>
                  <a:cubicBezTo>
                    <a:pt x="4443091" y="43814"/>
                    <a:pt x="4441186" y="43179"/>
                    <a:pt x="4439281" y="43179"/>
                  </a:cubicBezTo>
                  <a:close/>
                  <a:moveTo>
                    <a:pt x="1014731" y="43179"/>
                  </a:moveTo>
                  <a:cubicBezTo>
                    <a:pt x="1009016" y="43179"/>
                    <a:pt x="1005206" y="45084"/>
                    <a:pt x="1002032" y="49529"/>
                  </a:cubicBezTo>
                  <a:cubicBezTo>
                    <a:pt x="998856" y="53974"/>
                    <a:pt x="997587" y="59689"/>
                    <a:pt x="997587" y="67944"/>
                  </a:cubicBezTo>
                  <a:cubicBezTo>
                    <a:pt x="997587" y="77469"/>
                    <a:pt x="998856" y="84454"/>
                    <a:pt x="1002032" y="88899"/>
                  </a:cubicBezTo>
                  <a:cubicBezTo>
                    <a:pt x="1005206" y="93979"/>
                    <a:pt x="1009016" y="95884"/>
                    <a:pt x="1015367" y="95884"/>
                  </a:cubicBezTo>
                  <a:cubicBezTo>
                    <a:pt x="1018541" y="95884"/>
                    <a:pt x="1022352" y="95249"/>
                    <a:pt x="1024891" y="93344"/>
                  </a:cubicBezTo>
                  <a:cubicBezTo>
                    <a:pt x="1028067" y="91439"/>
                    <a:pt x="1030607" y="88899"/>
                    <a:pt x="1033147" y="86359"/>
                  </a:cubicBezTo>
                  <a:lnTo>
                    <a:pt x="1033147" y="53339"/>
                  </a:lnTo>
                  <a:cubicBezTo>
                    <a:pt x="1033147" y="53339"/>
                    <a:pt x="1031242" y="50799"/>
                    <a:pt x="1029971" y="49529"/>
                  </a:cubicBezTo>
                  <a:cubicBezTo>
                    <a:pt x="1028702" y="48259"/>
                    <a:pt x="1027431" y="46989"/>
                    <a:pt x="1025526" y="46354"/>
                  </a:cubicBezTo>
                  <a:cubicBezTo>
                    <a:pt x="1023621" y="45084"/>
                    <a:pt x="1022352" y="44449"/>
                    <a:pt x="1020446" y="43814"/>
                  </a:cubicBezTo>
                  <a:cubicBezTo>
                    <a:pt x="1018541" y="43179"/>
                    <a:pt x="1016636" y="43179"/>
                    <a:pt x="1014731" y="43179"/>
                  </a:cubicBezTo>
                  <a:close/>
                  <a:moveTo>
                    <a:pt x="4524370" y="31114"/>
                  </a:moveTo>
                  <a:lnTo>
                    <a:pt x="4538975" y="31114"/>
                  </a:lnTo>
                  <a:lnTo>
                    <a:pt x="4552310" y="84454"/>
                  </a:lnTo>
                  <a:lnTo>
                    <a:pt x="4566915" y="31114"/>
                  </a:lnTo>
                  <a:lnTo>
                    <a:pt x="4579615" y="31114"/>
                  </a:lnTo>
                  <a:lnTo>
                    <a:pt x="4594220" y="84454"/>
                  </a:lnTo>
                  <a:lnTo>
                    <a:pt x="4606920" y="31114"/>
                  </a:lnTo>
                  <a:lnTo>
                    <a:pt x="4622160" y="31114"/>
                  </a:lnTo>
                  <a:lnTo>
                    <a:pt x="4600570" y="108584"/>
                  </a:lnTo>
                  <a:lnTo>
                    <a:pt x="4587235" y="108584"/>
                  </a:lnTo>
                  <a:lnTo>
                    <a:pt x="4572630" y="54609"/>
                  </a:lnTo>
                  <a:lnTo>
                    <a:pt x="4558660" y="108584"/>
                  </a:lnTo>
                  <a:lnTo>
                    <a:pt x="4545325" y="108584"/>
                  </a:lnTo>
                  <a:close/>
                  <a:moveTo>
                    <a:pt x="4123686" y="31114"/>
                  </a:moveTo>
                  <a:lnTo>
                    <a:pt x="4138926" y="31114"/>
                  </a:lnTo>
                  <a:lnTo>
                    <a:pt x="4152261" y="84454"/>
                  </a:lnTo>
                  <a:lnTo>
                    <a:pt x="4166866" y="31114"/>
                  </a:lnTo>
                  <a:lnTo>
                    <a:pt x="4178931" y="31114"/>
                  </a:lnTo>
                  <a:lnTo>
                    <a:pt x="4193536" y="84454"/>
                  </a:lnTo>
                  <a:lnTo>
                    <a:pt x="4206871" y="31114"/>
                  </a:lnTo>
                  <a:lnTo>
                    <a:pt x="4222111" y="31114"/>
                  </a:lnTo>
                  <a:lnTo>
                    <a:pt x="4200521" y="108584"/>
                  </a:lnTo>
                  <a:lnTo>
                    <a:pt x="4187186" y="108584"/>
                  </a:lnTo>
                  <a:lnTo>
                    <a:pt x="4172581" y="54609"/>
                  </a:lnTo>
                  <a:lnTo>
                    <a:pt x="4157976" y="108584"/>
                  </a:lnTo>
                  <a:lnTo>
                    <a:pt x="4145276" y="108584"/>
                  </a:lnTo>
                  <a:close/>
                  <a:moveTo>
                    <a:pt x="2837811" y="31114"/>
                  </a:moveTo>
                  <a:lnTo>
                    <a:pt x="2852416" y="31114"/>
                  </a:lnTo>
                  <a:lnTo>
                    <a:pt x="2865751" y="84454"/>
                  </a:lnTo>
                  <a:lnTo>
                    <a:pt x="2880356" y="31114"/>
                  </a:lnTo>
                  <a:lnTo>
                    <a:pt x="2893056" y="31114"/>
                  </a:lnTo>
                  <a:lnTo>
                    <a:pt x="2907661" y="84454"/>
                  </a:lnTo>
                  <a:lnTo>
                    <a:pt x="2920361" y="31114"/>
                  </a:lnTo>
                  <a:lnTo>
                    <a:pt x="2935601" y="31114"/>
                  </a:lnTo>
                  <a:lnTo>
                    <a:pt x="2914011" y="108584"/>
                  </a:lnTo>
                  <a:lnTo>
                    <a:pt x="2900676" y="108584"/>
                  </a:lnTo>
                  <a:lnTo>
                    <a:pt x="2886706" y="54609"/>
                  </a:lnTo>
                  <a:lnTo>
                    <a:pt x="2872101" y="108584"/>
                  </a:lnTo>
                  <a:lnTo>
                    <a:pt x="2858766" y="108584"/>
                  </a:lnTo>
                  <a:close/>
                  <a:moveTo>
                    <a:pt x="1354455" y="31114"/>
                  </a:moveTo>
                  <a:lnTo>
                    <a:pt x="1369695" y="31114"/>
                  </a:lnTo>
                  <a:lnTo>
                    <a:pt x="1369695" y="109219"/>
                  </a:lnTo>
                  <a:lnTo>
                    <a:pt x="1354455" y="109219"/>
                  </a:lnTo>
                  <a:close/>
                  <a:moveTo>
                    <a:pt x="2646040" y="29844"/>
                  </a:moveTo>
                  <a:cubicBezTo>
                    <a:pt x="2650485" y="29844"/>
                    <a:pt x="2654295" y="29844"/>
                    <a:pt x="2658105" y="31749"/>
                  </a:cubicBezTo>
                  <a:cubicBezTo>
                    <a:pt x="2661915" y="33019"/>
                    <a:pt x="2665090" y="34289"/>
                    <a:pt x="2667630" y="36829"/>
                  </a:cubicBezTo>
                  <a:cubicBezTo>
                    <a:pt x="2670170" y="38734"/>
                    <a:pt x="2672075" y="41909"/>
                    <a:pt x="2673345" y="45084"/>
                  </a:cubicBezTo>
                  <a:cubicBezTo>
                    <a:pt x="2674615" y="48259"/>
                    <a:pt x="2675250" y="52069"/>
                    <a:pt x="2675250" y="56514"/>
                  </a:cubicBezTo>
                  <a:lnTo>
                    <a:pt x="2675250" y="109854"/>
                  </a:lnTo>
                  <a:lnTo>
                    <a:pt x="2660010" y="109854"/>
                  </a:lnTo>
                  <a:lnTo>
                    <a:pt x="2660010" y="108584"/>
                  </a:lnTo>
                  <a:lnTo>
                    <a:pt x="2660010" y="100964"/>
                  </a:lnTo>
                  <a:cubicBezTo>
                    <a:pt x="2660010" y="100964"/>
                    <a:pt x="2656200" y="104139"/>
                    <a:pt x="2654930" y="104774"/>
                  </a:cubicBezTo>
                  <a:cubicBezTo>
                    <a:pt x="2653660" y="105409"/>
                    <a:pt x="2652390" y="106679"/>
                    <a:pt x="2651120" y="107314"/>
                  </a:cubicBezTo>
                  <a:cubicBezTo>
                    <a:pt x="2649850" y="107949"/>
                    <a:pt x="2647945" y="108584"/>
                    <a:pt x="2646040" y="109219"/>
                  </a:cubicBezTo>
                  <a:cubicBezTo>
                    <a:pt x="2644135" y="109219"/>
                    <a:pt x="2641595" y="109854"/>
                    <a:pt x="2639055" y="109854"/>
                  </a:cubicBezTo>
                  <a:cubicBezTo>
                    <a:pt x="2635880" y="109854"/>
                    <a:pt x="2632705" y="109854"/>
                    <a:pt x="2629530" y="108584"/>
                  </a:cubicBezTo>
                  <a:cubicBezTo>
                    <a:pt x="2626355" y="107949"/>
                    <a:pt x="2623180" y="106044"/>
                    <a:pt x="2620640" y="104139"/>
                  </a:cubicBezTo>
                  <a:cubicBezTo>
                    <a:pt x="2618100" y="102234"/>
                    <a:pt x="2616195" y="99059"/>
                    <a:pt x="2614290" y="95884"/>
                  </a:cubicBezTo>
                  <a:cubicBezTo>
                    <a:pt x="2612385" y="92709"/>
                    <a:pt x="2611750" y="88264"/>
                    <a:pt x="2611750" y="83819"/>
                  </a:cubicBezTo>
                  <a:cubicBezTo>
                    <a:pt x="2611750" y="79374"/>
                    <a:pt x="2612385" y="75564"/>
                    <a:pt x="2614290" y="72389"/>
                  </a:cubicBezTo>
                  <a:cubicBezTo>
                    <a:pt x="2615560" y="69214"/>
                    <a:pt x="2618100" y="66674"/>
                    <a:pt x="2620640" y="64769"/>
                  </a:cubicBezTo>
                  <a:cubicBezTo>
                    <a:pt x="2623180" y="62864"/>
                    <a:pt x="2626990" y="60959"/>
                    <a:pt x="2630800" y="60324"/>
                  </a:cubicBezTo>
                  <a:cubicBezTo>
                    <a:pt x="2634610" y="59054"/>
                    <a:pt x="2638420" y="59054"/>
                    <a:pt x="2642865" y="59054"/>
                  </a:cubicBezTo>
                  <a:cubicBezTo>
                    <a:pt x="2646675" y="59054"/>
                    <a:pt x="2650485" y="59054"/>
                    <a:pt x="2653025" y="59689"/>
                  </a:cubicBezTo>
                  <a:cubicBezTo>
                    <a:pt x="2655565" y="59689"/>
                    <a:pt x="2658105" y="60959"/>
                    <a:pt x="2660010" y="61594"/>
                  </a:cubicBezTo>
                  <a:lnTo>
                    <a:pt x="2660010" y="55879"/>
                  </a:lnTo>
                  <a:cubicBezTo>
                    <a:pt x="2660010" y="51434"/>
                    <a:pt x="2658740" y="48259"/>
                    <a:pt x="2656200" y="46354"/>
                  </a:cubicBezTo>
                  <a:cubicBezTo>
                    <a:pt x="2653660" y="43814"/>
                    <a:pt x="2649850" y="43179"/>
                    <a:pt x="2645405" y="43179"/>
                  </a:cubicBezTo>
                  <a:cubicBezTo>
                    <a:pt x="2641595" y="43179"/>
                    <a:pt x="2637785" y="43179"/>
                    <a:pt x="2634610" y="44449"/>
                  </a:cubicBezTo>
                  <a:cubicBezTo>
                    <a:pt x="2631435" y="45084"/>
                    <a:pt x="2628260" y="46354"/>
                    <a:pt x="2625085" y="48259"/>
                  </a:cubicBezTo>
                  <a:lnTo>
                    <a:pt x="2619370" y="36829"/>
                  </a:lnTo>
                  <a:cubicBezTo>
                    <a:pt x="2623180" y="34289"/>
                    <a:pt x="2626990" y="33019"/>
                    <a:pt x="2631435" y="31749"/>
                  </a:cubicBezTo>
                  <a:cubicBezTo>
                    <a:pt x="2635880" y="30479"/>
                    <a:pt x="2640325" y="29844"/>
                    <a:pt x="2646040" y="29844"/>
                  </a:cubicBezTo>
                  <a:close/>
                  <a:moveTo>
                    <a:pt x="1114426" y="29844"/>
                  </a:moveTo>
                  <a:lnTo>
                    <a:pt x="1129666" y="29844"/>
                  </a:lnTo>
                  <a:lnTo>
                    <a:pt x="1129666" y="107949"/>
                  </a:lnTo>
                  <a:lnTo>
                    <a:pt x="1114426" y="107949"/>
                  </a:lnTo>
                  <a:lnTo>
                    <a:pt x="1114426" y="100964"/>
                  </a:lnTo>
                  <a:cubicBezTo>
                    <a:pt x="1114426" y="100964"/>
                    <a:pt x="1109981" y="106044"/>
                    <a:pt x="1106171" y="107314"/>
                  </a:cubicBezTo>
                  <a:cubicBezTo>
                    <a:pt x="1102996" y="109219"/>
                    <a:pt x="1098551" y="109854"/>
                    <a:pt x="1094741" y="109854"/>
                  </a:cubicBezTo>
                  <a:cubicBezTo>
                    <a:pt x="1085851" y="109854"/>
                    <a:pt x="1078866" y="106679"/>
                    <a:pt x="1073786" y="100964"/>
                  </a:cubicBezTo>
                  <a:cubicBezTo>
                    <a:pt x="1069341" y="95249"/>
                    <a:pt x="1066800" y="86359"/>
                    <a:pt x="1066800" y="74929"/>
                  </a:cubicBezTo>
                  <a:lnTo>
                    <a:pt x="1066800" y="30479"/>
                  </a:lnTo>
                  <a:lnTo>
                    <a:pt x="1082040" y="30479"/>
                  </a:lnTo>
                  <a:lnTo>
                    <a:pt x="1082040" y="74294"/>
                  </a:lnTo>
                  <a:cubicBezTo>
                    <a:pt x="1082040" y="81279"/>
                    <a:pt x="1083311" y="86994"/>
                    <a:pt x="1085851" y="90169"/>
                  </a:cubicBezTo>
                  <a:cubicBezTo>
                    <a:pt x="1088390" y="93979"/>
                    <a:pt x="1092201" y="95249"/>
                    <a:pt x="1097916" y="95249"/>
                  </a:cubicBezTo>
                  <a:cubicBezTo>
                    <a:pt x="1102996" y="95249"/>
                    <a:pt x="1106806" y="93344"/>
                    <a:pt x="1109981" y="90169"/>
                  </a:cubicBezTo>
                  <a:cubicBezTo>
                    <a:pt x="1112521" y="86994"/>
                    <a:pt x="1114426" y="81914"/>
                    <a:pt x="1114426" y="75564"/>
                  </a:cubicBezTo>
                  <a:close/>
                  <a:moveTo>
                    <a:pt x="1011556" y="29844"/>
                  </a:moveTo>
                  <a:cubicBezTo>
                    <a:pt x="1013461" y="29844"/>
                    <a:pt x="1015367" y="29844"/>
                    <a:pt x="1017272" y="30479"/>
                  </a:cubicBezTo>
                  <a:cubicBezTo>
                    <a:pt x="1019176" y="30479"/>
                    <a:pt x="1021081" y="31749"/>
                    <a:pt x="1022352" y="32384"/>
                  </a:cubicBezTo>
                  <a:cubicBezTo>
                    <a:pt x="1024257" y="33019"/>
                    <a:pt x="1025526" y="34289"/>
                    <a:pt x="1026797" y="35559"/>
                  </a:cubicBezTo>
                  <a:cubicBezTo>
                    <a:pt x="1028067" y="36829"/>
                    <a:pt x="1029336" y="37464"/>
                    <a:pt x="1030607" y="38734"/>
                  </a:cubicBezTo>
                  <a:lnTo>
                    <a:pt x="1030607" y="31749"/>
                  </a:lnTo>
                  <a:lnTo>
                    <a:pt x="1045847" y="31749"/>
                  </a:lnTo>
                  <a:lnTo>
                    <a:pt x="1045847" y="130809"/>
                  </a:lnTo>
                  <a:lnTo>
                    <a:pt x="1032512" y="137477"/>
                  </a:lnTo>
                  <a:lnTo>
                    <a:pt x="1032512" y="101599"/>
                  </a:lnTo>
                  <a:cubicBezTo>
                    <a:pt x="1032512" y="101599"/>
                    <a:pt x="1026797" y="106679"/>
                    <a:pt x="1022986" y="107949"/>
                  </a:cubicBezTo>
                  <a:cubicBezTo>
                    <a:pt x="1019812" y="109854"/>
                    <a:pt x="1016001" y="110489"/>
                    <a:pt x="1011556" y="110489"/>
                  </a:cubicBezTo>
                  <a:cubicBezTo>
                    <a:pt x="1007111" y="110489"/>
                    <a:pt x="1003301" y="109854"/>
                    <a:pt x="999491" y="107949"/>
                  </a:cubicBezTo>
                  <a:cubicBezTo>
                    <a:pt x="995681" y="106679"/>
                    <a:pt x="992506" y="104139"/>
                    <a:pt x="989966" y="100329"/>
                  </a:cubicBezTo>
                  <a:cubicBezTo>
                    <a:pt x="987426" y="97154"/>
                    <a:pt x="984886" y="92709"/>
                    <a:pt x="983616" y="87629"/>
                  </a:cubicBezTo>
                  <a:cubicBezTo>
                    <a:pt x="982346" y="82549"/>
                    <a:pt x="981076" y="76199"/>
                    <a:pt x="981076" y="68579"/>
                  </a:cubicBezTo>
                  <a:cubicBezTo>
                    <a:pt x="981076" y="61594"/>
                    <a:pt x="981711" y="55879"/>
                    <a:pt x="983616" y="51434"/>
                  </a:cubicBezTo>
                  <a:cubicBezTo>
                    <a:pt x="985521" y="46354"/>
                    <a:pt x="987426" y="42544"/>
                    <a:pt x="990601" y="39369"/>
                  </a:cubicBezTo>
                  <a:cubicBezTo>
                    <a:pt x="993142" y="36194"/>
                    <a:pt x="996951" y="33654"/>
                    <a:pt x="1000126" y="32384"/>
                  </a:cubicBezTo>
                  <a:cubicBezTo>
                    <a:pt x="1003937" y="31114"/>
                    <a:pt x="1007746" y="29844"/>
                    <a:pt x="1011556" y="29844"/>
                  </a:cubicBezTo>
                  <a:close/>
                  <a:moveTo>
                    <a:pt x="4871716" y="29210"/>
                  </a:moveTo>
                  <a:cubicBezTo>
                    <a:pt x="4876796" y="29210"/>
                    <a:pt x="4881241" y="29845"/>
                    <a:pt x="4885686" y="31750"/>
                  </a:cubicBezTo>
                  <a:cubicBezTo>
                    <a:pt x="4890131" y="33655"/>
                    <a:pt x="4894576" y="35560"/>
                    <a:pt x="4897751" y="38100"/>
                  </a:cubicBezTo>
                  <a:lnTo>
                    <a:pt x="4899021" y="38100"/>
                  </a:lnTo>
                  <a:lnTo>
                    <a:pt x="4892036" y="50165"/>
                  </a:lnTo>
                  <a:cubicBezTo>
                    <a:pt x="4888861" y="47625"/>
                    <a:pt x="4885686" y="46355"/>
                    <a:pt x="4882511" y="45085"/>
                  </a:cubicBezTo>
                  <a:cubicBezTo>
                    <a:pt x="4879336" y="43815"/>
                    <a:pt x="4875526" y="43180"/>
                    <a:pt x="4872351" y="43180"/>
                  </a:cubicBezTo>
                  <a:cubicBezTo>
                    <a:pt x="4869176" y="43180"/>
                    <a:pt x="4866001" y="43815"/>
                    <a:pt x="4864096" y="45085"/>
                  </a:cubicBezTo>
                  <a:cubicBezTo>
                    <a:pt x="4862191" y="46355"/>
                    <a:pt x="4861556" y="48260"/>
                    <a:pt x="4861556" y="50165"/>
                  </a:cubicBezTo>
                  <a:cubicBezTo>
                    <a:pt x="4861556" y="51435"/>
                    <a:pt x="4861556" y="52070"/>
                    <a:pt x="4861556" y="52705"/>
                  </a:cubicBezTo>
                  <a:cubicBezTo>
                    <a:pt x="4861556" y="53340"/>
                    <a:pt x="4862826" y="54610"/>
                    <a:pt x="4863461" y="55245"/>
                  </a:cubicBezTo>
                  <a:cubicBezTo>
                    <a:pt x="4864731" y="55880"/>
                    <a:pt x="4866001" y="57150"/>
                    <a:pt x="4867906" y="57785"/>
                  </a:cubicBezTo>
                  <a:cubicBezTo>
                    <a:pt x="4869811" y="59055"/>
                    <a:pt x="4872351" y="59690"/>
                    <a:pt x="4874891" y="60960"/>
                  </a:cubicBezTo>
                  <a:cubicBezTo>
                    <a:pt x="4879336" y="62865"/>
                    <a:pt x="4883146" y="64135"/>
                    <a:pt x="4886321" y="66040"/>
                  </a:cubicBezTo>
                  <a:cubicBezTo>
                    <a:pt x="4889496" y="67310"/>
                    <a:pt x="4892036" y="69215"/>
                    <a:pt x="4894576" y="71120"/>
                  </a:cubicBezTo>
                  <a:cubicBezTo>
                    <a:pt x="4896481" y="73025"/>
                    <a:pt x="4898386" y="75565"/>
                    <a:pt x="4899656" y="78105"/>
                  </a:cubicBezTo>
                  <a:cubicBezTo>
                    <a:pt x="4900926" y="80645"/>
                    <a:pt x="4901561" y="83820"/>
                    <a:pt x="4901561" y="87630"/>
                  </a:cubicBezTo>
                  <a:cubicBezTo>
                    <a:pt x="4901561" y="92075"/>
                    <a:pt x="4900926" y="95250"/>
                    <a:pt x="4899021" y="98425"/>
                  </a:cubicBezTo>
                  <a:cubicBezTo>
                    <a:pt x="4897116" y="101600"/>
                    <a:pt x="4895211" y="103505"/>
                    <a:pt x="4892671" y="105410"/>
                  </a:cubicBezTo>
                  <a:cubicBezTo>
                    <a:pt x="4890131" y="107315"/>
                    <a:pt x="4886956" y="108585"/>
                    <a:pt x="4883146" y="109220"/>
                  </a:cubicBezTo>
                  <a:cubicBezTo>
                    <a:pt x="4879336" y="109855"/>
                    <a:pt x="4876161" y="110490"/>
                    <a:pt x="4872351" y="110490"/>
                  </a:cubicBezTo>
                  <a:cubicBezTo>
                    <a:pt x="4867271" y="110490"/>
                    <a:pt x="4862191" y="109855"/>
                    <a:pt x="4857111" y="107950"/>
                  </a:cubicBezTo>
                  <a:cubicBezTo>
                    <a:pt x="4851396" y="106045"/>
                    <a:pt x="4846951" y="103505"/>
                    <a:pt x="4842506" y="100965"/>
                  </a:cubicBezTo>
                  <a:lnTo>
                    <a:pt x="4849491" y="89535"/>
                  </a:lnTo>
                  <a:cubicBezTo>
                    <a:pt x="4853301" y="92075"/>
                    <a:pt x="4857111" y="93980"/>
                    <a:pt x="4860921" y="95250"/>
                  </a:cubicBezTo>
                  <a:cubicBezTo>
                    <a:pt x="4864731" y="96520"/>
                    <a:pt x="4868541" y="97155"/>
                    <a:pt x="4872351" y="97155"/>
                  </a:cubicBezTo>
                  <a:cubicBezTo>
                    <a:pt x="4877431" y="97155"/>
                    <a:pt x="4880606" y="96520"/>
                    <a:pt x="4883146" y="94615"/>
                  </a:cubicBezTo>
                  <a:cubicBezTo>
                    <a:pt x="4885686" y="93345"/>
                    <a:pt x="4886321" y="90805"/>
                    <a:pt x="4886321" y="88265"/>
                  </a:cubicBezTo>
                  <a:cubicBezTo>
                    <a:pt x="4886321" y="86995"/>
                    <a:pt x="4886321" y="85725"/>
                    <a:pt x="4885051" y="84455"/>
                  </a:cubicBezTo>
                  <a:cubicBezTo>
                    <a:pt x="4884416" y="83185"/>
                    <a:pt x="4883146" y="82550"/>
                    <a:pt x="4881241" y="81280"/>
                  </a:cubicBezTo>
                  <a:cubicBezTo>
                    <a:pt x="4879971" y="80010"/>
                    <a:pt x="4878066" y="79375"/>
                    <a:pt x="4875526" y="78105"/>
                  </a:cubicBezTo>
                  <a:cubicBezTo>
                    <a:pt x="4872986" y="77470"/>
                    <a:pt x="4871081" y="76200"/>
                    <a:pt x="4867906" y="74930"/>
                  </a:cubicBezTo>
                  <a:cubicBezTo>
                    <a:pt x="4863461" y="73025"/>
                    <a:pt x="4860286" y="71755"/>
                    <a:pt x="4857111" y="69850"/>
                  </a:cubicBezTo>
                  <a:cubicBezTo>
                    <a:pt x="4853936" y="67945"/>
                    <a:pt x="4852031" y="66675"/>
                    <a:pt x="4850126" y="64770"/>
                  </a:cubicBezTo>
                  <a:cubicBezTo>
                    <a:pt x="4848221" y="62865"/>
                    <a:pt x="4846951" y="60960"/>
                    <a:pt x="4846316" y="58420"/>
                  </a:cubicBezTo>
                  <a:cubicBezTo>
                    <a:pt x="4845681" y="55880"/>
                    <a:pt x="4845046" y="53340"/>
                    <a:pt x="4845046" y="50165"/>
                  </a:cubicBezTo>
                  <a:cubicBezTo>
                    <a:pt x="4845046" y="46990"/>
                    <a:pt x="4845681" y="43815"/>
                    <a:pt x="4846951" y="40640"/>
                  </a:cubicBezTo>
                  <a:cubicBezTo>
                    <a:pt x="4848221" y="38100"/>
                    <a:pt x="4850126" y="35560"/>
                    <a:pt x="4852666" y="34290"/>
                  </a:cubicBezTo>
                  <a:cubicBezTo>
                    <a:pt x="4855206" y="32385"/>
                    <a:pt x="4857746" y="31115"/>
                    <a:pt x="4860921" y="30480"/>
                  </a:cubicBezTo>
                  <a:cubicBezTo>
                    <a:pt x="4864096" y="29845"/>
                    <a:pt x="4867906" y="29210"/>
                    <a:pt x="4871716" y="29210"/>
                  </a:cubicBezTo>
                  <a:close/>
                  <a:moveTo>
                    <a:pt x="4749796" y="29210"/>
                  </a:moveTo>
                  <a:cubicBezTo>
                    <a:pt x="4752971" y="29210"/>
                    <a:pt x="4755511" y="29210"/>
                    <a:pt x="4757416" y="29845"/>
                  </a:cubicBezTo>
                  <a:cubicBezTo>
                    <a:pt x="4759321" y="30480"/>
                    <a:pt x="4761226" y="31115"/>
                    <a:pt x="4763131" y="32385"/>
                  </a:cubicBezTo>
                  <a:lnTo>
                    <a:pt x="4759321" y="46990"/>
                  </a:lnTo>
                  <a:lnTo>
                    <a:pt x="4758051" y="46990"/>
                  </a:lnTo>
                  <a:cubicBezTo>
                    <a:pt x="4758051" y="46990"/>
                    <a:pt x="4754876" y="45085"/>
                    <a:pt x="4752971" y="45085"/>
                  </a:cubicBezTo>
                  <a:cubicBezTo>
                    <a:pt x="4751066" y="45085"/>
                    <a:pt x="4749161" y="44450"/>
                    <a:pt x="4746621" y="44450"/>
                  </a:cubicBezTo>
                  <a:cubicBezTo>
                    <a:pt x="4741541" y="44450"/>
                    <a:pt x="4737731" y="46355"/>
                    <a:pt x="4735191" y="49530"/>
                  </a:cubicBezTo>
                  <a:cubicBezTo>
                    <a:pt x="4732651" y="52705"/>
                    <a:pt x="4731381" y="57785"/>
                    <a:pt x="4731381" y="64770"/>
                  </a:cubicBezTo>
                  <a:lnTo>
                    <a:pt x="4731381" y="109220"/>
                  </a:lnTo>
                  <a:lnTo>
                    <a:pt x="4716141" y="109220"/>
                  </a:lnTo>
                  <a:lnTo>
                    <a:pt x="4716141" y="31115"/>
                  </a:lnTo>
                  <a:lnTo>
                    <a:pt x="4731381" y="31115"/>
                  </a:lnTo>
                  <a:lnTo>
                    <a:pt x="4731381" y="38735"/>
                  </a:lnTo>
                  <a:cubicBezTo>
                    <a:pt x="4731381" y="38735"/>
                    <a:pt x="4733286" y="36195"/>
                    <a:pt x="4734556" y="34925"/>
                  </a:cubicBezTo>
                  <a:cubicBezTo>
                    <a:pt x="4735826" y="33655"/>
                    <a:pt x="4737096" y="33020"/>
                    <a:pt x="4739001" y="31750"/>
                  </a:cubicBezTo>
                  <a:cubicBezTo>
                    <a:pt x="4740271" y="31115"/>
                    <a:pt x="4742176" y="30480"/>
                    <a:pt x="4744081" y="29845"/>
                  </a:cubicBezTo>
                  <a:cubicBezTo>
                    <a:pt x="4745986" y="29845"/>
                    <a:pt x="4747891" y="29210"/>
                    <a:pt x="4749796" y="29210"/>
                  </a:cubicBezTo>
                  <a:close/>
                  <a:moveTo>
                    <a:pt x="4349110" y="29210"/>
                  </a:moveTo>
                  <a:cubicBezTo>
                    <a:pt x="4352285" y="29210"/>
                    <a:pt x="4354825" y="29210"/>
                    <a:pt x="4356730" y="29845"/>
                  </a:cubicBezTo>
                  <a:cubicBezTo>
                    <a:pt x="4358635" y="29845"/>
                    <a:pt x="4360540" y="31115"/>
                    <a:pt x="4362445" y="32385"/>
                  </a:cubicBezTo>
                  <a:lnTo>
                    <a:pt x="4358635" y="46990"/>
                  </a:lnTo>
                  <a:lnTo>
                    <a:pt x="4357365" y="46990"/>
                  </a:lnTo>
                  <a:cubicBezTo>
                    <a:pt x="4357365" y="46990"/>
                    <a:pt x="4354190" y="45085"/>
                    <a:pt x="4352285" y="45085"/>
                  </a:cubicBezTo>
                  <a:cubicBezTo>
                    <a:pt x="4350380" y="45085"/>
                    <a:pt x="4348475" y="44450"/>
                    <a:pt x="4345935" y="44450"/>
                  </a:cubicBezTo>
                  <a:cubicBezTo>
                    <a:pt x="4340855" y="44450"/>
                    <a:pt x="4337045" y="46355"/>
                    <a:pt x="4334505" y="49530"/>
                  </a:cubicBezTo>
                  <a:cubicBezTo>
                    <a:pt x="4331965" y="52705"/>
                    <a:pt x="4330695" y="57785"/>
                    <a:pt x="4330695" y="64770"/>
                  </a:cubicBezTo>
                  <a:lnTo>
                    <a:pt x="4330695" y="109220"/>
                  </a:lnTo>
                  <a:lnTo>
                    <a:pt x="4315455" y="109220"/>
                  </a:lnTo>
                  <a:lnTo>
                    <a:pt x="4315455" y="31115"/>
                  </a:lnTo>
                  <a:lnTo>
                    <a:pt x="4330695" y="31115"/>
                  </a:lnTo>
                  <a:lnTo>
                    <a:pt x="4330695" y="38735"/>
                  </a:lnTo>
                  <a:cubicBezTo>
                    <a:pt x="4330695" y="38735"/>
                    <a:pt x="4332600" y="36195"/>
                    <a:pt x="4333870" y="34925"/>
                  </a:cubicBezTo>
                  <a:cubicBezTo>
                    <a:pt x="4335140" y="33655"/>
                    <a:pt x="4336410" y="33020"/>
                    <a:pt x="4338315" y="31750"/>
                  </a:cubicBezTo>
                  <a:cubicBezTo>
                    <a:pt x="4339585" y="31115"/>
                    <a:pt x="4341490" y="30480"/>
                    <a:pt x="4343395" y="29845"/>
                  </a:cubicBezTo>
                  <a:cubicBezTo>
                    <a:pt x="4345300" y="29845"/>
                    <a:pt x="4347205" y="29210"/>
                    <a:pt x="4349110" y="29210"/>
                  </a:cubicBezTo>
                  <a:close/>
                  <a:moveTo>
                    <a:pt x="4044310" y="29210"/>
                  </a:moveTo>
                  <a:cubicBezTo>
                    <a:pt x="4050025" y="29210"/>
                    <a:pt x="4054470" y="30480"/>
                    <a:pt x="4058915" y="32385"/>
                  </a:cubicBezTo>
                  <a:cubicBezTo>
                    <a:pt x="4062725" y="34290"/>
                    <a:pt x="4066535" y="37465"/>
                    <a:pt x="4069075" y="40640"/>
                  </a:cubicBezTo>
                  <a:cubicBezTo>
                    <a:pt x="4071615" y="44450"/>
                    <a:pt x="4073520" y="48260"/>
                    <a:pt x="4075425" y="53340"/>
                  </a:cubicBezTo>
                  <a:cubicBezTo>
                    <a:pt x="4076695" y="57785"/>
                    <a:pt x="4077330" y="62865"/>
                    <a:pt x="4077330" y="68580"/>
                  </a:cubicBezTo>
                  <a:lnTo>
                    <a:pt x="4076060" y="68580"/>
                  </a:lnTo>
                  <a:cubicBezTo>
                    <a:pt x="4076060" y="68580"/>
                    <a:pt x="4076060" y="71120"/>
                    <a:pt x="4076060" y="72390"/>
                  </a:cubicBezTo>
                  <a:cubicBezTo>
                    <a:pt x="4076060" y="73660"/>
                    <a:pt x="4076060" y="74295"/>
                    <a:pt x="4076060" y="75565"/>
                  </a:cubicBezTo>
                  <a:lnTo>
                    <a:pt x="4024625" y="75565"/>
                  </a:lnTo>
                  <a:cubicBezTo>
                    <a:pt x="4024625" y="79375"/>
                    <a:pt x="4025895" y="82550"/>
                    <a:pt x="4027165" y="85090"/>
                  </a:cubicBezTo>
                  <a:cubicBezTo>
                    <a:pt x="4028435" y="87630"/>
                    <a:pt x="4029705" y="90170"/>
                    <a:pt x="4031610" y="91440"/>
                  </a:cubicBezTo>
                  <a:cubicBezTo>
                    <a:pt x="4033515" y="93345"/>
                    <a:pt x="4035420" y="94615"/>
                    <a:pt x="4037325" y="95250"/>
                  </a:cubicBezTo>
                  <a:cubicBezTo>
                    <a:pt x="4039230" y="95885"/>
                    <a:pt x="4041770" y="96520"/>
                    <a:pt x="4044310" y="96520"/>
                  </a:cubicBezTo>
                  <a:cubicBezTo>
                    <a:pt x="4046215" y="96520"/>
                    <a:pt x="4047485" y="96520"/>
                    <a:pt x="4049390" y="96520"/>
                  </a:cubicBezTo>
                  <a:cubicBezTo>
                    <a:pt x="4050660" y="96520"/>
                    <a:pt x="4052565" y="95885"/>
                    <a:pt x="4053835" y="95250"/>
                  </a:cubicBezTo>
                  <a:cubicBezTo>
                    <a:pt x="4055105" y="95250"/>
                    <a:pt x="4056375" y="93980"/>
                    <a:pt x="4057645" y="93345"/>
                  </a:cubicBezTo>
                  <a:cubicBezTo>
                    <a:pt x="4058915" y="93345"/>
                    <a:pt x="4060185" y="92075"/>
                    <a:pt x="4062090" y="90805"/>
                  </a:cubicBezTo>
                  <a:lnTo>
                    <a:pt x="4070980" y="100330"/>
                  </a:lnTo>
                  <a:cubicBezTo>
                    <a:pt x="4070980" y="100330"/>
                    <a:pt x="4067170" y="103505"/>
                    <a:pt x="4065265" y="104775"/>
                  </a:cubicBezTo>
                  <a:cubicBezTo>
                    <a:pt x="4063360" y="106045"/>
                    <a:pt x="4061455" y="106680"/>
                    <a:pt x="4059550" y="107950"/>
                  </a:cubicBezTo>
                  <a:cubicBezTo>
                    <a:pt x="4057645" y="108585"/>
                    <a:pt x="4055105" y="109855"/>
                    <a:pt x="4052565" y="109855"/>
                  </a:cubicBezTo>
                  <a:cubicBezTo>
                    <a:pt x="4050025" y="109855"/>
                    <a:pt x="4046850" y="110490"/>
                    <a:pt x="4043675" y="110490"/>
                  </a:cubicBezTo>
                  <a:cubicBezTo>
                    <a:pt x="4040500" y="110490"/>
                    <a:pt x="4037325" y="110490"/>
                    <a:pt x="4034150" y="109220"/>
                  </a:cubicBezTo>
                  <a:cubicBezTo>
                    <a:pt x="4030975" y="108585"/>
                    <a:pt x="4028435" y="107315"/>
                    <a:pt x="4026530" y="105410"/>
                  </a:cubicBezTo>
                  <a:cubicBezTo>
                    <a:pt x="4023990" y="104140"/>
                    <a:pt x="4022085" y="102235"/>
                    <a:pt x="4020180" y="100330"/>
                  </a:cubicBezTo>
                  <a:cubicBezTo>
                    <a:pt x="4018275" y="98425"/>
                    <a:pt x="4016370" y="95885"/>
                    <a:pt x="4015100" y="92710"/>
                  </a:cubicBezTo>
                  <a:cubicBezTo>
                    <a:pt x="4013195" y="89535"/>
                    <a:pt x="4011925" y="86360"/>
                    <a:pt x="4011290" y="82550"/>
                  </a:cubicBezTo>
                  <a:cubicBezTo>
                    <a:pt x="4010655" y="78740"/>
                    <a:pt x="4010020" y="74295"/>
                    <a:pt x="4010020" y="69850"/>
                  </a:cubicBezTo>
                  <a:cubicBezTo>
                    <a:pt x="4010020" y="63500"/>
                    <a:pt x="4010655" y="57150"/>
                    <a:pt x="4012560" y="52070"/>
                  </a:cubicBezTo>
                  <a:cubicBezTo>
                    <a:pt x="4014465" y="46990"/>
                    <a:pt x="4016370" y="42545"/>
                    <a:pt x="4019545" y="39370"/>
                  </a:cubicBezTo>
                  <a:cubicBezTo>
                    <a:pt x="4022720" y="36195"/>
                    <a:pt x="4025895" y="33020"/>
                    <a:pt x="4030340" y="31750"/>
                  </a:cubicBezTo>
                  <a:cubicBezTo>
                    <a:pt x="4034785" y="29845"/>
                    <a:pt x="4039230" y="29210"/>
                    <a:pt x="4044310" y="29210"/>
                  </a:cubicBezTo>
                  <a:close/>
                  <a:moveTo>
                    <a:pt x="3811900" y="29210"/>
                  </a:moveTo>
                  <a:cubicBezTo>
                    <a:pt x="3815075" y="29210"/>
                    <a:pt x="3817615" y="29210"/>
                    <a:pt x="3819520" y="29845"/>
                  </a:cubicBezTo>
                  <a:cubicBezTo>
                    <a:pt x="3821425" y="29845"/>
                    <a:pt x="3823330" y="31115"/>
                    <a:pt x="3825235" y="32385"/>
                  </a:cubicBezTo>
                  <a:lnTo>
                    <a:pt x="3821425" y="46990"/>
                  </a:lnTo>
                  <a:lnTo>
                    <a:pt x="3820155" y="46990"/>
                  </a:lnTo>
                  <a:cubicBezTo>
                    <a:pt x="3820155" y="46990"/>
                    <a:pt x="3816980" y="45085"/>
                    <a:pt x="3815075" y="45085"/>
                  </a:cubicBezTo>
                  <a:cubicBezTo>
                    <a:pt x="3813170" y="45085"/>
                    <a:pt x="3811265" y="44450"/>
                    <a:pt x="3808725" y="44450"/>
                  </a:cubicBezTo>
                  <a:cubicBezTo>
                    <a:pt x="3803645" y="44450"/>
                    <a:pt x="3799835" y="46355"/>
                    <a:pt x="3797295" y="49530"/>
                  </a:cubicBezTo>
                  <a:cubicBezTo>
                    <a:pt x="3794755" y="52705"/>
                    <a:pt x="3793485" y="57785"/>
                    <a:pt x="3793485" y="64770"/>
                  </a:cubicBezTo>
                  <a:lnTo>
                    <a:pt x="3793485" y="109220"/>
                  </a:lnTo>
                  <a:lnTo>
                    <a:pt x="3778245" y="109220"/>
                  </a:lnTo>
                  <a:lnTo>
                    <a:pt x="3778245" y="31115"/>
                  </a:lnTo>
                  <a:lnTo>
                    <a:pt x="3793485" y="31115"/>
                  </a:lnTo>
                  <a:lnTo>
                    <a:pt x="3793485" y="38735"/>
                  </a:lnTo>
                  <a:cubicBezTo>
                    <a:pt x="3793485" y="38735"/>
                    <a:pt x="3795390" y="36195"/>
                    <a:pt x="3796660" y="34925"/>
                  </a:cubicBezTo>
                  <a:cubicBezTo>
                    <a:pt x="3797930" y="33655"/>
                    <a:pt x="3799200" y="33020"/>
                    <a:pt x="3801105" y="31750"/>
                  </a:cubicBezTo>
                  <a:cubicBezTo>
                    <a:pt x="3802375" y="31115"/>
                    <a:pt x="3804280" y="30480"/>
                    <a:pt x="3806185" y="29845"/>
                  </a:cubicBezTo>
                  <a:cubicBezTo>
                    <a:pt x="3808090" y="29845"/>
                    <a:pt x="3809995" y="29210"/>
                    <a:pt x="3811900" y="29210"/>
                  </a:cubicBezTo>
                  <a:close/>
                  <a:moveTo>
                    <a:pt x="3729986" y="29210"/>
                  </a:moveTo>
                  <a:cubicBezTo>
                    <a:pt x="3735701" y="29210"/>
                    <a:pt x="3740146" y="30480"/>
                    <a:pt x="3744591" y="32385"/>
                  </a:cubicBezTo>
                  <a:cubicBezTo>
                    <a:pt x="3748401" y="34290"/>
                    <a:pt x="3752211" y="37465"/>
                    <a:pt x="3754751" y="40640"/>
                  </a:cubicBezTo>
                  <a:cubicBezTo>
                    <a:pt x="3757291" y="44450"/>
                    <a:pt x="3759196" y="48260"/>
                    <a:pt x="3761101" y="53340"/>
                  </a:cubicBezTo>
                  <a:cubicBezTo>
                    <a:pt x="3762371" y="57785"/>
                    <a:pt x="3763006" y="62865"/>
                    <a:pt x="3763006" y="68580"/>
                  </a:cubicBezTo>
                  <a:lnTo>
                    <a:pt x="3761736" y="68580"/>
                  </a:lnTo>
                  <a:cubicBezTo>
                    <a:pt x="3761736" y="68580"/>
                    <a:pt x="3761736" y="71120"/>
                    <a:pt x="3761736" y="72390"/>
                  </a:cubicBezTo>
                  <a:cubicBezTo>
                    <a:pt x="3761736" y="73660"/>
                    <a:pt x="3761736" y="74295"/>
                    <a:pt x="3761736" y="75565"/>
                  </a:cubicBezTo>
                  <a:lnTo>
                    <a:pt x="3710301" y="75565"/>
                  </a:lnTo>
                  <a:cubicBezTo>
                    <a:pt x="3710301" y="79375"/>
                    <a:pt x="3711571" y="82550"/>
                    <a:pt x="3712841" y="85090"/>
                  </a:cubicBezTo>
                  <a:cubicBezTo>
                    <a:pt x="3714111" y="87630"/>
                    <a:pt x="3715381" y="90170"/>
                    <a:pt x="3717286" y="91440"/>
                  </a:cubicBezTo>
                  <a:cubicBezTo>
                    <a:pt x="3719191" y="93345"/>
                    <a:pt x="3721096" y="94615"/>
                    <a:pt x="3723001" y="95250"/>
                  </a:cubicBezTo>
                  <a:cubicBezTo>
                    <a:pt x="3724906" y="95885"/>
                    <a:pt x="3727446" y="96520"/>
                    <a:pt x="3729986" y="96520"/>
                  </a:cubicBezTo>
                  <a:cubicBezTo>
                    <a:pt x="3731891" y="96520"/>
                    <a:pt x="3733161" y="96520"/>
                    <a:pt x="3735066" y="96520"/>
                  </a:cubicBezTo>
                  <a:cubicBezTo>
                    <a:pt x="3736336" y="96520"/>
                    <a:pt x="3738241" y="95885"/>
                    <a:pt x="3739511" y="95250"/>
                  </a:cubicBezTo>
                  <a:cubicBezTo>
                    <a:pt x="3740781" y="95250"/>
                    <a:pt x="3742051" y="93980"/>
                    <a:pt x="3743321" y="93345"/>
                  </a:cubicBezTo>
                  <a:cubicBezTo>
                    <a:pt x="3744591" y="93345"/>
                    <a:pt x="3745861" y="92075"/>
                    <a:pt x="3747766" y="90805"/>
                  </a:cubicBezTo>
                  <a:lnTo>
                    <a:pt x="3756656" y="100330"/>
                  </a:lnTo>
                  <a:cubicBezTo>
                    <a:pt x="3756656" y="100330"/>
                    <a:pt x="3752846" y="103505"/>
                    <a:pt x="3750941" y="104775"/>
                  </a:cubicBezTo>
                  <a:cubicBezTo>
                    <a:pt x="3749036" y="106045"/>
                    <a:pt x="3747131" y="106680"/>
                    <a:pt x="3745226" y="107950"/>
                  </a:cubicBezTo>
                  <a:cubicBezTo>
                    <a:pt x="3743321" y="108585"/>
                    <a:pt x="3740781" y="109855"/>
                    <a:pt x="3738241" y="109855"/>
                  </a:cubicBezTo>
                  <a:cubicBezTo>
                    <a:pt x="3735701" y="109855"/>
                    <a:pt x="3732526" y="110490"/>
                    <a:pt x="3729351" y="110490"/>
                  </a:cubicBezTo>
                  <a:cubicBezTo>
                    <a:pt x="3726176" y="110490"/>
                    <a:pt x="3723001" y="110490"/>
                    <a:pt x="3719826" y="109220"/>
                  </a:cubicBezTo>
                  <a:cubicBezTo>
                    <a:pt x="3716651" y="108585"/>
                    <a:pt x="3714111" y="107315"/>
                    <a:pt x="3712206" y="105410"/>
                  </a:cubicBezTo>
                  <a:cubicBezTo>
                    <a:pt x="3709666" y="104140"/>
                    <a:pt x="3707761" y="102235"/>
                    <a:pt x="3705856" y="100330"/>
                  </a:cubicBezTo>
                  <a:cubicBezTo>
                    <a:pt x="3703951" y="98425"/>
                    <a:pt x="3702046" y="95885"/>
                    <a:pt x="3700776" y="92710"/>
                  </a:cubicBezTo>
                  <a:cubicBezTo>
                    <a:pt x="3698871" y="89535"/>
                    <a:pt x="3697601" y="86360"/>
                    <a:pt x="3696966" y="82550"/>
                  </a:cubicBezTo>
                  <a:cubicBezTo>
                    <a:pt x="3696331" y="78740"/>
                    <a:pt x="3695696" y="74295"/>
                    <a:pt x="3695696" y="69850"/>
                  </a:cubicBezTo>
                  <a:cubicBezTo>
                    <a:pt x="3695696" y="63500"/>
                    <a:pt x="3696331" y="57150"/>
                    <a:pt x="3698236" y="52070"/>
                  </a:cubicBezTo>
                  <a:cubicBezTo>
                    <a:pt x="3700141" y="46990"/>
                    <a:pt x="3702046" y="42545"/>
                    <a:pt x="3705221" y="39370"/>
                  </a:cubicBezTo>
                  <a:cubicBezTo>
                    <a:pt x="3708396" y="36195"/>
                    <a:pt x="3711571" y="33020"/>
                    <a:pt x="3716016" y="31750"/>
                  </a:cubicBezTo>
                  <a:cubicBezTo>
                    <a:pt x="3720461" y="29845"/>
                    <a:pt x="3724906" y="29210"/>
                    <a:pt x="3729986" y="29210"/>
                  </a:cubicBezTo>
                  <a:close/>
                  <a:moveTo>
                    <a:pt x="3543296" y="29210"/>
                  </a:moveTo>
                  <a:cubicBezTo>
                    <a:pt x="3549011" y="29210"/>
                    <a:pt x="3553456" y="30480"/>
                    <a:pt x="3557901" y="32385"/>
                  </a:cubicBezTo>
                  <a:cubicBezTo>
                    <a:pt x="3561711" y="34290"/>
                    <a:pt x="3565521" y="37465"/>
                    <a:pt x="3568061" y="40640"/>
                  </a:cubicBezTo>
                  <a:cubicBezTo>
                    <a:pt x="3570601" y="44450"/>
                    <a:pt x="3572506" y="48260"/>
                    <a:pt x="3574411" y="53340"/>
                  </a:cubicBezTo>
                  <a:cubicBezTo>
                    <a:pt x="3575681" y="57785"/>
                    <a:pt x="3576316" y="62865"/>
                    <a:pt x="3576316" y="68580"/>
                  </a:cubicBezTo>
                  <a:lnTo>
                    <a:pt x="3575046" y="68580"/>
                  </a:lnTo>
                  <a:cubicBezTo>
                    <a:pt x="3575046" y="68580"/>
                    <a:pt x="3575046" y="71120"/>
                    <a:pt x="3575046" y="72390"/>
                  </a:cubicBezTo>
                  <a:cubicBezTo>
                    <a:pt x="3575046" y="73660"/>
                    <a:pt x="3575046" y="74295"/>
                    <a:pt x="3575046" y="75565"/>
                  </a:cubicBezTo>
                  <a:lnTo>
                    <a:pt x="3523611" y="75565"/>
                  </a:lnTo>
                  <a:cubicBezTo>
                    <a:pt x="3523611" y="79375"/>
                    <a:pt x="3524881" y="82550"/>
                    <a:pt x="3526151" y="85090"/>
                  </a:cubicBezTo>
                  <a:cubicBezTo>
                    <a:pt x="3527421" y="87630"/>
                    <a:pt x="3528691" y="90170"/>
                    <a:pt x="3530596" y="91440"/>
                  </a:cubicBezTo>
                  <a:cubicBezTo>
                    <a:pt x="3532501" y="93345"/>
                    <a:pt x="3534406" y="94615"/>
                    <a:pt x="3536311" y="95250"/>
                  </a:cubicBezTo>
                  <a:cubicBezTo>
                    <a:pt x="3538216" y="95885"/>
                    <a:pt x="3540756" y="96520"/>
                    <a:pt x="3543296" y="96520"/>
                  </a:cubicBezTo>
                  <a:cubicBezTo>
                    <a:pt x="3545201" y="96520"/>
                    <a:pt x="3546471" y="96520"/>
                    <a:pt x="3548376" y="96520"/>
                  </a:cubicBezTo>
                  <a:cubicBezTo>
                    <a:pt x="3549646" y="96520"/>
                    <a:pt x="3551551" y="95885"/>
                    <a:pt x="3552821" y="95250"/>
                  </a:cubicBezTo>
                  <a:cubicBezTo>
                    <a:pt x="3554091" y="95250"/>
                    <a:pt x="3555361" y="93980"/>
                    <a:pt x="3556631" y="93345"/>
                  </a:cubicBezTo>
                  <a:cubicBezTo>
                    <a:pt x="3557901" y="93345"/>
                    <a:pt x="3559171" y="92075"/>
                    <a:pt x="3561076" y="90805"/>
                  </a:cubicBezTo>
                  <a:lnTo>
                    <a:pt x="3569966" y="100330"/>
                  </a:lnTo>
                  <a:cubicBezTo>
                    <a:pt x="3569966" y="100330"/>
                    <a:pt x="3566156" y="103505"/>
                    <a:pt x="3564251" y="104775"/>
                  </a:cubicBezTo>
                  <a:cubicBezTo>
                    <a:pt x="3562346" y="106045"/>
                    <a:pt x="3560441" y="106680"/>
                    <a:pt x="3558536" y="107950"/>
                  </a:cubicBezTo>
                  <a:cubicBezTo>
                    <a:pt x="3556631" y="108585"/>
                    <a:pt x="3554091" y="109855"/>
                    <a:pt x="3551551" y="109855"/>
                  </a:cubicBezTo>
                  <a:cubicBezTo>
                    <a:pt x="3549011" y="109855"/>
                    <a:pt x="3545836" y="110490"/>
                    <a:pt x="3542661" y="110490"/>
                  </a:cubicBezTo>
                  <a:cubicBezTo>
                    <a:pt x="3539486" y="110490"/>
                    <a:pt x="3536311" y="110490"/>
                    <a:pt x="3533136" y="109220"/>
                  </a:cubicBezTo>
                  <a:cubicBezTo>
                    <a:pt x="3529961" y="108585"/>
                    <a:pt x="3527421" y="107315"/>
                    <a:pt x="3525516" y="105410"/>
                  </a:cubicBezTo>
                  <a:cubicBezTo>
                    <a:pt x="3522976" y="104140"/>
                    <a:pt x="3521071" y="102235"/>
                    <a:pt x="3519166" y="100330"/>
                  </a:cubicBezTo>
                  <a:cubicBezTo>
                    <a:pt x="3517261" y="98425"/>
                    <a:pt x="3515356" y="95885"/>
                    <a:pt x="3514086" y="92710"/>
                  </a:cubicBezTo>
                  <a:cubicBezTo>
                    <a:pt x="3512181" y="89535"/>
                    <a:pt x="3510911" y="86360"/>
                    <a:pt x="3510276" y="82550"/>
                  </a:cubicBezTo>
                  <a:cubicBezTo>
                    <a:pt x="3509641" y="78740"/>
                    <a:pt x="3509006" y="74295"/>
                    <a:pt x="3509006" y="69850"/>
                  </a:cubicBezTo>
                  <a:cubicBezTo>
                    <a:pt x="3509006" y="63500"/>
                    <a:pt x="3509641" y="57150"/>
                    <a:pt x="3511546" y="52070"/>
                  </a:cubicBezTo>
                  <a:cubicBezTo>
                    <a:pt x="3513451" y="46990"/>
                    <a:pt x="3515356" y="42545"/>
                    <a:pt x="3518531" y="39370"/>
                  </a:cubicBezTo>
                  <a:cubicBezTo>
                    <a:pt x="3521706" y="36195"/>
                    <a:pt x="3524881" y="33020"/>
                    <a:pt x="3529326" y="31750"/>
                  </a:cubicBezTo>
                  <a:cubicBezTo>
                    <a:pt x="3533771" y="29845"/>
                    <a:pt x="3538216" y="29210"/>
                    <a:pt x="3543296" y="29210"/>
                  </a:cubicBezTo>
                  <a:close/>
                  <a:moveTo>
                    <a:pt x="3345176" y="29210"/>
                  </a:moveTo>
                  <a:cubicBezTo>
                    <a:pt x="3350891" y="29210"/>
                    <a:pt x="3355336" y="30480"/>
                    <a:pt x="3359781" y="32385"/>
                  </a:cubicBezTo>
                  <a:cubicBezTo>
                    <a:pt x="3363591" y="34290"/>
                    <a:pt x="3367401" y="37465"/>
                    <a:pt x="3369941" y="40640"/>
                  </a:cubicBezTo>
                  <a:cubicBezTo>
                    <a:pt x="3372481" y="44450"/>
                    <a:pt x="3374386" y="48260"/>
                    <a:pt x="3376291" y="53340"/>
                  </a:cubicBezTo>
                  <a:cubicBezTo>
                    <a:pt x="3377561" y="57785"/>
                    <a:pt x="3378196" y="62865"/>
                    <a:pt x="3378196" y="68580"/>
                  </a:cubicBezTo>
                  <a:lnTo>
                    <a:pt x="3376926" y="68580"/>
                  </a:lnTo>
                  <a:cubicBezTo>
                    <a:pt x="3376926" y="68580"/>
                    <a:pt x="3376926" y="71120"/>
                    <a:pt x="3376926" y="72390"/>
                  </a:cubicBezTo>
                  <a:cubicBezTo>
                    <a:pt x="3376926" y="73660"/>
                    <a:pt x="3376926" y="74295"/>
                    <a:pt x="3376926" y="75565"/>
                  </a:cubicBezTo>
                  <a:lnTo>
                    <a:pt x="3325491" y="75565"/>
                  </a:lnTo>
                  <a:cubicBezTo>
                    <a:pt x="3325491" y="79375"/>
                    <a:pt x="3326761" y="82550"/>
                    <a:pt x="3328031" y="85090"/>
                  </a:cubicBezTo>
                  <a:cubicBezTo>
                    <a:pt x="3329301" y="87630"/>
                    <a:pt x="3330571" y="90170"/>
                    <a:pt x="3332476" y="91440"/>
                  </a:cubicBezTo>
                  <a:cubicBezTo>
                    <a:pt x="3334381" y="93345"/>
                    <a:pt x="3336286" y="94615"/>
                    <a:pt x="3338191" y="95250"/>
                  </a:cubicBezTo>
                  <a:cubicBezTo>
                    <a:pt x="3340096" y="95885"/>
                    <a:pt x="3342636" y="96520"/>
                    <a:pt x="3345176" y="96520"/>
                  </a:cubicBezTo>
                  <a:cubicBezTo>
                    <a:pt x="3347081" y="96520"/>
                    <a:pt x="3348351" y="96520"/>
                    <a:pt x="3350256" y="96520"/>
                  </a:cubicBezTo>
                  <a:cubicBezTo>
                    <a:pt x="3351526" y="96520"/>
                    <a:pt x="3353431" y="95885"/>
                    <a:pt x="3354701" y="95250"/>
                  </a:cubicBezTo>
                  <a:cubicBezTo>
                    <a:pt x="3355971" y="95250"/>
                    <a:pt x="3357241" y="93980"/>
                    <a:pt x="3358511" y="93345"/>
                  </a:cubicBezTo>
                  <a:cubicBezTo>
                    <a:pt x="3359781" y="93345"/>
                    <a:pt x="3361051" y="92075"/>
                    <a:pt x="3362956" y="90805"/>
                  </a:cubicBezTo>
                  <a:lnTo>
                    <a:pt x="3371846" y="100330"/>
                  </a:lnTo>
                  <a:cubicBezTo>
                    <a:pt x="3371846" y="100330"/>
                    <a:pt x="3368036" y="103505"/>
                    <a:pt x="3366131" y="104775"/>
                  </a:cubicBezTo>
                  <a:cubicBezTo>
                    <a:pt x="3364226" y="106045"/>
                    <a:pt x="3362321" y="106680"/>
                    <a:pt x="3360416" y="107950"/>
                  </a:cubicBezTo>
                  <a:cubicBezTo>
                    <a:pt x="3358511" y="108585"/>
                    <a:pt x="3355971" y="109855"/>
                    <a:pt x="3353431" y="109855"/>
                  </a:cubicBezTo>
                  <a:cubicBezTo>
                    <a:pt x="3350891" y="109855"/>
                    <a:pt x="3347716" y="110490"/>
                    <a:pt x="3344541" y="110490"/>
                  </a:cubicBezTo>
                  <a:cubicBezTo>
                    <a:pt x="3341366" y="110490"/>
                    <a:pt x="3338191" y="110490"/>
                    <a:pt x="3335016" y="109220"/>
                  </a:cubicBezTo>
                  <a:cubicBezTo>
                    <a:pt x="3331841" y="108585"/>
                    <a:pt x="3329301" y="107315"/>
                    <a:pt x="3327396" y="105410"/>
                  </a:cubicBezTo>
                  <a:cubicBezTo>
                    <a:pt x="3324856" y="104140"/>
                    <a:pt x="3322951" y="102235"/>
                    <a:pt x="3321046" y="100330"/>
                  </a:cubicBezTo>
                  <a:cubicBezTo>
                    <a:pt x="3319141" y="98425"/>
                    <a:pt x="3317236" y="95885"/>
                    <a:pt x="3315966" y="92710"/>
                  </a:cubicBezTo>
                  <a:cubicBezTo>
                    <a:pt x="3314061" y="89535"/>
                    <a:pt x="3312791" y="86360"/>
                    <a:pt x="3312156" y="82550"/>
                  </a:cubicBezTo>
                  <a:cubicBezTo>
                    <a:pt x="3311521" y="78740"/>
                    <a:pt x="3310886" y="74295"/>
                    <a:pt x="3310886" y="69850"/>
                  </a:cubicBezTo>
                  <a:cubicBezTo>
                    <a:pt x="3310886" y="63500"/>
                    <a:pt x="3311521" y="57150"/>
                    <a:pt x="3313426" y="52070"/>
                  </a:cubicBezTo>
                  <a:cubicBezTo>
                    <a:pt x="3315331" y="46990"/>
                    <a:pt x="3317236" y="42545"/>
                    <a:pt x="3320411" y="39370"/>
                  </a:cubicBezTo>
                  <a:cubicBezTo>
                    <a:pt x="3323586" y="36195"/>
                    <a:pt x="3326761" y="33020"/>
                    <a:pt x="3331206" y="31750"/>
                  </a:cubicBezTo>
                  <a:cubicBezTo>
                    <a:pt x="3335651" y="29845"/>
                    <a:pt x="3340096" y="29210"/>
                    <a:pt x="3345176" y="29210"/>
                  </a:cubicBezTo>
                  <a:close/>
                  <a:moveTo>
                    <a:pt x="3060696" y="29210"/>
                  </a:moveTo>
                  <a:cubicBezTo>
                    <a:pt x="3063871" y="29210"/>
                    <a:pt x="3066411" y="29210"/>
                    <a:pt x="3068316" y="29845"/>
                  </a:cubicBezTo>
                  <a:cubicBezTo>
                    <a:pt x="3070221" y="29845"/>
                    <a:pt x="3072126" y="31115"/>
                    <a:pt x="3074031" y="32385"/>
                  </a:cubicBezTo>
                  <a:lnTo>
                    <a:pt x="3070221" y="46990"/>
                  </a:lnTo>
                  <a:lnTo>
                    <a:pt x="3068951" y="46990"/>
                  </a:lnTo>
                  <a:cubicBezTo>
                    <a:pt x="3068951" y="46990"/>
                    <a:pt x="3065776" y="45085"/>
                    <a:pt x="3063871" y="45085"/>
                  </a:cubicBezTo>
                  <a:cubicBezTo>
                    <a:pt x="3061966" y="45085"/>
                    <a:pt x="3060061" y="44450"/>
                    <a:pt x="3057521" y="44450"/>
                  </a:cubicBezTo>
                  <a:cubicBezTo>
                    <a:pt x="3052441" y="44450"/>
                    <a:pt x="3048631" y="46355"/>
                    <a:pt x="3046091" y="49530"/>
                  </a:cubicBezTo>
                  <a:cubicBezTo>
                    <a:pt x="3043551" y="52705"/>
                    <a:pt x="3042281" y="57785"/>
                    <a:pt x="3042281" y="64770"/>
                  </a:cubicBezTo>
                  <a:lnTo>
                    <a:pt x="3042281" y="109220"/>
                  </a:lnTo>
                  <a:lnTo>
                    <a:pt x="3027041" y="109220"/>
                  </a:lnTo>
                  <a:lnTo>
                    <a:pt x="3027041" y="31115"/>
                  </a:lnTo>
                  <a:lnTo>
                    <a:pt x="3042281" y="31115"/>
                  </a:lnTo>
                  <a:lnTo>
                    <a:pt x="3042281" y="38735"/>
                  </a:lnTo>
                  <a:cubicBezTo>
                    <a:pt x="3042281" y="38735"/>
                    <a:pt x="3044186" y="36195"/>
                    <a:pt x="3045456" y="34925"/>
                  </a:cubicBezTo>
                  <a:cubicBezTo>
                    <a:pt x="3046726" y="33655"/>
                    <a:pt x="3047996" y="33020"/>
                    <a:pt x="3049901" y="31750"/>
                  </a:cubicBezTo>
                  <a:cubicBezTo>
                    <a:pt x="3051171" y="31115"/>
                    <a:pt x="3053076" y="30480"/>
                    <a:pt x="3054981" y="29845"/>
                  </a:cubicBezTo>
                  <a:cubicBezTo>
                    <a:pt x="3056886" y="29845"/>
                    <a:pt x="3058791" y="29210"/>
                    <a:pt x="3060696" y="29210"/>
                  </a:cubicBezTo>
                  <a:close/>
                  <a:moveTo>
                    <a:pt x="2978781" y="29210"/>
                  </a:moveTo>
                  <a:cubicBezTo>
                    <a:pt x="2984496" y="29210"/>
                    <a:pt x="2988941" y="30480"/>
                    <a:pt x="2993386" y="32385"/>
                  </a:cubicBezTo>
                  <a:cubicBezTo>
                    <a:pt x="2997196" y="34290"/>
                    <a:pt x="3001006" y="37465"/>
                    <a:pt x="3003546" y="40640"/>
                  </a:cubicBezTo>
                  <a:cubicBezTo>
                    <a:pt x="3006086" y="44450"/>
                    <a:pt x="3007991" y="48260"/>
                    <a:pt x="3009896" y="53340"/>
                  </a:cubicBezTo>
                  <a:cubicBezTo>
                    <a:pt x="3011166" y="57785"/>
                    <a:pt x="3011801" y="62865"/>
                    <a:pt x="3011801" y="68580"/>
                  </a:cubicBezTo>
                  <a:lnTo>
                    <a:pt x="3010531" y="68580"/>
                  </a:lnTo>
                  <a:cubicBezTo>
                    <a:pt x="3010531" y="68580"/>
                    <a:pt x="3010531" y="71120"/>
                    <a:pt x="3010531" y="72390"/>
                  </a:cubicBezTo>
                  <a:cubicBezTo>
                    <a:pt x="3010531" y="73660"/>
                    <a:pt x="3010531" y="74295"/>
                    <a:pt x="3010531" y="75565"/>
                  </a:cubicBezTo>
                  <a:lnTo>
                    <a:pt x="2959096" y="75565"/>
                  </a:lnTo>
                  <a:cubicBezTo>
                    <a:pt x="2959096" y="79375"/>
                    <a:pt x="2960366" y="82550"/>
                    <a:pt x="2961636" y="85090"/>
                  </a:cubicBezTo>
                  <a:cubicBezTo>
                    <a:pt x="2962906" y="87630"/>
                    <a:pt x="2964176" y="90170"/>
                    <a:pt x="2966081" y="91440"/>
                  </a:cubicBezTo>
                  <a:cubicBezTo>
                    <a:pt x="2967986" y="93345"/>
                    <a:pt x="2969891" y="94615"/>
                    <a:pt x="2971796" y="95250"/>
                  </a:cubicBezTo>
                  <a:cubicBezTo>
                    <a:pt x="2974336" y="95885"/>
                    <a:pt x="2976241" y="96520"/>
                    <a:pt x="2978781" y="96520"/>
                  </a:cubicBezTo>
                  <a:cubicBezTo>
                    <a:pt x="2980686" y="96520"/>
                    <a:pt x="2981956" y="96520"/>
                    <a:pt x="2983861" y="96520"/>
                  </a:cubicBezTo>
                  <a:cubicBezTo>
                    <a:pt x="2985131" y="96520"/>
                    <a:pt x="2987036" y="95885"/>
                    <a:pt x="2988306" y="95250"/>
                  </a:cubicBezTo>
                  <a:cubicBezTo>
                    <a:pt x="2989576" y="95250"/>
                    <a:pt x="2990846" y="93980"/>
                    <a:pt x="2992116" y="93345"/>
                  </a:cubicBezTo>
                  <a:cubicBezTo>
                    <a:pt x="2993386" y="93345"/>
                    <a:pt x="2994656" y="92075"/>
                    <a:pt x="2996561" y="90805"/>
                  </a:cubicBezTo>
                  <a:lnTo>
                    <a:pt x="3005451" y="100330"/>
                  </a:lnTo>
                  <a:cubicBezTo>
                    <a:pt x="3005451" y="100330"/>
                    <a:pt x="3001641" y="103505"/>
                    <a:pt x="2999736" y="104775"/>
                  </a:cubicBezTo>
                  <a:cubicBezTo>
                    <a:pt x="2997831" y="106045"/>
                    <a:pt x="2995926" y="106680"/>
                    <a:pt x="2994021" y="107950"/>
                  </a:cubicBezTo>
                  <a:cubicBezTo>
                    <a:pt x="2992116" y="108585"/>
                    <a:pt x="2989576" y="109855"/>
                    <a:pt x="2987036" y="109855"/>
                  </a:cubicBezTo>
                  <a:cubicBezTo>
                    <a:pt x="2984496" y="109855"/>
                    <a:pt x="2981321" y="110490"/>
                    <a:pt x="2978146" y="110490"/>
                  </a:cubicBezTo>
                  <a:cubicBezTo>
                    <a:pt x="2974971" y="110490"/>
                    <a:pt x="2971796" y="110490"/>
                    <a:pt x="2968621" y="109220"/>
                  </a:cubicBezTo>
                  <a:cubicBezTo>
                    <a:pt x="2965446" y="108585"/>
                    <a:pt x="2962906" y="107315"/>
                    <a:pt x="2961001" y="105410"/>
                  </a:cubicBezTo>
                  <a:cubicBezTo>
                    <a:pt x="2958461" y="104140"/>
                    <a:pt x="2956556" y="102235"/>
                    <a:pt x="2954651" y="100330"/>
                  </a:cubicBezTo>
                  <a:cubicBezTo>
                    <a:pt x="2952746" y="98425"/>
                    <a:pt x="2950841" y="95885"/>
                    <a:pt x="2949571" y="92710"/>
                  </a:cubicBezTo>
                  <a:cubicBezTo>
                    <a:pt x="2947666" y="89535"/>
                    <a:pt x="2946396" y="86360"/>
                    <a:pt x="2945761" y="82550"/>
                  </a:cubicBezTo>
                  <a:cubicBezTo>
                    <a:pt x="2945126" y="78740"/>
                    <a:pt x="2944491" y="74295"/>
                    <a:pt x="2944491" y="69850"/>
                  </a:cubicBezTo>
                  <a:cubicBezTo>
                    <a:pt x="2944491" y="63500"/>
                    <a:pt x="2945126" y="57150"/>
                    <a:pt x="2947031" y="52070"/>
                  </a:cubicBezTo>
                  <a:cubicBezTo>
                    <a:pt x="2948936" y="46990"/>
                    <a:pt x="2950841" y="42545"/>
                    <a:pt x="2954016" y="39370"/>
                  </a:cubicBezTo>
                  <a:cubicBezTo>
                    <a:pt x="2957191" y="36195"/>
                    <a:pt x="2960366" y="33020"/>
                    <a:pt x="2964811" y="31750"/>
                  </a:cubicBezTo>
                  <a:cubicBezTo>
                    <a:pt x="2969256" y="29845"/>
                    <a:pt x="2973701" y="29210"/>
                    <a:pt x="2978781" y="29210"/>
                  </a:cubicBezTo>
                  <a:close/>
                  <a:moveTo>
                    <a:pt x="2798440" y="29210"/>
                  </a:moveTo>
                  <a:cubicBezTo>
                    <a:pt x="2803520" y="29210"/>
                    <a:pt x="2807965" y="29845"/>
                    <a:pt x="2813045" y="31750"/>
                  </a:cubicBezTo>
                  <a:cubicBezTo>
                    <a:pt x="2817490" y="33655"/>
                    <a:pt x="2821935" y="35560"/>
                    <a:pt x="2825110" y="38100"/>
                  </a:cubicBezTo>
                  <a:lnTo>
                    <a:pt x="2827015" y="38100"/>
                  </a:lnTo>
                  <a:lnTo>
                    <a:pt x="2820030" y="50165"/>
                  </a:lnTo>
                  <a:cubicBezTo>
                    <a:pt x="2816855" y="47625"/>
                    <a:pt x="2813680" y="46355"/>
                    <a:pt x="2810505" y="45085"/>
                  </a:cubicBezTo>
                  <a:cubicBezTo>
                    <a:pt x="2807330" y="43815"/>
                    <a:pt x="2803520" y="43180"/>
                    <a:pt x="2799710" y="43180"/>
                  </a:cubicBezTo>
                  <a:cubicBezTo>
                    <a:pt x="2795900" y="43180"/>
                    <a:pt x="2793360" y="43815"/>
                    <a:pt x="2791455" y="45085"/>
                  </a:cubicBezTo>
                  <a:cubicBezTo>
                    <a:pt x="2789550" y="46355"/>
                    <a:pt x="2788915" y="48260"/>
                    <a:pt x="2788915" y="50165"/>
                  </a:cubicBezTo>
                  <a:cubicBezTo>
                    <a:pt x="2788915" y="51435"/>
                    <a:pt x="2788915" y="52070"/>
                    <a:pt x="2788915" y="52705"/>
                  </a:cubicBezTo>
                  <a:cubicBezTo>
                    <a:pt x="2788915" y="53340"/>
                    <a:pt x="2790185" y="54610"/>
                    <a:pt x="2790820" y="55245"/>
                  </a:cubicBezTo>
                  <a:cubicBezTo>
                    <a:pt x="2792090" y="55880"/>
                    <a:pt x="2793360" y="57150"/>
                    <a:pt x="2795265" y="57785"/>
                  </a:cubicBezTo>
                  <a:cubicBezTo>
                    <a:pt x="2797170" y="59055"/>
                    <a:pt x="2799710" y="59690"/>
                    <a:pt x="2802250" y="60960"/>
                  </a:cubicBezTo>
                  <a:cubicBezTo>
                    <a:pt x="2806695" y="62865"/>
                    <a:pt x="2810505" y="64135"/>
                    <a:pt x="2813680" y="66040"/>
                  </a:cubicBezTo>
                  <a:cubicBezTo>
                    <a:pt x="2816855" y="67310"/>
                    <a:pt x="2819395" y="69215"/>
                    <a:pt x="2821935" y="71120"/>
                  </a:cubicBezTo>
                  <a:cubicBezTo>
                    <a:pt x="2823840" y="73025"/>
                    <a:pt x="2825745" y="75565"/>
                    <a:pt x="2827015" y="78105"/>
                  </a:cubicBezTo>
                  <a:cubicBezTo>
                    <a:pt x="2828285" y="80645"/>
                    <a:pt x="2828920" y="83820"/>
                    <a:pt x="2828920" y="87630"/>
                  </a:cubicBezTo>
                  <a:cubicBezTo>
                    <a:pt x="2828920" y="92075"/>
                    <a:pt x="2828285" y="95250"/>
                    <a:pt x="2826380" y="98425"/>
                  </a:cubicBezTo>
                  <a:cubicBezTo>
                    <a:pt x="2824475" y="101600"/>
                    <a:pt x="2822570" y="103505"/>
                    <a:pt x="2820030" y="105410"/>
                  </a:cubicBezTo>
                  <a:cubicBezTo>
                    <a:pt x="2817490" y="107315"/>
                    <a:pt x="2814315" y="108585"/>
                    <a:pt x="2810505" y="109220"/>
                  </a:cubicBezTo>
                  <a:cubicBezTo>
                    <a:pt x="2806695" y="109855"/>
                    <a:pt x="2803520" y="110490"/>
                    <a:pt x="2799710" y="110490"/>
                  </a:cubicBezTo>
                  <a:cubicBezTo>
                    <a:pt x="2794630" y="110490"/>
                    <a:pt x="2789550" y="109855"/>
                    <a:pt x="2783835" y="107950"/>
                  </a:cubicBezTo>
                  <a:cubicBezTo>
                    <a:pt x="2778120" y="106045"/>
                    <a:pt x="2773675" y="103505"/>
                    <a:pt x="2769230" y="100965"/>
                  </a:cubicBezTo>
                  <a:lnTo>
                    <a:pt x="2776215" y="89535"/>
                  </a:lnTo>
                  <a:cubicBezTo>
                    <a:pt x="2780025" y="92075"/>
                    <a:pt x="2783835" y="93980"/>
                    <a:pt x="2787645" y="95250"/>
                  </a:cubicBezTo>
                  <a:cubicBezTo>
                    <a:pt x="2791455" y="96520"/>
                    <a:pt x="2795265" y="97155"/>
                    <a:pt x="2799075" y="97155"/>
                  </a:cubicBezTo>
                  <a:cubicBezTo>
                    <a:pt x="2804155" y="97155"/>
                    <a:pt x="2807330" y="96520"/>
                    <a:pt x="2809870" y="94615"/>
                  </a:cubicBezTo>
                  <a:cubicBezTo>
                    <a:pt x="2812410" y="93345"/>
                    <a:pt x="2813045" y="90805"/>
                    <a:pt x="2813045" y="88265"/>
                  </a:cubicBezTo>
                  <a:cubicBezTo>
                    <a:pt x="2813045" y="86995"/>
                    <a:pt x="2813045" y="85725"/>
                    <a:pt x="2811775" y="84455"/>
                  </a:cubicBezTo>
                  <a:cubicBezTo>
                    <a:pt x="2811140" y="83185"/>
                    <a:pt x="2809870" y="82550"/>
                    <a:pt x="2807965" y="81280"/>
                  </a:cubicBezTo>
                  <a:cubicBezTo>
                    <a:pt x="2806695" y="80010"/>
                    <a:pt x="2804790" y="79375"/>
                    <a:pt x="2802250" y="78105"/>
                  </a:cubicBezTo>
                  <a:cubicBezTo>
                    <a:pt x="2800345" y="77470"/>
                    <a:pt x="2797805" y="76200"/>
                    <a:pt x="2794630" y="74930"/>
                  </a:cubicBezTo>
                  <a:cubicBezTo>
                    <a:pt x="2790185" y="73025"/>
                    <a:pt x="2787010" y="71755"/>
                    <a:pt x="2783835" y="69850"/>
                  </a:cubicBezTo>
                  <a:cubicBezTo>
                    <a:pt x="2780660" y="67945"/>
                    <a:pt x="2778755" y="66675"/>
                    <a:pt x="2776850" y="64770"/>
                  </a:cubicBezTo>
                  <a:cubicBezTo>
                    <a:pt x="2774945" y="62865"/>
                    <a:pt x="2773675" y="60960"/>
                    <a:pt x="2773040" y="58420"/>
                  </a:cubicBezTo>
                  <a:cubicBezTo>
                    <a:pt x="2772405" y="55880"/>
                    <a:pt x="2771770" y="53340"/>
                    <a:pt x="2771770" y="50165"/>
                  </a:cubicBezTo>
                  <a:cubicBezTo>
                    <a:pt x="2771770" y="46990"/>
                    <a:pt x="2772405" y="43815"/>
                    <a:pt x="2773675" y="40640"/>
                  </a:cubicBezTo>
                  <a:cubicBezTo>
                    <a:pt x="2774945" y="38100"/>
                    <a:pt x="2776850" y="35560"/>
                    <a:pt x="2779390" y="34290"/>
                  </a:cubicBezTo>
                  <a:cubicBezTo>
                    <a:pt x="2781930" y="32385"/>
                    <a:pt x="2784470" y="31115"/>
                    <a:pt x="2787645" y="30480"/>
                  </a:cubicBezTo>
                  <a:cubicBezTo>
                    <a:pt x="2790820" y="29845"/>
                    <a:pt x="2794630" y="29210"/>
                    <a:pt x="2798440" y="29210"/>
                  </a:cubicBezTo>
                  <a:close/>
                  <a:moveTo>
                    <a:pt x="2723510" y="29210"/>
                  </a:moveTo>
                  <a:cubicBezTo>
                    <a:pt x="2725415" y="29210"/>
                    <a:pt x="2727320" y="29210"/>
                    <a:pt x="2729225" y="29210"/>
                  </a:cubicBezTo>
                  <a:cubicBezTo>
                    <a:pt x="2733670" y="29210"/>
                    <a:pt x="2738115" y="29845"/>
                    <a:pt x="2741290" y="31750"/>
                  </a:cubicBezTo>
                  <a:cubicBezTo>
                    <a:pt x="2744465" y="33020"/>
                    <a:pt x="2747640" y="35560"/>
                    <a:pt x="2750180" y="38100"/>
                  </a:cubicBezTo>
                  <a:cubicBezTo>
                    <a:pt x="2752720" y="41275"/>
                    <a:pt x="2753990" y="44450"/>
                    <a:pt x="2755260" y="48895"/>
                  </a:cubicBezTo>
                  <a:cubicBezTo>
                    <a:pt x="2756530" y="53340"/>
                    <a:pt x="2757165" y="58420"/>
                    <a:pt x="2757165" y="64135"/>
                  </a:cubicBezTo>
                  <a:lnTo>
                    <a:pt x="2757165" y="108585"/>
                  </a:lnTo>
                  <a:lnTo>
                    <a:pt x="2741925" y="108585"/>
                  </a:lnTo>
                  <a:lnTo>
                    <a:pt x="2741290" y="108585"/>
                  </a:lnTo>
                  <a:lnTo>
                    <a:pt x="2741290" y="64770"/>
                  </a:lnTo>
                  <a:cubicBezTo>
                    <a:pt x="2741290" y="57785"/>
                    <a:pt x="2740020" y="52070"/>
                    <a:pt x="2737480" y="48895"/>
                  </a:cubicBezTo>
                  <a:cubicBezTo>
                    <a:pt x="2734940" y="45085"/>
                    <a:pt x="2731130" y="43180"/>
                    <a:pt x="2725415" y="43180"/>
                  </a:cubicBezTo>
                  <a:cubicBezTo>
                    <a:pt x="2722875" y="43180"/>
                    <a:pt x="2720970" y="43180"/>
                    <a:pt x="2718430" y="44450"/>
                  </a:cubicBezTo>
                  <a:cubicBezTo>
                    <a:pt x="2716525" y="45085"/>
                    <a:pt x="2714620" y="46990"/>
                    <a:pt x="2713350" y="48260"/>
                  </a:cubicBezTo>
                  <a:cubicBezTo>
                    <a:pt x="2712080" y="50165"/>
                    <a:pt x="2710810" y="52070"/>
                    <a:pt x="2710175" y="54610"/>
                  </a:cubicBezTo>
                  <a:cubicBezTo>
                    <a:pt x="2710175" y="57150"/>
                    <a:pt x="2709540" y="59690"/>
                    <a:pt x="2709540" y="62865"/>
                  </a:cubicBezTo>
                  <a:lnTo>
                    <a:pt x="2709540" y="108585"/>
                  </a:lnTo>
                  <a:lnTo>
                    <a:pt x="2694300" y="108585"/>
                  </a:lnTo>
                  <a:lnTo>
                    <a:pt x="2694300" y="30480"/>
                  </a:lnTo>
                  <a:lnTo>
                    <a:pt x="2709540" y="30480"/>
                  </a:lnTo>
                  <a:lnTo>
                    <a:pt x="2709540" y="38100"/>
                  </a:lnTo>
                  <a:cubicBezTo>
                    <a:pt x="2709540" y="38100"/>
                    <a:pt x="2711445" y="35560"/>
                    <a:pt x="2713350" y="34290"/>
                  </a:cubicBezTo>
                  <a:cubicBezTo>
                    <a:pt x="2714620" y="33020"/>
                    <a:pt x="2716525" y="32385"/>
                    <a:pt x="2717795" y="31115"/>
                  </a:cubicBezTo>
                  <a:cubicBezTo>
                    <a:pt x="2719700" y="30480"/>
                    <a:pt x="2721605" y="29845"/>
                    <a:pt x="2723510" y="29210"/>
                  </a:cubicBezTo>
                  <a:close/>
                  <a:moveTo>
                    <a:pt x="2530470" y="29210"/>
                  </a:moveTo>
                  <a:cubicBezTo>
                    <a:pt x="2536185" y="29210"/>
                    <a:pt x="2540630" y="30480"/>
                    <a:pt x="2545075" y="32385"/>
                  </a:cubicBezTo>
                  <a:cubicBezTo>
                    <a:pt x="2548885" y="34290"/>
                    <a:pt x="2552695" y="37465"/>
                    <a:pt x="2555235" y="40640"/>
                  </a:cubicBezTo>
                  <a:cubicBezTo>
                    <a:pt x="2557775" y="44450"/>
                    <a:pt x="2559680" y="48260"/>
                    <a:pt x="2561585" y="53340"/>
                  </a:cubicBezTo>
                  <a:cubicBezTo>
                    <a:pt x="2562855" y="57785"/>
                    <a:pt x="2563490" y="62865"/>
                    <a:pt x="2563490" y="68580"/>
                  </a:cubicBezTo>
                  <a:lnTo>
                    <a:pt x="2562220" y="68580"/>
                  </a:lnTo>
                  <a:cubicBezTo>
                    <a:pt x="2562220" y="68580"/>
                    <a:pt x="2562220" y="71120"/>
                    <a:pt x="2562220" y="72390"/>
                  </a:cubicBezTo>
                  <a:cubicBezTo>
                    <a:pt x="2562220" y="73660"/>
                    <a:pt x="2562220" y="74295"/>
                    <a:pt x="2562220" y="75565"/>
                  </a:cubicBezTo>
                  <a:lnTo>
                    <a:pt x="2510785" y="75565"/>
                  </a:lnTo>
                  <a:cubicBezTo>
                    <a:pt x="2510785" y="79375"/>
                    <a:pt x="2512055" y="82550"/>
                    <a:pt x="2513325" y="85090"/>
                  </a:cubicBezTo>
                  <a:cubicBezTo>
                    <a:pt x="2514595" y="87630"/>
                    <a:pt x="2515865" y="90170"/>
                    <a:pt x="2517770" y="91440"/>
                  </a:cubicBezTo>
                  <a:cubicBezTo>
                    <a:pt x="2519675" y="93345"/>
                    <a:pt x="2521580" y="94615"/>
                    <a:pt x="2523485" y="95250"/>
                  </a:cubicBezTo>
                  <a:cubicBezTo>
                    <a:pt x="2525390" y="95885"/>
                    <a:pt x="2527930" y="96520"/>
                    <a:pt x="2530470" y="96520"/>
                  </a:cubicBezTo>
                  <a:cubicBezTo>
                    <a:pt x="2532375" y="96520"/>
                    <a:pt x="2533645" y="96520"/>
                    <a:pt x="2535550" y="96520"/>
                  </a:cubicBezTo>
                  <a:cubicBezTo>
                    <a:pt x="2536820" y="96520"/>
                    <a:pt x="2538725" y="95885"/>
                    <a:pt x="2539995" y="95250"/>
                  </a:cubicBezTo>
                  <a:cubicBezTo>
                    <a:pt x="2541265" y="95250"/>
                    <a:pt x="2542535" y="93980"/>
                    <a:pt x="2543805" y="93345"/>
                  </a:cubicBezTo>
                  <a:cubicBezTo>
                    <a:pt x="2545075" y="93345"/>
                    <a:pt x="2546345" y="92075"/>
                    <a:pt x="2548250" y="90805"/>
                  </a:cubicBezTo>
                  <a:lnTo>
                    <a:pt x="2557140" y="100330"/>
                  </a:lnTo>
                  <a:cubicBezTo>
                    <a:pt x="2557140" y="100330"/>
                    <a:pt x="2553330" y="103505"/>
                    <a:pt x="2551425" y="104775"/>
                  </a:cubicBezTo>
                  <a:cubicBezTo>
                    <a:pt x="2549520" y="106045"/>
                    <a:pt x="2547615" y="106680"/>
                    <a:pt x="2545710" y="107950"/>
                  </a:cubicBezTo>
                  <a:cubicBezTo>
                    <a:pt x="2543805" y="108585"/>
                    <a:pt x="2541265" y="109855"/>
                    <a:pt x="2538725" y="109855"/>
                  </a:cubicBezTo>
                  <a:cubicBezTo>
                    <a:pt x="2536185" y="109855"/>
                    <a:pt x="2533010" y="110490"/>
                    <a:pt x="2529835" y="110490"/>
                  </a:cubicBezTo>
                  <a:cubicBezTo>
                    <a:pt x="2526660" y="110490"/>
                    <a:pt x="2523485" y="110490"/>
                    <a:pt x="2520310" y="109220"/>
                  </a:cubicBezTo>
                  <a:cubicBezTo>
                    <a:pt x="2517135" y="108585"/>
                    <a:pt x="2514595" y="107315"/>
                    <a:pt x="2512690" y="105410"/>
                  </a:cubicBezTo>
                  <a:cubicBezTo>
                    <a:pt x="2510785" y="103505"/>
                    <a:pt x="2508245" y="102235"/>
                    <a:pt x="2506340" y="100330"/>
                  </a:cubicBezTo>
                  <a:cubicBezTo>
                    <a:pt x="2504435" y="98425"/>
                    <a:pt x="2502530" y="95885"/>
                    <a:pt x="2501260" y="92710"/>
                  </a:cubicBezTo>
                  <a:cubicBezTo>
                    <a:pt x="2499355" y="89535"/>
                    <a:pt x="2498085" y="86360"/>
                    <a:pt x="2497450" y="82550"/>
                  </a:cubicBezTo>
                  <a:cubicBezTo>
                    <a:pt x="2496815" y="78740"/>
                    <a:pt x="2496180" y="74295"/>
                    <a:pt x="2496180" y="69850"/>
                  </a:cubicBezTo>
                  <a:cubicBezTo>
                    <a:pt x="2496180" y="63500"/>
                    <a:pt x="2496815" y="57150"/>
                    <a:pt x="2498720" y="52070"/>
                  </a:cubicBezTo>
                  <a:cubicBezTo>
                    <a:pt x="2500625" y="46990"/>
                    <a:pt x="2502530" y="42545"/>
                    <a:pt x="2505705" y="39370"/>
                  </a:cubicBezTo>
                  <a:cubicBezTo>
                    <a:pt x="2508880" y="36195"/>
                    <a:pt x="2512055" y="33020"/>
                    <a:pt x="2516500" y="31750"/>
                  </a:cubicBezTo>
                  <a:cubicBezTo>
                    <a:pt x="2520945" y="29845"/>
                    <a:pt x="2525390" y="29210"/>
                    <a:pt x="2530470" y="29210"/>
                  </a:cubicBezTo>
                  <a:close/>
                  <a:moveTo>
                    <a:pt x="2298061" y="29210"/>
                  </a:moveTo>
                  <a:cubicBezTo>
                    <a:pt x="2301236" y="29210"/>
                    <a:pt x="2303776" y="29210"/>
                    <a:pt x="2305681" y="29845"/>
                  </a:cubicBezTo>
                  <a:cubicBezTo>
                    <a:pt x="2307586" y="29845"/>
                    <a:pt x="2309491" y="31115"/>
                    <a:pt x="2311396" y="32385"/>
                  </a:cubicBezTo>
                  <a:lnTo>
                    <a:pt x="2307586" y="46990"/>
                  </a:lnTo>
                  <a:lnTo>
                    <a:pt x="2306316" y="46990"/>
                  </a:lnTo>
                  <a:cubicBezTo>
                    <a:pt x="2306316" y="46990"/>
                    <a:pt x="2303141" y="45085"/>
                    <a:pt x="2301236" y="45085"/>
                  </a:cubicBezTo>
                  <a:cubicBezTo>
                    <a:pt x="2299331" y="45085"/>
                    <a:pt x="2297426" y="44450"/>
                    <a:pt x="2294886" y="44450"/>
                  </a:cubicBezTo>
                  <a:cubicBezTo>
                    <a:pt x="2289806" y="44450"/>
                    <a:pt x="2285996" y="46355"/>
                    <a:pt x="2283456" y="49530"/>
                  </a:cubicBezTo>
                  <a:cubicBezTo>
                    <a:pt x="2280916" y="52705"/>
                    <a:pt x="2279646" y="57785"/>
                    <a:pt x="2279646" y="64770"/>
                  </a:cubicBezTo>
                  <a:lnTo>
                    <a:pt x="2279646" y="109220"/>
                  </a:lnTo>
                  <a:lnTo>
                    <a:pt x="2264406" y="109220"/>
                  </a:lnTo>
                  <a:lnTo>
                    <a:pt x="2264406" y="31115"/>
                  </a:lnTo>
                  <a:lnTo>
                    <a:pt x="2279646" y="31115"/>
                  </a:lnTo>
                  <a:lnTo>
                    <a:pt x="2279646" y="38735"/>
                  </a:lnTo>
                  <a:cubicBezTo>
                    <a:pt x="2279646" y="38735"/>
                    <a:pt x="2281551" y="36195"/>
                    <a:pt x="2282821" y="34925"/>
                  </a:cubicBezTo>
                  <a:cubicBezTo>
                    <a:pt x="2284091" y="33655"/>
                    <a:pt x="2285361" y="33020"/>
                    <a:pt x="2287266" y="31750"/>
                  </a:cubicBezTo>
                  <a:cubicBezTo>
                    <a:pt x="2288536" y="31115"/>
                    <a:pt x="2290441" y="30480"/>
                    <a:pt x="2292346" y="29845"/>
                  </a:cubicBezTo>
                  <a:cubicBezTo>
                    <a:pt x="2294251" y="29845"/>
                    <a:pt x="2296156" y="29210"/>
                    <a:pt x="2298061" y="29210"/>
                  </a:cubicBezTo>
                  <a:close/>
                  <a:moveTo>
                    <a:pt x="2216145" y="29210"/>
                  </a:moveTo>
                  <a:cubicBezTo>
                    <a:pt x="2221860" y="29210"/>
                    <a:pt x="2226305" y="30480"/>
                    <a:pt x="2230750" y="32385"/>
                  </a:cubicBezTo>
                  <a:cubicBezTo>
                    <a:pt x="2234560" y="34290"/>
                    <a:pt x="2238370" y="37465"/>
                    <a:pt x="2240910" y="40640"/>
                  </a:cubicBezTo>
                  <a:cubicBezTo>
                    <a:pt x="2243450" y="44450"/>
                    <a:pt x="2245355" y="48260"/>
                    <a:pt x="2247260" y="53340"/>
                  </a:cubicBezTo>
                  <a:cubicBezTo>
                    <a:pt x="2248530" y="57785"/>
                    <a:pt x="2249165" y="62865"/>
                    <a:pt x="2249165" y="68580"/>
                  </a:cubicBezTo>
                  <a:lnTo>
                    <a:pt x="2247895" y="68580"/>
                  </a:lnTo>
                  <a:cubicBezTo>
                    <a:pt x="2247895" y="68580"/>
                    <a:pt x="2247895" y="71120"/>
                    <a:pt x="2247895" y="72390"/>
                  </a:cubicBezTo>
                  <a:cubicBezTo>
                    <a:pt x="2247895" y="73660"/>
                    <a:pt x="2247895" y="74295"/>
                    <a:pt x="2247895" y="75565"/>
                  </a:cubicBezTo>
                  <a:lnTo>
                    <a:pt x="2196460" y="75565"/>
                  </a:lnTo>
                  <a:cubicBezTo>
                    <a:pt x="2196460" y="79375"/>
                    <a:pt x="2197730" y="82550"/>
                    <a:pt x="2199000" y="85090"/>
                  </a:cubicBezTo>
                  <a:cubicBezTo>
                    <a:pt x="2200270" y="87630"/>
                    <a:pt x="2201540" y="90170"/>
                    <a:pt x="2203445" y="91440"/>
                  </a:cubicBezTo>
                  <a:cubicBezTo>
                    <a:pt x="2205350" y="93345"/>
                    <a:pt x="2207255" y="94615"/>
                    <a:pt x="2209160" y="95250"/>
                  </a:cubicBezTo>
                  <a:cubicBezTo>
                    <a:pt x="2211065" y="95885"/>
                    <a:pt x="2213605" y="96520"/>
                    <a:pt x="2216145" y="96520"/>
                  </a:cubicBezTo>
                  <a:cubicBezTo>
                    <a:pt x="2218050" y="96520"/>
                    <a:pt x="2219320" y="96520"/>
                    <a:pt x="2221225" y="96520"/>
                  </a:cubicBezTo>
                  <a:cubicBezTo>
                    <a:pt x="2222495" y="96520"/>
                    <a:pt x="2224400" y="95885"/>
                    <a:pt x="2225670" y="95250"/>
                  </a:cubicBezTo>
                  <a:cubicBezTo>
                    <a:pt x="2226940" y="95250"/>
                    <a:pt x="2228210" y="93980"/>
                    <a:pt x="2229480" y="93345"/>
                  </a:cubicBezTo>
                  <a:cubicBezTo>
                    <a:pt x="2230750" y="93345"/>
                    <a:pt x="2232020" y="92075"/>
                    <a:pt x="2233925" y="90805"/>
                  </a:cubicBezTo>
                  <a:lnTo>
                    <a:pt x="2242815" y="100330"/>
                  </a:lnTo>
                  <a:cubicBezTo>
                    <a:pt x="2242815" y="100330"/>
                    <a:pt x="2239005" y="103505"/>
                    <a:pt x="2237100" y="104775"/>
                  </a:cubicBezTo>
                  <a:cubicBezTo>
                    <a:pt x="2235195" y="106045"/>
                    <a:pt x="2233290" y="106680"/>
                    <a:pt x="2231385" y="107950"/>
                  </a:cubicBezTo>
                  <a:cubicBezTo>
                    <a:pt x="2229480" y="108585"/>
                    <a:pt x="2226940" y="109855"/>
                    <a:pt x="2224400" y="109855"/>
                  </a:cubicBezTo>
                  <a:cubicBezTo>
                    <a:pt x="2221860" y="109855"/>
                    <a:pt x="2218685" y="110490"/>
                    <a:pt x="2215510" y="110490"/>
                  </a:cubicBezTo>
                  <a:cubicBezTo>
                    <a:pt x="2212335" y="110490"/>
                    <a:pt x="2209160" y="110490"/>
                    <a:pt x="2205985" y="109220"/>
                  </a:cubicBezTo>
                  <a:cubicBezTo>
                    <a:pt x="2202810" y="108585"/>
                    <a:pt x="2200270" y="107315"/>
                    <a:pt x="2198365" y="105410"/>
                  </a:cubicBezTo>
                  <a:cubicBezTo>
                    <a:pt x="2195825" y="104140"/>
                    <a:pt x="2193920" y="102235"/>
                    <a:pt x="2192015" y="100330"/>
                  </a:cubicBezTo>
                  <a:cubicBezTo>
                    <a:pt x="2190110" y="98425"/>
                    <a:pt x="2188205" y="95885"/>
                    <a:pt x="2186935" y="92710"/>
                  </a:cubicBezTo>
                  <a:cubicBezTo>
                    <a:pt x="2185030" y="89535"/>
                    <a:pt x="2183760" y="86360"/>
                    <a:pt x="2183125" y="82550"/>
                  </a:cubicBezTo>
                  <a:cubicBezTo>
                    <a:pt x="2182490" y="78740"/>
                    <a:pt x="2181855" y="74295"/>
                    <a:pt x="2181855" y="69850"/>
                  </a:cubicBezTo>
                  <a:cubicBezTo>
                    <a:pt x="2181855" y="63500"/>
                    <a:pt x="2182490" y="57150"/>
                    <a:pt x="2184395" y="52070"/>
                  </a:cubicBezTo>
                  <a:cubicBezTo>
                    <a:pt x="2186300" y="46990"/>
                    <a:pt x="2188205" y="42545"/>
                    <a:pt x="2191380" y="39370"/>
                  </a:cubicBezTo>
                  <a:cubicBezTo>
                    <a:pt x="2194555" y="36195"/>
                    <a:pt x="2197730" y="33020"/>
                    <a:pt x="2202175" y="31750"/>
                  </a:cubicBezTo>
                  <a:cubicBezTo>
                    <a:pt x="2206620" y="29845"/>
                    <a:pt x="2211065" y="29210"/>
                    <a:pt x="2216145" y="29210"/>
                  </a:cubicBezTo>
                  <a:close/>
                  <a:moveTo>
                    <a:pt x="2029456" y="29210"/>
                  </a:moveTo>
                  <a:cubicBezTo>
                    <a:pt x="2035171" y="29210"/>
                    <a:pt x="2039616" y="30480"/>
                    <a:pt x="2044061" y="32385"/>
                  </a:cubicBezTo>
                  <a:cubicBezTo>
                    <a:pt x="2047871" y="34290"/>
                    <a:pt x="2051681" y="37465"/>
                    <a:pt x="2054221" y="40640"/>
                  </a:cubicBezTo>
                  <a:cubicBezTo>
                    <a:pt x="2056761" y="44450"/>
                    <a:pt x="2058666" y="48260"/>
                    <a:pt x="2060571" y="53340"/>
                  </a:cubicBezTo>
                  <a:cubicBezTo>
                    <a:pt x="2061841" y="57785"/>
                    <a:pt x="2062476" y="62865"/>
                    <a:pt x="2062476" y="68580"/>
                  </a:cubicBezTo>
                  <a:lnTo>
                    <a:pt x="2061206" y="68580"/>
                  </a:lnTo>
                  <a:cubicBezTo>
                    <a:pt x="2061206" y="68580"/>
                    <a:pt x="2061206" y="71120"/>
                    <a:pt x="2061206" y="72390"/>
                  </a:cubicBezTo>
                  <a:cubicBezTo>
                    <a:pt x="2061206" y="73660"/>
                    <a:pt x="2061206" y="74295"/>
                    <a:pt x="2061206" y="75565"/>
                  </a:cubicBezTo>
                  <a:lnTo>
                    <a:pt x="2009771" y="75565"/>
                  </a:lnTo>
                  <a:cubicBezTo>
                    <a:pt x="2009771" y="79375"/>
                    <a:pt x="2011041" y="82550"/>
                    <a:pt x="2012311" y="85090"/>
                  </a:cubicBezTo>
                  <a:cubicBezTo>
                    <a:pt x="2013581" y="87630"/>
                    <a:pt x="2014851" y="90170"/>
                    <a:pt x="2016756" y="91440"/>
                  </a:cubicBezTo>
                  <a:cubicBezTo>
                    <a:pt x="2018661" y="93345"/>
                    <a:pt x="2020566" y="94615"/>
                    <a:pt x="2022471" y="95250"/>
                  </a:cubicBezTo>
                  <a:cubicBezTo>
                    <a:pt x="2024376" y="95885"/>
                    <a:pt x="2026916" y="96520"/>
                    <a:pt x="2029456" y="96520"/>
                  </a:cubicBezTo>
                  <a:cubicBezTo>
                    <a:pt x="2031361" y="96520"/>
                    <a:pt x="2032631" y="96520"/>
                    <a:pt x="2034536" y="96520"/>
                  </a:cubicBezTo>
                  <a:cubicBezTo>
                    <a:pt x="2035806" y="96520"/>
                    <a:pt x="2037711" y="95885"/>
                    <a:pt x="2038981" y="95250"/>
                  </a:cubicBezTo>
                  <a:cubicBezTo>
                    <a:pt x="2040251" y="95250"/>
                    <a:pt x="2041521" y="93980"/>
                    <a:pt x="2042791" y="93345"/>
                  </a:cubicBezTo>
                  <a:cubicBezTo>
                    <a:pt x="2044061" y="93345"/>
                    <a:pt x="2045331" y="92075"/>
                    <a:pt x="2047236" y="90805"/>
                  </a:cubicBezTo>
                  <a:lnTo>
                    <a:pt x="2056126" y="100330"/>
                  </a:lnTo>
                  <a:cubicBezTo>
                    <a:pt x="2056126" y="100330"/>
                    <a:pt x="2052316" y="103505"/>
                    <a:pt x="2050411" y="104775"/>
                  </a:cubicBezTo>
                  <a:cubicBezTo>
                    <a:pt x="2048506" y="106045"/>
                    <a:pt x="2046601" y="106680"/>
                    <a:pt x="2044696" y="107950"/>
                  </a:cubicBezTo>
                  <a:cubicBezTo>
                    <a:pt x="2042791" y="108585"/>
                    <a:pt x="2040251" y="109855"/>
                    <a:pt x="2037711" y="109855"/>
                  </a:cubicBezTo>
                  <a:cubicBezTo>
                    <a:pt x="2035171" y="109855"/>
                    <a:pt x="2031996" y="110490"/>
                    <a:pt x="2028821" y="110490"/>
                  </a:cubicBezTo>
                  <a:cubicBezTo>
                    <a:pt x="2025646" y="110490"/>
                    <a:pt x="2022471" y="110490"/>
                    <a:pt x="2019296" y="109220"/>
                  </a:cubicBezTo>
                  <a:cubicBezTo>
                    <a:pt x="2016121" y="108585"/>
                    <a:pt x="2013581" y="107315"/>
                    <a:pt x="2011676" y="105410"/>
                  </a:cubicBezTo>
                  <a:cubicBezTo>
                    <a:pt x="2009136" y="104140"/>
                    <a:pt x="2007231" y="102235"/>
                    <a:pt x="2005326" y="100330"/>
                  </a:cubicBezTo>
                  <a:cubicBezTo>
                    <a:pt x="2003421" y="98425"/>
                    <a:pt x="2001516" y="95885"/>
                    <a:pt x="2000246" y="92710"/>
                  </a:cubicBezTo>
                  <a:cubicBezTo>
                    <a:pt x="1998341" y="89535"/>
                    <a:pt x="1997071" y="86360"/>
                    <a:pt x="1996436" y="82550"/>
                  </a:cubicBezTo>
                  <a:cubicBezTo>
                    <a:pt x="1995801" y="78740"/>
                    <a:pt x="1995166" y="74295"/>
                    <a:pt x="1995166" y="69850"/>
                  </a:cubicBezTo>
                  <a:cubicBezTo>
                    <a:pt x="1995166" y="63500"/>
                    <a:pt x="1995801" y="57150"/>
                    <a:pt x="1997706" y="52070"/>
                  </a:cubicBezTo>
                  <a:cubicBezTo>
                    <a:pt x="1999611" y="46990"/>
                    <a:pt x="2001516" y="42545"/>
                    <a:pt x="2004691" y="39370"/>
                  </a:cubicBezTo>
                  <a:cubicBezTo>
                    <a:pt x="2007866" y="36195"/>
                    <a:pt x="2011041" y="33020"/>
                    <a:pt x="2015486" y="31750"/>
                  </a:cubicBezTo>
                  <a:cubicBezTo>
                    <a:pt x="2019931" y="29845"/>
                    <a:pt x="2024376" y="29210"/>
                    <a:pt x="2029456" y="29210"/>
                  </a:cubicBezTo>
                  <a:close/>
                  <a:moveTo>
                    <a:pt x="1831336" y="29210"/>
                  </a:moveTo>
                  <a:cubicBezTo>
                    <a:pt x="1837051" y="29210"/>
                    <a:pt x="1841496" y="30480"/>
                    <a:pt x="1845941" y="32385"/>
                  </a:cubicBezTo>
                  <a:cubicBezTo>
                    <a:pt x="1849751" y="34290"/>
                    <a:pt x="1853561" y="37465"/>
                    <a:pt x="1856101" y="40640"/>
                  </a:cubicBezTo>
                  <a:cubicBezTo>
                    <a:pt x="1858641" y="44450"/>
                    <a:pt x="1860546" y="48260"/>
                    <a:pt x="1862451" y="53340"/>
                  </a:cubicBezTo>
                  <a:cubicBezTo>
                    <a:pt x="1863721" y="57785"/>
                    <a:pt x="1864356" y="62865"/>
                    <a:pt x="1864356" y="68580"/>
                  </a:cubicBezTo>
                  <a:lnTo>
                    <a:pt x="1863086" y="68580"/>
                  </a:lnTo>
                  <a:cubicBezTo>
                    <a:pt x="1863086" y="68580"/>
                    <a:pt x="1863086" y="71120"/>
                    <a:pt x="1863086" y="72390"/>
                  </a:cubicBezTo>
                  <a:cubicBezTo>
                    <a:pt x="1863086" y="73660"/>
                    <a:pt x="1863086" y="74295"/>
                    <a:pt x="1863086" y="75565"/>
                  </a:cubicBezTo>
                  <a:lnTo>
                    <a:pt x="1811651" y="75565"/>
                  </a:lnTo>
                  <a:cubicBezTo>
                    <a:pt x="1811651" y="79375"/>
                    <a:pt x="1812921" y="82550"/>
                    <a:pt x="1814191" y="85090"/>
                  </a:cubicBezTo>
                  <a:cubicBezTo>
                    <a:pt x="1815461" y="87630"/>
                    <a:pt x="1816731" y="90170"/>
                    <a:pt x="1818636" y="91440"/>
                  </a:cubicBezTo>
                  <a:cubicBezTo>
                    <a:pt x="1820541" y="93345"/>
                    <a:pt x="1822446" y="94615"/>
                    <a:pt x="1824351" y="95250"/>
                  </a:cubicBezTo>
                  <a:cubicBezTo>
                    <a:pt x="1826256" y="95885"/>
                    <a:pt x="1828796" y="96520"/>
                    <a:pt x="1831336" y="96520"/>
                  </a:cubicBezTo>
                  <a:cubicBezTo>
                    <a:pt x="1833241" y="96520"/>
                    <a:pt x="1834511" y="96520"/>
                    <a:pt x="1836416" y="96520"/>
                  </a:cubicBezTo>
                  <a:cubicBezTo>
                    <a:pt x="1837686" y="96520"/>
                    <a:pt x="1839591" y="95885"/>
                    <a:pt x="1840861" y="95250"/>
                  </a:cubicBezTo>
                  <a:cubicBezTo>
                    <a:pt x="1842131" y="95250"/>
                    <a:pt x="1843401" y="93980"/>
                    <a:pt x="1844671" y="93345"/>
                  </a:cubicBezTo>
                  <a:cubicBezTo>
                    <a:pt x="1845941" y="93345"/>
                    <a:pt x="1847211" y="92075"/>
                    <a:pt x="1849116" y="90805"/>
                  </a:cubicBezTo>
                  <a:lnTo>
                    <a:pt x="1858006" y="100330"/>
                  </a:lnTo>
                  <a:cubicBezTo>
                    <a:pt x="1858006" y="100330"/>
                    <a:pt x="1854196" y="103505"/>
                    <a:pt x="1852291" y="104775"/>
                  </a:cubicBezTo>
                  <a:cubicBezTo>
                    <a:pt x="1850386" y="106045"/>
                    <a:pt x="1848481" y="106680"/>
                    <a:pt x="1846576" y="107950"/>
                  </a:cubicBezTo>
                  <a:cubicBezTo>
                    <a:pt x="1844671" y="108585"/>
                    <a:pt x="1842131" y="109855"/>
                    <a:pt x="1839591" y="109855"/>
                  </a:cubicBezTo>
                  <a:cubicBezTo>
                    <a:pt x="1837051" y="109855"/>
                    <a:pt x="1833876" y="110490"/>
                    <a:pt x="1830701" y="110490"/>
                  </a:cubicBezTo>
                  <a:cubicBezTo>
                    <a:pt x="1827526" y="110490"/>
                    <a:pt x="1824351" y="110490"/>
                    <a:pt x="1821176" y="109220"/>
                  </a:cubicBezTo>
                  <a:cubicBezTo>
                    <a:pt x="1818001" y="108585"/>
                    <a:pt x="1815461" y="107315"/>
                    <a:pt x="1813556" y="105410"/>
                  </a:cubicBezTo>
                  <a:cubicBezTo>
                    <a:pt x="1811016" y="104140"/>
                    <a:pt x="1809111" y="102235"/>
                    <a:pt x="1807206" y="100330"/>
                  </a:cubicBezTo>
                  <a:cubicBezTo>
                    <a:pt x="1805301" y="98425"/>
                    <a:pt x="1803396" y="95885"/>
                    <a:pt x="1802126" y="92710"/>
                  </a:cubicBezTo>
                  <a:cubicBezTo>
                    <a:pt x="1800221" y="89535"/>
                    <a:pt x="1798951" y="86360"/>
                    <a:pt x="1798316" y="82550"/>
                  </a:cubicBezTo>
                  <a:cubicBezTo>
                    <a:pt x="1797681" y="78740"/>
                    <a:pt x="1797046" y="74295"/>
                    <a:pt x="1797046" y="69850"/>
                  </a:cubicBezTo>
                  <a:cubicBezTo>
                    <a:pt x="1797046" y="63500"/>
                    <a:pt x="1797681" y="57150"/>
                    <a:pt x="1799586" y="52070"/>
                  </a:cubicBezTo>
                  <a:cubicBezTo>
                    <a:pt x="1801491" y="46990"/>
                    <a:pt x="1803396" y="42545"/>
                    <a:pt x="1806571" y="39370"/>
                  </a:cubicBezTo>
                  <a:cubicBezTo>
                    <a:pt x="1809746" y="36195"/>
                    <a:pt x="1812921" y="33020"/>
                    <a:pt x="1817366" y="31750"/>
                  </a:cubicBezTo>
                  <a:cubicBezTo>
                    <a:pt x="1821811" y="29845"/>
                    <a:pt x="1826256" y="29210"/>
                    <a:pt x="1831336" y="29210"/>
                  </a:cubicBezTo>
                  <a:close/>
                  <a:moveTo>
                    <a:pt x="1501140" y="29210"/>
                  </a:moveTo>
                  <a:cubicBezTo>
                    <a:pt x="1503046" y="29210"/>
                    <a:pt x="1504951" y="29210"/>
                    <a:pt x="1506856" y="29210"/>
                  </a:cubicBezTo>
                  <a:cubicBezTo>
                    <a:pt x="1511301" y="29210"/>
                    <a:pt x="1515746" y="29845"/>
                    <a:pt x="1518920" y="31750"/>
                  </a:cubicBezTo>
                  <a:cubicBezTo>
                    <a:pt x="1522096" y="33020"/>
                    <a:pt x="1525271" y="35560"/>
                    <a:pt x="1527811" y="38100"/>
                  </a:cubicBezTo>
                  <a:cubicBezTo>
                    <a:pt x="1530351" y="41275"/>
                    <a:pt x="1531621" y="44450"/>
                    <a:pt x="1532891" y="48895"/>
                  </a:cubicBezTo>
                  <a:cubicBezTo>
                    <a:pt x="1534161" y="53340"/>
                    <a:pt x="1534796" y="58420"/>
                    <a:pt x="1534796" y="64135"/>
                  </a:cubicBezTo>
                  <a:lnTo>
                    <a:pt x="1534796" y="108585"/>
                  </a:lnTo>
                  <a:lnTo>
                    <a:pt x="1519556" y="108585"/>
                  </a:lnTo>
                  <a:lnTo>
                    <a:pt x="1518920" y="108585"/>
                  </a:lnTo>
                  <a:lnTo>
                    <a:pt x="1518920" y="64770"/>
                  </a:lnTo>
                  <a:cubicBezTo>
                    <a:pt x="1518920" y="57785"/>
                    <a:pt x="1517651" y="52070"/>
                    <a:pt x="1515111" y="48895"/>
                  </a:cubicBezTo>
                  <a:cubicBezTo>
                    <a:pt x="1512571" y="45085"/>
                    <a:pt x="1508761" y="43180"/>
                    <a:pt x="1503046" y="43180"/>
                  </a:cubicBezTo>
                  <a:cubicBezTo>
                    <a:pt x="1500506" y="43180"/>
                    <a:pt x="1498601" y="43180"/>
                    <a:pt x="1496061" y="44450"/>
                  </a:cubicBezTo>
                  <a:cubicBezTo>
                    <a:pt x="1494156" y="45085"/>
                    <a:pt x="1492250" y="46990"/>
                    <a:pt x="1490981" y="48260"/>
                  </a:cubicBezTo>
                  <a:cubicBezTo>
                    <a:pt x="1489711" y="50165"/>
                    <a:pt x="1488441" y="52070"/>
                    <a:pt x="1487806" y="54610"/>
                  </a:cubicBezTo>
                  <a:cubicBezTo>
                    <a:pt x="1487806" y="57150"/>
                    <a:pt x="1487170" y="59690"/>
                    <a:pt x="1487170" y="62865"/>
                  </a:cubicBezTo>
                  <a:lnTo>
                    <a:pt x="1487170" y="108585"/>
                  </a:lnTo>
                  <a:lnTo>
                    <a:pt x="1471931" y="108585"/>
                  </a:lnTo>
                  <a:lnTo>
                    <a:pt x="1471931" y="30480"/>
                  </a:lnTo>
                  <a:lnTo>
                    <a:pt x="1487170" y="30480"/>
                  </a:lnTo>
                  <a:lnTo>
                    <a:pt x="1487170" y="38100"/>
                  </a:lnTo>
                  <a:cubicBezTo>
                    <a:pt x="1487170" y="38100"/>
                    <a:pt x="1489076" y="35560"/>
                    <a:pt x="1490981" y="34290"/>
                  </a:cubicBezTo>
                  <a:cubicBezTo>
                    <a:pt x="1492250" y="33020"/>
                    <a:pt x="1494156" y="32385"/>
                    <a:pt x="1495426" y="31115"/>
                  </a:cubicBezTo>
                  <a:cubicBezTo>
                    <a:pt x="1497331" y="30480"/>
                    <a:pt x="1499236" y="29845"/>
                    <a:pt x="1501140" y="29210"/>
                  </a:cubicBezTo>
                  <a:close/>
                  <a:moveTo>
                    <a:pt x="1250316" y="29210"/>
                  </a:moveTo>
                  <a:cubicBezTo>
                    <a:pt x="1255396" y="29210"/>
                    <a:pt x="1259841" y="29845"/>
                    <a:pt x="1264286" y="31750"/>
                  </a:cubicBezTo>
                  <a:cubicBezTo>
                    <a:pt x="1268731" y="33655"/>
                    <a:pt x="1273176" y="35560"/>
                    <a:pt x="1276350" y="38100"/>
                  </a:cubicBezTo>
                  <a:lnTo>
                    <a:pt x="1278256" y="38100"/>
                  </a:lnTo>
                  <a:lnTo>
                    <a:pt x="1271271" y="50165"/>
                  </a:lnTo>
                  <a:cubicBezTo>
                    <a:pt x="1268095" y="47625"/>
                    <a:pt x="1264921" y="46355"/>
                    <a:pt x="1261746" y="45085"/>
                  </a:cubicBezTo>
                  <a:cubicBezTo>
                    <a:pt x="1258570" y="43815"/>
                    <a:pt x="1254761" y="43180"/>
                    <a:pt x="1250951" y="43180"/>
                  </a:cubicBezTo>
                  <a:cubicBezTo>
                    <a:pt x="1247141" y="43180"/>
                    <a:pt x="1244601" y="43815"/>
                    <a:pt x="1242696" y="45085"/>
                  </a:cubicBezTo>
                  <a:cubicBezTo>
                    <a:pt x="1240791" y="46355"/>
                    <a:pt x="1240156" y="48260"/>
                    <a:pt x="1240156" y="50165"/>
                  </a:cubicBezTo>
                  <a:cubicBezTo>
                    <a:pt x="1240156" y="51435"/>
                    <a:pt x="1240156" y="52070"/>
                    <a:pt x="1240156" y="52705"/>
                  </a:cubicBezTo>
                  <a:cubicBezTo>
                    <a:pt x="1240156" y="53340"/>
                    <a:pt x="1241426" y="54610"/>
                    <a:pt x="1242061" y="55245"/>
                  </a:cubicBezTo>
                  <a:cubicBezTo>
                    <a:pt x="1243331" y="55880"/>
                    <a:pt x="1244601" y="57150"/>
                    <a:pt x="1246506" y="57785"/>
                  </a:cubicBezTo>
                  <a:cubicBezTo>
                    <a:pt x="1248411" y="59055"/>
                    <a:pt x="1250951" y="59690"/>
                    <a:pt x="1253491" y="60960"/>
                  </a:cubicBezTo>
                  <a:cubicBezTo>
                    <a:pt x="1257936" y="62865"/>
                    <a:pt x="1261746" y="64135"/>
                    <a:pt x="1264921" y="66040"/>
                  </a:cubicBezTo>
                  <a:cubicBezTo>
                    <a:pt x="1268095" y="67310"/>
                    <a:pt x="1270635" y="69215"/>
                    <a:pt x="1273176" y="71120"/>
                  </a:cubicBezTo>
                  <a:cubicBezTo>
                    <a:pt x="1275080" y="73025"/>
                    <a:pt x="1276985" y="75565"/>
                    <a:pt x="1278256" y="78105"/>
                  </a:cubicBezTo>
                  <a:cubicBezTo>
                    <a:pt x="1279525" y="80645"/>
                    <a:pt x="1280161" y="83820"/>
                    <a:pt x="1280161" y="87630"/>
                  </a:cubicBezTo>
                  <a:cubicBezTo>
                    <a:pt x="1280161" y="92075"/>
                    <a:pt x="1279525" y="95250"/>
                    <a:pt x="1277621" y="98425"/>
                  </a:cubicBezTo>
                  <a:cubicBezTo>
                    <a:pt x="1275716" y="101600"/>
                    <a:pt x="1273811" y="103505"/>
                    <a:pt x="1271271" y="105410"/>
                  </a:cubicBezTo>
                  <a:cubicBezTo>
                    <a:pt x="1268731" y="107315"/>
                    <a:pt x="1265556" y="108585"/>
                    <a:pt x="1261746" y="109220"/>
                  </a:cubicBezTo>
                  <a:cubicBezTo>
                    <a:pt x="1257936" y="109855"/>
                    <a:pt x="1254761" y="110490"/>
                    <a:pt x="1250951" y="110490"/>
                  </a:cubicBezTo>
                  <a:cubicBezTo>
                    <a:pt x="1245871" y="110490"/>
                    <a:pt x="1240791" y="109855"/>
                    <a:pt x="1235711" y="107950"/>
                  </a:cubicBezTo>
                  <a:cubicBezTo>
                    <a:pt x="1229996" y="106045"/>
                    <a:pt x="1225551" y="103505"/>
                    <a:pt x="1221106" y="100965"/>
                  </a:cubicBezTo>
                  <a:lnTo>
                    <a:pt x="1228091" y="89535"/>
                  </a:lnTo>
                  <a:cubicBezTo>
                    <a:pt x="1231901" y="92075"/>
                    <a:pt x="1235711" y="93980"/>
                    <a:pt x="1239521" y="95250"/>
                  </a:cubicBezTo>
                  <a:cubicBezTo>
                    <a:pt x="1243331" y="96520"/>
                    <a:pt x="1247141" y="97155"/>
                    <a:pt x="1250951" y="97155"/>
                  </a:cubicBezTo>
                  <a:cubicBezTo>
                    <a:pt x="1256031" y="97155"/>
                    <a:pt x="1259205" y="96520"/>
                    <a:pt x="1261746" y="94615"/>
                  </a:cubicBezTo>
                  <a:cubicBezTo>
                    <a:pt x="1264286" y="93345"/>
                    <a:pt x="1264921" y="90805"/>
                    <a:pt x="1264921" y="88265"/>
                  </a:cubicBezTo>
                  <a:cubicBezTo>
                    <a:pt x="1264921" y="86995"/>
                    <a:pt x="1264921" y="85725"/>
                    <a:pt x="1263650" y="84455"/>
                  </a:cubicBezTo>
                  <a:cubicBezTo>
                    <a:pt x="1263015" y="83185"/>
                    <a:pt x="1261746" y="82550"/>
                    <a:pt x="1259841" y="81280"/>
                  </a:cubicBezTo>
                  <a:cubicBezTo>
                    <a:pt x="1258570" y="80010"/>
                    <a:pt x="1256666" y="79375"/>
                    <a:pt x="1254125" y="78105"/>
                  </a:cubicBezTo>
                  <a:cubicBezTo>
                    <a:pt x="1252221" y="77470"/>
                    <a:pt x="1249681" y="76200"/>
                    <a:pt x="1246506" y="74930"/>
                  </a:cubicBezTo>
                  <a:cubicBezTo>
                    <a:pt x="1242061" y="73025"/>
                    <a:pt x="1238886" y="71755"/>
                    <a:pt x="1235711" y="69850"/>
                  </a:cubicBezTo>
                  <a:cubicBezTo>
                    <a:pt x="1232536" y="67945"/>
                    <a:pt x="1230631" y="66675"/>
                    <a:pt x="1228726" y="64770"/>
                  </a:cubicBezTo>
                  <a:cubicBezTo>
                    <a:pt x="1226821" y="62865"/>
                    <a:pt x="1225551" y="60960"/>
                    <a:pt x="1224916" y="58420"/>
                  </a:cubicBezTo>
                  <a:cubicBezTo>
                    <a:pt x="1224281" y="55880"/>
                    <a:pt x="1223646" y="53340"/>
                    <a:pt x="1223646" y="50165"/>
                  </a:cubicBezTo>
                  <a:cubicBezTo>
                    <a:pt x="1223646" y="46990"/>
                    <a:pt x="1224281" y="43815"/>
                    <a:pt x="1225551" y="40640"/>
                  </a:cubicBezTo>
                  <a:cubicBezTo>
                    <a:pt x="1226821" y="38100"/>
                    <a:pt x="1228726" y="35560"/>
                    <a:pt x="1231266" y="34290"/>
                  </a:cubicBezTo>
                  <a:cubicBezTo>
                    <a:pt x="1233806" y="32385"/>
                    <a:pt x="1236346" y="31115"/>
                    <a:pt x="1239521" y="30480"/>
                  </a:cubicBezTo>
                  <a:cubicBezTo>
                    <a:pt x="1242696" y="29845"/>
                    <a:pt x="1246506" y="29210"/>
                    <a:pt x="1250316" y="29210"/>
                  </a:cubicBezTo>
                  <a:close/>
                  <a:moveTo>
                    <a:pt x="1180466" y="29210"/>
                  </a:moveTo>
                  <a:cubicBezTo>
                    <a:pt x="1186181" y="29210"/>
                    <a:pt x="1190626" y="30480"/>
                    <a:pt x="1195071" y="32385"/>
                  </a:cubicBezTo>
                  <a:cubicBezTo>
                    <a:pt x="1198881" y="34290"/>
                    <a:pt x="1202691" y="37465"/>
                    <a:pt x="1205231" y="40640"/>
                  </a:cubicBezTo>
                  <a:cubicBezTo>
                    <a:pt x="1207771" y="44450"/>
                    <a:pt x="1209676" y="48260"/>
                    <a:pt x="1211581" y="53340"/>
                  </a:cubicBezTo>
                  <a:cubicBezTo>
                    <a:pt x="1212851" y="57785"/>
                    <a:pt x="1213486" y="62865"/>
                    <a:pt x="1213486" y="68580"/>
                  </a:cubicBezTo>
                  <a:lnTo>
                    <a:pt x="1212216" y="68580"/>
                  </a:lnTo>
                  <a:cubicBezTo>
                    <a:pt x="1212216" y="68580"/>
                    <a:pt x="1212216" y="71120"/>
                    <a:pt x="1212216" y="72390"/>
                  </a:cubicBezTo>
                  <a:cubicBezTo>
                    <a:pt x="1212216" y="73660"/>
                    <a:pt x="1212216" y="74295"/>
                    <a:pt x="1212216" y="75565"/>
                  </a:cubicBezTo>
                  <a:lnTo>
                    <a:pt x="1160781" y="75565"/>
                  </a:lnTo>
                  <a:cubicBezTo>
                    <a:pt x="1160781" y="79375"/>
                    <a:pt x="1162051" y="82550"/>
                    <a:pt x="1163321" y="85090"/>
                  </a:cubicBezTo>
                  <a:cubicBezTo>
                    <a:pt x="1164591" y="87630"/>
                    <a:pt x="1165861" y="90170"/>
                    <a:pt x="1167766" y="91440"/>
                  </a:cubicBezTo>
                  <a:cubicBezTo>
                    <a:pt x="1169671" y="93345"/>
                    <a:pt x="1171576" y="94615"/>
                    <a:pt x="1173481" y="95250"/>
                  </a:cubicBezTo>
                  <a:cubicBezTo>
                    <a:pt x="1175386" y="95885"/>
                    <a:pt x="1177926" y="96520"/>
                    <a:pt x="1180466" y="96520"/>
                  </a:cubicBezTo>
                  <a:cubicBezTo>
                    <a:pt x="1182371" y="96520"/>
                    <a:pt x="1183641" y="96520"/>
                    <a:pt x="1185546" y="96520"/>
                  </a:cubicBezTo>
                  <a:cubicBezTo>
                    <a:pt x="1186816" y="96520"/>
                    <a:pt x="1188721" y="95885"/>
                    <a:pt x="1189991" y="95250"/>
                  </a:cubicBezTo>
                  <a:cubicBezTo>
                    <a:pt x="1191261" y="95250"/>
                    <a:pt x="1192531" y="93980"/>
                    <a:pt x="1193801" y="93345"/>
                  </a:cubicBezTo>
                  <a:cubicBezTo>
                    <a:pt x="1195071" y="93345"/>
                    <a:pt x="1196341" y="92075"/>
                    <a:pt x="1198246" y="90805"/>
                  </a:cubicBezTo>
                  <a:lnTo>
                    <a:pt x="1207136" y="100330"/>
                  </a:lnTo>
                  <a:cubicBezTo>
                    <a:pt x="1207136" y="100330"/>
                    <a:pt x="1203326" y="103505"/>
                    <a:pt x="1201421" y="104775"/>
                  </a:cubicBezTo>
                  <a:cubicBezTo>
                    <a:pt x="1199516" y="106045"/>
                    <a:pt x="1197611" y="106680"/>
                    <a:pt x="1195706" y="107950"/>
                  </a:cubicBezTo>
                  <a:cubicBezTo>
                    <a:pt x="1193801" y="108585"/>
                    <a:pt x="1191261" y="109855"/>
                    <a:pt x="1188721" y="109855"/>
                  </a:cubicBezTo>
                  <a:cubicBezTo>
                    <a:pt x="1186181" y="109855"/>
                    <a:pt x="1183006" y="110490"/>
                    <a:pt x="1179831" y="110490"/>
                  </a:cubicBezTo>
                  <a:cubicBezTo>
                    <a:pt x="1176656" y="110490"/>
                    <a:pt x="1173481" y="110490"/>
                    <a:pt x="1170306" y="109220"/>
                  </a:cubicBezTo>
                  <a:cubicBezTo>
                    <a:pt x="1167131" y="108585"/>
                    <a:pt x="1164591" y="107315"/>
                    <a:pt x="1162686" y="105410"/>
                  </a:cubicBezTo>
                  <a:cubicBezTo>
                    <a:pt x="1160781" y="103505"/>
                    <a:pt x="1158241" y="102235"/>
                    <a:pt x="1156336" y="100330"/>
                  </a:cubicBezTo>
                  <a:cubicBezTo>
                    <a:pt x="1154431" y="98425"/>
                    <a:pt x="1152526" y="95885"/>
                    <a:pt x="1151256" y="92710"/>
                  </a:cubicBezTo>
                  <a:cubicBezTo>
                    <a:pt x="1149351" y="89535"/>
                    <a:pt x="1148081" y="86360"/>
                    <a:pt x="1147446" y="82550"/>
                  </a:cubicBezTo>
                  <a:cubicBezTo>
                    <a:pt x="1146811" y="78740"/>
                    <a:pt x="1146176" y="74295"/>
                    <a:pt x="1146176" y="69850"/>
                  </a:cubicBezTo>
                  <a:cubicBezTo>
                    <a:pt x="1146176" y="63500"/>
                    <a:pt x="1146811" y="57150"/>
                    <a:pt x="1148716" y="52070"/>
                  </a:cubicBezTo>
                  <a:cubicBezTo>
                    <a:pt x="1150621" y="46990"/>
                    <a:pt x="1152526" y="42545"/>
                    <a:pt x="1155701" y="39370"/>
                  </a:cubicBezTo>
                  <a:cubicBezTo>
                    <a:pt x="1158876" y="36195"/>
                    <a:pt x="1162051" y="33020"/>
                    <a:pt x="1166496" y="31750"/>
                  </a:cubicBezTo>
                  <a:cubicBezTo>
                    <a:pt x="1170941" y="29845"/>
                    <a:pt x="1175386" y="29210"/>
                    <a:pt x="1180466" y="29210"/>
                  </a:cubicBezTo>
                  <a:close/>
                  <a:moveTo>
                    <a:pt x="901065" y="29210"/>
                  </a:moveTo>
                  <a:cubicBezTo>
                    <a:pt x="906780" y="29210"/>
                    <a:pt x="911225" y="30480"/>
                    <a:pt x="915670" y="32385"/>
                  </a:cubicBezTo>
                  <a:cubicBezTo>
                    <a:pt x="919480" y="34290"/>
                    <a:pt x="923290" y="37465"/>
                    <a:pt x="925830" y="40640"/>
                  </a:cubicBezTo>
                  <a:cubicBezTo>
                    <a:pt x="928370" y="44450"/>
                    <a:pt x="930275" y="48260"/>
                    <a:pt x="932180" y="53340"/>
                  </a:cubicBezTo>
                  <a:cubicBezTo>
                    <a:pt x="933450" y="57785"/>
                    <a:pt x="934085" y="62865"/>
                    <a:pt x="934085" y="68580"/>
                  </a:cubicBezTo>
                  <a:lnTo>
                    <a:pt x="932815" y="68580"/>
                  </a:lnTo>
                  <a:cubicBezTo>
                    <a:pt x="932815" y="68580"/>
                    <a:pt x="932815" y="71120"/>
                    <a:pt x="932815" y="72390"/>
                  </a:cubicBezTo>
                  <a:cubicBezTo>
                    <a:pt x="932815" y="73660"/>
                    <a:pt x="932815" y="74295"/>
                    <a:pt x="932815" y="75565"/>
                  </a:cubicBezTo>
                  <a:lnTo>
                    <a:pt x="881380" y="75565"/>
                  </a:lnTo>
                  <a:cubicBezTo>
                    <a:pt x="881380" y="79375"/>
                    <a:pt x="882650" y="82550"/>
                    <a:pt x="883920" y="85090"/>
                  </a:cubicBezTo>
                  <a:cubicBezTo>
                    <a:pt x="885190" y="87630"/>
                    <a:pt x="886460" y="90170"/>
                    <a:pt x="888365" y="91440"/>
                  </a:cubicBezTo>
                  <a:cubicBezTo>
                    <a:pt x="890270" y="93345"/>
                    <a:pt x="892175" y="94615"/>
                    <a:pt x="894080" y="95250"/>
                  </a:cubicBezTo>
                  <a:cubicBezTo>
                    <a:pt x="895985" y="95885"/>
                    <a:pt x="898525" y="96520"/>
                    <a:pt x="901065" y="96520"/>
                  </a:cubicBezTo>
                  <a:cubicBezTo>
                    <a:pt x="902970" y="96520"/>
                    <a:pt x="904240" y="96520"/>
                    <a:pt x="906145" y="96520"/>
                  </a:cubicBezTo>
                  <a:cubicBezTo>
                    <a:pt x="907415" y="96520"/>
                    <a:pt x="909320" y="95885"/>
                    <a:pt x="910590" y="95250"/>
                  </a:cubicBezTo>
                  <a:cubicBezTo>
                    <a:pt x="911860" y="95250"/>
                    <a:pt x="913130" y="93980"/>
                    <a:pt x="914400" y="93345"/>
                  </a:cubicBezTo>
                  <a:cubicBezTo>
                    <a:pt x="915670" y="93345"/>
                    <a:pt x="916940" y="92075"/>
                    <a:pt x="918845" y="90805"/>
                  </a:cubicBezTo>
                  <a:lnTo>
                    <a:pt x="927735" y="100330"/>
                  </a:lnTo>
                  <a:cubicBezTo>
                    <a:pt x="927735" y="100330"/>
                    <a:pt x="923925" y="103505"/>
                    <a:pt x="922020" y="104775"/>
                  </a:cubicBezTo>
                  <a:cubicBezTo>
                    <a:pt x="920115" y="106045"/>
                    <a:pt x="918210" y="106680"/>
                    <a:pt x="916305" y="107950"/>
                  </a:cubicBezTo>
                  <a:cubicBezTo>
                    <a:pt x="914400" y="108585"/>
                    <a:pt x="911860" y="109855"/>
                    <a:pt x="909320" y="109855"/>
                  </a:cubicBezTo>
                  <a:cubicBezTo>
                    <a:pt x="906780" y="109855"/>
                    <a:pt x="903605" y="110490"/>
                    <a:pt x="900430" y="110490"/>
                  </a:cubicBezTo>
                  <a:cubicBezTo>
                    <a:pt x="897255" y="110490"/>
                    <a:pt x="894080" y="110490"/>
                    <a:pt x="890905" y="109220"/>
                  </a:cubicBezTo>
                  <a:cubicBezTo>
                    <a:pt x="887730" y="108585"/>
                    <a:pt x="885190" y="107315"/>
                    <a:pt x="883285" y="105410"/>
                  </a:cubicBezTo>
                  <a:cubicBezTo>
                    <a:pt x="881380" y="103505"/>
                    <a:pt x="878840" y="102235"/>
                    <a:pt x="876935" y="100330"/>
                  </a:cubicBezTo>
                  <a:cubicBezTo>
                    <a:pt x="875030" y="98425"/>
                    <a:pt x="873125" y="95885"/>
                    <a:pt x="871855" y="92710"/>
                  </a:cubicBezTo>
                  <a:cubicBezTo>
                    <a:pt x="869950" y="89535"/>
                    <a:pt x="868680" y="86360"/>
                    <a:pt x="868045" y="82550"/>
                  </a:cubicBezTo>
                  <a:cubicBezTo>
                    <a:pt x="867410" y="78740"/>
                    <a:pt x="866775" y="74295"/>
                    <a:pt x="866775" y="69850"/>
                  </a:cubicBezTo>
                  <a:cubicBezTo>
                    <a:pt x="866775" y="63500"/>
                    <a:pt x="867410" y="57150"/>
                    <a:pt x="869315" y="52070"/>
                  </a:cubicBezTo>
                  <a:cubicBezTo>
                    <a:pt x="871220" y="46990"/>
                    <a:pt x="873125" y="42545"/>
                    <a:pt x="876300" y="39370"/>
                  </a:cubicBezTo>
                  <a:cubicBezTo>
                    <a:pt x="879475" y="36195"/>
                    <a:pt x="882650" y="33020"/>
                    <a:pt x="887095" y="31750"/>
                  </a:cubicBezTo>
                  <a:cubicBezTo>
                    <a:pt x="891540" y="29845"/>
                    <a:pt x="895985" y="29210"/>
                    <a:pt x="901065" y="29210"/>
                  </a:cubicBezTo>
                  <a:close/>
                  <a:moveTo>
                    <a:pt x="668656" y="29210"/>
                  </a:moveTo>
                  <a:cubicBezTo>
                    <a:pt x="671830" y="29210"/>
                    <a:pt x="674370" y="29210"/>
                    <a:pt x="676275" y="29845"/>
                  </a:cubicBezTo>
                  <a:cubicBezTo>
                    <a:pt x="678181" y="29845"/>
                    <a:pt x="680086" y="31115"/>
                    <a:pt x="681991" y="32385"/>
                  </a:cubicBezTo>
                  <a:lnTo>
                    <a:pt x="678181" y="46990"/>
                  </a:lnTo>
                  <a:lnTo>
                    <a:pt x="676910" y="46990"/>
                  </a:lnTo>
                  <a:cubicBezTo>
                    <a:pt x="676910" y="46990"/>
                    <a:pt x="673736" y="45085"/>
                    <a:pt x="671830" y="45085"/>
                  </a:cubicBezTo>
                  <a:cubicBezTo>
                    <a:pt x="669925" y="45085"/>
                    <a:pt x="668020" y="44450"/>
                    <a:pt x="665480" y="44450"/>
                  </a:cubicBezTo>
                  <a:cubicBezTo>
                    <a:pt x="660400" y="44450"/>
                    <a:pt x="656590" y="46355"/>
                    <a:pt x="654050" y="49530"/>
                  </a:cubicBezTo>
                  <a:cubicBezTo>
                    <a:pt x="651510" y="52705"/>
                    <a:pt x="650240" y="57785"/>
                    <a:pt x="650240" y="64770"/>
                  </a:cubicBezTo>
                  <a:lnTo>
                    <a:pt x="650240" y="109220"/>
                  </a:lnTo>
                  <a:lnTo>
                    <a:pt x="635000" y="109220"/>
                  </a:lnTo>
                  <a:lnTo>
                    <a:pt x="635000" y="31115"/>
                  </a:lnTo>
                  <a:lnTo>
                    <a:pt x="650240" y="31115"/>
                  </a:lnTo>
                  <a:lnTo>
                    <a:pt x="650240" y="38735"/>
                  </a:lnTo>
                  <a:cubicBezTo>
                    <a:pt x="650240" y="38735"/>
                    <a:pt x="652145" y="36195"/>
                    <a:pt x="653416" y="34925"/>
                  </a:cubicBezTo>
                  <a:cubicBezTo>
                    <a:pt x="654685" y="33655"/>
                    <a:pt x="655955" y="33020"/>
                    <a:pt x="657861" y="31750"/>
                  </a:cubicBezTo>
                  <a:cubicBezTo>
                    <a:pt x="659130" y="31115"/>
                    <a:pt x="661035" y="30480"/>
                    <a:pt x="662940" y="29845"/>
                  </a:cubicBezTo>
                  <a:cubicBezTo>
                    <a:pt x="664845" y="29845"/>
                    <a:pt x="666751" y="29210"/>
                    <a:pt x="668656" y="29210"/>
                  </a:cubicBezTo>
                  <a:close/>
                  <a:moveTo>
                    <a:pt x="586739" y="29210"/>
                  </a:moveTo>
                  <a:cubicBezTo>
                    <a:pt x="592454" y="29210"/>
                    <a:pt x="596899" y="30480"/>
                    <a:pt x="601344" y="32385"/>
                  </a:cubicBezTo>
                  <a:cubicBezTo>
                    <a:pt x="605154" y="34290"/>
                    <a:pt x="608964" y="37465"/>
                    <a:pt x="611504" y="40640"/>
                  </a:cubicBezTo>
                  <a:cubicBezTo>
                    <a:pt x="614044" y="44450"/>
                    <a:pt x="615949" y="48260"/>
                    <a:pt x="617854" y="53340"/>
                  </a:cubicBezTo>
                  <a:cubicBezTo>
                    <a:pt x="619124" y="57785"/>
                    <a:pt x="619759" y="62865"/>
                    <a:pt x="619759" y="68580"/>
                  </a:cubicBezTo>
                  <a:lnTo>
                    <a:pt x="618489" y="68580"/>
                  </a:lnTo>
                  <a:cubicBezTo>
                    <a:pt x="618489" y="68580"/>
                    <a:pt x="618489" y="71120"/>
                    <a:pt x="618489" y="72390"/>
                  </a:cubicBezTo>
                  <a:cubicBezTo>
                    <a:pt x="618489" y="73660"/>
                    <a:pt x="618489" y="74295"/>
                    <a:pt x="618489" y="75565"/>
                  </a:cubicBezTo>
                  <a:lnTo>
                    <a:pt x="567054" y="75565"/>
                  </a:lnTo>
                  <a:cubicBezTo>
                    <a:pt x="567054" y="79375"/>
                    <a:pt x="568324" y="82550"/>
                    <a:pt x="569594" y="85090"/>
                  </a:cubicBezTo>
                  <a:cubicBezTo>
                    <a:pt x="570864" y="87630"/>
                    <a:pt x="572134" y="90170"/>
                    <a:pt x="574039" y="91440"/>
                  </a:cubicBezTo>
                  <a:cubicBezTo>
                    <a:pt x="575944" y="93345"/>
                    <a:pt x="577849" y="94615"/>
                    <a:pt x="579754" y="95250"/>
                  </a:cubicBezTo>
                  <a:cubicBezTo>
                    <a:pt x="581659" y="95885"/>
                    <a:pt x="584199" y="96520"/>
                    <a:pt x="586739" y="96520"/>
                  </a:cubicBezTo>
                  <a:cubicBezTo>
                    <a:pt x="588644" y="96520"/>
                    <a:pt x="589914" y="96520"/>
                    <a:pt x="591819" y="96520"/>
                  </a:cubicBezTo>
                  <a:cubicBezTo>
                    <a:pt x="593089" y="96520"/>
                    <a:pt x="594994" y="95885"/>
                    <a:pt x="596264" y="95250"/>
                  </a:cubicBezTo>
                  <a:cubicBezTo>
                    <a:pt x="597534" y="95250"/>
                    <a:pt x="598804" y="93980"/>
                    <a:pt x="600074" y="93345"/>
                  </a:cubicBezTo>
                  <a:cubicBezTo>
                    <a:pt x="601344" y="93345"/>
                    <a:pt x="602614" y="92075"/>
                    <a:pt x="604519" y="90805"/>
                  </a:cubicBezTo>
                  <a:lnTo>
                    <a:pt x="613409" y="100330"/>
                  </a:lnTo>
                  <a:cubicBezTo>
                    <a:pt x="613409" y="100330"/>
                    <a:pt x="609599" y="103505"/>
                    <a:pt x="607694" y="104775"/>
                  </a:cubicBezTo>
                  <a:cubicBezTo>
                    <a:pt x="605789" y="106045"/>
                    <a:pt x="603884" y="106680"/>
                    <a:pt x="601979" y="107950"/>
                  </a:cubicBezTo>
                  <a:cubicBezTo>
                    <a:pt x="600074" y="108585"/>
                    <a:pt x="597534" y="109855"/>
                    <a:pt x="594994" y="109855"/>
                  </a:cubicBezTo>
                  <a:cubicBezTo>
                    <a:pt x="592454" y="109855"/>
                    <a:pt x="589279" y="110490"/>
                    <a:pt x="586104" y="110490"/>
                  </a:cubicBezTo>
                  <a:cubicBezTo>
                    <a:pt x="582929" y="110490"/>
                    <a:pt x="579754" y="110490"/>
                    <a:pt x="576579" y="109220"/>
                  </a:cubicBezTo>
                  <a:cubicBezTo>
                    <a:pt x="573404" y="108585"/>
                    <a:pt x="570864" y="107315"/>
                    <a:pt x="568959" y="105410"/>
                  </a:cubicBezTo>
                  <a:cubicBezTo>
                    <a:pt x="566419" y="104140"/>
                    <a:pt x="564514" y="102235"/>
                    <a:pt x="562609" y="100330"/>
                  </a:cubicBezTo>
                  <a:cubicBezTo>
                    <a:pt x="560704" y="98425"/>
                    <a:pt x="558799" y="95885"/>
                    <a:pt x="557529" y="92710"/>
                  </a:cubicBezTo>
                  <a:cubicBezTo>
                    <a:pt x="555624" y="89535"/>
                    <a:pt x="554354" y="86360"/>
                    <a:pt x="553719" y="82550"/>
                  </a:cubicBezTo>
                  <a:cubicBezTo>
                    <a:pt x="553084" y="78740"/>
                    <a:pt x="552449" y="74295"/>
                    <a:pt x="552449" y="69850"/>
                  </a:cubicBezTo>
                  <a:cubicBezTo>
                    <a:pt x="552449" y="63500"/>
                    <a:pt x="553084" y="57150"/>
                    <a:pt x="554989" y="52070"/>
                  </a:cubicBezTo>
                  <a:cubicBezTo>
                    <a:pt x="556894" y="46990"/>
                    <a:pt x="558799" y="42545"/>
                    <a:pt x="561974" y="39370"/>
                  </a:cubicBezTo>
                  <a:cubicBezTo>
                    <a:pt x="565149" y="36195"/>
                    <a:pt x="568324" y="33020"/>
                    <a:pt x="572769" y="31750"/>
                  </a:cubicBezTo>
                  <a:cubicBezTo>
                    <a:pt x="577214" y="29845"/>
                    <a:pt x="581659" y="29210"/>
                    <a:pt x="586739" y="29210"/>
                  </a:cubicBezTo>
                  <a:close/>
                  <a:moveTo>
                    <a:pt x="400050" y="29210"/>
                  </a:moveTo>
                  <a:cubicBezTo>
                    <a:pt x="405765" y="29210"/>
                    <a:pt x="410210" y="30480"/>
                    <a:pt x="414655" y="32385"/>
                  </a:cubicBezTo>
                  <a:cubicBezTo>
                    <a:pt x="418465" y="34290"/>
                    <a:pt x="422275" y="37465"/>
                    <a:pt x="424815" y="40640"/>
                  </a:cubicBezTo>
                  <a:cubicBezTo>
                    <a:pt x="427355" y="44450"/>
                    <a:pt x="429260" y="48260"/>
                    <a:pt x="431165" y="53340"/>
                  </a:cubicBezTo>
                  <a:cubicBezTo>
                    <a:pt x="432435" y="57785"/>
                    <a:pt x="433070" y="62865"/>
                    <a:pt x="433070" y="68580"/>
                  </a:cubicBezTo>
                  <a:lnTo>
                    <a:pt x="431800" y="68580"/>
                  </a:lnTo>
                  <a:cubicBezTo>
                    <a:pt x="431800" y="68580"/>
                    <a:pt x="431800" y="71120"/>
                    <a:pt x="431800" y="72390"/>
                  </a:cubicBezTo>
                  <a:cubicBezTo>
                    <a:pt x="431800" y="73660"/>
                    <a:pt x="431800" y="74295"/>
                    <a:pt x="431800" y="75565"/>
                  </a:cubicBezTo>
                  <a:lnTo>
                    <a:pt x="380365" y="75565"/>
                  </a:lnTo>
                  <a:cubicBezTo>
                    <a:pt x="380365" y="79375"/>
                    <a:pt x="381635" y="82550"/>
                    <a:pt x="382905" y="85090"/>
                  </a:cubicBezTo>
                  <a:cubicBezTo>
                    <a:pt x="384175" y="87630"/>
                    <a:pt x="385445" y="90170"/>
                    <a:pt x="387350" y="91440"/>
                  </a:cubicBezTo>
                  <a:cubicBezTo>
                    <a:pt x="389255" y="93345"/>
                    <a:pt x="391160" y="94615"/>
                    <a:pt x="393065" y="95250"/>
                  </a:cubicBezTo>
                  <a:cubicBezTo>
                    <a:pt x="394970" y="95885"/>
                    <a:pt x="397510" y="96520"/>
                    <a:pt x="400050" y="96520"/>
                  </a:cubicBezTo>
                  <a:cubicBezTo>
                    <a:pt x="401955" y="96520"/>
                    <a:pt x="403225" y="96520"/>
                    <a:pt x="405130" y="96520"/>
                  </a:cubicBezTo>
                  <a:cubicBezTo>
                    <a:pt x="406400" y="96520"/>
                    <a:pt x="408305" y="95885"/>
                    <a:pt x="409575" y="95250"/>
                  </a:cubicBezTo>
                  <a:cubicBezTo>
                    <a:pt x="410845" y="95250"/>
                    <a:pt x="412115" y="93980"/>
                    <a:pt x="413385" y="93345"/>
                  </a:cubicBezTo>
                  <a:cubicBezTo>
                    <a:pt x="414655" y="93345"/>
                    <a:pt x="415925" y="92075"/>
                    <a:pt x="417830" y="90805"/>
                  </a:cubicBezTo>
                  <a:lnTo>
                    <a:pt x="426720" y="100330"/>
                  </a:lnTo>
                  <a:cubicBezTo>
                    <a:pt x="426720" y="100330"/>
                    <a:pt x="422910" y="103505"/>
                    <a:pt x="421005" y="104775"/>
                  </a:cubicBezTo>
                  <a:cubicBezTo>
                    <a:pt x="419100" y="106045"/>
                    <a:pt x="417195" y="106680"/>
                    <a:pt x="415290" y="107950"/>
                  </a:cubicBezTo>
                  <a:cubicBezTo>
                    <a:pt x="413385" y="108585"/>
                    <a:pt x="410845" y="109855"/>
                    <a:pt x="408305" y="109855"/>
                  </a:cubicBezTo>
                  <a:cubicBezTo>
                    <a:pt x="405765" y="109855"/>
                    <a:pt x="402590" y="110490"/>
                    <a:pt x="399415" y="110490"/>
                  </a:cubicBezTo>
                  <a:cubicBezTo>
                    <a:pt x="396240" y="110490"/>
                    <a:pt x="393065" y="110490"/>
                    <a:pt x="389890" y="109220"/>
                  </a:cubicBezTo>
                  <a:cubicBezTo>
                    <a:pt x="386715" y="108585"/>
                    <a:pt x="384175" y="107315"/>
                    <a:pt x="382270" y="105410"/>
                  </a:cubicBezTo>
                  <a:cubicBezTo>
                    <a:pt x="380365" y="103505"/>
                    <a:pt x="377825" y="102235"/>
                    <a:pt x="375920" y="100330"/>
                  </a:cubicBezTo>
                  <a:cubicBezTo>
                    <a:pt x="374015" y="98425"/>
                    <a:pt x="372110" y="95885"/>
                    <a:pt x="370840" y="92710"/>
                  </a:cubicBezTo>
                  <a:cubicBezTo>
                    <a:pt x="368935" y="89535"/>
                    <a:pt x="367665" y="86360"/>
                    <a:pt x="367030" y="82550"/>
                  </a:cubicBezTo>
                  <a:cubicBezTo>
                    <a:pt x="366395" y="78740"/>
                    <a:pt x="365760" y="74295"/>
                    <a:pt x="365760" y="69850"/>
                  </a:cubicBezTo>
                  <a:cubicBezTo>
                    <a:pt x="365760" y="63500"/>
                    <a:pt x="366395" y="57150"/>
                    <a:pt x="368300" y="52070"/>
                  </a:cubicBezTo>
                  <a:cubicBezTo>
                    <a:pt x="370205" y="46990"/>
                    <a:pt x="372110" y="42545"/>
                    <a:pt x="375285" y="39370"/>
                  </a:cubicBezTo>
                  <a:cubicBezTo>
                    <a:pt x="378460" y="36195"/>
                    <a:pt x="381635" y="33020"/>
                    <a:pt x="386080" y="31750"/>
                  </a:cubicBezTo>
                  <a:cubicBezTo>
                    <a:pt x="390525" y="29845"/>
                    <a:pt x="394970" y="29210"/>
                    <a:pt x="400050" y="29210"/>
                  </a:cubicBezTo>
                  <a:close/>
                  <a:moveTo>
                    <a:pt x="201930" y="29210"/>
                  </a:moveTo>
                  <a:cubicBezTo>
                    <a:pt x="207645" y="29210"/>
                    <a:pt x="212090" y="30480"/>
                    <a:pt x="216535" y="32385"/>
                  </a:cubicBezTo>
                  <a:cubicBezTo>
                    <a:pt x="220345" y="34290"/>
                    <a:pt x="224155" y="37465"/>
                    <a:pt x="226695" y="40640"/>
                  </a:cubicBezTo>
                  <a:cubicBezTo>
                    <a:pt x="229235" y="44450"/>
                    <a:pt x="231140" y="48260"/>
                    <a:pt x="233045" y="53340"/>
                  </a:cubicBezTo>
                  <a:cubicBezTo>
                    <a:pt x="234315" y="57785"/>
                    <a:pt x="234950" y="62865"/>
                    <a:pt x="234950" y="68580"/>
                  </a:cubicBezTo>
                  <a:lnTo>
                    <a:pt x="233680" y="68580"/>
                  </a:lnTo>
                  <a:cubicBezTo>
                    <a:pt x="233680" y="68580"/>
                    <a:pt x="233680" y="71120"/>
                    <a:pt x="233680" y="72390"/>
                  </a:cubicBezTo>
                  <a:cubicBezTo>
                    <a:pt x="233680" y="73660"/>
                    <a:pt x="233680" y="74295"/>
                    <a:pt x="233680" y="75565"/>
                  </a:cubicBezTo>
                  <a:lnTo>
                    <a:pt x="182245" y="75565"/>
                  </a:lnTo>
                  <a:cubicBezTo>
                    <a:pt x="182245" y="79375"/>
                    <a:pt x="183515" y="82550"/>
                    <a:pt x="184785" y="85090"/>
                  </a:cubicBezTo>
                  <a:cubicBezTo>
                    <a:pt x="186055" y="87630"/>
                    <a:pt x="187325" y="90170"/>
                    <a:pt x="189230" y="91440"/>
                  </a:cubicBezTo>
                  <a:cubicBezTo>
                    <a:pt x="191135" y="93345"/>
                    <a:pt x="193040" y="94615"/>
                    <a:pt x="194945" y="95250"/>
                  </a:cubicBezTo>
                  <a:cubicBezTo>
                    <a:pt x="196850" y="95885"/>
                    <a:pt x="199390" y="96520"/>
                    <a:pt x="201930" y="96520"/>
                  </a:cubicBezTo>
                  <a:cubicBezTo>
                    <a:pt x="203835" y="96520"/>
                    <a:pt x="205105" y="96520"/>
                    <a:pt x="207010" y="96520"/>
                  </a:cubicBezTo>
                  <a:cubicBezTo>
                    <a:pt x="208280" y="96520"/>
                    <a:pt x="210185" y="95885"/>
                    <a:pt x="211455" y="95250"/>
                  </a:cubicBezTo>
                  <a:cubicBezTo>
                    <a:pt x="212725" y="95250"/>
                    <a:pt x="213995" y="93980"/>
                    <a:pt x="215265" y="93345"/>
                  </a:cubicBezTo>
                  <a:cubicBezTo>
                    <a:pt x="216535" y="93345"/>
                    <a:pt x="217805" y="92075"/>
                    <a:pt x="219710" y="90805"/>
                  </a:cubicBezTo>
                  <a:lnTo>
                    <a:pt x="228600" y="100330"/>
                  </a:lnTo>
                  <a:cubicBezTo>
                    <a:pt x="228600" y="100330"/>
                    <a:pt x="224790" y="103505"/>
                    <a:pt x="222885" y="104775"/>
                  </a:cubicBezTo>
                  <a:cubicBezTo>
                    <a:pt x="220980" y="106045"/>
                    <a:pt x="219075" y="106680"/>
                    <a:pt x="217170" y="107950"/>
                  </a:cubicBezTo>
                  <a:cubicBezTo>
                    <a:pt x="215265" y="108585"/>
                    <a:pt x="212725" y="109855"/>
                    <a:pt x="210185" y="109855"/>
                  </a:cubicBezTo>
                  <a:cubicBezTo>
                    <a:pt x="207645" y="109855"/>
                    <a:pt x="204470" y="110490"/>
                    <a:pt x="201295" y="110490"/>
                  </a:cubicBezTo>
                  <a:cubicBezTo>
                    <a:pt x="198120" y="110490"/>
                    <a:pt x="194945" y="110490"/>
                    <a:pt x="191770" y="109220"/>
                  </a:cubicBezTo>
                  <a:cubicBezTo>
                    <a:pt x="188595" y="108585"/>
                    <a:pt x="186055" y="107315"/>
                    <a:pt x="184150" y="105410"/>
                  </a:cubicBezTo>
                  <a:cubicBezTo>
                    <a:pt x="181610" y="104140"/>
                    <a:pt x="179705" y="102235"/>
                    <a:pt x="177800" y="100330"/>
                  </a:cubicBezTo>
                  <a:cubicBezTo>
                    <a:pt x="175895" y="98425"/>
                    <a:pt x="173990" y="95885"/>
                    <a:pt x="172720" y="92710"/>
                  </a:cubicBezTo>
                  <a:cubicBezTo>
                    <a:pt x="170815" y="89535"/>
                    <a:pt x="169545" y="86360"/>
                    <a:pt x="168910" y="82550"/>
                  </a:cubicBezTo>
                  <a:cubicBezTo>
                    <a:pt x="168275" y="78740"/>
                    <a:pt x="167640" y="74295"/>
                    <a:pt x="167640" y="69850"/>
                  </a:cubicBezTo>
                  <a:cubicBezTo>
                    <a:pt x="167640" y="63500"/>
                    <a:pt x="168275" y="57150"/>
                    <a:pt x="170180" y="52070"/>
                  </a:cubicBezTo>
                  <a:cubicBezTo>
                    <a:pt x="172085" y="46990"/>
                    <a:pt x="173990" y="42545"/>
                    <a:pt x="177165" y="39370"/>
                  </a:cubicBezTo>
                  <a:cubicBezTo>
                    <a:pt x="180340" y="36195"/>
                    <a:pt x="183515" y="33020"/>
                    <a:pt x="187960" y="31750"/>
                  </a:cubicBezTo>
                  <a:cubicBezTo>
                    <a:pt x="192405" y="29845"/>
                    <a:pt x="196850" y="29210"/>
                    <a:pt x="201930" y="29210"/>
                  </a:cubicBezTo>
                  <a:close/>
                  <a:moveTo>
                    <a:pt x="4664706" y="28574"/>
                  </a:moveTo>
                  <a:cubicBezTo>
                    <a:pt x="4669786" y="28574"/>
                    <a:pt x="4674231" y="29209"/>
                    <a:pt x="4678676" y="31749"/>
                  </a:cubicBezTo>
                  <a:cubicBezTo>
                    <a:pt x="4683121" y="33654"/>
                    <a:pt x="4686296" y="36194"/>
                    <a:pt x="4689471" y="40004"/>
                  </a:cubicBezTo>
                  <a:cubicBezTo>
                    <a:pt x="4692646" y="43814"/>
                    <a:pt x="4695186" y="47624"/>
                    <a:pt x="4696456" y="52704"/>
                  </a:cubicBezTo>
                  <a:cubicBezTo>
                    <a:pt x="4698361" y="57784"/>
                    <a:pt x="4698996" y="63499"/>
                    <a:pt x="4698996" y="69214"/>
                  </a:cubicBezTo>
                  <a:lnTo>
                    <a:pt x="4699631" y="69214"/>
                  </a:lnTo>
                  <a:cubicBezTo>
                    <a:pt x="4699631" y="75564"/>
                    <a:pt x="4698996" y="81279"/>
                    <a:pt x="4697091" y="86359"/>
                  </a:cubicBezTo>
                  <a:cubicBezTo>
                    <a:pt x="4695186" y="91439"/>
                    <a:pt x="4692646" y="95884"/>
                    <a:pt x="4689471" y="99059"/>
                  </a:cubicBezTo>
                  <a:cubicBezTo>
                    <a:pt x="4686296" y="102869"/>
                    <a:pt x="4682486" y="105409"/>
                    <a:pt x="4678041" y="107314"/>
                  </a:cubicBezTo>
                  <a:cubicBezTo>
                    <a:pt x="4673596" y="109219"/>
                    <a:pt x="4669151" y="109854"/>
                    <a:pt x="4664071" y="109854"/>
                  </a:cubicBezTo>
                  <a:cubicBezTo>
                    <a:pt x="4658991" y="109854"/>
                    <a:pt x="4654546" y="108584"/>
                    <a:pt x="4650101" y="106679"/>
                  </a:cubicBezTo>
                  <a:cubicBezTo>
                    <a:pt x="4645656" y="104774"/>
                    <a:pt x="4642481" y="102234"/>
                    <a:pt x="4639306" y="98424"/>
                  </a:cubicBezTo>
                  <a:cubicBezTo>
                    <a:pt x="4636131" y="94614"/>
                    <a:pt x="4633591" y="90804"/>
                    <a:pt x="4632321" y="85724"/>
                  </a:cubicBezTo>
                  <a:cubicBezTo>
                    <a:pt x="4630416" y="80644"/>
                    <a:pt x="4629781" y="74929"/>
                    <a:pt x="4629781" y="69214"/>
                  </a:cubicBezTo>
                  <a:cubicBezTo>
                    <a:pt x="4629781" y="63499"/>
                    <a:pt x="4630416" y="57149"/>
                    <a:pt x="4632321" y="52069"/>
                  </a:cubicBezTo>
                  <a:cubicBezTo>
                    <a:pt x="4634226" y="46989"/>
                    <a:pt x="4636766" y="42544"/>
                    <a:pt x="4639941" y="39369"/>
                  </a:cubicBezTo>
                  <a:cubicBezTo>
                    <a:pt x="4643116" y="35559"/>
                    <a:pt x="4646926" y="33019"/>
                    <a:pt x="4650736" y="31114"/>
                  </a:cubicBezTo>
                  <a:cubicBezTo>
                    <a:pt x="4655181" y="29209"/>
                    <a:pt x="4659626" y="28574"/>
                    <a:pt x="4664706" y="28574"/>
                  </a:cubicBezTo>
                  <a:close/>
                  <a:moveTo>
                    <a:pt x="4264655" y="28574"/>
                  </a:moveTo>
                  <a:cubicBezTo>
                    <a:pt x="4269735" y="28574"/>
                    <a:pt x="4274180" y="29209"/>
                    <a:pt x="4278625" y="31749"/>
                  </a:cubicBezTo>
                  <a:cubicBezTo>
                    <a:pt x="4283070" y="33654"/>
                    <a:pt x="4286245" y="36194"/>
                    <a:pt x="4289420" y="40004"/>
                  </a:cubicBezTo>
                  <a:cubicBezTo>
                    <a:pt x="4292595" y="43814"/>
                    <a:pt x="4295135" y="47624"/>
                    <a:pt x="4296405" y="52704"/>
                  </a:cubicBezTo>
                  <a:cubicBezTo>
                    <a:pt x="4298310" y="57784"/>
                    <a:pt x="4298945" y="63499"/>
                    <a:pt x="4298945" y="69214"/>
                  </a:cubicBezTo>
                  <a:lnTo>
                    <a:pt x="4299580" y="69214"/>
                  </a:lnTo>
                  <a:cubicBezTo>
                    <a:pt x="4299580" y="75564"/>
                    <a:pt x="4298945" y="81279"/>
                    <a:pt x="4297040" y="86359"/>
                  </a:cubicBezTo>
                  <a:cubicBezTo>
                    <a:pt x="4295135" y="91439"/>
                    <a:pt x="4292595" y="95884"/>
                    <a:pt x="4289420" y="99059"/>
                  </a:cubicBezTo>
                  <a:cubicBezTo>
                    <a:pt x="4286245" y="102869"/>
                    <a:pt x="4282435" y="105409"/>
                    <a:pt x="4277990" y="107314"/>
                  </a:cubicBezTo>
                  <a:cubicBezTo>
                    <a:pt x="4273545" y="109219"/>
                    <a:pt x="4269100" y="109854"/>
                    <a:pt x="4264020" y="109854"/>
                  </a:cubicBezTo>
                  <a:cubicBezTo>
                    <a:pt x="4258940" y="109854"/>
                    <a:pt x="4254495" y="108584"/>
                    <a:pt x="4250050" y="106679"/>
                  </a:cubicBezTo>
                  <a:cubicBezTo>
                    <a:pt x="4245605" y="104774"/>
                    <a:pt x="4242430" y="102234"/>
                    <a:pt x="4239255" y="98424"/>
                  </a:cubicBezTo>
                  <a:cubicBezTo>
                    <a:pt x="4236080" y="94614"/>
                    <a:pt x="4233540" y="90804"/>
                    <a:pt x="4232270" y="85724"/>
                  </a:cubicBezTo>
                  <a:cubicBezTo>
                    <a:pt x="4230365" y="80644"/>
                    <a:pt x="4229730" y="74929"/>
                    <a:pt x="4229730" y="69214"/>
                  </a:cubicBezTo>
                  <a:cubicBezTo>
                    <a:pt x="4229730" y="63499"/>
                    <a:pt x="4230365" y="57149"/>
                    <a:pt x="4232270" y="52069"/>
                  </a:cubicBezTo>
                  <a:cubicBezTo>
                    <a:pt x="4234175" y="46989"/>
                    <a:pt x="4236715" y="42544"/>
                    <a:pt x="4239890" y="39369"/>
                  </a:cubicBezTo>
                  <a:cubicBezTo>
                    <a:pt x="4243065" y="35559"/>
                    <a:pt x="4246875" y="33019"/>
                    <a:pt x="4250685" y="31114"/>
                  </a:cubicBezTo>
                  <a:cubicBezTo>
                    <a:pt x="4255130" y="29209"/>
                    <a:pt x="4259575" y="28574"/>
                    <a:pt x="4264655" y="28574"/>
                  </a:cubicBezTo>
                  <a:close/>
                  <a:moveTo>
                    <a:pt x="1420495" y="28574"/>
                  </a:moveTo>
                  <a:cubicBezTo>
                    <a:pt x="1425575" y="28574"/>
                    <a:pt x="1430020" y="29209"/>
                    <a:pt x="1434465" y="31749"/>
                  </a:cubicBezTo>
                  <a:cubicBezTo>
                    <a:pt x="1438910" y="33654"/>
                    <a:pt x="1442085" y="36194"/>
                    <a:pt x="1445260" y="40004"/>
                  </a:cubicBezTo>
                  <a:cubicBezTo>
                    <a:pt x="1448435" y="43814"/>
                    <a:pt x="1450975" y="47624"/>
                    <a:pt x="1452245" y="52704"/>
                  </a:cubicBezTo>
                  <a:cubicBezTo>
                    <a:pt x="1454150" y="57784"/>
                    <a:pt x="1454785" y="63499"/>
                    <a:pt x="1454785" y="69214"/>
                  </a:cubicBezTo>
                  <a:lnTo>
                    <a:pt x="1455420" y="69214"/>
                  </a:lnTo>
                  <a:cubicBezTo>
                    <a:pt x="1455420" y="75564"/>
                    <a:pt x="1454785" y="81279"/>
                    <a:pt x="1452880" y="86359"/>
                  </a:cubicBezTo>
                  <a:cubicBezTo>
                    <a:pt x="1450975" y="91439"/>
                    <a:pt x="1448435" y="95884"/>
                    <a:pt x="1445260" y="99059"/>
                  </a:cubicBezTo>
                  <a:cubicBezTo>
                    <a:pt x="1442085" y="102869"/>
                    <a:pt x="1438275" y="105409"/>
                    <a:pt x="1433830" y="107314"/>
                  </a:cubicBezTo>
                  <a:cubicBezTo>
                    <a:pt x="1429385" y="109219"/>
                    <a:pt x="1424940" y="109854"/>
                    <a:pt x="1419860" y="109854"/>
                  </a:cubicBezTo>
                  <a:cubicBezTo>
                    <a:pt x="1414780" y="109854"/>
                    <a:pt x="1410335" y="108584"/>
                    <a:pt x="1405890" y="106679"/>
                  </a:cubicBezTo>
                  <a:cubicBezTo>
                    <a:pt x="1401444" y="104774"/>
                    <a:pt x="1398270" y="102234"/>
                    <a:pt x="1395095" y="98424"/>
                  </a:cubicBezTo>
                  <a:cubicBezTo>
                    <a:pt x="1391920" y="94614"/>
                    <a:pt x="1389380" y="90804"/>
                    <a:pt x="1388110" y="85724"/>
                  </a:cubicBezTo>
                  <a:cubicBezTo>
                    <a:pt x="1386205" y="80644"/>
                    <a:pt x="1385570" y="74929"/>
                    <a:pt x="1385570" y="69214"/>
                  </a:cubicBezTo>
                  <a:cubicBezTo>
                    <a:pt x="1385570" y="63499"/>
                    <a:pt x="1386205" y="57149"/>
                    <a:pt x="1388110" y="52069"/>
                  </a:cubicBezTo>
                  <a:cubicBezTo>
                    <a:pt x="1390015" y="46989"/>
                    <a:pt x="1392555" y="42544"/>
                    <a:pt x="1395730" y="39369"/>
                  </a:cubicBezTo>
                  <a:cubicBezTo>
                    <a:pt x="1398905" y="35559"/>
                    <a:pt x="1402715" y="33019"/>
                    <a:pt x="1406525" y="31114"/>
                  </a:cubicBezTo>
                  <a:cubicBezTo>
                    <a:pt x="1410970" y="29209"/>
                    <a:pt x="1415415" y="28574"/>
                    <a:pt x="1420495" y="28574"/>
                  </a:cubicBezTo>
                  <a:close/>
                  <a:moveTo>
                    <a:pt x="3143245" y="5079"/>
                  </a:moveTo>
                  <a:lnTo>
                    <a:pt x="3219445" y="5079"/>
                  </a:lnTo>
                  <a:lnTo>
                    <a:pt x="3219445" y="20319"/>
                  </a:lnTo>
                  <a:lnTo>
                    <a:pt x="3188965" y="20319"/>
                  </a:lnTo>
                  <a:lnTo>
                    <a:pt x="3188965" y="108584"/>
                  </a:lnTo>
                  <a:lnTo>
                    <a:pt x="3173090" y="108584"/>
                  </a:lnTo>
                  <a:lnTo>
                    <a:pt x="3173090" y="20319"/>
                  </a:lnTo>
                  <a:lnTo>
                    <a:pt x="3143245" y="20319"/>
                  </a:lnTo>
                  <a:close/>
                  <a:moveTo>
                    <a:pt x="1628774" y="5079"/>
                  </a:moveTo>
                  <a:lnTo>
                    <a:pt x="1704970" y="5079"/>
                  </a:lnTo>
                  <a:lnTo>
                    <a:pt x="1704970" y="20319"/>
                  </a:lnTo>
                  <a:lnTo>
                    <a:pt x="1675129" y="20319"/>
                  </a:lnTo>
                  <a:lnTo>
                    <a:pt x="1675129" y="108584"/>
                  </a:lnTo>
                  <a:lnTo>
                    <a:pt x="1659255" y="108584"/>
                  </a:lnTo>
                  <a:lnTo>
                    <a:pt x="1659255" y="20319"/>
                  </a:lnTo>
                  <a:lnTo>
                    <a:pt x="1628774" y="20319"/>
                  </a:lnTo>
                  <a:close/>
                  <a:moveTo>
                    <a:pt x="0" y="5079"/>
                  </a:moveTo>
                  <a:lnTo>
                    <a:pt x="76200" y="5079"/>
                  </a:lnTo>
                  <a:lnTo>
                    <a:pt x="76200" y="20319"/>
                  </a:lnTo>
                  <a:lnTo>
                    <a:pt x="45720" y="20319"/>
                  </a:lnTo>
                  <a:lnTo>
                    <a:pt x="45720" y="108584"/>
                  </a:lnTo>
                  <a:lnTo>
                    <a:pt x="29845" y="108584"/>
                  </a:lnTo>
                  <a:lnTo>
                    <a:pt x="29845" y="20319"/>
                  </a:lnTo>
                  <a:lnTo>
                    <a:pt x="0" y="20319"/>
                  </a:lnTo>
                  <a:close/>
                  <a:moveTo>
                    <a:pt x="1362075" y="1269"/>
                  </a:moveTo>
                  <a:cubicBezTo>
                    <a:pt x="1363345" y="1269"/>
                    <a:pt x="1364615" y="1269"/>
                    <a:pt x="1365885" y="1904"/>
                  </a:cubicBezTo>
                  <a:cubicBezTo>
                    <a:pt x="1367155" y="1904"/>
                    <a:pt x="1367790" y="3174"/>
                    <a:pt x="1369060" y="3809"/>
                  </a:cubicBezTo>
                  <a:cubicBezTo>
                    <a:pt x="1369695" y="4444"/>
                    <a:pt x="1370965" y="5714"/>
                    <a:pt x="1370965" y="6984"/>
                  </a:cubicBezTo>
                  <a:cubicBezTo>
                    <a:pt x="1370965" y="8254"/>
                    <a:pt x="1371600" y="9524"/>
                    <a:pt x="1371600" y="10794"/>
                  </a:cubicBezTo>
                  <a:cubicBezTo>
                    <a:pt x="1371600" y="10794"/>
                    <a:pt x="1371600" y="13334"/>
                    <a:pt x="1370965" y="14604"/>
                  </a:cubicBezTo>
                  <a:cubicBezTo>
                    <a:pt x="1370965" y="15874"/>
                    <a:pt x="1369695" y="17144"/>
                    <a:pt x="1369060" y="17779"/>
                  </a:cubicBezTo>
                  <a:cubicBezTo>
                    <a:pt x="1368425" y="18414"/>
                    <a:pt x="1367155" y="19684"/>
                    <a:pt x="1365885" y="19684"/>
                  </a:cubicBezTo>
                  <a:cubicBezTo>
                    <a:pt x="1364615" y="19684"/>
                    <a:pt x="1363345" y="20319"/>
                    <a:pt x="1362075" y="20319"/>
                  </a:cubicBezTo>
                  <a:cubicBezTo>
                    <a:pt x="1360805" y="20319"/>
                    <a:pt x="1359535" y="20319"/>
                    <a:pt x="1358265" y="19684"/>
                  </a:cubicBezTo>
                  <a:cubicBezTo>
                    <a:pt x="1356995" y="19684"/>
                    <a:pt x="1355725" y="18414"/>
                    <a:pt x="1355090" y="17779"/>
                  </a:cubicBezTo>
                  <a:cubicBezTo>
                    <a:pt x="1354455" y="17144"/>
                    <a:pt x="1353185" y="15874"/>
                    <a:pt x="1353185" y="14604"/>
                  </a:cubicBezTo>
                  <a:cubicBezTo>
                    <a:pt x="1353185" y="13334"/>
                    <a:pt x="1352550" y="12064"/>
                    <a:pt x="1352550" y="10794"/>
                  </a:cubicBezTo>
                  <a:cubicBezTo>
                    <a:pt x="1352550" y="9524"/>
                    <a:pt x="1352550" y="8254"/>
                    <a:pt x="1353185" y="6984"/>
                  </a:cubicBezTo>
                  <a:cubicBezTo>
                    <a:pt x="1353185" y="5714"/>
                    <a:pt x="1354455" y="4444"/>
                    <a:pt x="1355090" y="3809"/>
                  </a:cubicBezTo>
                  <a:cubicBezTo>
                    <a:pt x="1355725" y="3174"/>
                    <a:pt x="1356995" y="1904"/>
                    <a:pt x="1358265" y="1904"/>
                  </a:cubicBezTo>
                  <a:cubicBezTo>
                    <a:pt x="1359535" y="1904"/>
                    <a:pt x="1360805" y="1269"/>
                    <a:pt x="1362075" y="1269"/>
                  </a:cubicBezTo>
                  <a:close/>
                  <a:moveTo>
                    <a:pt x="4789801" y="634"/>
                  </a:moveTo>
                  <a:lnTo>
                    <a:pt x="4789801" y="65404"/>
                  </a:lnTo>
                  <a:lnTo>
                    <a:pt x="4814566" y="31114"/>
                  </a:lnTo>
                  <a:lnTo>
                    <a:pt x="4831711" y="31114"/>
                  </a:lnTo>
                  <a:lnTo>
                    <a:pt x="4812026" y="57149"/>
                  </a:lnTo>
                  <a:lnTo>
                    <a:pt x="4835521" y="108584"/>
                  </a:lnTo>
                  <a:lnTo>
                    <a:pt x="4819011" y="108584"/>
                  </a:lnTo>
                  <a:lnTo>
                    <a:pt x="4801866" y="69849"/>
                  </a:lnTo>
                  <a:lnTo>
                    <a:pt x="4789801" y="85724"/>
                  </a:lnTo>
                  <a:lnTo>
                    <a:pt x="4789801" y="108584"/>
                  </a:lnTo>
                  <a:lnTo>
                    <a:pt x="4774561" y="108584"/>
                  </a:lnTo>
                  <a:lnTo>
                    <a:pt x="4774561" y="8889"/>
                  </a:lnTo>
                  <a:close/>
                  <a:moveTo>
                    <a:pt x="4472301" y="634"/>
                  </a:moveTo>
                  <a:lnTo>
                    <a:pt x="4472301" y="109219"/>
                  </a:lnTo>
                  <a:lnTo>
                    <a:pt x="4457061" y="109219"/>
                  </a:lnTo>
                  <a:lnTo>
                    <a:pt x="4457696" y="108584"/>
                  </a:lnTo>
                  <a:lnTo>
                    <a:pt x="4457696" y="100964"/>
                  </a:lnTo>
                  <a:cubicBezTo>
                    <a:pt x="4457696" y="100964"/>
                    <a:pt x="4454521" y="103504"/>
                    <a:pt x="4453251" y="104774"/>
                  </a:cubicBezTo>
                  <a:cubicBezTo>
                    <a:pt x="4451981" y="106044"/>
                    <a:pt x="4450076" y="106679"/>
                    <a:pt x="4448171" y="107949"/>
                  </a:cubicBezTo>
                  <a:cubicBezTo>
                    <a:pt x="4446266" y="108584"/>
                    <a:pt x="4444361" y="109219"/>
                    <a:pt x="4443091" y="109854"/>
                  </a:cubicBezTo>
                  <a:cubicBezTo>
                    <a:pt x="4441186" y="109854"/>
                    <a:pt x="4439281" y="109854"/>
                    <a:pt x="4437376" y="109854"/>
                  </a:cubicBezTo>
                  <a:cubicBezTo>
                    <a:pt x="4432931" y="109854"/>
                    <a:pt x="4429121" y="109219"/>
                    <a:pt x="4425946" y="107314"/>
                  </a:cubicBezTo>
                  <a:cubicBezTo>
                    <a:pt x="4422136" y="106044"/>
                    <a:pt x="4418961" y="103504"/>
                    <a:pt x="4416421" y="99694"/>
                  </a:cubicBezTo>
                  <a:cubicBezTo>
                    <a:pt x="4413881" y="96519"/>
                    <a:pt x="4411341" y="92074"/>
                    <a:pt x="4410071" y="86994"/>
                  </a:cubicBezTo>
                  <a:cubicBezTo>
                    <a:pt x="4408801" y="81914"/>
                    <a:pt x="4407531" y="75564"/>
                    <a:pt x="4407531" y="67944"/>
                  </a:cubicBezTo>
                  <a:cubicBezTo>
                    <a:pt x="4407531" y="61594"/>
                    <a:pt x="4408166" y="55244"/>
                    <a:pt x="4410071" y="50799"/>
                  </a:cubicBezTo>
                  <a:cubicBezTo>
                    <a:pt x="4411976" y="45719"/>
                    <a:pt x="4413881" y="41909"/>
                    <a:pt x="4417056" y="38734"/>
                  </a:cubicBezTo>
                  <a:cubicBezTo>
                    <a:pt x="4419596" y="35559"/>
                    <a:pt x="4423406" y="33019"/>
                    <a:pt x="4426581" y="31749"/>
                  </a:cubicBezTo>
                  <a:cubicBezTo>
                    <a:pt x="4430391" y="29844"/>
                    <a:pt x="4434201" y="29209"/>
                    <a:pt x="4438011" y="29209"/>
                  </a:cubicBezTo>
                  <a:cubicBezTo>
                    <a:pt x="4439916" y="29209"/>
                    <a:pt x="4441821" y="29209"/>
                    <a:pt x="4443726" y="29844"/>
                  </a:cubicBezTo>
                  <a:cubicBezTo>
                    <a:pt x="4445631" y="29844"/>
                    <a:pt x="4447536" y="31114"/>
                    <a:pt x="4448806" y="31749"/>
                  </a:cubicBezTo>
                  <a:cubicBezTo>
                    <a:pt x="4450711" y="32384"/>
                    <a:pt x="4451981" y="33654"/>
                    <a:pt x="4453251" y="34924"/>
                  </a:cubicBezTo>
                  <a:cubicBezTo>
                    <a:pt x="4454521" y="36194"/>
                    <a:pt x="4455791" y="36829"/>
                    <a:pt x="4457061" y="38099"/>
                  </a:cubicBezTo>
                  <a:lnTo>
                    <a:pt x="4457061" y="8254"/>
                  </a:lnTo>
                  <a:close/>
                  <a:moveTo>
                    <a:pt x="4390385" y="634"/>
                  </a:moveTo>
                  <a:lnTo>
                    <a:pt x="4390385" y="108584"/>
                  </a:lnTo>
                  <a:lnTo>
                    <a:pt x="4375145" y="108584"/>
                  </a:lnTo>
                  <a:lnTo>
                    <a:pt x="4375145" y="8889"/>
                  </a:lnTo>
                  <a:close/>
                  <a:moveTo>
                    <a:pt x="3946521" y="634"/>
                  </a:moveTo>
                  <a:lnTo>
                    <a:pt x="3946521" y="38099"/>
                  </a:lnTo>
                  <a:cubicBezTo>
                    <a:pt x="3946521" y="38099"/>
                    <a:pt x="3948426" y="35559"/>
                    <a:pt x="3950331" y="34289"/>
                  </a:cubicBezTo>
                  <a:cubicBezTo>
                    <a:pt x="3951601" y="33019"/>
                    <a:pt x="3953506" y="32384"/>
                    <a:pt x="3954776" y="31114"/>
                  </a:cubicBezTo>
                  <a:cubicBezTo>
                    <a:pt x="3956681" y="30479"/>
                    <a:pt x="3958586" y="29844"/>
                    <a:pt x="3960491" y="29209"/>
                  </a:cubicBezTo>
                  <a:cubicBezTo>
                    <a:pt x="3962396" y="29209"/>
                    <a:pt x="3964301" y="29209"/>
                    <a:pt x="3966206" y="29209"/>
                  </a:cubicBezTo>
                  <a:cubicBezTo>
                    <a:pt x="3970651" y="29209"/>
                    <a:pt x="3975096" y="29844"/>
                    <a:pt x="3978271" y="31749"/>
                  </a:cubicBezTo>
                  <a:cubicBezTo>
                    <a:pt x="3981446" y="33019"/>
                    <a:pt x="3984621" y="35559"/>
                    <a:pt x="3987161" y="38099"/>
                  </a:cubicBezTo>
                  <a:cubicBezTo>
                    <a:pt x="3989701" y="41274"/>
                    <a:pt x="3990971" y="44449"/>
                    <a:pt x="3992241" y="49529"/>
                  </a:cubicBezTo>
                  <a:cubicBezTo>
                    <a:pt x="3993511" y="53974"/>
                    <a:pt x="3994146" y="59054"/>
                    <a:pt x="3994146" y="64134"/>
                  </a:cubicBezTo>
                  <a:lnTo>
                    <a:pt x="3994146" y="108584"/>
                  </a:lnTo>
                  <a:lnTo>
                    <a:pt x="3978906" y="108584"/>
                  </a:lnTo>
                  <a:lnTo>
                    <a:pt x="3978271" y="108584"/>
                  </a:lnTo>
                  <a:lnTo>
                    <a:pt x="3978271" y="64769"/>
                  </a:lnTo>
                  <a:cubicBezTo>
                    <a:pt x="3978271" y="57784"/>
                    <a:pt x="3977001" y="52069"/>
                    <a:pt x="3974461" y="48894"/>
                  </a:cubicBezTo>
                  <a:cubicBezTo>
                    <a:pt x="3971921" y="45084"/>
                    <a:pt x="3968111" y="43814"/>
                    <a:pt x="3962396" y="43814"/>
                  </a:cubicBezTo>
                  <a:cubicBezTo>
                    <a:pt x="3959856" y="43814"/>
                    <a:pt x="3957951" y="43814"/>
                    <a:pt x="3956046" y="45084"/>
                  </a:cubicBezTo>
                  <a:cubicBezTo>
                    <a:pt x="3954141" y="45719"/>
                    <a:pt x="3952236" y="46989"/>
                    <a:pt x="3950966" y="48894"/>
                  </a:cubicBezTo>
                  <a:cubicBezTo>
                    <a:pt x="3949696" y="50799"/>
                    <a:pt x="3948426" y="52704"/>
                    <a:pt x="3947791" y="55244"/>
                  </a:cubicBezTo>
                  <a:cubicBezTo>
                    <a:pt x="3947156" y="57784"/>
                    <a:pt x="3946521" y="60324"/>
                    <a:pt x="3946521" y="63499"/>
                  </a:cubicBezTo>
                  <a:lnTo>
                    <a:pt x="3946521" y="109219"/>
                  </a:lnTo>
                  <a:lnTo>
                    <a:pt x="3931281" y="109219"/>
                  </a:lnTo>
                  <a:lnTo>
                    <a:pt x="3931281" y="8889"/>
                  </a:lnTo>
                  <a:close/>
                  <a:moveTo>
                    <a:pt x="3248021" y="634"/>
                  </a:moveTo>
                  <a:lnTo>
                    <a:pt x="3248021" y="38099"/>
                  </a:lnTo>
                  <a:cubicBezTo>
                    <a:pt x="3248021" y="38099"/>
                    <a:pt x="3249926" y="35559"/>
                    <a:pt x="3251831" y="34289"/>
                  </a:cubicBezTo>
                  <a:cubicBezTo>
                    <a:pt x="3253101" y="33019"/>
                    <a:pt x="3255006" y="32384"/>
                    <a:pt x="3256276" y="31114"/>
                  </a:cubicBezTo>
                  <a:cubicBezTo>
                    <a:pt x="3258181" y="30479"/>
                    <a:pt x="3260086" y="29844"/>
                    <a:pt x="3261991" y="29209"/>
                  </a:cubicBezTo>
                  <a:cubicBezTo>
                    <a:pt x="3263896" y="29209"/>
                    <a:pt x="3265801" y="29209"/>
                    <a:pt x="3267706" y="29209"/>
                  </a:cubicBezTo>
                  <a:cubicBezTo>
                    <a:pt x="3272151" y="29209"/>
                    <a:pt x="3276596" y="29844"/>
                    <a:pt x="3279771" y="31749"/>
                  </a:cubicBezTo>
                  <a:cubicBezTo>
                    <a:pt x="3282946" y="33019"/>
                    <a:pt x="3286121" y="35559"/>
                    <a:pt x="3288661" y="38099"/>
                  </a:cubicBezTo>
                  <a:cubicBezTo>
                    <a:pt x="3291201" y="41274"/>
                    <a:pt x="3292471" y="44449"/>
                    <a:pt x="3293741" y="49529"/>
                  </a:cubicBezTo>
                  <a:cubicBezTo>
                    <a:pt x="3295011" y="53974"/>
                    <a:pt x="3295646" y="59054"/>
                    <a:pt x="3295646" y="64134"/>
                  </a:cubicBezTo>
                  <a:lnTo>
                    <a:pt x="3295646" y="108584"/>
                  </a:lnTo>
                  <a:lnTo>
                    <a:pt x="3280406" y="108584"/>
                  </a:lnTo>
                  <a:lnTo>
                    <a:pt x="3279771" y="108584"/>
                  </a:lnTo>
                  <a:lnTo>
                    <a:pt x="3279771" y="64769"/>
                  </a:lnTo>
                  <a:cubicBezTo>
                    <a:pt x="3279771" y="57784"/>
                    <a:pt x="3278501" y="52069"/>
                    <a:pt x="3275961" y="48894"/>
                  </a:cubicBezTo>
                  <a:cubicBezTo>
                    <a:pt x="3273421" y="45084"/>
                    <a:pt x="3269611" y="43814"/>
                    <a:pt x="3263896" y="43814"/>
                  </a:cubicBezTo>
                  <a:cubicBezTo>
                    <a:pt x="3261356" y="43814"/>
                    <a:pt x="3259451" y="43814"/>
                    <a:pt x="3257546" y="45084"/>
                  </a:cubicBezTo>
                  <a:cubicBezTo>
                    <a:pt x="3255641" y="45719"/>
                    <a:pt x="3253736" y="46989"/>
                    <a:pt x="3252466" y="48894"/>
                  </a:cubicBezTo>
                  <a:cubicBezTo>
                    <a:pt x="3251196" y="50799"/>
                    <a:pt x="3249926" y="52704"/>
                    <a:pt x="3249291" y="55244"/>
                  </a:cubicBezTo>
                  <a:cubicBezTo>
                    <a:pt x="3248656" y="57784"/>
                    <a:pt x="3248021" y="60324"/>
                    <a:pt x="3248021" y="63499"/>
                  </a:cubicBezTo>
                  <a:lnTo>
                    <a:pt x="3248021" y="109219"/>
                  </a:lnTo>
                  <a:lnTo>
                    <a:pt x="3232781" y="109219"/>
                  </a:lnTo>
                  <a:lnTo>
                    <a:pt x="3232781" y="8889"/>
                  </a:lnTo>
                  <a:close/>
                  <a:moveTo>
                    <a:pt x="2432681" y="634"/>
                  </a:moveTo>
                  <a:lnTo>
                    <a:pt x="2432681" y="38099"/>
                  </a:lnTo>
                  <a:cubicBezTo>
                    <a:pt x="2432681" y="38099"/>
                    <a:pt x="2434586" y="35559"/>
                    <a:pt x="2436491" y="34289"/>
                  </a:cubicBezTo>
                  <a:cubicBezTo>
                    <a:pt x="2437761" y="33019"/>
                    <a:pt x="2439666" y="32384"/>
                    <a:pt x="2440936" y="31114"/>
                  </a:cubicBezTo>
                  <a:cubicBezTo>
                    <a:pt x="2442841" y="30479"/>
                    <a:pt x="2444746" y="29844"/>
                    <a:pt x="2446651" y="29209"/>
                  </a:cubicBezTo>
                  <a:cubicBezTo>
                    <a:pt x="2448556" y="29209"/>
                    <a:pt x="2450461" y="29209"/>
                    <a:pt x="2452366" y="29209"/>
                  </a:cubicBezTo>
                  <a:cubicBezTo>
                    <a:pt x="2456811" y="29209"/>
                    <a:pt x="2461256" y="29844"/>
                    <a:pt x="2464431" y="31749"/>
                  </a:cubicBezTo>
                  <a:cubicBezTo>
                    <a:pt x="2467606" y="33019"/>
                    <a:pt x="2470781" y="35559"/>
                    <a:pt x="2473321" y="38099"/>
                  </a:cubicBezTo>
                  <a:cubicBezTo>
                    <a:pt x="2475861" y="41274"/>
                    <a:pt x="2477131" y="44449"/>
                    <a:pt x="2478401" y="49529"/>
                  </a:cubicBezTo>
                  <a:cubicBezTo>
                    <a:pt x="2479671" y="53974"/>
                    <a:pt x="2480306" y="59054"/>
                    <a:pt x="2480306" y="64134"/>
                  </a:cubicBezTo>
                  <a:lnTo>
                    <a:pt x="2480306" y="108584"/>
                  </a:lnTo>
                  <a:lnTo>
                    <a:pt x="2465066" y="108584"/>
                  </a:lnTo>
                  <a:lnTo>
                    <a:pt x="2464431" y="108584"/>
                  </a:lnTo>
                  <a:lnTo>
                    <a:pt x="2464431" y="64769"/>
                  </a:lnTo>
                  <a:cubicBezTo>
                    <a:pt x="2464431" y="57784"/>
                    <a:pt x="2463161" y="52069"/>
                    <a:pt x="2460621" y="48894"/>
                  </a:cubicBezTo>
                  <a:cubicBezTo>
                    <a:pt x="2458081" y="45084"/>
                    <a:pt x="2454271" y="43814"/>
                    <a:pt x="2448556" y="43814"/>
                  </a:cubicBezTo>
                  <a:cubicBezTo>
                    <a:pt x="2446016" y="43814"/>
                    <a:pt x="2444111" y="43814"/>
                    <a:pt x="2442206" y="45084"/>
                  </a:cubicBezTo>
                  <a:cubicBezTo>
                    <a:pt x="2440301" y="45719"/>
                    <a:pt x="2438396" y="46989"/>
                    <a:pt x="2437126" y="48894"/>
                  </a:cubicBezTo>
                  <a:cubicBezTo>
                    <a:pt x="2435856" y="50799"/>
                    <a:pt x="2434586" y="52704"/>
                    <a:pt x="2433951" y="55244"/>
                  </a:cubicBezTo>
                  <a:cubicBezTo>
                    <a:pt x="2433316" y="57784"/>
                    <a:pt x="2432681" y="60324"/>
                    <a:pt x="2432681" y="63499"/>
                  </a:cubicBezTo>
                  <a:lnTo>
                    <a:pt x="2432681" y="109219"/>
                  </a:lnTo>
                  <a:lnTo>
                    <a:pt x="2417441" y="109219"/>
                  </a:lnTo>
                  <a:lnTo>
                    <a:pt x="2417441" y="8889"/>
                  </a:lnTo>
                  <a:close/>
                  <a:moveTo>
                    <a:pt x="1734181" y="634"/>
                  </a:moveTo>
                  <a:lnTo>
                    <a:pt x="1734181" y="38099"/>
                  </a:lnTo>
                  <a:cubicBezTo>
                    <a:pt x="1734181" y="38099"/>
                    <a:pt x="1736086" y="35559"/>
                    <a:pt x="1737991" y="34289"/>
                  </a:cubicBezTo>
                  <a:cubicBezTo>
                    <a:pt x="1739261" y="33019"/>
                    <a:pt x="1741166" y="32384"/>
                    <a:pt x="1742436" y="31114"/>
                  </a:cubicBezTo>
                  <a:cubicBezTo>
                    <a:pt x="1744341" y="30479"/>
                    <a:pt x="1746246" y="29844"/>
                    <a:pt x="1748151" y="29209"/>
                  </a:cubicBezTo>
                  <a:cubicBezTo>
                    <a:pt x="1750056" y="29209"/>
                    <a:pt x="1751961" y="29209"/>
                    <a:pt x="1753866" y="29209"/>
                  </a:cubicBezTo>
                  <a:cubicBezTo>
                    <a:pt x="1758311" y="29209"/>
                    <a:pt x="1762756" y="29844"/>
                    <a:pt x="1765931" y="31749"/>
                  </a:cubicBezTo>
                  <a:cubicBezTo>
                    <a:pt x="1769106" y="33019"/>
                    <a:pt x="1772281" y="35559"/>
                    <a:pt x="1774821" y="38099"/>
                  </a:cubicBezTo>
                  <a:cubicBezTo>
                    <a:pt x="1777361" y="41274"/>
                    <a:pt x="1778631" y="44449"/>
                    <a:pt x="1779901" y="49529"/>
                  </a:cubicBezTo>
                  <a:cubicBezTo>
                    <a:pt x="1781171" y="53974"/>
                    <a:pt x="1781806" y="59054"/>
                    <a:pt x="1781806" y="64134"/>
                  </a:cubicBezTo>
                  <a:lnTo>
                    <a:pt x="1781806" y="108584"/>
                  </a:lnTo>
                  <a:lnTo>
                    <a:pt x="1766566" y="108584"/>
                  </a:lnTo>
                  <a:lnTo>
                    <a:pt x="1765931" y="108584"/>
                  </a:lnTo>
                  <a:lnTo>
                    <a:pt x="1765931" y="64769"/>
                  </a:lnTo>
                  <a:cubicBezTo>
                    <a:pt x="1765931" y="57784"/>
                    <a:pt x="1764661" y="52069"/>
                    <a:pt x="1762121" y="48894"/>
                  </a:cubicBezTo>
                  <a:cubicBezTo>
                    <a:pt x="1759581" y="45084"/>
                    <a:pt x="1755771" y="43814"/>
                    <a:pt x="1750056" y="43814"/>
                  </a:cubicBezTo>
                  <a:cubicBezTo>
                    <a:pt x="1747516" y="43814"/>
                    <a:pt x="1745611" y="43814"/>
                    <a:pt x="1743706" y="45084"/>
                  </a:cubicBezTo>
                  <a:cubicBezTo>
                    <a:pt x="1741801" y="45719"/>
                    <a:pt x="1739896" y="46989"/>
                    <a:pt x="1738626" y="48894"/>
                  </a:cubicBezTo>
                  <a:cubicBezTo>
                    <a:pt x="1737356" y="50799"/>
                    <a:pt x="1736086" y="52704"/>
                    <a:pt x="1735451" y="55244"/>
                  </a:cubicBezTo>
                  <a:cubicBezTo>
                    <a:pt x="1734816" y="57784"/>
                    <a:pt x="1734181" y="60324"/>
                    <a:pt x="1734181" y="63499"/>
                  </a:cubicBezTo>
                  <a:lnTo>
                    <a:pt x="1734181" y="109219"/>
                  </a:lnTo>
                  <a:lnTo>
                    <a:pt x="1718941" y="109219"/>
                  </a:lnTo>
                  <a:lnTo>
                    <a:pt x="1718941" y="8889"/>
                  </a:lnTo>
                  <a:close/>
                  <a:moveTo>
                    <a:pt x="803275" y="634"/>
                  </a:moveTo>
                  <a:lnTo>
                    <a:pt x="803275" y="38099"/>
                  </a:lnTo>
                  <a:cubicBezTo>
                    <a:pt x="803275" y="38099"/>
                    <a:pt x="805180" y="35559"/>
                    <a:pt x="807085" y="34289"/>
                  </a:cubicBezTo>
                  <a:cubicBezTo>
                    <a:pt x="808355" y="33019"/>
                    <a:pt x="810260" y="32384"/>
                    <a:pt x="811530" y="31114"/>
                  </a:cubicBezTo>
                  <a:cubicBezTo>
                    <a:pt x="813435" y="30479"/>
                    <a:pt x="815340" y="29844"/>
                    <a:pt x="817245" y="29209"/>
                  </a:cubicBezTo>
                  <a:cubicBezTo>
                    <a:pt x="819150" y="29209"/>
                    <a:pt x="821055" y="29209"/>
                    <a:pt x="822960" y="29209"/>
                  </a:cubicBezTo>
                  <a:cubicBezTo>
                    <a:pt x="827405" y="29209"/>
                    <a:pt x="831850" y="29844"/>
                    <a:pt x="835025" y="31749"/>
                  </a:cubicBezTo>
                  <a:cubicBezTo>
                    <a:pt x="838200" y="33019"/>
                    <a:pt x="841375" y="35559"/>
                    <a:pt x="843915" y="38099"/>
                  </a:cubicBezTo>
                  <a:cubicBezTo>
                    <a:pt x="846455" y="41274"/>
                    <a:pt x="847725" y="44449"/>
                    <a:pt x="848995" y="49529"/>
                  </a:cubicBezTo>
                  <a:cubicBezTo>
                    <a:pt x="850265" y="53974"/>
                    <a:pt x="850900" y="59054"/>
                    <a:pt x="850900" y="64134"/>
                  </a:cubicBezTo>
                  <a:lnTo>
                    <a:pt x="850900" y="108584"/>
                  </a:lnTo>
                  <a:lnTo>
                    <a:pt x="835660" y="108584"/>
                  </a:lnTo>
                  <a:lnTo>
                    <a:pt x="835025" y="108584"/>
                  </a:lnTo>
                  <a:lnTo>
                    <a:pt x="835025" y="64769"/>
                  </a:lnTo>
                  <a:cubicBezTo>
                    <a:pt x="835025" y="57784"/>
                    <a:pt x="833755" y="52069"/>
                    <a:pt x="831215" y="48894"/>
                  </a:cubicBezTo>
                  <a:cubicBezTo>
                    <a:pt x="828675" y="45084"/>
                    <a:pt x="824865" y="43814"/>
                    <a:pt x="819150" y="43814"/>
                  </a:cubicBezTo>
                  <a:cubicBezTo>
                    <a:pt x="816610" y="43814"/>
                    <a:pt x="814705" y="43814"/>
                    <a:pt x="812800" y="45084"/>
                  </a:cubicBezTo>
                  <a:cubicBezTo>
                    <a:pt x="810895" y="45719"/>
                    <a:pt x="808990" y="46989"/>
                    <a:pt x="807720" y="48894"/>
                  </a:cubicBezTo>
                  <a:cubicBezTo>
                    <a:pt x="806450" y="50799"/>
                    <a:pt x="805180" y="52704"/>
                    <a:pt x="804545" y="55244"/>
                  </a:cubicBezTo>
                  <a:cubicBezTo>
                    <a:pt x="803910" y="57784"/>
                    <a:pt x="803275" y="60324"/>
                    <a:pt x="803275" y="63499"/>
                  </a:cubicBezTo>
                  <a:lnTo>
                    <a:pt x="803275" y="109219"/>
                  </a:lnTo>
                  <a:lnTo>
                    <a:pt x="788035" y="109219"/>
                  </a:lnTo>
                  <a:lnTo>
                    <a:pt x="788035" y="8889"/>
                  </a:lnTo>
                  <a:close/>
                  <a:moveTo>
                    <a:pt x="104774" y="634"/>
                  </a:moveTo>
                  <a:lnTo>
                    <a:pt x="104774" y="38099"/>
                  </a:lnTo>
                  <a:cubicBezTo>
                    <a:pt x="104774" y="38099"/>
                    <a:pt x="106679" y="35559"/>
                    <a:pt x="108584" y="34289"/>
                  </a:cubicBezTo>
                  <a:cubicBezTo>
                    <a:pt x="109854" y="33019"/>
                    <a:pt x="111759" y="32384"/>
                    <a:pt x="113029" y="31114"/>
                  </a:cubicBezTo>
                  <a:cubicBezTo>
                    <a:pt x="114934" y="30479"/>
                    <a:pt x="116839" y="29844"/>
                    <a:pt x="118744" y="29209"/>
                  </a:cubicBezTo>
                  <a:cubicBezTo>
                    <a:pt x="120649" y="29209"/>
                    <a:pt x="122554" y="29209"/>
                    <a:pt x="124459" y="29209"/>
                  </a:cubicBezTo>
                  <a:cubicBezTo>
                    <a:pt x="128904" y="29209"/>
                    <a:pt x="133349" y="29844"/>
                    <a:pt x="136524" y="31749"/>
                  </a:cubicBezTo>
                  <a:cubicBezTo>
                    <a:pt x="139699" y="33019"/>
                    <a:pt x="142874" y="35559"/>
                    <a:pt x="145414" y="38099"/>
                  </a:cubicBezTo>
                  <a:cubicBezTo>
                    <a:pt x="147954" y="41274"/>
                    <a:pt x="149224" y="44449"/>
                    <a:pt x="150494" y="49529"/>
                  </a:cubicBezTo>
                  <a:cubicBezTo>
                    <a:pt x="151764" y="53974"/>
                    <a:pt x="152399" y="59054"/>
                    <a:pt x="152399" y="64134"/>
                  </a:cubicBezTo>
                  <a:lnTo>
                    <a:pt x="152399" y="108584"/>
                  </a:lnTo>
                  <a:lnTo>
                    <a:pt x="137159" y="108584"/>
                  </a:lnTo>
                  <a:lnTo>
                    <a:pt x="136524" y="108584"/>
                  </a:lnTo>
                  <a:lnTo>
                    <a:pt x="136524" y="64769"/>
                  </a:lnTo>
                  <a:cubicBezTo>
                    <a:pt x="136524" y="57784"/>
                    <a:pt x="135254" y="52069"/>
                    <a:pt x="132714" y="48894"/>
                  </a:cubicBezTo>
                  <a:cubicBezTo>
                    <a:pt x="130174" y="45084"/>
                    <a:pt x="126364" y="43814"/>
                    <a:pt x="120649" y="43814"/>
                  </a:cubicBezTo>
                  <a:cubicBezTo>
                    <a:pt x="118109" y="43814"/>
                    <a:pt x="116204" y="43814"/>
                    <a:pt x="114299" y="45084"/>
                  </a:cubicBezTo>
                  <a:cubicBezTo>
                    <a:pt x="112394" y="45719"/>
                    <a:pt x="110489" y="46989"/>
                    <a:pt x="109219" y="48894"/>
                  </a:cubicBezTo>
                  <a:cubicBezTo>
                    <a:pt x="107949" y="50799"/>
                    <a:pt x="106679" y="52704"/>
                    <a:pt x="106044" y="55244"/>
                  </a:cubicBezTo>
                  <a:cubicBezTo>
                    <a:pt x="105409" y="57784"/>
                    <a:pt x="104774" y="60324"/>
                    <a:pt x="104774" y="63499"/>
                  </a:cubicBezTo>
                  <a:lnTo>
                    <a:pt x="104774" y="109219"/>
                  </a:lnTo>
                  <a:lnTo>
                    <a:pt x="89534" y="109219"/>
                  </a:lnTo>
                  <a:lnTo>
                    <a:pt x="89534" y="8889"/>
                  </a:lnTo>
                  <a:close/>
                  <a:moveTo>
                    <a:pt x="3894450" y="0"/>
                  </a:moveTo>
                  <a:lnTo>
                    <a:pt x="3894450" y="30480"/>
                  </a:lnTo>
                  <a:lnTo>
                    <a:pt x="3913500" y="30480"/>
                  </a:lnTo>
                  <a:lnTo>
                    <a:pt x="3913500" y="44450"/>
                  </a:lnTo>
                  <a:lnTo>
                    <a:pt x="3894450" y="44450"/>
                  </a:lnTo>
                  <a:lnTo>
                    <a:pt x="3894450" y="86995"/>
                  </a:lnTo>
                  <a:cubicBezTo>
                    <a:pt x="3894450" y="86995"/>
                    <a:pt x="3894450" y="90170"/>
                    <a:pt x="3894450" y="91440"/>
                  </a:cubicBezTo>
                  <a:cubicBezTo>
                    <a:pt x="3894450" y="92710"/>
                    <a:pt x="3895085" y="93345"/>
                    <a:pt x="3895720" y="94615"/>
                  </a:cubicBezTo>
                  <a:cubicBezTo>
                    <a:pt x="3896355" y="95250"/>
                    <a:pt x="3896990" y="95885"/>
                    <a:pt x="3898260" y="95885"/>
                  </a:cubicBezTo>
                  <a:cubicBezTo>
                    <a:pt x="3899530" y="95885"/>
                    <a:pt x="3900800" y="95885"/>
                    <a:pt x="3902070" y="95885"/>
                  </a:cubicBezTo>
                  <a:cubicBezTo>
                    <a:pt x="3903975" y="95885"/>
                    <a:pt x="3905880" y="95885"/>
                    <a:pt x="3908420" y="95250"/>
                  </a:cubicBezTo>
                  <a:cubicBezTo>
                    <a:pt x="3910325" y="94615"/>
                    <a:pt x="3912230" y="93980"/>
                    <a:pt x="3913500" y="93345"/>
                  </a:cubicBezTo>
                  <a:lnTo>
                    <a:pt x="3911595" y="106680"/>
                  </a:lnTo>
                  <a:cubicBezTo>
                    <a:pt x="3911595" y="106680"/>
                    <a:pt x="3907785" y="108585"/>
                    <a:pt x="3905245" y="109220"/>
                  </a:cubicBezTo>
                  <a:cubicBezTo>
                    <a:pt x="3902705" y="109855"/>
                    <a:pt x="3900165" y="110490"/>
                    <a:pt x="3896990" y="110490"/>
                  </a:cubicBezTo>
                  <a:cubicBezTo>
                    <a:pt x="3894450" y="110490"/>
                    <a:pt x="3891910" y="110490"/>
                    <a:pt x="3890005" y="109220"/>
                  </a:cubicBezTo>
                  <a:cubicBezTo>
                    <a:pt x="3888100" y="108585"/>
                    <a:pt x="3886195" y="107315"/>
                    <a:pt x="3884290" y="105410"/>
                  </a:cubicBezTo>
                  <a:cubicBezTo>
                    <a:pt x="3882385" y="103505"/>
                    <a:pt x="3881115" y="101600"/>
                    <a:pt x="3880480" y="99060"/>
                  </a:cubicBezTo>
                  <a:cubicBezTo>
                    <a:pt x="3879845" y="96520"/>
                    <a:pt x="3879210" y="93345"/>
                    <a:pt x="3879210" y="89535"/>
                  </a:cubicBezTo>
                  <a:lnTo>
                    <a:pt x="3879210" y="44450"/>
                  </a:lnTo>
                  <a:lnTo>
                    <a:pt x="3868415" y="44450"/>
                  </a:lnTo>
                  <a:lnTo>
                    <a:pt x="3868415" y="30480"/>
                  </a:lnTo>
                  <a:lnTo>
                    <a:pt x="3879210" y="30480"/>
                  </a:lnTo>
                  <a:lnTo>
                    <a:pt x="3879210" y="8255"/>
                  </a:lnTo>
                  <a:close/>
                  <a:moveTo>
                    <a:pt x="3664581" y="0"/>
                  </a:moveTo>
                  <a:lnTo>
                    <a:pt x="3664581" y="30480"/>
                  </a:lnTo>
                  <a:lnTo>
                    <a:pt x="3683631" y="30480"/>
                  </a:lnTo>
                  <a:lnTo>
                    <a:pt x="3683631" y="44450"/>
                  </a:lnTo>
                  <a:lnTo>
                    <a:pt x="3664581" y="44450"/>
                  </a:lnTo>
                  <a:lnTo>
                    <a:pt x="3664581" y="86995"/>
                  </a:lnTo>
                  <a:cubicBezTo>
                    <a:pt x="3664581" y="86995"/>
                    <a:pt x="3664581" y="90170"/>
                    <a:pt x="3664581" y="91440"/>
                  </a:cubicBezTo>
                  <a:cubicBezTo>
                    <a:pt x="3664581" y="92710"/>
                    <a:pt x="3665216" y="93345"/>
                    <a:pt x="3665851" y="94615"/>
                  </a:cubicBezTo>
                  <a:cubicBezTo>
                    <a:pt x="3666486" y="95250"/>
                    <a:pt x="3667121" y="95885"/>
                    <a:pt x="3668391" y="95885"/>
                  </a:cubicBezTo>
                  <a:cubicBezTo>
                    <a:pt x="3669661" y="95885"/>
                    <a:pt x="3670931" y="95885"/>
                    <a:pt x="3672201" y="95885"/>
                  </a:cubicBezTo>
                  <a:cubicBezTo>
                    <a:pt x="3674106" y="95885"/>
                    <a:pt x="3676011" y="95885"/>
                    <a:pt x="3678551" y="95250"/>
                  </a:cubicBezTo>
                  <a:cubicBezTo>
                    <a:pt x="3680456" y="94615"/>
                    <a:pt x="3682361" y="93980"/>
                    <a:pt x="3683631" y="93345"/>
                  </a:cubicBezTo>
                  <a:lnTo>
                    <a:pt x="3681726" y="106680"/>
                  </a:lnTo>
                  <a:cubicBezTo>
                    <a:pt x="3681726" y="106680"/>
                    <a:pt x="3677916" y="108585"/>
                    <a:pt x="3675376" y="109220"/>
                  </a:cubicBezTo>
                  <a:cubicBezTo>
                    <a:pt x="3672836" y="109855"/>
                    <a:pt x="3670296" y="110490"/>
                    <a:pt x="3667121" y="110490"/>
                  </a:cubicBezTo>
                  <a:cubicBezTo>
                    <a:pt x="3664581" y="110490"/>
                    <a:pt x="3662041" y="110490"/>
                    <a:pt x="3660136" y="109220"/>
                  </a:cubicBezTo>
                  <a:cubicBezTo>
                    <a:pt x="3658231" y="108585"/>
                    <a:pt x="3656326" y="107315"/>
                    <a:pt x="3654421" y="105410"/>
                  </a:cubicBezTo>
                  <a:cubicBezTo>
                    <a:pt x="3652516" y="103505"/>
                    <a:pt x="3651246" y="101600"/>
                    <a:pt x="3650611" y="99060"/>
                  </a:cubicBezTo>
                  <a:cubicBezTo>
                    <a:pt x="3649976" y="96520"/>
                    <a:pt x="3649341" y="93345"/>
                    <a:pt x="3649341" y="89535"/>
                  </a:cubicBezTo>
                  <a:lnTo>
                    <a:pt x="3649341" y="44450"/>
                  </a:lnTo>
                  <a:lnTo>
                    <a:pt x="3638546" y="44450"/>
                  </a:lnTo>
                  <a:lnTo>
                    <a:pt x="3638546" y="30480"/>
                  </a:lnTo>
                  <a:lnTo>
                    <a:pt x="3649341" y="30480"/>
                  </a:lnTo>
                  <a:lnTo>
                    <a:pt x="3649341" y="8255"/>
                  </a:lnTo>
                  <a:close/>
                  <a:moveTo>
                    <a:pt x="3610605" y="0"/>
                  </a:moveTo>
                  <a:lnTo>
                    <a:pt x="3610605" y="30480"/>
                  </a:lnTo>
                  <a:lnTo>
                    <a:pt x="3629655" y="30480"/>
                  </a:lnTo>
                  <a:lnTo>
                    <a:pt x="3629655" y="44450"/>
                  </a:lnTo>
                  <a:lnTo>
                    <a:pt x="3610605" y="44450"/>
                  </a:lnTo>
                  <a:lnTo>
                    <a:pt x="3610605" y="86995"/>
                  </a:lnTo>
                  <a:cubicBezTo>
                    <a:pt x="3610605" y="86995"/>
                    <a:pt x="3610605" y="90170"/>
                    <a:pt x="3610605" y="91440"/>
                  </a:cubicBezTo>
                  <a:cubicBezTo>
                    <a:pt x="3610605" y="92710"/>
                    <a:pt x="3611240" y="93345"/>
                    <a:pt x="3611875" y="94615"/>
                  </a:cubicBezTo>
                  <a:cubicBezTo>
                    <a:pt x="3612510" y="95250"/>
                    <a:pt x="3613145" y="95885"/>
                    <a:pt x="3614415" y="95885"/>
                  </a:cubicBezTo>
                  <a:cubicBezTo>
                    <a:pt x="3615685" y="95885"/>
                    <a:pt x="3616955" y="95885"/>
                    <a:pt x="3618225" y="95885"/>
                  </a:cubicBezTo>
                  <a:cubicBezTo>
                    <a:pt x="3620130" y="95885"/>
                    <a:pt x="3622035" y="95885"/>
                    <a:pt x="3624575" y="95250"/>
                  </a:cubicBezTo>
                  <a:cubicBezTo>
                    <a:pt x="3626480" y="94615"/>
                    <a:pt x="3628385" y="93980"/>
                    <a:pt x="3629655" y="93345"/>
                  </a:cubicBezTo>
                  <a:lnTo>
                    <a:pt x="3627750" y="106680"/>
                  </a:lnTo>
                  <a:cubicBezTo>
                    <a:pt x="3627750" y="106680"/>
                    <a:pt x="3623940" y="108585"/>
                    <a:pt x="3621400" y="109220"/>
                  </a:cubicBezTo>
                  <a:cubicBezTo>
                    <a:pt x="3618860" y="109855"/>
                    <a:pt x="3616320" y="110490"/>
                    <a:pt x="3613145" y="110490"/>
                  </a:cubicBezTo>
                  <a:cubicBezTo>
                    <a:pt x="3610605" y="110490"/>
                    <a:pt x="3608065" y="110490"/>
                    <a:pt x="3606160" y="109220"/>
                  </a:cubicBezTo>
                  <a:cubicBezTo>
                    <a:pt x="3604255" y="108585"/>
                    <a:pt x="3602350" y="107315"/>
                    <a:pt x="3600445" y="105410"/>
                  </a:cubicBezTo>
                  <a:cubicBezTo>
                    <a:pt x="3598540" y="103505"/>
                    <a:pt x="3597270" y="101600"/>
                    <a:pt x="3596635" y="99060"/>
                  </a:cubicBezTo>
                  <a:cubicBezTo>
                    <a:pt x="3596000" y="96520"/>
                    <a:pt x="3595365" y="93345"/>
                    <a:pt x="3595365" y="89535"/>
                  </a:cubicBezTo>
                  <a:lnTo>
                    <a:pt x="3595365" y="44450"/>
                  </a:lnTo>
                  <a:lnTo>
                    <a:pt x="3584570" y="44450"/>
                  </a:lnTo>
                  <a:lnTo>
                    <a:pt x="3584570" y="30480"/>
                  </a:lnTo>
                  <a:lnTo>
                    <a:pt x="3595365" y="30480"/>
                  </a:lnTo>
                  <a:lnTo>
                    <a:pt x="3595365" y="8255"/>
                  </a:lnTo>
                  <a:close/>
                  <a:moveTo>
                    <a:pt x="3445505" y="0"/>
                  </a:moveTo>
                  <a:lnTo>
                    <a:pt x="3445505" y="37465"/>
                  </a:lnTo>
                  <a:cubicBezTo>
                    <a:pt x="3445505" y="37465"/>
                    <a:pt x="3448680" y="34925"/>
                    <a:pt x="3449950" y="33655"/>
                  </a:cubicBezTo>
                  <a:cubicBezTo>
                    <a:pt x="3451220" y="33020"/>
                    <a:pt x="3452490" y="31750"/>
                    <a:pt x="3453760" y="31115"/>
                  </a:cubicBezTo>
                  <a:cubicBezTo>
                    <a:pt x="3455030" y="30480"/>
                    <a:pt x="3456935" y="29845"/>
                    <a:pt x="3458840" y="29210"/>
                  </a:cubicBezTo>
                  <a:cubicBezTo>
                    <a:pt x="3460745" y="29210"/>
                    <a:pt x="3463285" y="28575"/>
                    <a:pt x="3465825" y="28575"/>
                  </a:cubicBezTo>
                  <a:cubicBezTo>
                    <a:pt x="3470270" y="28575"/>
                    <a:pt x="3474080" y="29210"/>
                    <a:pt x="3477890" y="31115"/>
                  </a:cubicBezTo>
                  <a:cubicBezTo>
                    <a:pt x="3481700" y="32385"/>
                    <a:pt x="3484875" y="34925"/>
                    <a:pt x="3487415" y="38735"/>
                  </a:cubicBezTo>
                  <a:cubicBezTo>
                    <a:pt x="3489955" y="41910"/>
                    <a:pt x="3492495" y="46355"/>
                    <a:pt x="3493765" y="51435"/>
                  </a:cubicBezTo>
                  <a:cubicBezTo>
                    <a:pt x="3495035" y="56515"/>
                    <a:pt x="3496305" y="62865"/>
                    <a:pt x="3496305" y="70485"/>
                  </a:cubicBezTo>
                  <a:lnTo>
                    <a:pt x="3495670" y="71120"/>
                  </a:lnTo>
                  <a:cubicBezTo>
                    <a:pt x="3495670" y="77470"/>
                    <a:pt x="3495035" y="83820"/>
                    <a:pt x="3493130" y="88265"/>
                  </a:cubicBezTo>
                  <a:cubicBezTo>
                    <a:pt x="3491225" y="93345"/>
                    <a:pt x="3489320" y="97155"/>
                    <a:pt x="3486145" y="100330"/>
                  </a:cubicBezTo>
                  <a:cubicBezTo>
                    <a:pt x="3483605" y="103505"/>
                    <a:pt x="3479795" y="106045"/>
                    <a:pt x="3476620" y="107315"/>
                  </a:cubicBezTo>
                  <a:cubicBezTo>
                    <a:pt x="3472810" y="109220"/>
                    <a:pt x="3469000" y="109855"/>
                    <a:pt x="3465190" y="109855"/>
                  </a:cubicBezTo>
                  <a:cubicBezTo>
                    <a:pt x="3461380" y="109855"/>
                    <a:pt x="3457570" y="109220"/>
                    <a:pt x="3454395" y="107315"/>
                  </a:cubicBezTo>
                  <a:cubicBezTo>
                    <a:pt x="3450585" y="105410"/>
                    <a:pt x="3448045" y="103505"/>
                    <a:pt x="3445505" y="100965"/>
                  </a:cubicBezTo>
                  <a:lnTo>
                    <a:pt x="3445505" y="107950"/>
                  </a:lnTo>
                  <a:lnTo>
                    <a:pt x="3430265" y="107950"/>
                  </a:lnTo>
                  <a:lnTo>
                    <a:pt x="3430265" y="7620"/>
                  </a:lnTo>
                  <a:close/>
                  <a:moveTo>
                    <a:pt x="2380611" y="0"/>
                  </a:moveTo>
                  <a:lnTo>
                    <a:pt x="2380611" y="30480"/>
                  </a:lnTo>
                  <a:lnTo>
                    <a:pt x="2399661" y="30480"/>
                  </a:lnTo>
                  <a:lnTo>
                    <a:pt x="2399661" y="44450"/>
                  </a:lnTo>
                  <a:lnTo>
                    <a:pt x="2380611" y="44450"/>
                  </a:lnTo>
                  <a:lnTo>
                    <a:pt x="2380611" y="86995"/>
                  </a:lnTo>
                  <a:cubicBezTo>
                    <a:pt x="2380611" y="86995"/>
                    <a:pt x="2380611" y="90170"/>
                    <a:pt x="2380611" y="91440"/>
                  </a:cubicBezTo>
                  <a:cubicBezTo>
                    <a:pt x="2380611" y="92710"/>
                    <a:pt x="2381246" y="93345"/>
                    <a:pt x="2381881" y="94615"/>
                  </a:cubicBezTo>
                  <a:cubicBezTo>
                    <a:pt x="2382516" y="95250"/>
                    <a:pt x="2383151" y="95885"/>
                    <a:pt x="2384421" y="95885"/>
                  </a:cubicBezTo>
                  <a:cubicBezTo>
                    <a:pt x="2385691" y="95885"/>
                    <a:pt x="2386961" y="95885"/>
                    <a:pt x="2388231" y="95885"/>
                  </a:cubicBezTo>
                  <a:cubicBezTo>
                    <a:pt x="2390136" y="95885"/>
                    <a:pt x="2392041" y="95885"/>
                    <a:pt x="2394581" y="95250"/>
                  </a:cubicBezTo>
                  <a:cubicBezTo>
                    <a:pt x="2396486" y="94615"/>
                    <a:pt x="2398391" y="93980"/>
                    <a:pt x="2399661" y="93345"/>
                  </a:cubicBezTo>
                  <a:lnTo>
                    <a:pt x="2397756" y="106680"/>
                  </a:lnTo>
                  <a:cubicBezTo>
                    <a:pt x="2397756" y="106680"/>
                    <a:pt x="2393946" y="108585"/>
                    <a:pt x="2391406" y="109220"/>
                  </a:cubicBezTo>
                  <a:cubicBezTo>
                    <a:pt x="2388866" y="109855"/>
                    <a:pt x="2386326" y="110490"/>
                    <a:pt x="2383151" y="110490"/>
                  </a:cubicBezTo>
                  <a:cubicBezTo>
                    <a:pt x="2380611" y="110490"/>
                    <a:pt x="2378071" y="110490"/>
                    <a:pt x="2376166" y="109220"/>
                  </a:cubicBezTo>
                  <a:cubicBezTo>
                    <a:pt x="2374261" y="108585"/>
                    <a:pt x="2372356" y="107315"/>
                    <a:pt x="2370451" y="105410"/>
                  </a:cubicBezTo>
                  <a:cubicBezTo>
                    <a:pt x="2368546" y="103505"/>
                    <a:pt x="2367276" y="101600"/>
                    <a:pt x="2366641" y="99060"/>
                  </a:cubicBezTo>
                  <a:cubicBezTo>
                    <a:pt x="2366006" y="96520"/>
                    <a:pt x="2365371" y="93345"/>
                    <a:pt x="2365371" y="89535"/>
                  </a:cubicBezTo>
                  <a:lnTo>
                    <a:pt x="2365371" y="44450"/>
                  </a:lnTo>
                  <a:lnTo>
                    <a:pt x="2354576" y="44450"/>
                  </a:lnTo>
                  <a:lnTo>
                    <a:pt x="2354576" y="30480"/>
                  </a:lnTo>
                  <a:lnTo>
                    <a:pt x="2365371" y="30480"/>
                  </a:lnTo>
                  <a:lnTo>
                    <a:pt x="2365371" y="8255"/>
                  </a:lnTo>
                  <a:close/>
                  <a:moveTo>
                    <a:pt x="2150741" y="0"/>
                  </a:moveTo>
                  <a:lnTo>
                    <a:pt x="2150741" y="30480"/>
                  </a:lnTo>
                  <a:lnTo>
                    <a:pt x="2169791" y="30480"/>
                  </a:lnTo>
                  <a:lnTo>
                    <a:pt x="2169791" y="44450"/>
                  </a:lnTo>
                  <a:lnTo>
                    <a:pt x="2150741" y="44450"/>
                  </a:lnTo>
                  <a:lnTo>
                    <a:pt x="2150741" y="86995"/>
                  </a:lnTo>
                  <a:cubicBezTo>
                    <a:pt x="2150741" y="86995"/>
                    <a:pt x="2150741" y="90170"/>
                    <a:pt x="2150741" y="91440"/>
                  </a:cubicBezTo>
                  <a:cubicBezTo>
                    <a:pt x="2150741" y="92710"/>
                    <a:pt x="2151376" y="93345"/>
                    <a:pt x="2152011" y="94615"/>
                  </a:cubicBezTo>
                  <a:cubicBezTo>
                    <a:pt x="2152646" y="95250"/>
                    <a:pt x="2153281" y="95885"/>
                    <a:pt x="2154551" y="95885"/>
                  </a:cubicBezTo>
                  <a:cubicBezTo>
                    <a:pt x="2155821" y="95885"/>
                    <a:pt x="2157091" y="95885"/>
                    <a:pt x="2158361" y="95885"/>
                  </a:cubicBezTo>
                  <a:cubicBezTo>
                    <a:pt x="2160266" y="95885"/>
                    <a:pt x="2162171" y="95885"/>
                    <a:pt x="2164711" y="95250"/>
                  </a:cubicBezTo>
                  <a:cubicBezTo>
                    <a:pt x="2166616" y="94615"/>
                    <a:pt x="2168521" y="93980"/>
                    <a:pt x="2169791" y="93345"/>
                  </a:cubicBezTo>
                  <a:lnTo>
                    <a:pt x="2167886" y="106680"/>
                  </a:lnTo>
                  <a:cubicBezTo>
                    <a:pt x="2167886" y="106680"/>
                    <a:pt x="2164076" y="108585"/>
                    <a:pt x="2161536" y="109220"/>
                  </a:cubicBezTo>
                  <a:cubicBezTo>
                    <a:pt x="2158996" y="109855"/>
                    <a:pt x="2156456" y="110490"/>
                    <a:pt x="2153281" y="110490"/>
                  </a:cubicBezTo>
                  <a:cubicBezTo>
                    <a:pt x="2150741" y="110490"/>
                    <a:pt x="2148201" y="110490"/>
                    <a:pt x="2146296" y="109220"/>
                  </a:cubicBezTo>
                  <a:cubicBezTo>
                    <a:pt x="2144391" y="108585"/>
                    <a:pt x="2142486" y="107315"/>
                    <a:pt x="2140581" y="105410"/>
                  </a:cubicBezTo>
                  <a:cubicBezTo>
                    <a:pt x="2138676" y="103505"/>
                    <a:pt x="2137406" y="101600"/>
                    <a:pt x="2136771" y="99060"/>
                  </a:cubicBezTo>
                  <a:cubicBezTo>
                    <a:pt x="2136136" y="96520"/>
                    <a:pt x="2135501" y="93345"/>
                    <a:pt x="2135501" y="89535"/>
                  </a:cubicBezTo>
                  <a:lnTo>
                    <a:pt x="2135501" y="44450"/>
                  </a:lnTo>
                  <a:lnTo>
                    <a:pt x="2124706" y="44450"/>
                  </a:lnTo>
                  <a:lnTo>
                    <a:pt x="2124706" y="30480"/>
                  </a:lnTo>
                  <a:lnTo>
                    <a:pt x="2135501" y="30480"/>
                  </a:lnTo>
                  <a:lnTo>
                    <a:pt x="2135501" y="8255"/>
                  </a:lnTo>
                  <a:close/>
                  <a:moveTo>
                    <a:pt x="2096131" y="0"/>
                  </a:moveTo>
                  <a:lnTo>
                    <a:pt x="2096131" y="30480"/>
                  </a:lnTo>
                  <a:lnTo>
                    <a:pt x="2115181" y="30480"/>
                  </a:lnTo>
                  <a:lnTo>
                    <a:pt x="2115181" y="44450"/>
                  </a:lnTo>
                  <a:lnTo>
                    <a:pt x="2096131" y="44450"/>
                  </a:lnTo>
                  <a:lnTo>
                    <a:pt x="2096131" y="86995"/>
                  </a:lnTo>
                  <a:cubicBezTo>
                    <a:pt x="2096131" y="86995"/>
                    <a:pt x="2096131" y="90170"/>
                    <a:pt x="2096131" y="91440"/>
                  </a:cubicBezTo>
                  <a:cubicBezTo>
                    <a:pt x="2096131" y="92710"/>
                    <a:pt x="2096766" y="93345"/>
                    <a:pt x="2097401" y="94615"/>
                  </a:cubicBezTo>
                  <a:cubicBezTo>
                    <a:pt x="2098036" y="95250"/>
                    <a:pt x="2098671" y="95885"/>
                    <a:pt x="2099941" y="95885"/>
                  </a:cubicBezTo>
                  <a:cubicBezTo>
                    <a:pt x="2101211" y="95885"/>
                    <a:pt x="2102481" y="95885"/>
                    <a:pt x="2103751" y="95885"/>
                  </a:cubicBezTo>
                  <a:cubicBezTo>
                    <a:pt x="2105656" y="95885"/>
                    <a:pt x="2107561" y="95885"/>
                    <a:pt x="2110101" y="95250"/>
                  </a:cubicBezTo>
                  <a:cubicBezTo>
                    <a:pt x="2112006" y="94615"/>
                    <a:pt x="2113911" y="93980"/>
                    <a:pt x="2115181" y="93345"/>
                  </a:cubicBezTo>
                  <a:lnTo>
                    <a:pt x="2113276" y="106680"/>
                  </a:lnTo>
                  <a:cubicBezTo>
                    <a:pt x="2113276" y="106680"/>
                    <a:pt x="2109466" y="108585"/>
                    <a:pt x="2106926" y="109220"/>
                  </a:cubicBezTo>
                  <a:cubicBezTo>
                    <a:pt x="2104386" y="109855"/>
                    <a:pt x="2101846" y="110490"/>
                    <a:pt x="2098671" y="110490"/>
                  </a:cubicBezTo>
                  <a:cubicBezTo>
                    <a:pt x="2096131" y="110490"/>
                    <a:pt x="2093591" y="110490"/>
                    <a:pt x="2091686" y="109220"/>
                  </a:cubicBezTo>
                  <a:cubicBezTo>
                    <a:pt x="2089781" y="108585"/>
                    <a:pt x="2087876" y="107315"/>
                    <a:pt x="2085971" y="105410"/>
                  </a:cubicBezTo>
                  <a:cubicBezTo>
                    <a:pt x="2084066" y="103505"/>
                    <a:pt x="2082796" y="101600"/>
                    <a:pt x="2082161" y="99060"/>
                  </a:cubicBezTo>
                  <a:cubicBezTo>
                    <a:pt x="2081526" y="96520"/>
                    <a:pt x="2080891" y="93345"/>
                    <a:pt x="2080891" y="89535"/>
                  </a:cubicBezTo>
                  <a:lnTo>
                    <a:pt x="2080891" y="44450"/>
                  </a:lnTo>
                  <a:lnTo>
                    <a:pt x="2070096" y="44450"/>
                  </a:lnTo>
                  <a:lnTo>
                    <a:pt x="2070096" y="30480"/>
                  </a:lnTo>
                  <a:lnTo>
                    <a:pt x="2080891" y="30480"/>
                  </a:lnTo>
                  <a:lnTo>
                    <a:pt x="2080891" y="8255"/>
                  </a:lnTo>
                  <a:close/>
                  <a:moveTo>
                    <a:pt x="1931665" y="0"/>
                  </a:moveTo>
                  <a:lnTo>
                    <a:pt x="1931665" y="37465"/>
                  </a:lnTo>
                  <a:cubicBezTo>
                    <a:pt x="1931665" y="37465"/>
                    <a:pt x="1934840" y="34925"/>
                    <a:pt x="1936110" y="33655"/>
                  </a:cubicBezTo>
                  <a:cubicBezTo>
                    <a:pt x="1937380" y="33020"/>
                    <a:pt x="1938650" y="31750"/>
                    <a:pt x="1939920" y="31115"/>
                  </a:cubicBezTo>
                  <a:cubicBezTo>
                    <a:pt x="1941190" y="30480"/>
                    <a:pt x="1943095" y="29845"/>
                    <a:pt x="1945000" y="29210"/>
                  </a:cubicBezTo>
                  <a:cubicBezTo>
                    <a:pt x="1946905" y="29210"/>
                    <a:pt x="1949445" y="28575"/>
                    <a:pt x="1951985" y="28575"/>
                  </a:cubicBezTo>
                  <a:cubicBezTo>
                    <a:pt x="1956430" y="28575"/>
                    <a:pt x="1960240" y="29210"/>
                    <a:pt x="1964050" y="31115"/>
                  </a:cubicBezTo>
                  <a:cubicBezTo>
                    <a:pt x="1967860" y="32385"/>
                    <a:pt x="1971035" y="34925"/>
                    <a:pt x="1973575" y="38735"/>
                  </a:cubicBezTo>
                  <a:cubicBezTo>
                    <a:pt x="1976115" y="41910"/>
                    <a:pt x="1978655" y="46355"/>
                    <a:pt x="1979925" y="51435"/>
                  </a:cubicBezTo>
                  <a:cubicBezTo>
                    <a:pt x="1981195" y="56515"/>
                    <a:pt x="1982465" y="62865"/>
                    <a:pt x="1982465" y="70485"/>
                  </a:cubicBezTo>
                  <a:lnTo>
                    <a:pt x="1981830" y="71120"/>
                  </a:lnTo>
                  <a:cubicBezTo>
                    <a:pt x="1981830" y="77470"/>
                    <a:pt x="1981195" y="83820"/>
                    <a:pt x="1979290" y="88265"/>
                  </a:cubicBezTo>
                  <a:cubicBezTo>
                    <a:pt x="1977385" y="93345"/>
                    <a:pt x="1975480" y="97155"/>
                    <a:pt x="1972305" y="100330"/>
                  </a:cubicBezTo>
                  <a:cubicBezTo>
                    <a:pt x="1969765" y="103505"/>
                    <a:pt x="1965955" y="106045"/>
                    <a:pt x="1962780" y="107315"/>
                  </a:cubicBezTo>
                  <a:cubicBezTo>
                    <a:pt x="1958970" y="109220"/>
                    <a:pt x="1955160" y="109855"/>
                    <a:pt x="1951350" y="109855"/>
                  </a:cubicBezTo>
                  <a:cubicBezTo>
                    <a:pt x="1947540" y="109855"/>
                    <a:pt x="1943730" y="109220"/>
                    <a:pt x="1940555" y="107315"/>
                  </a:cubicBezTo>
                  <a:cubicBezTo>
                    <a:pt x="1936745" y="105410"/>
                    <a:pt x="1934205" y="103505"/>
                    <a:pt x="1931665" y="100965"/>
                  </a:cubicBezTo>
                  <a:lnTo>
                    <a:pt x="1931665" y="107950"/>
                  </a:lnTo>
                  <a:lnTo>
                    <a:pt x="1916425" y="107950"/>
                  </a:lnTo>
                  <a:lnTo>
                    <a:pt x="1916425" y="7620"/>
                  </a:lnTo>
                  <a:close/>
                  <a:moveTo>
                    <a:pt x="1316991" y="0"/>
                  </a:moveTo>
                  <a:lnTo>
                    <a:pt x="1316991" y="30480"/>
                  </a:lnTo>
                  <a:lnTo>
                    <a:pt x="1336041" y="30480"/>
                  </a:lnTo>
                  <a:lnTo>
                    <a:pt x="1336041" y="44450"/>
                  </a:lnTo>
                  <a:lnTo>
                    <a:pt x="1316991" y="44450"/>
                  </a:lnTo>
                  <a:lnTo>
                    <a:pt x="1316991" y="86995"/>
                  </a:lnTo>
                  <a:cubicBezTo>
                    <a:pt x="1316991" y="86995"/>
                    <a:pt x="1316991" y="90170"/>
                    <a:pt x="1316991" y="91440"/>
                  </a:cubicBezTo>
                  <a:cubicBezTo>
                    <a:pt x="1316991" y="92710"/>
                    <a:pt x="1317627" y="93345"/>
                    <a:pt x="1318261" y="94615"/>
                  </a:cubicBezTo>
                  <a:cubicBezTo>
                    <a:pt x="1318896" y="95250"/>
                    <a:pt x="1319531" y="95885"/>
                    <a:pt x="1320801" y="95885"/>
                  </a:cubicBezTo>
                  <a:cubicBezTo>
                    <a:pt x="1322072" y="95885"/>
                    <a:pt x="1323341" y="95885"/>
                    <a:pt x="1324611" y="95885"/>
                  </a:cubicBezTo>
                  <a:cubicBezTo>
                    <a:pt x="1326516" y="95885"/>
                    <a:pt x="1328422" y="95885"/>
                    <a:pt x="1330961" y="95250"/>
                  </a:cubicBezTo>
                  <a:cubicBezTo>
                    <a:pt x="1332867" y="94615"/>
                    <a:pt x="1334772" y="93980"/>
                    <a:pt x="1336041" y="93345"/>
                  </a:cubicBezTo>
                  <a:lnTo>
                    <a:pt x="1334136" y="106680"/>
                  </a:lnTo>
                  <a:cubicBezTo>
                    <a:pt x="1334136" y="106680"/>
                    <a:pt x="1330326" y="108585"/>
                    <a:pt x="1327786" y="109220"/>
                  </a:cubicBezTo>
                  <a:cubicBezTo>
                    <a:pt x="1325246" y="109855"/>
                    <a:pt x="1322706" y="110490"/>
                    <a:pt x="1319531" y="110490"/>
                  </a:cubicBezTo>
                  <a:cubicBezTo>
                    <a:pt x="1316991" y="110490"/>
                    <a:pt x="1314451" y="110490"/>
                    <a:pt x="1312546" y="109220"/>
                  </a:cubicBezTo>
                  <a:cubicBezTo>
                    <a:pt x="1310641" y="108585"/>
                    <a:pt x="1308736" y="107315"/>
                    <a:pt x="1306831" y="105410"/>
                  </a:cubicBezTo>
                  <a:cubicBezTo>
                    <a:pt x="1304926" y="103505"/>
                    <a:pt x="1303656" y="101600"/>
                    <a:pt x="1303021" y="99060"/>
                  </a:cubicBezTo>
                  <a:cubicBezTo>
                    <a:pt x="1302386" y="96520"/>
                    <a:pt x="1301751" y="93345"/>
                    <a:pt x="1301751" y="89535"/>
                  </a:cubicBezTo>
                  <a:lnTo>
                    <a:pt x="1301751" y="44450"/>
                  </a:lnTo>
                  <a:lnTo>
                    <a:pt x="1290956" y="44450"/>
                  </a:lnTo>
                  <a:lnTo>
                    <a:pt x="1290956" y="30480"/>
                  </a:lnTo>
                  <a:lnTo>
                    <a:pt x="1301751" y="30480"/>
                  </a:lnTo>
                  <a:lnTo>
                    <a:pt x="1301751" y="8255"/>
                  </a:lnTo>
                  <a:close/>
                  <a:moveTo>
                    <a:pt x="751206" y="0"/>
                  </a:moveTo>
                  <a:lnTo>
                    <a:pt x="751206" y="30480"/>
                  </a:lnTo>
                  <a:lnTo>
                    <a:pt x="770256" y="30480"/>
                  </a:lnTo>
                  <a:lnTo>
                    <a:pt x="770256" y="44450"/>
                  </a:lnTo>
                  <a:lnTo>
                    <a:pt x="751206" y="44450"/>
                  </a:lnTo>
                  <a:lnTo>
                    <a:pt x="751206" y="86995"/>
                  </a:lnTo>
                  <a:cubicBezTo>
                    <a:pt x="751206" y="86995"/>
                    <a:pt x="751206" y="90170"/>
                    <a:pt x="751206" y="91440"/>
                  </a:cubicBezTo>
                  <a:cubicBezTo>
                    <a:pt x="751206" y="92710"/>
                    <a:pt x="751841" y="93345"/>
                    <a:pt x="752476" y="94615"/>
                  </a:cubicBezTo>
                  <a:cubicBezTo>
                    <a:pt x="753111" y="95250"/>
                    <a:pt x="753746" y="95885"/>
                    <a:pt x="755016" y="95885"/>
                  </a:cubicBezTo>
                  <a:cubicBezTo>
                    <a:pt x="756286" y="95885"/>
                    <a:pt x="757556" y="95885"/>
                    <a:pt x="758826" y="95885"/>
                  </a:cubicBezTo>
                  <a:cubicBezTo>
                    <a:pt x="760731" y="95885"/>
                    <a:pt x="762636" y="95885"/>
                    <a:pt x="765176" y="95250"/>
                  </a:cubicBezTo>
                  <a:cubicBezTo>
                    <a:pt x="767081" y="94615"/>
                    <a:pt x="768986" y="93980"/>
                    <a:pt x="770256" y="93345"/>
                  </a:cubicBezTo>
                  <a:lnTo>
                    <a:pt x="768351" y="106680"/>
                  </a:lnTo>
                  <a:cubicBezTo>
                    <a:pt x="768351" y="106680"/>
                    <a:pt x="764541" y="108585"/>
                    <a:pt x="762001" y="109220"/>
                  </a:cubicBezTo>
                  <a:cubicBezTo>
                    <a:pt x="759461" y="109855"/>
                    <a:pt x="756921" y="110490"/>
                    <a:pt x="753746" y="110490"/>
                  </a:cubicBezTo>
                  <a:cubicBezTo>
                    <a:pt x="751206" y="110490"/>
                    <a:pt x="748666" y="110490"/>
                    <a:pt x="746761" y="109220"/>
                  </a:cubicBezTo>
                  <a:cubicBezTo>
                    <a:pt x="744856" y="108585"/>
                    <a:pt x="742951" y="107315"/>
                    <a:pt x="741045" y="105410"/>
                  </a:cubicBezTo>
                  <a:cubicBezTo>
                    <a:pt x="739141" y="103505"/>
                    <a:pt x="737871" y="101600"/>
                    <a:pt x="737236" y="99060"/>
                  </a:cubicBezTo>
                  <a:cubicBezTo>
                    <a:pt x="736600" y="96520"/>
                    <a:pt x="735966" y="93345"/>
                    <a:pt x="735966" y="89535"/>
                  </a:cubicBezTo>
                  <a:lnTo>
                    <a:pt x="735966" y="44450"/>
                  </a:lnTo>
                  <a:lnTo>
                    <a:pt x="725171" y="44450"/>
                  </a:lnTo>
                  <a:lnTo>
                    <a:pt x="725171" y="30480"/>
                  </a:lnTo>
                  <a:lnTo>
                    <a:pt x="735966" y="30480"/>
                  </a:lnTo>
                  <a:lnTo>
                    <a:pt x="735966" y="8255"/>
                  </a:lnTo>
                  <a:close/>
                  <a:moveTo>
                    <a:pt x="521335" y="0"/>
                  </a:moveTo>
                  <a:lnTo>
                    <a:pt x="521335" y="30480"/>
                  </a:lnTo>
                  <a:lnTo>
                    <a:pt x="540385" y="30480"/>
                  </a:lnTo>
                  <a:lnTo>
                    <a:pt x="540385" y="44450"/>
                  </a:lnTo>
                  <a:lnTo>
                    <a:pt x="521335" y="44450"/>
                  </a:lnTo>
                  <a:lnTo>
                    <a:pt x="521335" y="86995"/>
                  </a:lnTo>
                  <a:cubicBezTo>
                    <a:pt x="521335" y="86995"/>
                    <a:pt x="521335" y="90170"/>
                    <a:pt x="521335" y="91440"/>
                  </a:cubicBezTo>
                  <a:cubicBezTo>
                    <a:pt x="521335" y="92710"/>
                    <a:pt x="521970" y="93345"/>
                    <a:pt x="522605" y="94615"/>
                  </a:cubicBezTo>
                  <a:cubicBezTo>
                    <a:pt x="523240" y="95250"/>
                    <a:pt x="523875" y="95885"/>
                    <a:pt x="525145" y="95885"/>
                  </a:cubicBezTo>
                  <a:cubicBezTo>
                    <a:pt x="526415" y="95885"/>
                    <a:pt x="527685" y="95885"/>
                    <a:pt x="528955" y="95885"/>
                  </a:cubicBezTo>
                  <a:cubicBezTo>
                    <a:pt x="530860" y="95885"/>
                    <a:pt x="532765" y="95885"/>
                    <a:pt x="535305" y="95250"/>
                  </a:cubicBezTo>
                  <a:cubicBezTo>
                    <a:pt x="537210" y="94615"/>
                    <a:pt x="539115" y="93980"/>
                    <a:pt x="540385" y="93345"/>
                  </a:cubicBezTo>
                  <a:lnTo>
                    <a:pt x="538480" y="106680"/>
                  </a:lnTo>
                  <a:cubicBezTo>
                    <a:pt x="538480" y="106680"/>
                    <a:pt x="534670" y="108585"/>
                    <a:pt x="532130" y="109220"/>
                  </a:cubicBezTo>
                  <a:cubicBezTo>
                    <a:pt x="529590" y="109855"/>
                    <a:pt x="527050" y="110490"/>
                    <a:pt x="523875" y="110490"/>
                  </a:cubicBezTo>
                  <a:cubicBezTo>
                    <a:pt x="521335" y="110490"/>
                    <a:pt x="518795" y="110490"/>
                    <a:pt x="516890" y="109220"/>
                  </a:cubicBezTo>
                  <a:cubicBezTo>
                    <a:pt x="514985" y="108585"/>
                    <a:pt x="513080" y="107315"/>
                    <a:pt x="511175" y="105410"/>
                  </a:cubicBezTo>
                  <a:cubicBezTo>
                    <a:pt x="509270" y="103505"/>
                    <a:pt x="508000" y="101600"/>
                    <a:pt x="507365" y="99060"/>
                  </a:cubicBezTo>
                  <a:cubicBezTo>
                    <a:pt x="506730" y="96520"/>
                    <a:pt x="506095" y="93345"/>
                    <a:pt x="506095" y="89535"/>
                  </a:cubicBezTo>
                  <a:lnTo>
                    <a:pt x="506095" y="44450"/>
                  </a:lnTo>
                  <a:lnTo>
                    <a:pt x="495300" y="44450"/>
                  </a:lnTo>
                  <a:lnTo>
                    <a:pt x="495300" y="30480"/>
                  </a:lnTo>
                  <a:lnTo>
                    <a:pt x="506095" y="30480"/>
                  </a:lnTo>
                  <a:lnTo>
                    <a:pt x="506095" y="8255"/>
                  </a:lnTo>
                  <a:close/>
                  <a:moveTo>
                    <a:pt x="466724" y="0"/>
                  </a:moveTo>
                  <a:lnTo>
                    <a:pt x="466724" y="30480"/>
                  </a:lnTo>
                  <a:lnTo>
                    <a:pt x="485774" y="30480"/>
                  </a:lnTo>
                  <a:lnTo>
                    <a:pt x="485774" y="44450"/>
                  </a:lnTo>
                  <a:lnTo>
                    <a:pt x="466724" y="44450"/>
                  </a:lnTo>
                  <a:lnTo>
                    <a:pt x="466724" y="86995"/>
                  </a:lnTo>
                  <a:cubicBezTo>
                    <a:pt x="466724" y="86995"/>
                    <a:pt x="466724" y="90170"/>
                    <a:pt x="466724" y="91440"/>
                  </a:cubicBezTo>
                  <a:cubicBezTo>
                    <a:pt x="466724" y="92710"/>
                    <a:pt x="467359" y="93345"/>
                    <a:pt x="467994" y="94615"/>
                  </a:cubicBezTo>
                  <a:cubicBezTo>
                    <a:pt x="468629" y="95250"/>
                    <a:pt x="469264" y="95885"/>
                    <a:pt x="470534" y="95885"/>
                  </a:cubicBezTo>
                  <a:cubicBezTo>
                    <a:pt x="471804" y="95885"/>
                    <a:pt x="473074" y="95885"/>
                    <a:pt x="474344" y="95885"/>
                  </a:cubicBezTo>
                  <a:cubicBezTo>
                    <a:pt x="476249" y="95885"/>
                    <a:pt x="478154" y="95885"/>
                    <a:pt x="480694" y="95250"/>
                  </a:cubicBezTo>
                  <a:cubicBezTo>
                    <a:pt x="482599" y="94615"/>
                    <a:pt x="484504" y="93980"/>
                    <a:pt x="485774" y="93345"/>
                  </a:cubicBezTo>
                  <a:lnTo>
                    <a:pt x="483869" y="106680"/>
                  </a:lnTo>
                  <a:cubicBezTo>
                    <a:pt x="483869" y="106680"/>
                    <a:pt x="480059" y="108585"/>
                    <a:pt x="477519" y="109220"/>
                  </a:cubicBezTo>
                  <a:cubicBezTo>
                    <a:pt x="474979" y="109855"/>
                    <a:pt x="472439" y="110490"/>
                    <a:pt x="469264" y="110490"/>
                  </a:cubicBezTo>
                  <a:cubicBezTo>
                    <a:pt x="466724" y="110490"/>
                    <a:pt x="464184" y="110490"/>
                    <a:pt x="462279" y="109220"/>
                  </a:cubicBezTo>
                  <a:cubicBezTo>
                    <a:pt x="460374" y="108585"/>
                    <a:pt x="458469" y="107315"/>
                    <a:pt x="456564" y="105410"/>
                  </a:cubicBezTo>
                  <a:cubicBezTo>
                    <a:pt x="454659" y="103505"/>
                    <a:pt x="453389" y="101600"/>
                    <a:pt x="452754" y="99060"/>
                  </a:cubicBezTo>
                  <a:cubicBezTo>
                    <a:pt x="452119" y="96520"/>
                    <a:pt x="451484" y="93345"/>
                    <a:pt x="451484" y="89535"/>
                  </a:cubicBezTo>
                  <a:lnTo>
                    <a:pt x="451484" y="44450"/>
                  </a:lnTo>
                  <a:lnTo>
                    <a:pt x="440689" y="44450"/>
                  </a:lnTo>
                  <a:lnTo>
                    <a:pt x="440689" y="30480"/>
                  </a:lnTo>
                  <a:lnTo>
                    <a:pt x="451484" y="30480"/>
                  </a:lnTo>
                  <a:lnTo>
                    <a:pt x="451484" y="8255"/>
                  </a:lnTo>
                  <a:close/>
                  <a:moveTo>
                    <a:pt x="302259" y="0"/>
                  </a:moveTo>
                  <a:lnTo>
                    <a:pt x="302259" y="37465"/>
                  </a:lnTo>
                  <a:cubicBezTo>
                    <a:pt x="302259" y="37465"/>
                    <a:pt x="305434" y="34925"/>
                    <a:pt x="306704" y="33655"/>
                  </a:cubicBezTo>
                  <a:cubicBezTo>
                    <a:pt x="307974" y="33020"/>
                    <a:pt x="309244" y="31750"/>
                    <a:pt x="310514" y="31115"/>
                  </a:cubicBezTo>
                  <a:cubicBezTo>
                    <a:pt x="311784" y="30480"/>
                    <a:pt x="313689" y="29845"/>
                    <a:pt x="315594" y="29210"/>
                  </a:cubicBezTo>
                  <a:cubicBezTo>
                    <a:pt x="317499" y="29210"/>
                    <a:pt x="320039" y="28575"/>
                    <a:pt x="322579" y="28575"/>
                  </a:cubicBezTo>
                  <a:cubicBezTo>
                    <a:pt x="327024" y="28575"/>
                    <a:pt x="330834" y="29210"/>
                    <a:pt x="334644" y="31115"/>
                  </a:cubicBezTo>
                  <a:cubicBezTo>
                    <a:pt x="338454" y="32385"/>
                    <a:pt x="341629" y="34925"/>
                    <a:pt x="344169" y="38735"/>
                  </a:cubicBezTo>
                  <a:cubicBezTo>
                    <a:pt x="346709" y="41910"/>
                    <a:pt x="349249" y="46355"/>
                    <a:pt x="350519" y="51435"/>
                  </a:cubicBezTo>
                  <a:cubicBezTo>
                    <a:pt x="351789" y="56515"/>
                    <a:pt x="353059" y="62865"/>
                    <a:pt x="353059" y="70485"/>
                  </a:cubicBezTo>
                  <a:lnTo>
                    <a:pt x="352424" y="71120"/>
                  </a:lnTo>
                  <a:cubicBezTo>
                    <a:pt x="352424" y="77470"/>
                    <a:pt x="351789" y="83820"/>
                    <a:pt x="349884" y="88265"/>
                  </a:cubicBezTo>
                  <a:cubicBezTo>
                    <a:pt x="347979" y="93345"/>
                    <a:pt x="346074" y="97155"/>
                    <a:pt x="342899" y="100330"/>
                  </a:cubicBezTo>
                  <a:cubicBezTo>
                    <a:pt x="340359" y="103505"/>
                    <a:pt x="336549" y="106045"/>
                    <a:pt x="333374" y="107315"/>
                  </a:cubicBezTo>
                  <a:cubicBezTo>
                    <a:pt x="329564" y="109220"/>
                    <a:pt x="325754" y="109855"/>
                    <a:pt x="321944" y="109855"/>
                  </a:cubicBezTo>
                  <a:cubicBezTo>
                    <a:pt x="318134" y="109855"/>
                    <a:pt x="314324" y="109220"/>
                    <a:pt x="311149" y="107315"/>
                  </a:cubicBezTo>
                  <a:cubicBezTo>
                    <a:pt x="307339" y="105410"/>
                    <a:pt x="304799" y="103505"/>
                    <a:pt x="302259" y="100965"/>
                  </a:cubicBezTo>
                  <a:lnTo>
                    <a:pt x="302259" y="107950"/>
                  </a:lnTo>
                  <a:lnTo>
                    <a:pt x="287019" y="107950"/>
                  </a:lnTo>
                  <a:lnTo>
                    <a:pt x="287019" y="7620"/>
                  </a:lnTo>
                  <a:close/>
                </a:path>
              </a:pathLst>
            </a:custGeom>
            <a:solidFill>
              <a:srgbClr val="FFFFFF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24" name="Freeform 23">
              <a:extLst>
                <a:ext uri="{FF2B5EF4-FFF2-40B4-BE49-F238E27FC236}">
                  <a16:creationId xmlns:a16="http://schemas.microsoft.com/office/drawing/2014/main" id="{BDF3ED9A-57E4-25C5-BC4E-AC1C77798191}"/>
                </a:ext>
              </a:extLst>
            </p:cNvPr>
            <p:cNvSpPr/>
            <p:nvPr userDrawn="1"/>
          </p:nvSpPr>
          <p:spPr>
            <a:xfrm>
              <a:off x="485775" y="6164633"/>
              <a:ext cx="405765" cy="81280"/>
            </a:xfrm>
            <a:custGeom>
              <a:avLst/>
              <a:gdLst>
                <a:gd name="connsiteX0" fmla="*/ 324485 w 405765"/>
                <a:gd name="connsiteY0" fmla="*/ 0 h 81280"/>
                <a:gd name="connsiteX1" fmla="*/ 405765 w 405765"/>
                <a:gd name="connsiteY1" fmla="*/ 0 h 81280"/>
                <a:gd name="connsiteX2" fmla="*/ 405765 w 405765"/>
                <a:gd name="connsiteY2" fmla="*/ 81280 h 81280"/>
                <a:gd name="connsiteX3" fmla="*/ 324485 w 405765"/>
                <a:gd name="connsiteY3" fmla="*/ 81280 h 81280"/>
                <a:gd name="connsiteX4" fmla="*/ 161925 w 405765"/>
                <a:gd name="connsiteY4" fmla="*/ 0 h 81280"/>
                <a:gd name="connsiteX5" fmla="*/ 243205 w 405765"/>
                <a:gd name="connsiteY5" fmla="*/ 0 h 81280"/>
                <a:gd name="connsiteX6" fmla="*/ 243205 w 405765"/>
                <a:gd name="connsiteY6" fmla="*/ 81280 h 81280"/>
                <a:gd name="connsiteX7" fmla="*/ 161925 w 405765"/>
                <a:gd name="connsiteY7" fmla="*/ 81280 h 81280"/>
                <a:gd name="connsiteX8" fmla="*/ 0 w 405765"/>
                <a:gd name="connsiteY8" fmla="*/ 0 h 81280"/>
                <a:gd name="connsiteX9" fmla="*/ 81280 w 405765"/>
                <a:gd name="connsiteY9" fmla="*/ 0 h 81280"/>
                <a:gd name="connsiteX10" fmla="*/ 81280 w 405765"/>
                <a:gd name="connsiteY10" fmla="*/ 81280 h 81280"/>
                <a:gd name="connsiteX11" fmla="*/ 0 w 405765"/>
                <a:gd name="connsiteY11" fmla="*/ 81280 h 812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05765" h="81280">
                  <a:moveTo>
                    <a:pt x="324485" y="0"/>
                  </a:moveTo>
                  <a:lnTo>
                    <a:pt x="405765" y="0"/>
                  </a:lnTo>
                  <a:lnTo>
                    <a:pt x="405765" y="81280"/>
                  </a:lnTo>
                  <a:lnTo>
                    <a:pt x="324485" y="81280"/>
                  </a:lnTo>
                  <a:close/>
                  <a:moveTo>
                    <a:pt x="161925" y="0"/>
                  </a:moveTo>
                  <a:lnTo>
                    <a:pt x="243205" y="0"/>
                  </a:lnTo>
                  <a:lnTo>
                    <a:pt x="243205" y="81280"/>
                  </a:lnTo>
                  <a:lnTo>
                    <a:pt x="161925" y="81280"/>
                  </a:lnTo>
                  <a:close/>
                  <a:moveTo>
                    <a:pt x="0" y="0"/>
                  </a:moveTo>
                  <a:lnTo>
                    <a:pt x="81280" y="0"/>
                  </a:lnTo>
                  <a:lnTo>
                    <a:pt x="81280" y="81280"/>
                  </a:lnTo>
                  <a:lnTo>
                    <a:pt x="0" y="81280"/>
                  </a:lnTo>
                  <a:close/>
                </a:path>
              </a:pathLst>
            </a:custGeom>
            <a:solidFill>
              <a:srgbClr val="FFE600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D6FD7948-9E7C-1CE1-F28B-D2D349BB86F0}"/>
              </a:ext>
            </a:extLst>
          </p:cNvPr>
          <p:cNvGrpSpPr/>
          <p:nvPr userDrawn="1"/>
        </p:nvGrpSpPr>
        <p:grpSpPr>
          <a:xfrm>
            <a:off x="486027" y="1291009"/>
            <a:ext cx="5709082" cy="4360545"/>
            <a:chOff x="485774" y="1291008"/>
            <a:chExt cx="5706110" cy="4360545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F7E50E80-DFF0-E065-898F-1AFD970459B6}"/>
                </a:ext>
              </a:extLst>
            </p:cNvPr>
            <p:cNvSpPr/>
            <p:nvPr userDrawn="1"/>
          </p:nvSpPr>
          <p:spPr>
            <a:xfrm>
              <a:off x="485774" y="5549953"/>
              <a:ext cx="508000" cy="101600"/>
            </a:xfrm>
            <a:custGeom>
              <a:avLst/>
              <a:gdLst>
                <a:gd name="connsiteX0" fmla="*/ 406400 w 508000"/>
                <a:gd name="connsiteY0" fmla="*/ 0 h 101600"/>
                <a:gd name="connsiteX1" fmla="*/ 508000 w 508000"/>
                <a:gd name="connsiteY1" fmla="*/ 0 h 101600"/>
                <a:gd name="connsiteX2" fmla="*/ 508000 w 508000"/>
                <a:gd name="connsiteY2" fmla="*/ 101600 h 101600"/>
                <a:gd name="connsiteX3" fmla="*/ 406400 w 508000"/>
                <a:gd name="connsiteY3" fmla="*/ 101600 h 101600"/>
                <a:gd name="connsiteX4" fmla="*/ 203200 w 508000"/>
                <a:gd name="connsiteY4" fmla="*/ 0 h 101600"/>
                <a:gd name="connsiteX5" fmla="*/ 304800 w 508000"/>
                <a:gd name="connsiteY5" fmla="*/ 0 h 101600"/>
                <a:gd name="connsiteX6" fmla="*/ 304800 w 508000"/>
                <a:gd name="connsiteY6" fmla="*/ 101600 h 101600"/>
                <a:gd name="connsiteX7" fmla="*/ 203200 w 508000"/>
                <a:gd name="connsiteY7" fmla="*/ 101600 h 101600"/>
                <a:gd name="connsiteX8" fmla="*/ 0 w 508000"/>
                <a:gd name="connsiteY8" fmla="*/ 0 h 101600"/>
                <a:gd name="connsiteX9" fmla="*/ 101600 w 508000"/>
                <a:gd name="connsiteY9" fmla="*/ 0 h 101600"/>
                <a:gd name="connsiteX10" fmla="*/ 101600 w 508000"/>
                <a:gd name="connsiteY10" fmla="*/ 101600 h 101600"/>
                <a:gd name="connsiteX11" fmla="*/ 0 w 508000"/>
                <a:gd name="connsiteY11" fmla="*/ 101600 h 101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08000" h="101600">
                  <a:moveTo>
                    <a:pt x="406400" y="0"/>
                  </a:moveTo>
                  <a:lnTo>
                    <a:pt x="508000" y="0"/>
                  </a:lnTo>
                  <a:lnTo>
                    <a:pt x="508000" y="101600"/>
                  </a:lnTo>
                  <a:lnTo>
                    <a:pt x="406400" y="101600"/>
                  </a:lnTo>
                  <a:close/>
                  <a:moveTo>
                    <a:pt x="203200" y="0"/>
                  </a:moveTo>
                  <a:lnTo>
                    <a:pt x="304800" y="0"/>
                  </a:lnTo>
                  <a:lnTo>
                    <a:pt x="304800" y="101600"/>
                  </a:lnTo>
                  <a:lnTo>
                    <a:pt x="203200" y="101600"/>
                  </a:lnTo>
                  <a:close/>
                  <a:moveTo>
                    <a:pt x="0" y="0"/>
                  </a:moveTo>
                  <a:lnTo>
                    <a:pt x="101600" y="0"/>
                  </a:lnTo>
                  <a:lnTo>
                    <a:pt x="101600" y="101600"/>
                  </a:lnTo>
                  <a:lnTo>
                    <a:pt x="0" y="101600"/>
                  </a:lnTo>
                  <a:close/>
                </a:path>
              </a:pathLst>
            </a:custGeom>
            <a:solidFill>
              <a:schemeClr val="tx2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90AAC841-3D56-6842-04D1-F0B7D973D86D}"/>
                </a:ext>
              </a:extLst>
            </p:cNvPr>
            <p:cNvSpPr/>
            <p:nvPr userDrawn="1"/>
          </p:nvSpPr>
          <p:spPr>
            <a:xfrm>
              <a:off x="485775" y="1291008"/>
              <a:ext cx="5706109" cy="4359275"/>
            </a:xfrm>
            <a:custGeom>
              <a:avLst/>
              <a:gdLst>
                <a:gd name="connsiteX0" fmla="*/ 0 w 5706109"/>
                <a:gd name="connsiteY0" fmla="*/ 4157346 h 4359275"/>
                <a:gd name="connsiteX1" fmla="*/ 101600 w 5706109"/>
                <a:gd name="connsiteY1" fmla="*/ 4157346 h 4359275"/>
                <a:gd name="connsiteX2" fmla="*/ 101600 w 5706109"/>
                <a:gd name="connsiteY2" fmla="*/ 1075055 h 4359275"/>
                <a:gd name="connsiteX3" fmla="*/ 101600 w 5706109"/>
                <a:gd name="connsiteY3" fmla="*/ 1075055 h 4359275"/>
                <a:gd name="connsiteX4" fmla="*/ 191770 w 5706109"/>
                <a:gd name="connsiteY4" fmla="*/ 1059180 h 4359275"/>
                <a:gd name="connsiteX5" fmla="*/ 861060 w 5706109"/>
                <a:gd name="connsiteY5" fmla="*/ 942975 h 4359275"/>
                <a:gd name="connsiteX6" fmla="*/ 1195705 w 5706109"/>
                <a:gd name="connsiteY6" fmla="*/ 885190 h 4359275"/>
                <a:gd name="connsiteX7" fmla="*/ 1362710 w 5706109"/>
                <a:gd name="connsiteY7" fmla="*/ 855980 h 4359275"/>
                <a:gd name="connsiteX8" fmla="*/ 1529715 w 5706109"/>
                <a:gd name="connsiteY8" fmla="*/ 826770 h 4359275"/>
                <a:gd name="connsiteX9" fmla="*/ 1864360 w 5706109"/>
                <a:gd name="connsiteY9" fmla="*/ 768985 h 4359275"/>
                <a:gd name="connsiteX10" fmla="*/ 2031365 w 5706109"/>
                <a:gd name="connsiteY10" fmla="*/ 739775 h 4359275"/>
                <a:gd name="connsiteX11" fmla="*/ 2198370 w 5706109"/>
                <a:gd name="connsiteY11" fmla="*/ 710565 h 4359275"/>
                <a:gd name="connsiteX12" fmla="*/ 2365375 w 5706109"/>
                <a:gd name="connsiteY12" fmla="*/ 681355 h 4359275"/>
                <a:gd name="connsiteX13" fmla="*/ 2532380 w 5706109"/>
                <a:gd name="connsiteY13" fmla="*/ 652145 h 4359275"/>
                <a:gd name="connsiteX14" fmla="*/ 2699385 w 5706109"/>
                <a:gd name="connsiteY14" fmla="*/ 622935 h 4359275"/>
                <a:gd name="connsiteX15" fmla="*/ 2866390 w 5706109"/>
                <a:gd name="connsiteY15" fmla="*/ 593725 h 4359275"/>
                <a:gd name="connsiteX16" fmla="*/ 5461000 w 5706109"/>
                <a:gd name="connsiteY16" fmla="*/ 144145 h 4359275"/>
                <a:gd name="connsiteX17" fmla="*/ 5602605 w 5706109"/>
                <a:gd name="connsiteY17" fmla="*/ 119380 h 4359275"/>
                <a:gd name="connsiteX18" fmla="*/ 5602605 w 5706109"/>
                <a:gd name="connsiteY18" fmla="*/ 119380 h 4359275"/>
                <a:gd name="connsiteX19" fmla="*/ 5602605 w 5706109"/>
                <a:gd name="connsiteY19" fmla="*/ 4257676 h 4359275"/>
                <a:gd name="connsiteX20" fmla="*/ 609600 w 5706109"/>
                <a:gd name="connsiteY20" fmla="*/ 4257676 h 4359275"/>
                <a:gd name="connsiteX21" fmla="*/ 609600 w 5706109"/>
                <a:gd name="connsiteY21" fmla="*/ 4359276 h 4359275"/>
                <a:gd name="connsiteX22" fmla="*/ 5706110 w 5706109"/>
                <a:gd name="connsiteY22" fmla="*/ 4359276 h 4359275"/>
                <a:gd name="connsiteX23" fmla="*/ 5706110 w 5706109"/>
                <a:gd name="connsiteY23" fmla="*/ 0 h 4359275"/>
                <a:gd name="connsiteX24" fmla="*/ 5704840 w 5706109"/>
                <a:gd name="connsiteY24" fmla="*/ 0 h 4359275"/>
                <a:gd name="connsiteX25" fmla="*/ 5445760 w 5706109"/>
                <a:gd name="connsiteY25" fmla="*/ 45085 h 4359275"/>
                <a:gd name="connsiteX26" fmla="*/ 2851150 w 5706109"/>
                <a:gd name="connsiteY26" fmla="*/ 494665 h 4359275"/>
                <a:gd name="connsiteX27" fmla="*/ 2684145 w 5706109"/>
                <a:gd name="connsiteY27" fmla="*/ 523875 h 4359275"/>
                <a:gd name="connsiteX28" fmla="*/ 2517140 w 5706109"/>
                <a:gd name="connsiteY28" fmla="*/ 553085 h 4359275"/>
                <a:gd name="connsiteX29" fmla="*/ 2350135 w 5706109"/>
                <a:gd name="connsiteY29" fmla="*/ 582295 h 4359275"/>
                <a:gd name="connsiteX30" fmla="*/ 2183130 w 5706109"/>
                <a:gd name="connsiteY30" fmla="*/ 611505 h 4359275"/>
                <a:gd name="connsiteX31" fmla="*/ 2016125 w 5706109"/>
                <a:gd name="connsiteY31" fmla="*/ 640715 h 4359275"/>
                <a:gd name="connsiteX32" fmla="*/ 1849120 w 5706109"/>
                <a:gd name="connsiteY32" fmla="*/ 669925 h 4359275"/>
                <a:gd name="connsiteX33" fmla="*/ 1514475 w 5706109"/>
                <a:gd name="connsiteY33" fmla="*/ 727710 h 4359275"/>
                <a:gd name="connsiteX34" fmla="*/ 1347470 w 5706109"/>
                <a:gd name="connsiteY34" fmla="*/ 756920 h 4359275"/>
                <a:gd name="connsiteX35" fmla="*/ 1180465 w 5706109"/>
                <a:gd name="connsiteY35" fmla="*/ 786130 h 4359275"/>
                <a:gd name="connsiteX36" fmla="*/ 845820 w 5706109"/>
                <a:gd name="connsiteY36" fmla="*/ 843915 h 4359275"/>
                <a:gd name="connsiteX37" fmla="*/ 176530 w 5706109"/>
                <a:gd name="connsiteY37" fmla="*/ 960120 h 4359275"/>
                <a:gd name="connsiteX38" fmla="*/ 3175 w 5706109"/>
                <a:gd name="connsiteY38" fmla="*/ 989965 h 4359275"/>
                <a:gd name="connsiteX39" fmla="*/ 1905 w 5706109"/>
                <a:gd name="connsiteY39" fmla="*/ 989965 h 4359275"/>
                <a:gd name="connsiteX40" fmla="*/ 1905 w 5706109"/>
                <a:gd name="connsiteY40" fmla="*/ 4158616 h 4359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5706109" h="4359275">
                  <a:moveTo>
                    <a:pt x="0" y="4157346"/>
                  </a:moveTo>
                  <a:lnTo>
                    <a:pt x="101600" y="4157346"/>
                  </a:lnTo>
                  <a:lnTo>
                    <a:pt x="101600" y="1075055"/>
                  </a:lnTo>
                  <a:lnTo>
                    <a:pt x="101600" y="1075055"/>
                  </a:lnTo>
                  <a:lnTo>
                    <a:pt x="191770" y="1059180"/>
                  </a:lnTo>
                  <a:lnTo>
                    <a:pt x="861060" y="942975"/>
                  </a:lnTo>
                  <a:lnTo>
                    <a:pt x="1195705" y="885190"/>
                  </a:lnTo>
                  <a:lnTo>
                    <a:pt x="1362710" y="855980"/>
                  </a:lnTo>
                  <a:lnTo>
                    <a:pt x="1529715" y="826770"/>
                  </a:lnTo>
                  <a:lnTo>
                    <a:pt x="1864360" y="768985"/>
                  </a:lnTo>
                  <a:lnTo>
                    <a:pt x="2031365" y="739775"/>
                  </a:lnTo>
                  <a:lnTo>
                    <a:pt x="2198370" y="710565"/>
                  </a:lnTo>
                  <a:lnTo>
                    <a:pt x="2365375" y="681355"/>
                  </a:lnTo>
                  <a:lnTo>
                    <a:pt x="2532380" y="652145"/>
                  </a:lnTo>
                  <a:lnTo>
                    <a:pt x="2699385" y="622935"/>
                  </a:lnTo>
                  <a:lnTo>
                    <a:pt x="2866390" y="593725"/>
                  </a:lnTo>
                  <a:cubicBezTo>
                    <a:pt x="3731260" y="443865"/>
                    <a:pt x="4596130" y="294005"/>
                    <a:pt x="5461000" y="144145"/>
                  </a:cubicBezTo>
                  <a:lnTo>
                    <a:pt x="5602605" y="119380"/>
                  </a:lnTo>
                  <a:lnTo>
                    <a:pt x="5602605" y="119380"/>
                  </a:lnTo>
                  <a:lnTo>
                    <a:pt x="5602605" y="4257676"/>
                  </a:lnTo>
                  <a:lnTo>
                    <a:pt x="609600" y="4257676"/>
                  </a:lnTo>
                  <a:lnTo>
                    <a:pt x="609600" y="4359276"/>
                  </a:lnTo>
                  <a:lnTo>
                    <a:pt x="5706110" y="4359276"/>
                  </a:lnTo>
                  <a:lnTo>
                    <a:pt x="5706110" y="0"/>
                  </a:lnTo>
                  <a:lnTo>
                    <a:pt x="5704840" y="0"/>
                  </a:lnTo>
                  <a:cubicBezTo>
                    <a:pt x="5618480" y="15240"/>
                    <a:pt x="5532120" y="30480"/>
                    <a:pt x="5445760" y="45085"/>
                  </a:cubicBezTo>
                  <a:cubicBezTo>
                    <a:pt x="4580890" y="194945"/>
                    <a:pt x="3716020" y="344805"/>
                    <a:pt x="2851150" y="494665"/>
                  </a:cubicBezTo>
                  <a:lnTo>
                    <a:pt x="2684145" y="523875"/>
                  </a:lnTo>
                  <a:lnTo>
                    <a:pt x="2517140" y="553085"/>
                  </a:lnTo>
                  <a:lnTo>
                    <a:pt x="2350135" y="582295"/>
                  </a:lnTo>
                  <a:lnTo>
                    <a:pt x="2183130" y="611505"/>
                  </a:lnTo>
                  <a:lnTo>
                    <a:pt x="2016125" y="640715"/>
                  </a:lnTo>
                  <a:lnTo>
                    <a:pt x="1849120" y="669925"/>
                  </a:lnTo>
                  <a:lnTo>
                    <a:pt x="1514475" y="727710"/>
                  </a:lnTo>
                  <a:lnTo>
                    <a:pt x="1347470" y="756920"/>
                  </a:lnTo>
                  <a:lnTo>
                    <a:pt x="1180465" y="786130"/>
                  </a:lnTo>
                  <a:lnTo>
                    <a:pt x="845820" y="843915"/>
                  </a:lnTo>
                  <a:lnTo>
                    <a:pt x="176530" y="960120"/>
                  </a:lnTo>
                  <a:lnTo>
                    <a:pt x="3175" y="989965"/>
                  </a:lnTo>
                  <a:lnTo>
                    <a:pt x="1905" y="989965"/>
                  </a:lnTo>
                  <a:lnTo>
                    <a:pt x="1905" y="4158616"/>
                  </a:lnTo>
                  <a:close/>
                </a:path>
              </a:pathLst>
            </a:custGeom>
            <a:gradFill flip="none" rotWithShape="1">
              <a:gsLst>
                <a:gs pos="39000">
                  <a:srgbClr val="FFE600"/>
                </a:gs>
                <a:gs pos="68000">
                  <a:srgbClr val="C5FD45"/>
                </a:gs>
                <a:gs pos="100000">
                  <a:srgbClr val="80FBFD"/>
                </a:gs>
              </a:gsLst>
              <a:lin ang="18720000" scaled="0"/>
              <a:tileRect/>
            </a:gradFill>
            <a:ln w="818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 sz="1800"/>
            </a:p>
          </p:txBody>
        </p:sp>
      </p:grpSp>
    </p:spTree>
    <p:extLst>
      <p:ext uri="{BB962C8B-B14F-4D97-AF65-F5344CB8AC3E}">
        <p14:creationId xmlns:p14="http://schemas.microsoft.com/office/powerpoint/2010/main" val="254515967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blurry image of a colorful light&#10;&#10;Description automatically generated">
            <a:extLst>
              <a:ext uri="{FF2B5EF4-FFF2-40B4-BE49-F238E27FC236}">
                <a16:creationId xmlns:a16="http://schemas.microsoft.com/office/drawing/2014/main" id="{388CF986-E6D2-86D0-6501-D59429EAD0A3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0"/>
            <a:ext cx="12199551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CB74E28-9D0B-F1B4-F101-2628EB1EA4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6029" y="1970406"/>
            <a:ext cx="7398426" cy="2869882"/>
          </a:xfrm>
        </p:spPr>
        <p:txBody>
          <a:bodyPr anchor="t"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475298B-22BF-3DF1-FBE7-DF673E5A273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86029" y="370800"/>
            <a:ext cx="7398426" cy="313932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buNone/>
              <a:defRPr lang="en-US" sz="2400" b="1" i="0" kern="1200" dirty="0">
                <a:solidFill>
                  <a:schemeClr val="tx2"/>
                </a:solidFill>
                <a:latin typeface="+mj-lt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GB"/>
              <a:t>Chapter 00</a:t>
            </a:r>
            <a:endParaRPr lang="en-US"/>
          </a:p>
        </p:txBody>
      </p:sp>
      <p:sp>
        <p:nvSpPr>
          <p:cNvPr id="16" name="Date Placeholder 15">
            <a:extLst>
              <a:ext uri="{FF2B5EF4-FFF2-40B4-BE49-F238E27FC236}">
                <a16:creationId xmlns:a16="http://schemas.microsoft.com/office/drawing/2014/main" id="{DB4372B3-E211-F19D-CBD9-6CEDF871BD0C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587AE7D4-D909-4109-A95D-3FC199CCB2C0}" type="datetime1">
              <a:rPr lang="en-US" smtClean="0"/>
              <a:t>3/14/25</a:t>
            </a:fld>
            <a:endParaRPr lang="en-US"/>
          </a:p>
        </p:txBody>
      </p:sp>
      <p:sp>
        <p:nvSpPr>
          <p:cNvPr id="17" name="Footer Placeholder 16">
            <a:extLst>
              <a:ext uri="{FF2B5EF4-FFF2-40B4-BE49-F238E27FC236}">
                <a16:creationId xmlns:a16="http://schemas.microsoft.com/office/drawing/2014/main" id="{53173B02-1E93-D358-4602-350A7447C76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Insert footer text here</a:t>
            </a:r>
          </a:p>
        </p:txBody>
      </p:sp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A5E3423F-0FF8-8E54-CEB8-1F15261AFD0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1BC30E3-FFE5-4B91-AA19-87A149EBB9EE}" type="slidenum">
              <a:rPr lang="en-GB" smtClean="0"/>
              <a:pPr/>
              <a:t>‹#›</a:t>
            </a:fld>
            <a:endParaRPr lang="en-GB"/>
          </a:p>
        </p:txBody>
      </p:sp>
      <p:grpSp>
        <p:nvGrpSpPr>
          <p:cNvPr id="3" name="Group 4">
            <a:extLst>
              <a:ext uri="{FF2B5EF4-FFF2-40B4-BE49-F238E27FC236}">
                <a16:creationId xmlns:a16="http://schemas.microsoft.com/office/drawing/2014/main" id="{D3CF5FC1-8EBA-8F68-D0E5-727D21919CEC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11629954" y="6276978"/>
            <a:ext cx="346338" cy="355219"/>
            <a:chOff x="7110" y="4004"/>
            <a:chExt cx="191" cy="196"/>
          </a:xfrm>
        </p:grpSpPr>
        <p:sp>
          <p:nvSpPr>
            <p:cNvPr id="4" name="Freeform 5">
              <a:extLst>
                <a:ext uri="{FF2B5EF4-FFF2-40B4-BE49-F238E27FC236}">
                  <a16:creationId xmlns:a16="http://schemas.microsoft.com/office/drawing/2014/main" id="{AE5FDF1F-8E3A-FB66-7C81-266601DA4005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  <p:sp>
          <p:nvSpPr>
            <p:cNvPr id="5" name="Freeform 6">
              <a:extLst>
                <a:ext uri="{FF2B5EF4-FFF2-40B4-BE49-F238E27FC236}">
                  <a16:creationId xmlns:a16="http://schemas.microsoft.com/office/drawing/2014/main" id="{91C765C7-1DD0-DFBB-9089-29849D42BA8D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  <p:sp>
          <p:nvSpPr>
            <p:cNvPr id="6" name="Freeform 7">
              <a:extLst>
                <a:ext uri="{FF2B5EF4-FFF2-40B4-BE49-F238E27FC236}">
                  <a16:creationId xmlns:a16="http://schemas.microsoft.com/office/drawing/2014/main" id="{50B43463-538D-A50A-4299-A6C5A973766D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91851265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A blurry image of a colorful light&#10;&#10;Description automatically generated">
            <a:extLst>
              <a:ext uri="{FF2B5EF4-FFF2-40B4-BE49-F238E27FC236}">
                <a16:creationId xmlns:a16="http://schemas.microsoft.com/office/drawing/2014/main" id="{ADC82D1B-1943-B3BC-B7E9-DADF1458A765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0"/>
            <a:ext cx="12199551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CB74E28-9D0B-F1B4-F101-2628EB1EA4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6029" y="1970406"/>
            <a:ext cx="7398426" cy="2869882"/>
          </a:xfrm>
        </p:spPr>
        <p:txBody>
          <a:bodyPr anchor="t"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475298B-22BF-3DF1-FBE7-DF673E5A273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86029" y="370800"/>
            <a:ext cx="7398426" cy="313932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buNone/>
              <a:defRPr lang="en-US" sz="2400" b="1" i="0" kern="1200" dirty="0">
                <a:solidFill>
                  <a:schemeClr val="tx2"/>
                </a:solidFill>
                <a:latin typeface="+mj-lt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GB"/>
              <a:t>Chapter 00</a:t>
            </a:r>
            <a:endParaRPr lang="en-US"/>
          </a:p>
        </p:txBody>
      </p:sp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FF04263E-9F32-7609-1152-7E305FEBE745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D4E59C0B-A301-47D7-A25C-27D2115D1CC3}" type="datetime1">
              <a:rPr lang="en-US" smtClean="0"/>
              <a:t>3/14/25</a:t>
            </a:fld>
            <a:endParaRPr lang="en-US"/>
          </a:p>
        </p:txBody>
      </p:sp>
      <p:sp>
        <p:nvSpPr>
          <p:cNvPr id="15" name="Footer Placeholder 14">
            <a:extLst>
              <a:ext uri="{FF2B5EF4-FFF2-40B4-BE49-F238E27FC236}">
                <a16:creationId xmlns:a16="http://schemas.microsoft.com/office/drawing/2014/main" id="{F7F02905-9FFE-65B7-8565-3E827BBAECD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Insert footer text here</a:t>
            </a:r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010BD8AE-BB2B-B523-1D74-4E8DBE2102B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1BC30E3-FFE5-4B91-AA19-87A149EBB9EE}" type="slidenum">
              <a:rPr lang="en-GB" smtClean="0"/>
              <a:pPr/>
              <a:t>‹#›</a:t>
            </a:fld>
            <a:endParaRPr lang="en-GB"/>
          </a:p>
        </p:txBody>
      </p:sp>
      <p:grpSp>
        <p:nvGrpSpPr>
          <p:cNvPr id="7" name="Group 4">
            <a:extLst>
              <a:ext uri="{FF2B5EF4-FFF2-40B4-BE49-F238E27FC236}">
                <a16:creationId xmlns:a16="http://schemas.microsoft.com/office/drawing/2014/main" id="{6C50EF9C-A411-B76F-4417-55EA0CDCAD28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11629954" y="6276978"/>
            <a:ext cx="346338" cy="355219"/>
            <a:chOff x="7110" y="4004"/>
            <a:chExt cx="191" cy="196"/>
          </a:xfrm>
        </p:grpSpPr>
        <p:sp>
          <p:nvSpPr>
            <p:cNvPr id="9" name="Freeform 5">
              <a:extLst>
                <a:ext uri="{FF2B5EF4-FFF2-40B4-BE49-F238E27FC236}">
                  <a16:creationId xmlns:a16="http://schemas.microsoft.com/office/drawing/2014/main" id="{5CE13AFD-214E-24E8-0633-0508635B5C0E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  <p:sp>
          <p:nvSpPr>
            <p:cNvPr id="10" name="Freeform 6">
              <a:extLst>
                <a:ext uri="{FF2B5EF4-FFF2-40B4-BE49-F238E27FC236}">
                  <a16:creationId xmlns:a16="http://schemas.microsoft.com/office/drawing/2014/main" id="{A88E5DF2-C2EC-705B-7734-81A5ACCECEC3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  <p:sp>
          <p:nvSpPr>
            <p:cNvPr id="11" name="Freeform 7">
              <a:extLst>
                <a:ext uri="{FF2B5EF4-FFF2-40B4-BE49-F238E27FC236}">
                  <a16:creationId xmlns:a16="http://schemas.microsoft.com/office/drawing/2014/main" id="{2EF38C94-0C58-F9C8-0963-86769B7977B3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28880752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colorful light in the dark&#10;&#10;Description automatically generated">
            <a:extLst>
              <a:ext uri="{FF2B5EF4-FFF2-40B4-BE49-F238E27FC236}">
                <a16:creationId xmlns:a16="http://schemas.microsoft.com/office/drawing/2014/main" id="{A6C92DE9-1F7F-6A8E-389D-FBCE38254ADC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0"/>
            <a:ext cx="12199551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CB74E28-9D0B-F1B4-F101-2628EB1EA4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6029" y="1970406"/>
            <a:ext cx="7398426" cy="2869882"/>
          </a:xfrm>
        </p:spPr>
        <p:txBody>
          <a:bodyPr anchor="t"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475298B-22BF-3DF1-FBE7-DF673E5A273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86029" y="370800"/>
            <a:ext cx="7398426" cy="313932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buNone/>
              <a:defRPr lang="en-US" sz="2400" b="1" i="0" kern="1200" dirty="0">
                <a:solidFill>
                  <a:schemeClr val="tx2"/>
                </a:solidFill>
                <a:latin typeface="+mj-lt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GB"/>
              <a:t>Chapter 00</a:t>
            </a:r>
            <a:endParaRPr lang="en-US"/>
          </a:p>
        </p:txBody>
      </p:sp>
      <p:sp>
        <p:nvSpPr>
          <p:cNvPr id="13" name="Date Placeholder 12">
            <a:extLst>
              <a:ext uri="{FF2B5EF4-FFF2-40B4-BE49-F238E27FC236}">
                <a16:creationId xmlns:a16="http://schemas.microsoft.com/office/drawing/2014/main" id="{A4B60AF8-644E-A0B2-7653-4332A03759FC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637D316F-1268-4431-A741-5D0F481E1DCF}" type="datetime1">
              <a:rPr lang="en-US" smtClean="0"/>
              <a:t>3/14/25</a:t>
            </a:fld>
            <a:endParaRPr lang="en-US"/>
          </a:p>
        </p:txBody>
      </p:sp>
      <p:sp>
        <p:nvSpPr>
          <p:cNvPr id="14" name="Footer Placeholder 13">
            <a:extLst>
              <a:ext uri="{FF2B5EF4-FFF2-40B4-BE49-F238E27FC236}">
                <a16:creationId xmlns:a16="http://schemas.microsoft.com/office/drawing/2014/main" id="{466D1FDE-8AD4-4D56-5318-1DD8ED2FCAC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Insert footer text here</a:t>
            </a:r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180F9161-0A5B-9390-AAC5-925D1AE2AA8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1BC30E3-FFE5-4B91-AA19-87A149EBB9EE}" type="slidenum">
              <a:rPr lang="en-GB" smtClean="0"/>
              <a:pPr/>
              <a:t>‹#›</a:t>
            </a:fld>
            <a:endParaRPr lang="en-GB"/>
          </a:p>
        </p:txBody>
      </p:sp>
      <p:grpSp>
        <p:nvGrpSpPr>
          <p:cNvPr id="9" name="Group 4">
            <a:extLst>
              <a:ext uri="{FF2B5EF4-FFF2-40B4-BE49-F238E27FC236}">
                <a16:creationId xmlns:a16="http://schemas.microsoft.com/office/drawing/2014/main" id="{DFFE949A-6E9F-DCCB-3981-444F818B70A6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11629954" y="6276978"/>
            <a:ext cx="346338" cy="355219"/>
            <a:chOff x="7110" y="4004"/>
            <a:chExt cx="191" cy="196"/>
          </a:xfrm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6E874CEB-2D3F-A7FC-68BB-B1E5B73F857B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  <p:sp>
          <p:nvSpPr>
            <p:cNvPr id="11" name="Freeform 6">
              <a:extLst>
                <a:ext uri="{FF2B5EF4-FFF2-40B4-BE49-F238E27FC236}">
                  <a16:creationId xmlns:a16="http://schemas.microsoft.com/office/drawing/2014/main" id="{4BE24A05-3707-8B71-381D-4FC6EE679AFA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  <p:sp>
          <p:nvSpPr>
            <p:cNvPr id="12" name="Freeform 7">
              <a:extLst>
                <a:ext uri="{FF2B5EF4-FFF2-40B4-BE49-F238E27FC236}">
                  <a16:creationId xmlns:a16="http://schemas.microsoft.com/office/drawing/2014/main" id="{FEF9B997-BE91-43C4-F809-E78685E578A3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65733782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A blurry image of a rainbow&#10;&#10;Description automatically generated">
            <a:extLst>
              <a:ext uri="{FF2B5EF4-FFF2-40B4-BE49-F238E27FC236}">
                <a16:creationId xmlns:a16="http://schemas.microsoft.com/office/drawing/2014/main" id="{C8E8709F-6A78-59BB-D254-AE4C7F2A57D8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0"/>
            <a:ext cx="12199551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CB74E28-9D0B-F1B4-F101-2628EB1EA4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6029" y="1970406"/>
            <a:ext cx="7398426" cy="2869882"/>
          </a:xfrm>
        </p:spPr>
        <p:txBody>
          <a:bodyPr anchor="t"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475298B-22BF-3DF1-FBE7-DF673E5A273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86029" y="370800"/>
            <a:ext cx="7398426" cy="313932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buNone/>
              <a:defRPr lang="en-US" sz="2400" b="1" i="0" kern="1200" dirty="0">
                <a:solidFill>
                  <a:schemeClr val="tx2"/>
                </a:solidFill>
                <a:latin typeface="+mj-lt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GB"/>
              <a:t>Chapter 00</a:t>
            </a:r>
            <a:endParaRPr lang="en-US"/>
          </a:p>
        </p:txBody>
      </p:sp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FA3F83A6-1D48-7A59-F89B-1AD446292A93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535555C3-DC00-46EA-9086-667F713D2BC0}" type="datetime1">
              <a:rPr lang="en-US" smtClean="0"/>
              <a:t>3/14/25</a:t>
            </a:fld>
            <a:endParaRPr lang="en-US"/>
          </a:p>
        </p:txBody>
      </p:sp>
      <p:sp>
        <p:nvSpPr>
          <p:cNvPr id="15" name="Footer Placeholder 14">
            <a:extLst>
              <a:ext uri="{FF2B5EF4-FFF2-40B4-BE49-F238E27FC236}">
                <a16:creationId xmlns:a16="http://schemas.microsoft.com/office/drawing/2014/main" id="{7E103D91-874B-B49F-B9D9-85F52EAD810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Insert footer text here</a:t>
            </a:r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0C95BFB4-BABD-DFFF-43A5-9ABB8A6638B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1BC30E3-FFE5-4B91-AA19-87A149EBB9EE}" type="slidenum">
              <a:rPr lang="en-GB" smtClean="0"/>
              <a:pPr/>
              <a:t>‹#›</a:t>
            </a:fld>
            <a:endParaRPr lang="en-GB"/>
          </a:p>
        </p:txBody>
      </p:sp>
      <p:grpSp>
        <p:nvGrpSpPr>
          <p:cNvPr id="3" name="Group 4">
            <a:extLst>
              <a:ext uri="{FF2B5EF4-FFF2-40B4-BE49-F238E27FC236}">
                <a16:creationId xmlns:a16="http://schemas.microsoft.com/office/drawing/2014/main" id="{798A70C5-9B3E-7941-E067-8A9791BCF2D1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11629954" y="6276978"/>
            <a:ext cx="346338" cy="355219"/>
            <a:chOff x="7110" y="4004"/>
            <a:chExt cx="191" cy="196"/>
          </a:xfrm>
        </p:grpSpPr>
        <p:sp>
          <p:nvSpPr>
            <p:cNvPr id="4" name="Freeform 5">
              <a:extLst>
                <a:ext uri="{FF2B5EF4-FFF2-40B4-BE49-F238E27FC236}">
                  <a16:creationId xmlns:a16="http://schemas.microsoft.com/office/drawing/2014/main" id="{FF0F4F06-C9A4-A997-AB67-59B717C13766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  <p:sp>
          <p:nvSpPr>
            <p:cNvPr id="5" name="Freeform 6">
              <a:extLst>
                <a:ext uri="{FF2B5EF4-FFF2-40B4-BE49-F238E27FC236}">
                  <a16:creationId xmlns:a16="http://schemas.microsoft.com/office/drawing/2014/main" id="{D63C193D-825D-B7A7-F2EF-F53A60100122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  <p:sp>
          <p:nvSpPr>
            <p:cNvPr id="6" name="Freeform 7">
              <a:extLst>
                <a:ext uri="{FF2B5EF4-FFF2-40B4-BE49-F238E27FC236}">
                  <a16:creationId xmlns:a16="http://schemas.microsoft.com/office/drawing/2014/main" id="{44996D9C-EDDB-9A0C-B93D-E5808F8C79D2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39266382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colorful circle on a black background&#10;&#10;Description automatically generated">
            <a:extLst>
              <a:ext uri="{FF2B5EF4-FFF2-40B4-BE49-F238E27FC236}">
                <a16:creationId xmlns:a16="http://schemas.microsoft.com/office/drawing/2014/main" id="{9B1A0959-0F7F-FF84-F8C5-2E76E9D45F4F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0"/>
            <a:ext cx="12199551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CB74E28-9D0B-F1B4-F101-2628EB1EA4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6029" y="1970406"/>
            <a:ext cx="7398426" cy="2869882"/>
          </a:xfrm>
        </p:spPr>
        <p:txBody>
          <a:bodyPr anchor="t"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475298B-22BF-3DF1-FBE7-DF673E5A273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86029" y="370800"/>
            <a:ext cx="7398426" cy="313932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buNone/>
              <a:defRPr lang="en-US" sz="2400" b="1" i="0" kern="1200" dirty="0">
                <a:solidFill>
                  <a:schemeClr val="tx2"/>
                </a:solidFill>
                <a:latin typeface="+mj-lt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GB"/>
              <a:t>Chapter 00</a:t>
            </a:r>
            <a:endParaRPr lang="en-US"/>
          </a:p>
        </p:txBody>
      </p:sp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B5D9BED5-140F-F03D-CA60-9453F1A86D9C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7C227FF4-7010-4A9A-B837-FB3A97078B9E}" type="datetime1">
              <a:rPr lang="en-US" smtClean="0"/>
              <a:t>3/14/25</a:t>
            </a:fld>
            <a:endParaRPr lang="en-US"/>
          </a:p>
        </p:txBody>
      </p:sp>
      <p:sp>
        <p:nvSpPr>
          <p:cNvPr id="15" name="Footer Placeholder 14">
            <a:extLst>
              <a:ext uri="{FF2B5EF4-FFF2-40B4-BE49-F238E27FC236}">
                <a16:creationId xmlns:a16="http://schemas.microsoft.com/office/drawing/2014/main" id="{E931943E-2952-F25A-ECCA-F329235A737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Insert footer text here</a:t>
            </a:r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EBCB7712-53BF-0892-3D4B-354DE5C528E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1BC30E3-FFE5-4B91-AA19-87A149EBB9EE}" type="slidenum">
              <a:rPr lang="en-GB" smtClean="0"/>
              <a:pPr/>
              <a:t>‹#›</a:t>
            </a:fld>
            <a:endParaRPr lang="en-GB"/>
          </a:p>
        </p:txBody>
      </p:sp>
      <p:grpSp>
        <p:nvGrpSpPr>
          <p:cNvPr id="9" name="Group 4">
            <a:extLst>
              <a:ext uri="{FF2B5EF4-FFF2-40B4-BE49-F238E27FC236}">
                <a16:creationId xmlns:a16="http://schemas.microsoft.com/office/drawing/2014/main" id="{A2CBC4E2-6D56-5589-38B7-123BB8BE7485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11629954" y="6276978"/>
            <a:ext cx="346338" cy="355219"/>
            <a:chOff x="7110" y="4004"/>
            <a:chExt cx="191" cy="196"/>
          </a:xfrm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A8D992E6-EAE7-83CF-5B22-7C7DCDB38DCD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  <p:sp>
          <p:nvSpPr>
            <p:cNvPr id="11" name="Freeform 6">
              <a:extLst>
                <a:ext uri="{FF2B5EF4-FFF2-40B4-BE49-F238E27FC236}">
                  <a16:creationId xmlns:a16="http://schemas.microsoft.com/office/drawing/2014/main" id="{DDA26C30-C61D-FE6C-E1DC-6A89E2511A95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  <p:sp>
          <p:nvSpPr>
            <p:cNvPr id="12" name="Freeform 7">
              <a:extLst>
                <a:ext uri="{FF2B5EF4-FFF2-40B4-BE49-F238E27FC236}">
                  <a16:creationId xmlns:a16="http://schemas.microsoft.com/office/drawing/2014/main" id="{69AE1E0B-DC05-6DB6-F457-D229556B4C49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8797521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9" y="294200"/>
            <a:ext cx="10978515" cy="590400"/>
          </a:xfrm>
        </p:spPr>
        <p:txBody>
          <a:bodyPr/>
          <a:lstStyle>
            <a:lvl1pPr>
              <a:defRPr sz="2399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C56F6B4-9E49-490D-8FE1-DB9035090F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IN"/>
              <a:t>Presentation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3C35AEC-478D-4BBF-9883-4CE09EB36A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AC5F387F-0A77-424D-88D8-FFE5F0CA22D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919" y="1137920"/>
            <a:ext cx="10978515" cy="49479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18510818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blurry image of a rainbow&#10;&#10;Description automatically generated">
            <a:extLst>
              <a:ext uri="{FF2B5EF4-FFF2-40B4-BE49-F238E27FC236}">
                <a16:creationId xmlns:a16="http://schemas.microsoft.com/office/drawing/2014/main" id="{36630E4E-7F64-A84B-6022-F16994E95375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0"/>
            <a:ext cx="12199551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CB74E28-9D0B-F1B4-F101-2628EB1EA4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6029" y="3053616"/>
            <a:ext cx="7398426" cy="2869882"/>
          </a:xfrm>
        </p:spPr>
        <p:txBody>
          <a:bodyPr anchor="t"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475298B-22BF-3DF1-FBE7-DF673E5A273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86029" y="370800"/>
            <a:ext cx="7398426" cy="2169200"/>
          </a:xfrm>
        </p:spPr>
        <p:txBody>
          <a:bodyPr lIns="0" tIns="0" rIns="0" bIns="0" anchor="b">
            <a:noAutofit/>
          </a:bodyPr>
          <a:lstStyle>
            <a:lvl1pPr marL="0" indent="0">
              <a:lnSpc>
                <a:spcPct val="85000"/>
              </a:lnSpc>
              <a:spcAft>
                <a:spcPts val="0"/>
              </a:spcAft>
              <a:buNone/>
              <a:defRPr kumimoji="0" lang="en-US" sz="16600" b="1" i="0" u="none" strike="noStrike" kern="1200" cap="none" spc="0" normalizeH="0" baseline="0" dirty="0">
                <a:ln>
                  <a:noFill/>
                </a:ln>
                <a:solidFill>
                  <a:srgbClr val="747480">
                    <a:alpha val="50000"/>
                  </a:srgbClr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defRPr>
            </a:lvl1pPr>
          </a:lstStyle>
          <a:p>
            <a:pPr marL="0" marR="0" lvl="0" indent="0" algn="l" defTabSz="10078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00</a:t>
            </a:r>
            <a:endParaRPr lang="en-US"/>
          </a:p>
        </p:txBody>
      </p:sp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B5D9BED5-140F-F03D-CA60-9453F1A86D9C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6564291-F29B-4C72-84F6-A40A5470E5DC}" type="datetime1">
              <a:rPr lang="en-US" smtClean="0"/>
              <a:t>3/14/25</a:t>
            </a:fld>
            <a:endParaRPr lang="en-US"/>
          </a:p>
        </p:txBody>
      </p:sp>
      <p:sp>
        <p:nvSpPr>
          <p:cNvPr id="15" name="Footer Placeholder 14">
            <a:extLst>
              <a:ext uri="{FF2B5EF4-FFF2-40B4-BE49-F238E27FC236}">
                <a16:creationId xmlns:a16="http://schemas.microsoft.com/office/drawing/2014/main" id="{E931943E-2952-F25A-ECCA-F329235A737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Insert footer text here</a:t>
            </a:r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EBCB7712-53BF-0892-3D4B-354DE5C528E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1BC30E3-FFE5-4B91-AA19-87A149EBB9EE}" type="slidenum">
              <a:rPr lang="en-GB" smtClean="0"/>
              <a:pPr/>
              <a:t>‹#›</a:t>
            </a:fld>
            <a:endParaRPr lang="en-GB"/>
          </a:p>
        </p:txBody>
      </p:sp>
      <p:grpSp>
        <p:nvGrpSpPr>
          <p:cNvPr id="9" name="Group 4">
            <a:extLst>
              <a:ext uri="{FF2B5EF4-FFF2-40B4-BE49-F238E27FC236}">
                <a16:creationId xmlns:a16="http://schemas.microsoft.com/office/drawing/2014/main" id="{F2D79ED6-4894-2B8B-D862-974AC88E705C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11629954" y="6276978"/>
            <a:ext cx="346338" cy="355219"/>
            <a:chOff x="7110" y="4004"/>
            <a:chExt cx="191" cy="196"/>
          </a:xfrm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7F6B658B-99C5-075E-8FBB-F68A5010C408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  <p:sp>
          <p:nvSpPr>
            <p:cNvPr id="11" name="Freeform 6">
              <a:extLst>
                <a:ext uri="{FF2B5EF4-FFF2-40B4-BE49-F238E27FC236}">
                  <a16:creationId xmlns:a16="http://schemas.microsoft.com/office/drawing/2014/main" id="{4D5FE3CF-44B0-DC6A-D098-1142A9EF999E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  <p:sp>
          <p:nvSpPr>
            <p:cNvPr id="13" name="Freeform 7">
              <a:extLst>
                <a:ext uri="{FF2B5EF4-FFF2-40B4-BE49-F238E27FC236}">
                  <a16:creationId xmlns:a16="http://schemas.microsoft.com/office/drawing/2014/main" id="{0B46547D-1401-03DA-C2CC-733F034C7907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39203837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A blurry image of a rainbow&#10;&#10;Description automatically generated">
            <a:extLst>
              <a:ext uri="{FF2B5EF4-FFF2-40B4-BE49-F238E27FC236}">
                <a16:creationId xmlns:a16="http://schemas.microsoft.com/office/drawing/2014/main" id="{0CF60EBF-BB0E-A13F-6F1D-8E03C5FC39A6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0"/>
            <a:ext cx="12199551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930FFC6-DEA1-5FCD-0ABD-350186ADBF5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777" y="369888"/>
            <a:ext cx="3316427" cy="470898"/>
          </a:xfrm>
        </p:spPr>
        <p:txBody>
          <a:bodyPr/>
          <a:lstStyle/>
          <a:p>
            <a:r>
              <a:rPr lang="en-GB"/>
              <a:t>Contents</a:t>
            </a:r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7B8AEA00-448F-1217-B10E-ABF6D402B4C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86028" y="1411288"/>
            <a:ext cx="5101706" cy="4638675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GB"/>
              <a:t>Introduction text goes here and delete the bullet if not required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6" name="Date Placeholder 15">
            <a:extLst>
              <a:ext uri="{FF2B5EF4-FFF2-40B4-BE49-F238E27FC236}">
                <a16:creationId xmlns:a16="http://schemas.microsoft.com/office/drawing/2014/main" id="{6B67F104-BCCD-4057-9F3C-70C29E057A50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E06A2DFB-6B6C-4D18-9FE2-B8F776637D13}" type="datetime1">
              <a:rPr lang="en-US" smtClean="0"/>
              <a:t>3/14/25</a:t>
            </a:fld>
            <a:endParaRPr lang="en-US"/>
          </a:p>
        </p:txBody>
      </p:sp>
      <p:sp>
        <p:nvSpPr>
          <p:cNvPr id="17" name="Footer Placeholder 16">
            <a:extLst>
              <a:ext uri="{FF2B5EF4-FFF2-40B4-BE49-F238E27FC236}">
                <a16:creationId xmlns:a16="http://schemas.microsoft.com/office/drawing/2014/main" id="{6880D4C2-A728-3810-8EAF-6AC78A949BE5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/>
              <a:t>Insert footer text here</a:t>
            </a:r>
          </a:p>
        </p:txBody>
      </p:sp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4CB206C2-DFD0-9033-25AE-68BCB50C1933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F1BC30E3-FFE5-4B91-AA19-87A149EBB9EE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4A244641-8AF5-E5A2-18FB-105E0DDC424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102824" y="1411288"/>
            <a:ext cx="5613147" cy="4638675"/>
          </a:xfrm>
        </p:spPr>
        <p:txBody>
          <a:bodyPr/>
          <a:lstStyle>
            <a:lvl1pPr marL="457200" indent="-457200">
              <a:buFont typeface="+mj-lt"/>
              <a:buAutoNum type="arabicPeriod"/>
              <a:defRPr sz="1800"/>
            </a:lvl1pPr>
            <a:lvl2pPr marL="914400" indent="-457200">
              <a:defRPr sz="1600"/>
            </a:lvl2pPr>
            <a:lvl3pPr marL="914400" indent="-457200">
              <a:defRPr sz="1600"/>
            </a:lvl3pPr>
            <a:lvl4pPr marL="914400" indent="-457200">
              <a:defRPr sz="1400"/>
            </a:lvl4pPr>
            <a:lvl5pPr marL="914400" indent="-457200">
              <a:defRPr sz="1400"/>
            </a:lvl5pPr>
          </a:lstStyle>
          <a:p>
            <a:pPr lvl="0"/>
            <a:r>
              <a:rPr lang="en-IN"/>
              <a:t>Section header goes here and to insert page numbers use the tab button on the keyboard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grpSp>
        <p:nvGrpSpPr>
          <p:cNvPr id="4" name="Group 4">
            <a:extLst>
              <a:ext uri="{FF2B5EF4-FFF2-40B4-BE49-F238E27FC236}">
                <a16:creationId xmlns:a16="http://schemas.microsoft.com/office/drawing/2014/main" id="{6A947DDB-75DB-76B2-ADC5-D93B38D4183D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11629954" y="6276978"/>
            <a:ext cx="346338" cy="355219"/>
            <a:chOff x="7110" y="4004"/>
            <a:chExt cx="191" cy="196"/>
          </a:xfrm>
        </p:grpSpPr>
        <p:sp>
          <p:nvSpPr>
            <p:cNvPr id="9" name="Freeform 5">
              <a:extLst>
                <a:ext uri="{FF2B5EF4-FFF2-40B4-BE49-F238E27FC236}">
                  <a16:creationId xmlns:a16="http://schemas.microsoft.com/office/drawing/2014/main" id="{777A9F83-CB8D-4479-6968-8B47D931EEBA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  <p:sp>
          <p:nvSpPr>
            <p:cNvPr id="10" name="Freeform 6">
              <a:extLst>
                <a:ext uri="{FF2B5EF4-FFF2-40B4-BE49-F238E27FC236}">
                  <a16:creationId xmlns:a16="http://schemas.microsoft.com/office/drawing/2014/main" id="{6B1C04DF-19FD-1D5D-56C9-211BF50EB230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  <p:sp>
          <p:nvSpPr>
            <p:cNvPr id="13" name="Freeform 7">
              <a:extLst>
                <a:ext uri="{FF2B5EF4-FFF2-40B4-BE49-F238E27FC236}">
                  <a16:creationId xmlns:a16="http://schemas.microsoft.com/office/drawing/2014/main" id="{7297F736-140F-E853-3848-EA573A1B3C51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67942084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bright light in the dark&#10;&#10;Description automatically generated">
            <a:extLst>
              <a:ext uri="{FF2B5EF4-FFF2-40B4-BE49-F238E27FC236}">
                <a16:creationId xmlns:a16="http://schemas.microsoft.com/office/drawing/2014/main" id="{C6893964-B096-BBF5-42BC-1EAE055022BA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0"/>
            <a:ext cx="12199551" cy="6858000"/>
          </a:xfrm>
          <a:prstGeom prst="rect">
            <a:avLst/>
          </a:prstGeom>
        </p:spPr>
      </p:pic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B9199D71-1BDD-2925-CD92-9B0B3F8439E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2757957" y="1411288"/>
            <a:ext cx="1874196" cy="2031325"/>
          </a:xfrm>
        </p:spPr>
        <p:txBody>
          <a:bodyPr wrap="square">
            <a:spAutoFit/>
          </a:bodyPr>
          <a:lstStyle>
            <a:lvl1pPr marL="0" indent="0">
              <a:buNone/>
              <a:defRPr sz="13200"/>
            </a:lvl1pPr>
          </a:lstStyle>
          <a:p>
            <a:pPr lvl="0"/>
            <a:r>
              <a:rPr lang="en-GB"/>
              <a:t>0</a:t>
            </a:r>
            <a:endParaRPr lang="en-US"/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F8391354-FDE4-DE4D-8084-A61467B9F41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 flipH="1">
            <a:off x="2846903" y="3642518"/>
            <a:ext cx="1786530" cy="2407444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pPr lvl="0"/>
            <a:r>
              <a:rPr lang="en-GB"/>
              <a:t>Agenda text goes here and delete the bullet if not required</a:t>
            </a:r>
            <a:endParaRPr lang="en-US"/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F575A1BC-5BD6-1793-C917-0720FC3DE98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5119084" y="1411288"/>
            <a:ext cx="1874196" cy="2031325"/>
          </a:xfrm>
        </p:spPr>
        <p:txBody>
          <a:bodyPr wrap="square">
            <a:spAutoFit/>
          </a:bodyPr>
          <a:lstStyle>
            <a:lvl1pPr marL="0" indent="0">
              <a:buNone/>
              <a:defRPr sz="13200"/>
            </a:lvl1pPr>
          </a:lstStyle>
          <a:p>
            <a:pPr lvl="0"/>
            <a:r>
              <a:rPr lang="en-GB"/>
              <a:t>0</a:t>
            </a:r>
            <a:endParaRPr lang="en-US"/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F9CBCE1B-3F39-C7B5-CCE2-AE84242E7749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 flipH="1">
            <a:off x="5208030" y="3642518"/>
            <a:ext cx="1786530" cy="2407444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pPr lvl="0"/>
            <a:r>
              <a:rPr lang="en-GB"/>
              <a:t>Agenda text goes here and delete the bullet if not required</a:t>
            </a:r>
            <a:endParaRPr lang="en-US"/>
          </a:p>
        </p:txBody>
      </p:sp>
      <p:sp>
        <p:nvSpPr>
          <p:cNvPr id="25" name="Text Placeholder 6">
            <a:extLst>
              <a:ext uri="{FF2B5EF4-FFF2-40B4-BE49-F238E27FC236}">
                <a16:creationId xmlns:a16="http://schemas.microsoft.com/office/drawing/2014/main" id="{814015C2-B8E4-B890-4CD0-F6A3A2052CAC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7569157" y="3642518"/>
            <a:ext cx="1786530" cy="2407444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pPr lvl="0"/>
            <a:r>
              <a:rPr lang="en-GB"/>
              <a:t>Agenda text goes here and delete the bullet if not required</a:t>
            </a:r>
            <a:endParaRPr lang="en-US"/>
          </a:p>
        </p:txBody>
      </p:sp>
      <p:sp>
        <p:nvSpPr>
          <p:cNvPr id="30" name="Text Placeholder 9">
            <a:extLst>
              <a:ext uri="{FF2B5EF4-FFF2-40B4-BE49-F238E27FC236}">
                <a16:creationId xmlns:a16="http://schemas.microsoft.com/office/drawing/2014/main" id="{37959C9A-F406-FB92-6FFF-08F42234CF91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9841337" y="1411288"/>
            <a:ext cx="1874196" cy="2031325"/>
          </a:xfrm>
        </p:spPr>
        <p:txBody>
          <a:bodyPr wrap="square">
            <a:spAutoFit/>
          </a:bodyPr>
          <a:lstStyle>
            <a:lvl1pPr marL="0" indent="0">
              <a:buNone/>
              <a:defRPr sz="13200"/>
            </a:lvl1pPr>
          </a:lstStyle>
          <a:p>
            <a:pPr lvl="0"/>
            <a:r>
              <a:rPr lang="en-GB"/>
              <a:t>0</a:t>
            </a:r>
            <a:endParaRPr lang="en-US"/>
          </a:p>
        </p:txBody>
      </p:sp>
      <p:sp>
        <p:nvSpPr>
          <p:cNvPr id="34" name="Text Placeholder 6">
            <a:extLst>
              <a:ext uri="{FF2B5EF4-FFF2-40B4-BE49-F238E27FC236}">
                <a16:creationId xmlns:a16="http://schemas.microsoft.com/office/drawing/2014/main" id="{BC6A6256-32C1-F83C-4A32-D674785CF1DF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9930283" y="3642518"/>
            <a:ext cx="1786530" cy="2407444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pPr lvl="0"/>
            <a:r>
              <a:rPr lang="en-GB"/>
              <a:t>Agenda text goes here and delete the bullet if not required</a:t>
            </a: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49EC5F5-14E0-4B05-29E6-E9A059AA10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776" y="369888"/>
            <a:ext cx="11230193" cy="470898"/>
          </a:xfrm>
        </p:spPr>
        <p:txBody>
          <a:bodyPr/>
          <a:lstStyle/>
          <a:p>
            <a:r>
              <a:rPr lang="en-GB"/>
              <a:t>Agenda</a:t>
            </a:r>
            <a:endParaRPr lang="en-US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920A2165-CDB3-28AA-F42A-E5E3D72C144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96829" y="1411288"/>
            <a:ext cx="1874196" cy="2031325"/>
          </a:xfrm>
        </p:spPr>
        <p:txBody>
          <a:bodyPr wrap="square">
            <a:spAutoFit/>
          </a:bodyPr>
          <a:lstStyle>
            <a:lvl1pPr marL="0" indent="0">
              <a:buNone/>
              <a:defRPr sz="13200"/>
            </a:lvl1pPr>
          </a:lstStyle>
          <a:p>
            <a:pPr lvl="0"/>
            <a:r>
              <a:rPr lang="en-GB"/>
              <a:t>0</a:t>
            </a:r>
            <a:endParaRPr lang="en-US"/>
          </a:p>
        </p:txBody>
      </p:sp>
      <p:sp>
        <p:nvSpPr>
          <p:cNvPr id="3" name="Text Placeholder 6">
            <a:extLst>
              <a:ext uri="{FF2B5EF4-FFF2-40B4-BE49-F238E27FC236}">
                <a16:creationId xmlns:a16="http://schemas.microsoft.com/office/drawing/2014/main" id="{F78D4931-12A7-7D80-F380-EDF6BE10CA42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85776" y="3642518"/>
            <a:ext cx="1786530" cy="2407444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pPr lvl="0"/>
            <a:r>
              <a:rPr lang="en-GB"/>
              <a:t>Agenda text goes here and delete the bullet if not required</a:t>
            </a:r>
            <a:endParaRPr lang="en-US"/>
          </a:p>
        </p:txBody>
      </p: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38D52684-7A0E-2BDF-C56C-F721FED04E3A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480211" y="1411288"/>
            <a:ext cx="1874196" cy="2031325"/>
          </a:xfrm>
        </p:spPr>
        <p:txBody>
          <a:bodyPr wrap="square">
            <a:spAutoFit/>
          </a:bodyPr>
          <a:lstStyle>
            <a:lvl1pPr marL="0" indent="0">
              <a:buNone/>
              <a:defRPr sz="13200"/>
            </a:lvl1pPr>
          </a:lstStyle>
          <a:p>
            <a:pPr lvl="0"/>
            <a:r>
              <a:rPr lang="en-GB"/>
              <a:t>0</a:t>
            </a:r>
            <a:endParaRPr lang="en-US"/>
          </a:p>
        </p:txBody>
      </p:sp>
      <p:sp>
        <p:nvSpPr>
          <p:cNvPr id="36" name="SmartArt Placeholder 35">
            <a:extLst>
              <a:ext uri="{FF2B5EF4-FFF2-40B4-BE49-F238E27FC236}">
                <a16:creationId xmlns:a16="http://schemas.microsoft.com/office/drawing/2014/main" id="{6D23DAA3-59C7-A352-8728-D157F22D25EF}"/>
              </a:ext>
            </a:extLst>
          </p:cNvPr>
          <p:cNvSpPr>
            <a:spLocks noGrp="1"/>
          </p:cNvSpPr>
          <p:nvPr>
            <p:ph type="dgm" sz="quarter" idx="36" hasCustomPrompt="1"/>
          </p:nvPr>
        </p:nvSpPr>
        <p:spPr>
          <a:xfrm>
            <a:off x="2557381" y="2020781"/>
            <a:ext cx="3602" cy="4030662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 </a:t>
            </a:r>
          </a:p>
        </p:txBody>
      </p:sp>
      <p:sp>
        <p:nvSpPr>
          <p:cNvPr id="37" name="SmartArt Placeholder 35">
            <a:extLst>
              <a:ext uri="{FF2B5EF4-FFF2-40B4-BE49-F238E27FC236}">
                <a16:creationId xmlns:a16="http://schemas.microsoft.com/office/drawing/2014/main" id="{D33DFC67-321E-4CFE-436A-CF6FA96BA7E4}"/>
              </a:ext>
            </a:extLst>
          </p:cNvPr>
          <p:cNvSpPr>
            <a:spLocks noGrp="1"/>
          </p:cNvSpPr>
          <p:nvPr>
            <p:ph type="dgm" sz="quarter" idx="37" hasCustomPrompt="1"/>
          </p:nvPr>
        </p:nvSpPr>
        <p:spPr>
          <a:xfrm flipH="1">
            <a:off x="4918508" y="2020781"/>
            <a:ext cx="3602" cy="4030662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 </a:t>
            </a:r>
          </a:p>
        </p:txBody>
      </p:sp>
      <p:sp>
        <p:nvSpPr>
          <p:cNvPr id="38" name="SmartArt Placeholder 35">
            <a:extLst>
              <a:ext uri="{FF2B5EF4-FFF2-40B4-BE49-F238E27FC236}">
                <a16:creationId xmlns:a16="http://schemas.microsoft.com/office/drawing/2014/main" id="{A43CB924-4778-AEB3-1D6C-5B802CD043B0}"/>
              </a:ext>
            </a:extLst>
          </p:cNvPr>
          <p:cNvSpPr>
            <a:spLocks noGrp="1"/>
          </p:cNvSpPr>
          <p:nvPr>
            <p:ph type="dgm" sz="quarter" idx="38" hasCustomPrompt="1"/>
          </p:nvPr>
        </p:nvSpPr>
        <p:spPr>
          <a:xfrm>
            <a:off x="7279635" y="2020781"/>
            <a:ext cx="3602" cy="4030662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 </a:t>
            </a:r>
          </a:p>
        </p:txBody>
      </p:sp>
      <p:sp>
        <p:nvSpPr>
          <p:cNvPr id="39" name="SmartArt Placeholder 35">
            <a:extLst>
              <a:ext uri="{FF2B5EF4-FFF2-40B4-BE49-F238E27FC236}">
                <a16:creationId xmlns:a16="http://schemas.microsoft.com/office/drawing/2014/main" id="{225723D6-9330-76F1-3F3B-6A582AC1C154}"/>
              </a:ext>
            </a:extLst>
          </p:cNvPr>
          <p:cNvSpPr>
            <a:spLocks noGrp="1"/>
          </p:cNvSpPr>
          <p:nvPr>
            <p:ph type="dgm" sz="quarter" idx="39" hasCustomPrompt="1"/>
          </p:nvPr>
        </p:nvSpPr>
        <p:spPr>
          <a:xfrm>
            <a:off x="9640763" y="2020781"/>
            <a:ext cx="3602" cy="4030662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 </a:t>
            </a:r>
          </a:p>
        </p:txBody>
      </p:sp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019C0555-55BD-32D2-B375-0C0BC6641F54}"/>
              </a:ext>
            </a:extLst>
          </p:cNvPr>
          <p:cNvSpPr>
            <a:spLocks noGrp="1"/>
          </p:cNvSpPr>
          <p:nvPr>
            <p:ph type="dt" sz="half" idx="40"/>
          </p:nvPr>
        </p:nvSpPr>
        <p:spPr/>
        <p:txBody>
          <a:bodyPr/>
          <a:lstStyle/>
          <a:p>
            <a:fld id="{DA23ABC7-F7D1-458D-8379-E93325B473CE}" type="datetime1">
              <a:rPr lang="en-US" smtClean="0"/>
              <a:t>3/14/25</a:t>
            </a:fld>
            <a:endParaRPr lang="en-US"/>
          </a:p>
        </p:txBody>
      </p:sp>
      <p:sp>
        <p:nvSpPr>
          <p:cNvPr id="15" name="Footer Placeholder 14">
            <a:extLst>
              <a:ext uri="{FF2B5EF4-FFF2-40B4-BE49-F238E27FC236}">
                <a16:creationId xmlns:a16="http://schemas.microsoft.com/office/drawing/2014/main" id="{CAA8F600-C044-B2C2-407F-BE157F6651C1}"/>
              </a:ext>
            </a:extLst>
          </p:cNvPr>
          <p:cNvSpPr>
            <a:spLocks noGrp="1"/>
          </p:cNvSpPr>
          <p:nvPr>
            <p:ph type="ftr" sz="quarter" idx="41"/>
          </p:nvPr>
        </p:nvSpPr>
        <p:spPr/>
        <p:txBody>
          <a:bodyPr/>
          <a:lstStyle/>
          <a:p>
            <a:r>
              <a:rPr lang="en-US"/>
              <a:t>Insert footer text here</a:t>
            </a:r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04E7CD09-1595-ACE1-D22D-0DB2944898EF}"/>
              </a:ext>
            </a:extLst>
          </p:cNvPr>
          <p:cNvSpPr>
            <a:spLocks noGrp="1"/>
          </p:cNvSpPr>
          <p:nvPr>
            <p:ph type="sldNum" sz="quarter" idx="42"/>
          </p:nvPr>
        </p:nvSpPr>
        <p:spPr/>
        <p:txBody>
          <a:bodyPr/>
          <a:lstStyle/>
          <a:p>
            <a:fld id="{F1BC30E3-FFE5-4B91-AA19-87A149EBB9EE}" type="slidenum">
              <a:rPr lang="en-GB" smtClean="0"/>
              <a:pPr/>
              <a:t>‹#›</a:t>
            </a:fld>
            <a:endParaRPr lang="en-GB"/>
          </a:p>
        </p:txBody>
      </p:sp>
      <p:grpSp>
        <p:nvGrpSpPr>
          <p:cNvPr id="9" name="Group 4">
            <a:extLst>
              <a:ext uri="{FF2B5EF4-FFF2-40B4-BE49-F238E27FC236}">
                <a16:creationId xmlns:a16="http://schemas.microsoft.com/office/drawing/2014/main" id="{C73356B1-351A-A1D6-028F-C9736D731FF3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11629954" y="6276978"/>
            <a:ext cx="346338" cy="355219"/>
            <a:chOff x="7110" y="4004"/>
            <a:chExt cx="191" cy="196"/>
          </a:xfrm>
        </p:grpSpPr>
        <p:sp>
          <p:nvSpPr>
            <p:cNvPr id="11" name="Freeform 5">
              <a:extLst>
                <a:ext uri="{FF2B5EF4-FFF2-40B4-BE49-F238E27FC236}">
                  <a16:creationId xmlns:a16="http://schemas.microsoft.com/office/drawing/2014/main" id="{DEE1F1DF-83E2-9910-8487-D0B14E0DA527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  <p:sp>
          <p:nvSpPr>
            <p:cNvPr id="12" name="Freeform 6">
              <a:extLst>
                <a:ext uri="{FF2B5EF4-FFF2-40B4-BE49-F238E27FC236}">
                  <a16:creationId xmlns:a16="http://schemas.microsoft.com/office/drawing/2014/main" id="{86EFBE9B-F67C-6359-549F-FC22A1C483DC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  <p:sp>
          <p:nvSpPr>
            <p:cNvPr id="13" name="Freeform 7">
              <a:extLst>
                <a:ext uri="{FF2B5EF4-FFF2-40B4-BE49-F238E27FC236}">
                  <a16:creationId xmlns:a16="http://schemas.microsoft.com/office/drawing/2014/main" id="{CAEDED04-6A1F-9E39-1C85-4BA396FAFF11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12683541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colorful circle on a black background&#10;&#10;Description automatically generated">
            <a:extLst>
              <a:ext uri="{FF2B5EF4-FFF2-40B4-BE49-F238E27FC236}">
                <a16:creationId xmlns:a16="http://schemas.microsoft.com/office/drawing/2014/main" id="{C39DD3F9-9341-288C-0536-DED981D0E40F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0"/>
            <a:ext cx="12199551" cy="6858000"/>
          </a:xfrm>
          <a:prstGeom prst="rect">
            <a:avLst/>
          </a:prstGeom>
        </p:spPr>
      </p:pic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1F20FD9-346B-5423-9ECF-F0D4E362CCC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86028" y="1411288"/>
            <a:ext cx="11224706" cy="4638675"/>
          </a:xfrm>
        </p:spPr>
        <p:txBody>
          <a:bodyPr/>
          <a:lstStyle>
            <a:lvl1pPr marL="0" indent="0">
              <a:lnSpc>
                <a:spcPct val="85000"/>
              </a:lnSpc>
              <a:buNone/>
              <a:defRPr sz="8000" b="1">
                <a:solidFill>
                  <a:schemeClr val="bg1"/>
                </a:solidFill>
                <a:latin typeface="+mj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2" name="Date Placeholder 11">
            <a:extLst>
              <a:ext uri="{FF2B5EF4-FFF2-40B4-BE49-F238E27FC236}">
                <a16:creationId xmlns:a16="http://schemas.microsoft.com/office/drawing/2014/main" id="{D2006E5E-EB55-C43F-A9B4-8DABEB5C2397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3FD8F32-F279-4432-8A58-F81E65857C65}" type="datetime1">
              <a:rPr lang="en-US" smtClean="0"/>
              <a:t>3/14/25</a:t>
            </a:fld>
            <a:endParaRPr lang="en-US"/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445F7D0D-6905-1D3D-D30A-EBA5E1125CB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Insert footer text here</a:t>
            </a:r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97363F73-563F-BF23-4175-916ADF6ADD1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1BC30E3-FFE5-4B91-AA19-87A149EBB9EE}" type="slidenum">
              <a:rPr lang="en-GB" smtClean="0"/>
              <a:pPr/>
              <a:t>‹#›</a:t>
            </a:fld>
            <a:endParaRPr lang="en-GB"/>
          </a:p>
        </p:txBody>
      </p:sp>
      <p:grpSp>
        <p:nvGrpSpPr>
          <p:cNvPr id="8" name="Group 4">
            <a:extLst>
              <a:ext uri="{FF2B5EF4-FFF2-40B4-BE49-F238E27FC236}">
                <a16:creationId xmlns:a16="http://schemas.microsoft.com/office/drawing/2014/main" id="{05920F1D-0D06-535C-A00E-C9CA8D252741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11629954" y="6276978"/>
            <a:ext cx="346338" cy="355219"/>
            <a:chOff x="7110" y="4004"/>
            <a:chExt cx="191" cy="196"/>
          </a:xfrm>
        </p:grpSpPr>
        <p:sp>
          <p:nvSpPr>
            <p:cNvPr id="9" name="Freeform 5">
              <a:extLst>
                <a:ext uri="{FF2B5EF4-FFF2-40B4-BE49-F238E27FC236}">
                  <a16:creationId xmlns:a16="http://schemas.microsoft.com/office/drawing/2014/main" id="{88A16D72-94EE-8CC0-084C-EB87F8781A1C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  <p:sp>
          <p:nvSpPr>
            <p:cNvPr id="10" name="Freeform 6">
              <a:extLst>
                <a:ext uri="{FF2B5EF4-FFF2-40B4-BE49-F238E27FC236}">
                  <a16:creationId xmlns:a16="http://schemas.microsoft.com/office/drawing/2014/main" id="{E0BB2990-3047-821E-17D7-0DDDFF6CB30A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  <p:sp>
          <p:nvSpPr>
            <p:cNvPr id="11" name="Freeform 7">
              <a:extLst>
                <a:ext uri="{FF2B5EF4-FFF2-40B4-BE49-F238E27FC236}">
                  <a16:creationId xmlns:a16="http://schemas.microsoft.com/office/drawing/2014/main" id="{D3AEE2A3-1722-B883-C7FC-01A81806B299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76092747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blurry image of a colorful light&#10;&#10;Description automatically generated">
            <a:extLst>
              <a:ext uri="{FF2B5EF4-FFF2-40B4-BE49-F238E27FC236}">
                <a16:creationId xmlns:a16="http://schemas.microsoft.com/office/drawing/2014/main" id="{BFF9BC5C-A44C-B902-3ACE-C29AC4CE3E4C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0"/>
            <a:ext cx="12199551" cy="6858000"/>
          </a:xfrm>
          <a:prstGeom prst="rect">
            <a:avLst/>
          </a:prstGeom>
        </p:spPr>
      </p:pic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1F20FD9-346B-5423-9ECF-F0D4E362CCC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86028" y="1411288"/>
            <a:ext cx="11224706" cy="4638675"/>
          </a:xfrm>
        </p:spPr>
        <p:txBody>
          <a:bodyPr/>
          <a:lstStyle>
            <a:lvl1pPr marL="0" indent="0">
              <a:lnSpc>
                <a:spcPct val="85000"/>
              </a:lnSpc>
              <a:buNone/>
              <a:defRPr sz="8000" b="1">
                <a:solidFill>
                  <a:schemeClr val="bg1"/>
                </a:solidFill>
                <a:latin typeface="+mj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7" name="Date Placeholder 16">
            <a:extLst>
              <a:ext uri="{FF2B5EF4-FFF2-40B4-BE49-F238E27FC236}">
                <a16:creationId xmlns:a16="http://schemas.microsoft.com/office/drawing/2014/main" id="{81B29507-2BB1-EC71-EE9B-8A9EE3F01E0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6DF6730-D992-44FA-AE6C-4CBAE491A1A2}" type="datetime1">
              <a:rPr lang="en-US" smtClean="0"/>
              <a:t>3/14/25</a:t>
            </a:fld>
            <a:endParaRPr lang="en-US"/>
          </a:p>
        </p:txBody>
      </p:sp>
      <p:sp>
        <p:nvSpPr>
          <p:cNvPr id="18" name="Footer Placeholder 17">
            <a:extLst>
              <a:ext uri="{FF2B5EF4-FFF2-40B4-BE49-F238E27FC236}">
                <a16:creationId xmlns:a16="http://schemas.microsoft.com/office/drawing/2014/main" id="{E046374F-F6C3-5157-DBE0-F11F0D83F93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Insert footer text here</a:t>
            </a:r>
          </a:p>
        </p:txBody>
      </p:sp>
      <p:sp>
        <p:nvSpPr>
          <p:cNvPr id="19" name="Slide Number Placeholder 18">
            <a:extLst>
              <a:ext uri="{FF2B5EF4-FFF2-40B4-BE49-F238E27FC236}">
                <a16:creationId xmlns:a16="http://schemas.microsoft.com/office/drawing/2014/main" id="{C71B9A51-27B6-2F80-3AE9-7FB15995610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1BC30E3-FFE5-4B91-AA19-87A149EBB9EE}" type="slidenum">
              <a:rPr lang="en-GB" smtClean="0"/>
              <a:pPr/>
              <a:t>‹#›</a:t>
            </a:fld>
            <a:endParaRPr lang="en-GB"/>
          </a:p>
        </p:txBody>
      </p:sp>
      <p:grpSp>
        <p:nvGrpSpPr>
          <p:cNvPr id="6" name="Group 4">
            <a:extLst>
              <a:ext uri="{FF2B5EF4-FFF2-40B4-BE49-F238E27FC236}">
                <a16:creationId xmlns:a16="http://schemas.microsoft.com/office/drawing/2014/main" id="{2C0D9E54-A379-A966-154D-4362D29B3307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11629954" y="6276978"/>
            <a:ext cx="346338" cy="355219"/>
            <a:chOff x="7110" y="4004"/>
            <a:chExt cx="191" cy="196"/>
          </a:xfrm>
        </p:grpSpPr>
        <p:sp>
          <p:nvSpPr>
            <p:cNvPr id="9" name="Freeform 5">
              <a:extLst>
                <a:ext uri="{FF2B5EF4-FFF2-40B4-BE49-F238E27FC236}">
                  <a16:creationId xmlns:a16="http://schemas.microsoft.com/office/drawing/2014/main" id="{19CE3A53-E53C-AAAA-CD1C-C8F1C56FA3B8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  <p:sp>
          <p:nvSpPr>
            <p:cNvPr id="10" name="Freeform 6">
              <a:extLst>
                <a:ext uri="{FF2B5EF4-FFF2-40B4-BE49-F238E27FC236}">
                  <a16:creationId xmlns:a16="http://schemas.microsoft.com/office/drawing/2014/main" id="{A3FDBF06-36FA-A0E2-B3E6-78DF2439777C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  <p:sp>
          <p:nvSpPr>
            <p:cNvPr id="11" name="Freeform 7">
              <a:extLst>
                <a:ext uri="{FF2B5EF4-FFF2-40B4-BE49-F238E27FC236}">
                  <a16:creationId xmlns:a16="http://schemas.microsoft.com/office/drawing/2014/main" id="{584168FE-6E03-EFEE-BF63-87C62DF46A2F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77152501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and 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F86086DA-FAB4-D672-5D3E-0B069D2B24E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0"/>
            <a:ext cx="8390722" cy="6858000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0"/>
                  <a:alpha val="0"/>
                </a:schemeClr>
              </a:gs>
              <a:gs pos="95000">
                <a:srgbClr val="000000">
                  <a:alpha val="70000"/>
                </a:srgbClr>
              </a:gs>
            </a:gsLst>
            <a:lin ang="108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endParaRPr lang="en-US" sz="1200" b="1">
              <a:solidFill>
                <a:schemeClr val="tx1"/>
              </a:solidFill>
            </a:endParaRP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4BA46848-8969-3428-7E66-3827EB17DC5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65410" y="4980758"/>
            <a:ext cx="3446898" cy="193899"/>
          </a:xfrm>
        </p:spPr>
        <p:txBody>
          <a:bodyPr>
            <a:spAutoFit/>
          </a:bodyPr>
          <a:lstStyle>
            <a:lvl1pPr marL="0" indent="0">
              <a:lnSpc>
                <a:spcPct val="90000"/>
              </a:lnSpc>
              <a:buNone/>
              <a:defRPr sz="1400" b="1" i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GB"/>
              <a:t>Name</a:t>
            </a:r>
            <a:endParaRPr lang="en-US"/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78B5CC24-699C-7858-0807-40619F0D533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65412" y="5184857"/>
            <a:ext cx="3446898" cy="153888"/>
          </a:xfrm>
        </p:spPr>
        <p:txBody>
          <a:bodyPr wrap="square">
            <a:spAutoFit/>
          </a:bodyPr>
          <a:lstStyle>
            <a:lvl1pPr marL="0" indent="0">
              <a:buNone/>
              <a:defRPr sz="10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/>
              <a:t>Job title</a:t>
            </a:r>
            <a:endParaRPr lang="en-US"/>
          </a:p>
        </p:txBody>
      </p:sp>
      <p:sp>
        <p:nvSpPr>
          <p:cNvPr id="18" name="Date Placeholder 17">
            <a:extLst>
              <a:ext uri="{FF2B5EF4-FFF2-40B4-BE49-F238E27FC236}">
                <a16:creationId xmlns:a16="http://schemas.microsoft.com/office/drawing/2014/main" id="{DFFEAF1E-587A-2BBD-24CD-BAC3592390EE}"/>
              </a:ext>
            </a:extLst>
          </p:cNvPr>
          <p:cNvSpPr>
            <a:spLocks noGrp="1"/>
          </p:cNvSpPr>
          <p:nvPr>
            <p:ph type="dt" sz="half" idx="31"/>
          </p:nvPr>
        </p:nvSpPr>
        <p:spPr/>
        <p:txBody>
          <a:bodyPr/>
          <a:lstStyle/>
          <a:p>
            <a:fld id="{B4BF55FC-51F2-4183-8D9E-66AF05973F62}" type="datetime1">
              <a:rPr lang="en-US" smtClean="0"/>
              <a:t>3/14/25</a:t>
            </a:fld>
            <a:endParaRPr lang="en-US"/>
          </a:p>
        </p:txBody>
      </p:sp>
      <p:sp>
        <p:nvSpPr>
          <p:cNvPr id="21" name="Footer Placeholder 20">
            <a:extLst>
              <a:ext uri="{FF2B5EF4-FFF2-40B4-BE49-F238E27FC236}">
                <a16:creationId xmlns:a16="http://schemas.microsoft.com/office/drawing/2014/main" id="{7C22E0FE-1715-0380-EFE7-5D520713B07F}"/>
              </a:ext>
            </a:extLst>
          </p:cNvPr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r>
              <a:rPr lang="en-US"/>
              <a:t>Insert footer text here</a:t>
            </a:r>
          </a:p>
        </p:txBody>
      </p:sp>
      <p:sp>
        <p:nvSpPr>
          <p:cNvPr id="22" name="Slide Number Placeholder 21">
            <a:extLst>
              <a:ext uri="{FF2B5EF4-FFF2-40B4-BE49-F238E27FC236}">
                <a16:creationId xmlns:a16="http://schemas.microsoft.com/office/drawing/2014/main" id="{5820BCA4-5D74-8EE6-4914-C7C86F87E378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fld id="{F1BC30E3-FFE5-4B91-AA19-87A149EBB9EE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Text Placeholder 23">
            <a:extLst>
              <a:ext uri="{FF2B5EF4-FFF2-40B4-BE49-F238E27FC236}">
                <a16:creationId xmlns:a16="http://schemas.microsoft.com/office/drawing/2014/main" id="{E82A0447-0820-5F05-7D32-3BE15F194869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73287" y="358917"/>
            <a:ext cx="2024946" cy="1419083"/>
          </a:xfrm>
        </p:spPr>
        <p:txBody>
          <a:bodyPr anchor="t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9200" b="0" i="0">
                <a:solidFill>
                  <a:schemeClr val="tx2"/>
                </a:solidFill>
                <a:latin typeface="Georgia Pro" panose="02040502050405020303" pitchFamily="18" charset="0"/>
              </a:defRPr>
            </a:lvl1pPr>
          </a:lstStyle>
          <a:p>
            <a:pPr lvl="0"/>
            <a:r>
              <a:rPr lang="en-GB"/>
              <a:t>“</a:t>
            </a:r>
          </a:p>
        </p:txBody>
      </p:sp>
      <p:sp>
        <p:nvSpPr>
          <p:cNvPr id="5" name="Text Placeholder 23">
            <a:extLst>
              <a:ext uri="{FF2B5EF4-FFF2-40B4-BE49-F238E27FC236}">
                <a16:creationId xmlns:a16="http://schemas.microsoft.com/office/drawing/2014/main" id="{8A771E8A-8B2A-ED69-3AEC-E5AEDB16F0EE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65410" y="1958114"/>
            <a:ext cx="7528898" cy="2721927"/>
          </a:xfrm>
        </p:spPr>
        <p:txBody>
          <a:bodyPr/>
          <a:lstStyle>
            <a:lvl1pPr marL="0" indent="0">
              <a:buNone/>
              <a:defRPr sz="4800" b="0" i="0">
                <a:latin typeface="Georgia Pro" panose="02040502050405020303" pitchFamily="18" charset="0"/>
              </a:defRPr>
            </a:lvl1pPr>
          </a:lstStyle>
          <a:p>
            <a:pPr lvl="0"/>
            <a:r>
              <a:rPr lang="en-GB"/>
              <a:t>Quote goes here.</a:t>
            </a:r>
          </a:p>
        </p:txBody>
      </p:sp>
      <p:sp>
        <p:nvSpPr>
          <p:cNvPr id="15" name="SmartArt Placeholder 13">
            <a:extLst>
              <a:ext uri="{FF2B5EF4-FFF2-40B4-BE49-F238E27FC236}">
                <a16:creationId xmlns:a16="http://schemas.microsoft.com/office/drawing/2014/main" id="{C17B20F9-AA7C-A405-6236-9619CB287E6A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Grp="1"/>
          </p:cNvSpPr>
          <p:nvPr>
            <p:ph type="dgm" sz="quarter" idx="34" hasCustomPrompt="1"/>
          </p:nvPr>
        </p:nvSpPr>
        <p:spPr bwMode="black">
          <a:xfrm>
            <a:off x="11629954" y="6276977"/>
            <a:ext cx="346338" cy="126864"/>
          </a:xfrm>
          <a:custGeom>
            <a:avLst/>
            <a:gdLst>
              <a:gd name="connsiteX0" fmla="*/ 346158 w 346158"/>
              <a:gd name="connsiteY0" fmla="*/ 0 h 126864"/>
              <a:gd name="connsiteX1" fmla="*/ 346158 w 346158"/>
              <a:gd name="connsiteY1" fmla="*/ 65245 h 126864"/>
              <a:gd name="connsiteX2" fmla="*/ 0 w 346158"/>
              <a:gd name="connsiteY2" fmla="*/ 126864 h 1268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46158" h="126864">
                <a:moveTo>
                  <a:pt x="346158" y="0"/>
                </a:moveTo>
                <a:lnTo>
                  <a:pt x="346158" y="65245"/>
                </a:lnTo>
                <a:lnTo>
                  <a:pt x="0" y="126864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>
            <a:noAutofit/>
          </a:bodyPr>
          <a:lstStyle>
            <a:lvl1pPr marL="0" indent="0">
              <a:buFont typeface="Arial" panose="020B0604020202020204" pitchFamily="34" charset="0"/>
              <a:buNone/>
              <a:defRPr sz="800"/>
            </a:lvl1pPr>
          </a:lstStyle>
          <a:p>
            <a:r>
              <a:rPr lang="en-US"/>
              <a:t> </a:t>
            </a:r>
          </a:p>
        </p:txBody>
      </p:sp>
      <p:sp>
        <p:nvSpPr>
          <p:cNvPr id="17" name="SmartArt Placeholder 14">
            <a:extLst>
              <a:ext uri="{FF2B5EF4-FFF2-40B4-BE49-F238E27FC236}">
                <a16:creationId xmlns:a16="http://schemas.microsoft.com/office/drawing/2014/main" id="{273647F7-B9AC-34AD-37A2-51B8AB0D5811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Grp="1"/>
          </p:cNvSpPr>
          <p:nvPr>
            <p:ph type="dgm" sz="quarter" idx="29" hasCustomPrompt="1"/>
          </p:nvPr>
        </p:nvSpPr>
        <p:spPr bwMode="black">
          <a:xfrm>
            <a:off x="11631767" y="6456400"/>
            <a:ext cx="291940" cy="175797"/>
          </a:xfrm>
          <a:custGeom>
            <a:avLst/>
            <a:gdLst>
              <a:gd name="connsiteX0" fmla="*/ 117803 w 291788"/>
              <a:gd name="connsiteY0" fmla="*/ 0 h 175797"/>
              <a:gd name="connsiteX1" fmla="*/ 175798 w 291788"/>
              <a:gd name="connsiteY1" fmla="*/ 0 h 175797"/>
              <a:gd name="connsiteX2" fmla="*/ 204796 w 291788"/>
              <a:gd name="connsiteY2" fmla="*/ 57995 h 175797"/>
              <a:gd name="connsiteX3" fmla="*/ 233793 w 291788"/>
              <a:gd name="connsiteY3" fmla="*/ 0 h 175797"/>
              <a:gd name="connsiteX4" fmla="*/ 291788 w 291788"/>
              <a:gd name="connsiteY4" fmla="*/ 0 h 175797"/>
              <a:gd name="connsiteX5" fmla="*/ 230168 w 291788"/>
              <a:gd name="connsiteY5" fmla="*/ 105116 h 175797"/>
              <a:gd name="connsiteX6" fmla="*/ 230168 w 291788"/>
              <a:gd name="connsiteY6" fmla="*/ 175797 h 175797"/>
              <a:gd name="connsiteX7" fmla="*/ 177610 w 291788"/>
              <a:gd name="connsiteY7" fmla="*/ 175797 h 175797"/>
              <a:gd name="connsiteX8" fmla="*/ 177610 w 291788"/>
              <a:gd name="connsiteY8" fmla="*/ 105116 h 175797"/>
              <a:gd name="connsiteX9" fmla="*/ 0 w 291788"/>
              <a:gd name="connsiteY9" fmla="*/ 0 h 175797"/>
              <a:gd name="connsiteX10" fmla="*/ 99679 w 291788"/>
              <a:gd name="connsiteY10" fmla="*/ 0 h 175797"/>
              <a:gd name="connsiteX11" fmla="*/ 123240 w 291788"/>
              <a:gd name="connsiteY11" fmla="*/ 39872 h 175797"/>
              <a:gd name="connsiteX12" fmla="*/ 54370 w 291788"/>
              <a:gd name="connsiteY12" fmla="*/ 39872 h 175797"/>
              <a:gd name="connsiteX13" fmla="*/ 54370 w 291788"/>
              <a:gd name="connsiteY13" fmla="*/ 68869 h 175797"/>
              <a:gd name="connsiteX14" fmla="*/ 117802 w 291788"/>
              <a:gd name="connsiteY14" fmla="*/ 68869 h 175797"/>
              <a:gd name="connsiteX15" fmla="*/ 117802 w 291788"/>
              <a:gd name="connsiteY15" fmla="*/ 105116 h 175797"/>
              <a:gd name="connsiteX16" fmla="*/ 54370 w 291788"/>
              <a:gd name="connsiteY16" fmla="*/ 105116 h 175797"/>
              <a:gd name="connsiteX17" fmla="*/ 54370 w 291788"/>
              <a:gd name="connsiteY17" fmla="*/ 134113 h 175797"/>
              <a:gd name="connsiteX18" fmla="*/ 141363 w 291788"/>
              <a:gd name="connsiteY18" fmla="*/ 134113 h 175797"/>
              <a:gd name="connsiteX19" fmla="*/ 141363 w 291788"/>
              <a:gd name="connsiteY19" fmla="*/ 175797 h 175797"/>
              <a:gd name="connsiteX20" fmla="*/ 0 w 291788"/>
              <a:gd name="connsiteY20" fmla="*/ 175797 h 1757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291788" h="175797">
                <a:moveTo>
                  <a:pt x="117803" y="0"/>
                </a:moveTo>
                <a:lnTo>
                  <a:pt x="175798" y="0"/>
                </a:lnTo>
                <a:lnTo>
                  <a:pt x="204796" y="57995"/>
                </a:lnTo>
                <a:lnTo>
                  <a:pt x="233793" y="0"/>
                </a:lnTo>
                <a:lnTo>
                  <a:pt x="291788" y="0"/>
                </a:lnTo>
                <a:lnTo>
                  <a:pt x="230168" y="105116"/>
                </a:lnTo>
                <a:lnTo>
                  <a:pt x="230168" y="175797"/>
                </a:lnTo>
                <a:lnTo>
                  <a:pt x="177610" y="175797"/>
                </a:lnTo>
                <a:lnTo>
                  <a:pt x="177610" y="105116"/>
                </a:lnTo>
                <a:close/>
                <a:moveTo>
                  <a:pt x="0" y="0"/>
                </a:moveTo>
                <a:lnTo>
                  <a:pt x="99679" y="0"/>
                </a:lnTo>
                <a:lnTo>
                  <a:pt x="123240" y="39872"/>
                </a:lnTo>
                <a:lnTo>
                  <a:pt x="54370" y="39872"/>
                </a:lnTo>
                <a:lnTo>
                  <a:pt x="54370" y="68869"/>
                </a:lnTo>
                <a:lnTo>
                  <a:pt x="117802" y="68869"/>
                </a:lnTo>
                <a:lnTo>
                  <a:pt x="117802" y="105116"/>
                </a:lnTo>
                <a:lnTo>
                  <a:pt x="54370" y="105116"/>
                </a:lnTo>
                <a:lnTo>
                  <a:pt x="54370" y="134113"/>
                </a:lnTo>
                <a:lnTo>
                  <a:pt x="141363" y="134113"/>
                </a:lnTo>
                <a:lnTo>
                  <a:pt x="141363" y="175797"/>
                </a:lnTo>
                <a:lnTo>
                  <a:pt x="0" y="175797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>
              <a:buFont typeface="Arial" panose="020B0604020202020204" pitchFamily="34" charset="0"/>
              <a:buNone/>
              <a:defRPr sz="800"/>
            </a:lvl1pPr>
          </a:lstStyle>
          <a:p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827664960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Media Placeholder 6">
            <a:extLst>
              <a:ext uri="{FF2B5EF4-FFF2-40B4-BE49-F238E27FC236}">
                <a16:creationId xmlns:a16="http://schemas.microsoft.com/office/drawing/2014/main" id="{04648CD8-B307-812B-5BD0-91AA365C73D1}"/>
              </a:ext>
            </a:extLst>
          </p:cNvPr>
          <p:cNvSpPr>
            <a:spLocks noGrp="1"/>
          </p:cNvSpPr>
          <p:nvPr>
            <p:ph type="media" sz="quarter" idx="13"/>
          </p:nvPr>
        </p:nvSpPr>
        <p:spPr>
          <a:xfrm>
            <a:off x="0" y="0"/>
            <a:ext cx="12198350" cy="6858000"/>
          </a:xfrm>
        </p:spPr>
        <p:txBody>
          <a:bodyPr/>
          <a:lstStyle/>
          <a:p>
            <a:r>
              <a:rPr lang="en-GB"/>
              <a:t>Click icon to add media</a:t>
            </a:r>
            <a:endParaRPr lang="en-US"/>
          </a:p>
        </p:txBody>
      </p:sp>
      <p:sp>
        <p:nvSpPr>
          <p:cNvPr id="4" name="Date Placeholder 8">
            <a:extLst>
              <a:ext uri="{FF2B5EF4-FFF2-40B4-BE49-F238E27FC236}">
                <a16:creationId xmlns:a16="http://schemas.microsoft.com/office/drawing/2014/main" id="{2B2A75B8-AC69-234D-6453-3F51196FB90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5363" y="6437116"/>
            <a:ext cx="1276350" cy="123111"/>
          </a:xfrm>
        </p:spPr>
        <p:txBody>
          <a:bodyPr/>
          <a:lstStyle/>
          <a:p>
            <a:fld id="{652BD6B2-147A-4042-9CBA-A712275A0170}" type="datetime1">
              <a:rPr lang="en-US" smtClean="0"/>
              <a:t>3/14/25</a:t>
            </a:fld>
            <a:endParaRPr lang="en-US"/>
          </a:p>
        </p:txBody>
      </p:sp>
      <p:sp>
        <p:nvSpPr>
          <p:cNvPr id="5" name="Footer Placeholder 9">
            <a:extLst>
              <a:ext uri="{FF2B5EF4-FFF2-40B4-BE49-F238E27FC236}">
                <a16:creationId xmlns:a16="http://schemas.microsoft.com/office/drawing/2014/main" id="{D1F90C88-74CB-BCA1-B76D-286F3EBEEED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271714" y="6437116"/>
            <a:ext cx="3827462" cy="123111"/>
          </a:xfrm>
        </p:spPr>
        <p:txBody>
          <a:bodyPr/>
          <a:lstStyle/>
          <a:p>
            <a:r>
              <a:rPr lang="en-US"/>
              <a:t>Insert footer text here</a:t>
            </a:r>
          </a:p>
        </p:txBody>
      </p:sp>
      <p:sp>
        <p:nvSpPr>
          <p:cNvPr id="6" name="Slide Number Placeholder 10">
            <a:extLst>
              <a:ext uri="{FF2B5EF4-FFF2-40B4-BE49-F238E27FC236}">
                <a16:creationId xmlns:a16="http://schemas.microsoft.com/office/drawing/2014/main" id="{85104006-7F28-1301-537B-8A44223373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86000" y="6437116"/>
            <a:ext cx="509363" cy="123111"/>
          </a:xfrm>
        </p:spPr>
        <p:txBody>
          <a:bodyPr/>
          <a:lstStyle/>
          <a:p>
            <a:fld id="{F1BC30E3-FFE5-4B91-AA19-87A149EBB9EE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2" name="SmartArt Placeholder 13">
            <a:extLst>
              <a:ext uri="{FF2B5EF4-FFF2-40B4-BE49-F238E27FC236}">
                <a16:creationId xmlns:a16="http://schemas.microsoft.com/office/drawing/2014/main" id="{C1050600-C16E-B87E-A2FD-AE302C51009E}"/>
              </a:ext>
            </a:extLst>
          </p:cNvPr>
          <p:cNvSpPr>
            <a:spLocks noGrp="1"/>
          </p:cNvSpPr>
          <p:nvPr>
            <p:ph type="dgm" sz="quarter" idx="28" hasCustomPrompt="1"/>
          </p:nvPr>
        </p:nvSpPr>
        <p:spPr bwMode="black">
          <a:xfrm>
            <a:off x="11629954" y="6276977"/>
            <a:ext cx="346338" cy="126864"/>
          </a:xfrm>
          <a:custGeom>
            <a:avLst/>
            <a:gdLst>
              <a:gd name="connsiteX0" fmla="*/ 346158 w 346158"/>
              <a:gd name="connsiteY0" fmla="*/ 0 h 126864"/>
              <a:gd name="connsiteX1" fmla="*/ 346158 w 346158"/>
              <a:gd name="connsiteY1" fmla="*/ 65245 h 126864"/>
              <a:gd name="connsiteX2" fmla="*/ 0 w 346158"/>
              <a:gd name="connsiteY2" fmla="*/ 126864 h 1268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46158" h="126864">
                <a:moveTo>
                  <a:pt x="346158" y="0"/>
                </a:moveTo>
                <a:lnTo>
                  <a:pt x="346158" y="65245"/>
                </a:lnTo>
                <a:lnTo>
                  <a:pt x="0" y="126864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>
            <a:noAutofit/>
          </a:bodyPr>
          <a:lstStyle>
            <a:lvl1pPr marL="0" indent="0">
              <a:buFont typeface="Arial" panose="020B0604020202020204" pitchFamily="34" charset="0"/>
              <a:buNone/>
              <a:defRPr sz="800"/>
            </a:lvl1pPr>
          </a:lstStyle>
          <a:p>
            <a:r>
              <a:rPr lang="en-US"/>
              <a:t> </a:t>
            </a:r>
          </a:p>
        </p:txBody>
      </p:sp>
      <p:sp>
        <p:nvSpPr>
          <p:cNvPr id="13" name="SmartArt Placeholder 14">
            <a:extLst>
              <a:ext uri="{FF2B5EF4-FFF2-40B4-BE49-F238E27FC236}">
                <a16:creationId xmlns:a16="http://schemas.microsoft.com/office/drawing/2014/main" id="{2358EBAA-AAE1-278D-A8F7-2D66E11CDE43}"/>
              </a:ext>
            </a:extLst>
          </p:cNvPr>
          <p:cNvSpPr>
            <a:spLocks noGrp="1"/>
          </p:cNvSpPr>
          <p:nvPr>
            <p:ph type="dgm" sz="quarter" idx="29" hasCustomPrompt="1"/>
          </p:nvPr>
        </p:nvSpPr>
        <p:spPr bwMode="black">
          <a:xfrm>
            <a:off x="11631767" y="6456400"/>
            <a:ext cx="291940" cy="175797"/>
          </a:xfrm>
          <a:custGeom>
            <a:avLst/>
            <a:gdLst>
              <a:gd name="connsiteX0" fmla="*/ 117803 w 291788"/>
              <a:gd name="connsiteY0" fmla="*/ 0 h 175797"/>
              <a:gd name="connsiteX1" fmla="*/ 175798 w 291788"/>
              <a:gd name="connsiteY1" fmla="*/ 0 h 175797"/>
              <a:gd name="connsiteX2" fmla="*/ 204796 w 291788"/>
              <a:gd name="connsiteY2" fmla="*/ 57995 h 175797"/>
              <a:gd name="connsiteX3" fmla="*/ 233793 w 291788"/>
              <a:gd name="connsiteY3" fmla="*/ 0 h 175797"/>
              <a:gd name="connsiteX4" fmla="*/ 291788 w 291788"/>
              <a:gd name="connsiteY4" fmla="*/ 0 h 175797"/>
              <a:gd name="connsiteX5" fmla="*/ 230168 w 291788"/>
              <a:gd name="connsiteY5" fmla="*/ 105116 h 175797"/>
              <a:gd name="connsiteX6" fmla="*/ 230168 w 291788"/>
              <a:gd name="connsiteY6" fmla="*/ 175797 h 175797"/>
              <a:gd name="connsiteX7" fmla="*/ 177610 w 291788"/>
              <a:gd name="connsiteY7" fmla="*/ 175797 h 175797"/>
              <a:gd name="connsiteX8" fmla="*/ 177610 w 291788"/>
              <a:gd name="connsiteY8" fmla="*/ 105116 h 175797"/>
              <a:gd name="connsiteX9" fmla="*/ 0 w 291788"/>
              <a:gd name="connsiteY9" fmla="*/ 0 h 175797"/>
              <a:gd name="connsiteX10" fmla="*/ 99679 w 291788"/>
              <a:gd name="connsiteY10" fmla="*/ 0 h 175797"/>
              <a:gd name="connsiteX11" fmla="*/ 123240 w 291788"/>
              <a:gd name="connsiteY11" fmla="*/ 39872 h 175797"/>
              <a:gd name="connsiteX12" fmla="*/ 54370 w 291788"/>
              <a:gd name="connsiteY12" fmla="*/ 39872 h 175797"/>
              <a:gd name="connsiteX13" fmla="*/ 54370 w 291788"/>
              <a:gd name="connsiteY13" fmla="*/ 68869 h 175797"/>
              <a:gd name="connsiteX14" fmla="*/ 117802 w 291788"/>
              <a:gd name="connsiteY14" fmla="*/ 68869 h 175797"/>
              <a:gd name="connsiteX15" fmla="*/ 117802 w 291788"/>
              <a:gd name="connsiteY15" fmla="*/ 105116 h 175797"/>
              <a:gd name="connsiteX16" fmla="*/ 54370 w 291788"/>
              <a:gd name="connsiteY16" fmla="*/ 105116 h 175797"/>
              <a:gd name="connsiteX17" fmla="*/ 54370 w 291788"/>
              <a:gd name="connsiteY17" fmla="*/ 134113 h 175797"/>
              <a:gd name="connsiteX18" fmla="*/ 141363 w 291788"/>
              <a:gd name="connsiteY18" fmla="*/ 134113 h 175797"/>
              <a:gd name="connsiteX19" fmla="*/ 141363 w 291788"/>
              <a:gd name="connsiteY19" fmla="*/ 175797 h 175797"/>
              <a:gd name="connsiteX20" fmla="*/ 0 w 291788"/>
              <a:gd name="connsiteY20" fmla="*/ 175797 h 1757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291788" h="175797">
                <a:moveTo>
                  <a:pt x="117803" y="0"/>
                </a:moveTo>
                <a:lnTo>
                  <a:pt x="175798" y="0"/>
                </a:lnTo>
                <a:lnTo>
                  <a:pt x="204796" y="57995"/>
                </a:lnTo>
                <a:lnTo>
                  <a:pt x="233793" y="0"/>
                </a:lnTo>
                <a:lnTo>
                  <a:pt x="291788" y="0"/>
                </a:lnTo>
                <a:lnTo>
                  <a:pt x="230168" y="105116"/>
                </a:lnTo>
                <a:lnTo>
                  <a:pt x="230168" y="175797"/>
                </a:lnTo>
                <a:lnTo>
                  <a:pt x="177610" y="175797"/>
                </a:lnTo>
                <a:lnTo>
                  <a:pt x="177610" y="105116"/>
                </a:lnTo>
                <a:close/>
                <a:moveTo>
                  <a:pt x="0" y="0"/>
                </a:moveTo>
                <a:lnTo>
                  <a:pt x="99679" y="0"/>
                </a:lnTo>
                <a:lnTo>
                  <a:pt x="123240" y="39872"/>
                </a:lnTo>
                <a:lnTo>
                  <a:pt x="54370" y="39872"/>
                </a:lnTo>
                <a:lnTo>
                  <a:pt x="54370" y="68869"/>
                </a:lnTo>
                <a:lnTo>
                  <a:pt x="117802" y="68869"/>
                </a:lnTo>
                <a:lnTo>
                  <a:pt x="117802" y="105116"/>
                </a:lnTo>
                <a:lnTo>
                  <a:pt x="54370" y="105116"/>
                </a:lnTo>
                <a:lnTo>
                  <a:pt x="54370" y="134113"/>
                </a:lnTo>
                <a:lnTo>
                  <a:pt x="141363" y="134113"/>
                </a:lnTo>
                <a:lnTo>
                  <a:pt x="141363" y="175797"/>
                </a:lnTo>
                <a:lnTo>
                  <a:pt x="0" y="175797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>
              <a:buFont typeface="Arial" panose="020B0604020202020204" pitchFamily="34" charset="0"/>
              <a:buNone/>
              <a:defRPr sz="800"/>
            </a:lvl1pPr>
          </a:lstStyle>
          <a:p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028091395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37262574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nten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blurry image of different colors&#10;&#10;Description automatically generated">
            <a:extLst>
              <a:ext uri="{FF2B5EF4-FFF2-40B4-BE49-F238E27FC236}">
                <a16:creationId xmlns:a16="http://schemas.microsoft.com/office/drawing/2014/main" id="{FA713C4B-012B-6BC4-6014-663819AFE84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9" y="0"/>
            <a:ext cx="12197952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930FFC6-DEA1-5FCD-0ABD-350186ADBF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F8D382A-150D-D8EB-DC10-0BDA892BB76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A2590A-78EC-D34C-94DB-423B33ADAD62}" type="datetime4">
              <a:rPr lang="en-GB" smtClean="0"/>
              <a:t>14 March 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B404887-2287-C581-4D31-42D15091C1A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C08FDC4-D7A1-423A-393D-40413C4607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BC30E3-FFE5-4B91-AA19-87A149EBB9EE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71BE3DA4-9524-3EE2-96E7-CED6782EB9F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85790" y="1425577"/>
            <a:ext cx="3675061" cy="3148013"/>
          </a:xfrm>
        </p:spPr>
        <p:txBody>
          <a:bodyPr/>
          <a:lstStyle>
            <a:lvl1pPr marL="0" indent="0">
              <a:buNone/>
              <a:tabLst/>
              <a:defRPr/>
            </a:lvl1pPr>
            <a:lvl2pPr marL="251874">
              <a:defRPr/>
            </a:lvl2pPr>
            <a:lvl3pPr marL="251874">
              <a:defRPr/>
            </a:lvl3pPr>
            <a:lvl4pPr marL="251874">
              <a:defRPr/>
            </a:lvl4pPr>
            <a:lvl5pPr marL="251874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F133E2B6-7CC1-E4CE-DC67-723326E9972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03975" y="1425575"/>
            <a:ext cx="5510597" cy="4578350"/>
          </a:xfrm>
        </p:spPr>
        <p:txBody>
          <a:bodyPr/>
          <a:lstStyle>
            <a:lvl1pPr marL="534721" indent="-534721">
              <a:spcBef>
                <a:spcPts val="1199"/>
              </a:spcBef>
              <a:buClr>
                <a:schemeClr val="bg1"/>
              </a:buClr>
              <a:buSzPct val="100000"/>
              <a:buFont typeface="+mj-lt"/>
              <a:buAutoNum type="arabicPeriod"/>
              <a:tabLst/>
              <a:defRPr/>
            </a:lvl1pPr>
            <a:lvl2pPr marL="807634" indent="-249113">
              <a:buClr>
                <a:schemeClr val="tx2"/>
              </a:buClr>
              <a:tabLst/>
              <a:defRPr sz="1199"/>
            </a:lvl2pPr>
            <a:lvl3pPr marL="807634" indent="-249113">
              <a:buClr>
                <a:schemeClr val="tx2"/>
              </a:buClr>
              <a:tabLst/>
              <a:defRPr sz="1199"/>
            </a:lvl3pPr>
            <a:lvl4pPr marL="807634" indent="-249113">
              <a:buClr>
                <a:schemeClr val="tx2"/>
              </a:buClr>
              <a:tabLst/>
              <a:defRPr sz="1199"/>
            </a:lvl4pPr>
            <a:lvl5pPr marL="807634" indent="-249113">
              <a:buClr>
                <a:schemeClr val="tx2"/>
              </a:buClr>
              <a:tabLst/>
              <a:defRPr sz="1199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8" name="Group 4">
            <a:extLst>
              <a:ext uri="{FF2B5EF4-FFF2-40B4-BE49-F238E27FC236}">
                <a16:creationId xmlns:a16="http://schemas.microsoft.com/office/drawing/2014/main" id="{76077C20-E109-EED5-61AF-AF2FD09DDF48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572792" y="6289677"/>
            <a:ext cx="346158" cy="355219"/>
            <a:chOff x="7110" y="4004"/>
            <a:chExt cx="191" cy="196"/>
          </a:xfrm>
        </p:grpSpPr>
        <p:sp>
          <p:nvSpPr>
            <p:cNvPr id="11" name="Freeform 5">
              <a:extLst>
                <a:ext uri="{FF2B5EF4-FFF2-40B4-BE49-F238E27FC236}">
                  <a16:creationId xmlns:a16="http://schemas.microsoft.com/office/drawing/2014/main" id="{34D1040C-8127-D987-A58C-5FFED74CFCC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latin typeface="+mn-lt"/>
              </a:endParaRPr>
            </a:p>
          </p:txBody>
        </p:sp>
        <p:sp>
          <p:nvSpPr>
            <p:cNvPr id="12" name="Freeform 6">
              <a:extLst>
                <a:ext uri="{FF2B5EF4-FFF2-40B4-BE49-F238E27FC236}">
                  <a16:creationId xmlns:a16="http://schemas.microsoft.com/office/drawing/2014/main" id="{934A1EB4-DEB6-F25B-933D-F007759CF53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latin typeface="+mn-lt"/>
              </a:endParaRPr>
            </a:p>
          </p:txBody>
        </p:sp>
        <p:sp>
          <p:nvSpPr>
            <p:cNvPr id="13" name="Freeform 7">
              <a:extLst>
                <a:ext uri="{FF2B5EF4-FFF2-40B4-BE49-F238E27FC236}">
                  <a16:creationId xmlns:a16="http://schemas.microsoft.com/office/drawing/2014/main" id="{AAC198EA-29B0-7844-19F5-24EBF148C42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93319261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918" y="294200"/>
            <a:ext cx="10978515" cy="590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0869D6F-A030-48CA-9C7C-9FC3A6F1F67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B3A3103-A6C0-4AC8-B5D2-D11453B0FBBD}" type="datetime3">
              <a:rPr lang="en-US" noProof="0" smtClean="0"/>
              <a:t>14 March 2025</a:t>
            </a:fld>
            <a:endParaRPr lang="en-US" noProof="0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F02C3F7-BD0A-4AD4-95D8-328DA6F539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EY DE PPT Gallery</a:t>
            </a:r>
            <a:endParaRPr lang="en-US" noProof="0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E4422C8-68BE-4650-89F1-3BECCFF9B5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noProof="0" dirty="0"/>
              <a:t>Page </a:t>
            </a:r>
            <a:fld id="{F1BC30E3-FFE5-4B91-AA19-87A149EBB9EE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4" hasCustomPrompt="1"/>
          </p:nvPr>
        </p:nvSpPr>
        <p:spPr>
          <a:xfrm>
            <a:off x="609917" y="1137920"/>
            <a:ext cx="8254800" cy="4946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None/>
              <a:tabLst/>
              <a:defRPr lang="en-US" noProof="0" dirty="0" smtClean="0"/>
            </a:lvl1pPr>
            <a:lvl2pPr marL="271463" marR="0" indent="-2714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 lang="en-US" noProof="0" dirty="0" smtClean="0"/>
            </a:lvl2pPr>
            <a:lvl3pPr marL="511175" marR="0" indent="-2333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 lang="en-US" noProof="0" dirty="0" smtClean="0"/>
            </a:lvl3pPr>
            <a:lvl4pPr marL="746125" marR="0" indent="-2317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 lang="en-US" noProof="0" dirty="0" smtClean="0"/>
            </a:lvl4pPr>
            <a:lvl5pPr marL="944563" marR="0" indent="-2016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 lang="en-US" noProof="0" dirty="0" smtClean="0"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Click to edit Master text styles</a:t>
            </a:r>
          </a:p>
          <a:p>
            <a:pPr marL="271463" marR="0" lvl="1" indent="-2714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Second level</a:t>
            </a:r>
          </a:p>
          <a:p>
            <a:pPr marL="511175" marR="0" lvl="2" indent="-2333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Third level</a:t>
            </a:r>
          </a:p>
          <a:p>
            <a:pPr marL="746125" marR="0" lvl="3" indent="-2317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Fourth level</a:t>
            </a:r>
          </a:p>
          <a:p>
            <a:pPr marL="944563" marR="0" lvl="4" indent="-2016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Text</a:t>
            </a:r>
          </a:p>
        </p:txBody>
      </p:sp>
      <p:sp>
        <p:nvSpPr>
          <p:cNvPr id="7" name="Line 10">
            <a:extLst>
              <a:ext uri="{FF2B5EF4-FFF2-40B4-BE49-F238E27FC236}">
                <a16:creationId xmlns:a16="http://schemas.microsoft.com/office/drawing/2014/main" id="{FBB59D39-6114-41B0-8E75-E6A062D80427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80000" cy="0"/>
          </a:xfrm>
          <a:prstGeom prst="line">
            <a:avLst/>
          </a:prstGeom>
          <a:noFill/>
          <a:ln w="3810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45397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6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919" y="294200"/>
            <a:ext cx="10978515" cy="590400"/>
          </a:xfrm>
        </p:spPr>
        <p:txBody>
          <a:bodyPr/>
          <a:lstStyle>
            <a:lvl1pPr>
              <a:defRPr sz="2399">
                <a:solidFill>
                  <a:schemeClr val="bg1"/>
                </a:solidFill>
              </a:defRPr>
            </a:lvl1pPr>
          </a:lstStyle>
          <a:p>
            <a:r>
              <a:rPr lang="en-US"/>
              <a:t>Standard slide</a:t>
            </a:r>
            <a:endParaRPr lang="en-GB"/>
          </a:p>
        </p:txBody>
      </p:sp>
      <p:sp>
        <p:nvSpPr>
          <p:cNvPr id="80" name="Line 10">
            <a:extLst>
              <a:ext uri="{FF2B5EF4-FFF2-40B4-BE49-F238E27FC236}">
                <a16:creationId xmlns:a16="http://schemas.microsoft.com/office/drawing/2014/main" id="{EF8E9275-C0E0-4ABA-8699-73E5E292EC85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F5FDC76-F946-4827-A773-FCD68068B8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tit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ABF873B-E40B-4AF7-8D2F-967775EB8E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763880605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A">
    <p:bg>
      <p:bgPr>
        <a:solidFill>
          <a:srgbClr val="C5DB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Date Placeholder 2" hidden="1">
            <a:extLst>
              <a:ext uri="{FF2B5EF4-FFF2-40B4-BE49-F238E27FC236}">
                <a16:creationId xmlns:a16="http://schemas.microsoft.com/office/drawing/2014/main" id="{5758BA83-6B06-1794-CECE-A631C574BE2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28"/>
          </p:nvPr>
        </p:nvSpPr>
        <p:spPr>
          <a:xfrm>
            <a:off x="0" y="6858000"/>
            <a:ext cx="0" cy="0"/>
          </a:xfrm>
        </p:spPr>
        <p:txBody>
          <a:bodyPr/>
          <a:lstStyle/>
          <a:p>
            <a:fld id="{45527A44-AA1D-4BA1-AA93-32475F9E9A8F}" type="datetime4">
              <a:rPr lang="en-GB" smtClean="0"/>
              <a:pPr/>
              <a:t>14 March 2025</a:t>
            </a:fld>
            <a:endParaRPr lang="en-GB" dirty="0"/>
          </a:p>
        </p:txBody>
      </p:sp>
      <p:sp>
        <p:nvSpPr>
          <p:cNvPr id="5" name="Footer Placeholder 4" hidden="1">
            <a:extLst>
              <a:ext uri="{FF2B5EF4-FFF2-40B4-BE49-F238E27FC236}">
                <a16:creationId xmlns:a16="http://schemas.microsoft.com/office/drawing/2014/main" id="{7E63E1AE-B90B-45DE-BF04-5611424F7D68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1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GB" dirty="0"/>
              <a:t>Muuto</a:t>
            </a:r>
          </a:p>
        </p:txBody>
      </p:sp>
      <p:sp>
        <p:nvSpPr>
          <p:cNvPr id="6" name="Slide Number Placeholder 5" hidden="1">
            <a:extLst>
              <a:ext uri="{FF2B5EF4-FFF2-40B4-BE49-F238E27FC236}">
                <a16:creationId xmlns:a16="http://schemas.microsoft.com/office/drawing/2014/main" id="{B684C3E5-5486-4606-B82A-1C8EDE165036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9" name="Text Placeholder background">
            <a:extLst>
              <a:ext uri="{FF2B5EF4-FFF2-40B4-BE49-F238E27FC236}">
                <a16:creationId xmlns:a16="http://schemas.microsoft.com/office/drawing/2014/main" id="{286276F8-B337-412F-9F60-C33C68B74EEF}"/>
              </a:ext>
            </a:extLst>
          </p:cNvPr>
          <p:cNvSpPr>
            <a:spLocks noGrp="1"/>
          </p:cNvSpPr>
          <p:nvPr userDrawn="1">
            <p:ph type="body" sz="quarter" idx="26" hasCustomPrompt="1"/>
          </p:nvPr>
        </p:nvSpPr>
        <p:spPr bwMode="blackWhite">
          <a:xfrm>
            <a:off x="0" y="0"/>
            <a:ext cx="12198350" cy="6858000"/>
          </a:xfrm>
          <a:solidFill>
            <a:srgbClr val="C5DBF3"/>
          </a:solidFill>
          <a:ln>
            <a:noFill/>
          </a:ln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2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672324" y="1893369"/>
            <a:ext cx="8212275" cy="3204000"/>
          </a:xfrm>
        </p:spPr>
        <p:txBody>
          <a:bodyPr tIns="0" bIns="450000" anchor="b"/>
          <a:lstStyle>
            <a:lvl1pPr algn="l">
              <a:defRPr sz="10000" b="1" cap="none" baseline="0">
                <a:solidFill>
                  <a:srgbClr val="3C0E18"/>
                </a:solidFill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90EFA22C-5FC2-0122-0B39-620D58A41949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672324" y="4557369"/>
            <a:ext cx="8212275" cy="540000"/>
          </a:xfr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3000" cap="all" baseline="0">
                <a:solidFill>
                  <a:srgbClr val="3C0E18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18" name="Text Placeholder place">
            <a:extLst>
              <a:ext uri="{FF2B5EF4-FFF2-40B4-BE49-F238E27FC236}">
                <a16:creationId xmlns:a16="http://schemas.microsoft.com/office/drawing/2014/main" id="{9149545E-EDF3-5F0C-C761-513AACB9146C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672324" y="5889600"/>
            <a:ext cx="8212275" cy="216000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 baseline="0">
                <a:solidFill>
                  <a:srgbClr val="3C0E18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>
                <a:solidFill>
                  <a:srgbClr val="3C0E18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>
                <a:solidFill>
                  <a:srgbClr val="3C0E18"/>
                </a:solidFill>
                <a:latin typeface="+mn-lt"/>
              </a:defRPr>
            </a:lvl3pPr>
            <a:lvl4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>
                <a:solidFill>
                  <a:srgbClr val="3C0E18"/>
                </a:solidFill>
                <a:latin typeface="+mn-lt"/>
              </a:defRPr>
            </a:lvl4pPr>
            <a:lvl5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>
                <a:solidFill>
                  <a:srgbClr val="3C0E18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>
                <a:solidFill>
                  <a:srgbClr val="3C0E18"/>
                </a:solidFill>
                <a:latin typeface="+mn-lt"/>
              </a:defRPr>
            </a:lvl6pPr>
            <a:lvl7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>
                <a:solidFill>
                  <a:srgbClr val="3C0E18"/>
                </a:solidFill>
                <a:latin typeface="+mn-lt"/>
              </a:defRPr>
            </a:lvl7pPr>
            <a:lvl8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>
                <a:solidFill>
                  <a:srgbClr val="3C0E18"/>
                </a:solidFill>
                <a:latin typeface="+mn-lt"/>
              </a:defRPr>
            </a:lvl8pPr>
            <a:lvl9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>
                <a:solidFill>
                  <a:srgbClr val="3C0E18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36" name="Text Placeholder Logo">
            <a:extLst>
              <a:ext uri="{FF2B5EF4-FFF2-40B4-BE49-F238E27FC236}">
                <a16:creationId xmlns:a16="http://schemas.microsoft.com/office/drawing/2014/main" id="{777B27E8-C34B-47F2-821E-3C7C93C77C22}"/>
              </a:ext>
            </a:extLst>
          </p:cNvPr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9864936" y="1092145"/>
            <a:ext cx="1247849" cy="237703"/>
          </a:xfrm>
          <a:custGeom>
            <a:avLst/>
            <a:gdLst>
              <a:gd name="connsiteX0" fmla="*/ 1132153 w 1247199"/>
              <a:gd name="connsiteY0" fmla="*/ 56553 h 237703"/>
              <a:gd name="connsiteX1" fmla="*/ 1087028 w 1247199"/>
              <a:gd name="connsiteY1" fmla="*/ 118841 h 237703"/>
              <a:gd name="connsiteX2" fmla="*/ 1132153 w 1247199"/>
              <a:gd name="connsiteY2" fmla="*/ 181107 h 237703"/>
              <a:gd name="connsiteX3" fmla="*/ 1177193 w 1247199"/>
              <a:gd name="connsiteY3" fmla="*/ 118798 h 237703"/>
              <a:gd name="connsiteX4" fmla="*/ 1132153 w 1247199"/>
              <a:gd name="connsiteY4" fmla="*/ 56553 h 237703"/>
              <a:gd name="connsiteX5" fmla="*/ 822461 w 1247199"/>
              <a:gd name="connsiteY5" fmla="*/ 4312 h 237703"/>
              <a:gd name="connsiteX6" fmla="*/ 1005616 w 1247199"/>
              <a:gd name="connsiteY6" fmla="*/ 4312 h 237703"/>
              <a:gd name="connsiteX7" fmla="*/ 1012989 w 1247199"/>
              <a:gd name="connsiteY7" fmla="*/ 11686 h 237703"/>
              <a:gd name="connsiteX8" fmla="*/ 1012989 w 1247199"/>
              <a:gd name="connsiteY8" fmla="*/ 55324 h 237703"/>
              <a:gd name="connsiteX9" fmla="*/ 1005616 w 1247199"/>
              <a:gd name="connsiteY9" fmla="*/ 62697 h 237703"/>
              <a:gd name="connsiteX10" fmla="*/ 949171 w 1247199"/>
              <a:gd name="connsiteY10" fmla="*/ 62697 h 237703"/>
              <a:gd name="connsiteX11" fmla="*/ 949171 w 1247199"/>
              <a:gd name="connsiteY11" fmla="*/ 225931 h 237703"/>
              <a:gd name="connsiteX12" fmla="*/ 941754 w 1247199"/>
              <a:gd name="connsiteY12" fmla="*/ 233326 h 237703"/>
              <a:gd name="connsiteX13" fmla="*/ 886301 w 1247199"/>
              <a:gd name="connsiteY13" fmla="*/ 233326 h 237703"/>
              <a:gd name="connsiteX14" fmla="*/ 878927 w 1247199"/>
              <a:gd name="connsiteY14" fmla="*/ 225931 h 237703"/>
              <a:gd name="connsiteX15" fmla="*/ 878927 w 1247199"/>
              <a:gd name="connsiteY15" fmla="*/ 62697 h 237703"/>
              <a:gd name="connsiteX16" fmla="*/ 822461 w 1247199"/>
              <a:gd name="connsiteY16" fmla="*/ 62697 h 237703"/>
              <a:gd name="connsiteX17" fmla="*/ 815087 w 1247199"/>
              <a:gd name="connsiteY17" fmla="*/ 55324 h 237703"/>
              <a:gd name="connsiteX18" fmla="*/ 815087 w 1247199"/>
              <a:gd name="connsiteY18" fmla="*/ 11686 h 237703"/>
              <a:gd name="connsiteX19" fmla="*/ 822461 w 1247199"/>
              <a:gd name="connsiteY19" fmla="*/ 4312 h 237703"/>
              <a:gd name="connsiteX20" fmla="*/ 598557 w 1247199"/>
              <a:gd name="connsiteY20" fmla="*/ 4312 h 237703"/>
              <a:gd name="connsiteX21" fmla="*/ 653989 w 1247199"/>
              <a:gd name="connsiteY21" fmla="*/ 4312 h 237703"/>
              <a:gd name="connsiteX22" fmla="*/ 654010 w 1247199"/>
              <a:gd name="connsiteY22" fmla="*/ 4312 h 237703"/>
              <a:gd name="connsiteX23" fmla="*/ 661384 w 1247199"/>
              <a:gd name="connsiteY23" fmla="*/ 11686 h 237703"/>
              <a:gd name="connsiteX24" fmla="*/ 661384 w 1247199"/>
              <a:gd name="connsiteY24" fmla="*/ 128457 h 237703"/>
              <a:gd name="connsiteX25" fmla="*/ 695536 w 1247199"/>
              <a:gd name="connsiteY25" fmla="*/ 180827 h 237703"/>
              <a:gd name="connsiteX26" fmla="*/ 728738 w 1247199"/>
              <a:gd name="connsiteY26" fmla="*/ 128457 h 237703"/>
              <a:gd name="connsiteX27" fmla="*/ 728738 w 1247199"/>
              <a:gd name="connsiteY27" fmla="*/ 11686 h 237703"/>
              <a:gd name="connsiteX28" fmla="*/ 736134 w 1247199"/>
              <a:gd name="connsiteY28" fmla="*/ 4312 h 237703"/>
              <a:gd name="connsiteX29" fmla="*/ 791587 w 1247199"/>
              <a:gd name="connsiteY29" fmla="*/ 4312 h 237703"/>
              <a:gd name="connsiteX30" fmla="*/ 798960 w 1247199"/>
              <a:gd name="connsiteY30" fmla="*/ 11686 h 237703"/>
              <a:gd name="connsiteX31" fmla="*/ 798960 w 1247199"/>
              <a:gd name="connsiteY31" fmla="*/ 144109 h 237703"/>
              <a:gd name="connsiteX32" fmla="*/ 695234 w 1247199"/>
              <a:gd name="connsiteY32" fmla="*/ 237638 h 237703"/>
              <a:gd name="connsiteX33" fmla="*/ 591162 w 1247199"/>
              <a:gd name="connsiteY33" fmla="*/ 144109 h 237703"/>
              <a:gd name="connsiteX34" fmla="*/ 591162 w 1247199"/>
              <a:gd name="connsiteY34" fmla="*/ 11686 h 237703"/>
              <a:gd name="connsiteX35" fmla="*/ 598557 w 1247199"/>
              <a:gd name="connsiteY35" fmla="*/ 4312 h 237703"/>
              <a:gd name="connsiteX36" fmla="*/ 371979 w 1247199"/>
              <a:gd name="connsiteY36" fmla="*/ 4312 h 237703"/>
              <a:gd name="connsiteX37" fmla="*/ 427411 w 1247199"/>
              <a:gd name="connsiteY37" fmla="*/ 4312 h 237703"/>
              <a:gd name="connsiteX38" fmla="*/ 434828 w 1247199"/>
              <a:gd name="connsiteY38" fmla="*/ 11686 h 237703"/>
              <a:gd name="connsiteX39" fmla="*/ 434828 w 1247199"/>
              <a:gd name="connsiteY39" fmla="*/ 128457 h 237703"/>
              <a:gd name="connsiteX40" fmla="*/ 468979 w 1247199"/>
              <a:gd name="connsiteY40" fmla="*/ 180827 h 237703"/>
              <a:gd name="connsiteX41" fmla="*/ 502160 w 1247199"/>
              <a:gd name="connsiteY41" fmla="*/ 128457 h 237703"/>
              <a:gd name="connsiteX42" fmla="*/ 502160 w 1247199"/>
              <a:gd name="connsiteY42" fmla="*/ 11686 h 237703"/>
              <a:gd name="connsiteX43" fmla="*/ 509556 w 1247199"/>
              <a:gd name="connsiteY43" fmla="*/ 4312 h 237703"/>
              <a:gd name="connsiteX44" fmla="*/ 565009 w 1247199"/>
              <a:gd name="connsiteY44" fmla="*/ 4312 h 237703"/>
              <a:gd name="connsiteX45" fmla="*/ 572404 w 1247199"/>
              <a:gd name="connsiteY45" fmla="*/ 11686 h 237703"/>
              <a:gd name="connsiteX46" fmla="*/ 572404 w 1247199"/>
              <a:gd name="connsiteY46" fmla="*/ 144109 h 237703"/>
              <a:gd name="connsiteX47" fmla="*/ 468656 w 1247199"/>
              <a:gd name="connsiteY47" fmla="*/ 237638 h 237703"/>
              <a:gd name="connsiteX48" fmla="*/ 364584 w 1247199"/>
              <a:gd name="connsiteY48" fmla="*/ 144109 h 237703"/>
              <a:gd name="connsiteX49" fmla="*/ 364584 w 1247199"/>
              <a:gd name="connsiteY49" fmla="*/ 11686 h 237703"/>
              <a:gd name="connsiteX50" fmla="*/ 371979 w 1247199"/>
              <a:gd name="connsiteY50" fmla="*/ 4312 h 237703"/>
              <a:gd name="connsiteX51" fmla="*/ 1132153 w 1247199"/>
              <a:gd name="connsiteY51" fmla="*/ 0 h 237703"/>
              <a:gd name="connsiteX52" fmla="*/ 1247199 w 1247199"/>
              <a:gd name="connsiteY52" fmla="*/ 118862 h 237703"/>
              <a:gd name="connsiteX53" fmla="*/ 1132153 w 1247199"/>
              <a:gd name="connsiteY53" fmla="*/ 237703 h 237703"/>
              <a:gd name="connsiteX54" fmla="*/ 1017129 w 1247199"/>
              <a:gd name="connsiteY54" fmla="*/ 118862 h 237703"/>
              <a:gd name="connsiteX55" fmla="*/ 1132153 w 1247199"/>
              <a:gd name="connsiteY55" fmla="*/ 0 h 237703"/>
              <a:gd name="connsiteX56" fmla="*/ 103705 w 1247199"/>
              <a:gd name="connsiteY56" fmla="*/ 0 h 237703"/>
              <a:gd name="connsiteX57" fmla="*/ 172569 w 1247199"/>
              <a:gd name="connsiteY57" fmla="*/ 16084 h 237703"/>
              <a:gd name="connsiteX58" fmla="*/ 241282 w 1247199"/>
              <a:gd name="connsiteY58" fmla="*/ 0 h 237703"/>
              <a:gd name="connsiteX59" fmla="*/ 345375 w 1247199"/>
              <a:gd name="connsiteY59" fmla="*/ 93443 h 237703"/>
              <a:gd name="connsiteX60" fmla="*/ 345375 w 1247199"/>
              <a:gd name="connsiteY60" fmla="*/ 225866 h 237703"/>
              <a:gd name="connsiteX61" fmla="*/ 338001 w 1247199"/>
              <a:gd name="connsiteY61" fmla="*/ 233262 h 237703"/>
              <a:gd name="connsiteX62" fmla="*/ 282548 w 1247199"/>
              <a:gd name="connsiteY62" fmla="*/ 233262 h 237703"/>
              <a:gd name="connsiteX63" fmla="*/ 275153 w 1247199"/>
              <a:gd name="connsiteY63" fmla="*/ 225866 h 237703"/>
              <a:gd name="connsiteX64" fmla="*/ 275153 w 1247199"/>
              <a:gd name="connsiteY64" fmla="*/ 109095 h 237703"/>
              <a:gd name="connsiteX65" fmla="*/ 241001 w 1247199"/>
              <a:gd name="connsiteY65" fmla="*/ 56768 h 237703"/>
              <a:gd name="connsiteX66" fmla="*/ 207798 w 1247199"/>
              <a:gd name="connsiteY66" fmla="*/ 109095 h 237703"/>
              <a:gd name="connsiteX67" fmla="*/ 207798 w 1247199"/>
              <a:gd name="connsiteY67" fmla="*/ 225866 h 237703"/>
              <a:gd name="connsiteX68" fmla="*/ 200403 w 1247199"/>
              <a:gd name="connsiteY68" fmla="*/ 233262 h 237703"/>
              <a:gd name="connsiteX69" fmla="*/ 144950 w 1247199"/>
              <a:gd name="connsiteY69" fmla="*/ 233262 h 237703"/>
              <a:gd name="connsiteX70" fmla="*/ 137576 w 1247199"/>
              <a:gd name="connsiteY70" fmla="*/ 225866 h 237703"/>
              <a:gd name="connsiteX71" fmla="*/ 137576 w 1247199"/>
              <a:gd name="connsiteY71" fmla="*/ 109095 h 237703"/>
              <a:gd name="connsiteX72" fmla="*/ 103403 w 1247199"/>
              <a:gd name="connsiteY72" fmla="*/ 56768 h 237703"/>
              <a:gd name="connsiteX73" fmla="*/ 70222 w 1247199"/>
              <a:gd name="connsiteY73" fmla="*/ 109095 h 237703"/>
              <a:gd name="connsiteX74" fmla="*/ 70222 w 1247199"/>
              <a:gd name="connsiteY74" fmla="*/ 225866 h 237703"/>
              <a:gd name="connsiteX75" fmla="*/ 62827 w 1247199"/>
              <a:gd name="connsiteY75" fmla="*/ 233262 h 237703"/>
              <a:gd name="connsiteX76" fmla="*/ 7374 w 1247199"/>
              <a:gd name="connsiteY76" fmla="*/ 233262 h 237703"/>
              <a:gd name="connsiteX77" fmla="*/ 0 w 1247199"/>
              <a:gd name="connsiteY77" fmla="*/ 225866 h 237703"/>
              <a:gd name="connsiteX78" fmla="*/ 0 w 1247199"/>
              <a:gd name="connsiteY78" fmla="*/ 93443 h 237703"/>
              <a:gd name="connsiteX79" fmla="*/ 103705 w 1247199"/>
              <a:gd name="connsiteY79" fmla="*/ 0 h 2377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</a:cxnLst>
            <a:rect l="l" t="t" r="r" b="b"/>
            <a:pathLst>
              <a:path w="1247199" h="237703">
                <a:moveTo>
                  <a:pt x="1132153" y="56553"/>
                </a:moveTo>
                <a:cubicBezTo>
                  <a:pt x="1114366" y="56553"/>
                  <a:pt x="1087028" y="68303"/>
                  <a:pt x="1087028" y="118841"/>
                </a:cubicBezTo>
                <a:cubicBezTo>
                  <a:pt x="1087028" y="169378"/>
                  <a:pt x="1114366" y="181107"/>
                  <a:pt x="1132153" y="181107"/>
                </a:cubicBezTo>
                <a:cubicBezTo>
                  <a:pt x="1149941" y="181107"/>
                  <a:pt x="1177193" y="169314"/>
                  <a:pt x="1177193" y="118798"/>
                </a:cubicBezTo>
                <a:cubicBezTo>
                  <a:pt x="1177193" y="68282"/>
                  <a:pt x="1149941" y="56553"/>
                  <a:pt x="1132153" y="56553"/>
                </a:cubicBezTo>
                <a:close/>
                <a:moveTo>
                  <a:pt x="822461" y="4312"/>
                </a:moveTo>
                <a:lnTo>
                  <a:pt x="1005616" y="4312"/>
                </a:lnTo>
                <a:cubicBezTo>
                  <a:pt x="1009688" y="4312"/>
                  <a:pt x="1012989" y="7613"/>
                  <a:pt x="1012989" y="11686"/>
                </a:cubicBezTo>
                <a:lnTo>
                  <a:pt x="1012989" y="55324"/>
                </a:lnTo>
                <a:cubicBezTo>
                  <a:pt x="1012989" y="59397"/>
                  <a:pt x="1009688" y="62697"/>
                  <a:pt x="1005616" y="62697"/>
                </a:cubicBezTo>
                <a:lnTo>
                  <a:pt x="949171" y="62697"/>
                </a:lnTo>
                <a:lnTo>
                  <a:pt x="949171" y="225931"/>
                </a:lnTo>
                <a:cubicBezTo>
                  <a:pt x="949158" y="230019"/>
                  <a:pt x="945842" y="233326"/>
                  <a:pt x="941754" y="233326"/>
                </a:cubicBezTo>
                <a:lnTo>
                  <a:pt x="886301" y="233326"/>
                </a:lnTo>
                <a:cubicBezTo>
                  <a:pt x="882226" y="233315"/>
                  <a:pt x="878927" y="230006"/>
                  <a:pt x="878927" y="225931"/>
                </a:cubicBezTo>
                <a:lnTo>
                  <a:pt x="878927" y="62697"/>
                </a:lnTo>
                <a:lnTo>
                  <a:pt x="822461" y="62697"/>
                </a:lnTo>
                <a:cubicBezTo>
                  <a:pt x="818388" y="62697"/>
                  <a:pt x="815087" y="59397"/>
                  <a:pt x="815087" y="55324"/>
                </a:cubicBezTo>
                <a:lnTo>
                  <a:pt x="815087" y="11686"/>
                </a:lnTo>
                <a:cubicBezTo>
                  <a:pt x="815087" y="7613"/>
                  <a:pt x="818388" y="4312"/>
                  <a:pt x="822461" y="4312"/>
                </a:cubicBezTo>
                <a:close/>
                <a:moveTo>
                  <a:pt x="598557" y="4312"/>
                </a:moveTo>
                <a:lnTo>
                  <a:pt x="653989" y="4312"/>
                </a:lnTo>
                <a:cubicBezTo>
                  <a:pt x="653995" y="4312"/>
                  <a:pt x="654004" y="4312"/>
                  <a:pt x="654010" y="4312"/>
                </a:cubicBezTo>
                <a:cubicBezTo>
                  <a:pt x="658083" y="4312"/>
                  <a:pt x="661384" y="7613"/>
                  <a:pt x="661384" y="11686"/>
                </a:cubicBezTo>
                <a:lnTo>
                  <a:pt x="661384" y="128457"/>
                </a:lnTo>
                <a:cubicBezTo>
                  <a:pt x="661384" y="151763"/>
                  <a:pt x="661384" y="180827"/>
                  <a:pt x="695536" y="180827"/>
                </a:cubicBezTo>
                <a:cubicBezTo>
                  <a:pt x="728738" y="180827"/>
                  <a:pt x="728738" y="151763"/>
                  <a:pt x="728738" y="128457"/>
                </a:cubicBezTo>
                <a:lnTo>
                  <a:pt x="728738" y="11686"/>
                </a:lnTo>
                <a:cubicBezTo>
                  <a:pt x="728749" y="7611"/>
                  <a:pt x="732059" y="4312"/>
                  <a:pt x="736134" y="4312"/>
                </a:cubicBezTo>
                <a:lnTo>
                  <a:pt x="791587" y="4312"/>
                </a:lnTo>
                <a:cubicBezTo>
                  <a:pt x="795660" y="4312"/>
                  <a:pt x="798960" y="7613"/>
                  <a:pt x="798960" y="11686"/>
                </a:cubicBezTo>
                <a:lnTo>
                  <a:pt x="798960" y="144109"/>
                </a:lnTo>
                <a:cubicBezTo>
                  <a:pt x="798960" y="207324"/>
                  <a:pt x="764809" y="237638"/>
                  <a:pt x="695234" y="237638"/>
                </a:cubicBezTo>
                <a:cubicBezTo>
                  <a:pt x="625659" y="237638"/>
                  <a:pt x="591162" y="207324"/>
                  <a:pt x="591162" y="144109"/>
                </a:cubicBezTo>
                <a:lnTo>
                  <a:pt x="591162" y="11686"/>
                </a:lnTo>
                <a:cubicBezTo>
                  <a:pt x="591173" y="7611"/>
                  <a:pt x="594482" y="4312"/>
                  <a:pt x="598557" y="4312"/>
                </a:cubicBezTo>
                <a:close/>
                <a:moveTo>
                  <a:pt x="371979" y="4312"/>
                </a:moveTo>
                <a:lnTo>
                  <a:pt x="427411" y="4312"/>
                </a:lnTo>
                <a:cubicBezTo>
                  <a:pt x="431494" y="4301"/>
                  <a:pt x="434815" y="7602"/>
                  <a:pt x="434828" y="11686"/>
                </a:cubicBezTo>
                <a:lnTo>
                  <a:pt x="434828" y="128457"/>
                </a:lnTo>
                <a:cubicBezTo>
                  <a:pt x="434828" y="151763"/>
                  <a:pt x="434828" y="180827"/>
                  <a:pt x="468979" y="180827"/>
                </a:cubicBezTo>
                <a:cubicBezTo>
                  <a:pt x="502160" y="180827"/>
                  <a:pt x="502160" y="151763"/>
                  <a:pt x="502160" y="128457"/>
                </a:cubicBezTo>
                <a:lnTo>
                  <a:pt x="502160" y="11686"/>
                </a:lnTo>
                <a:cubicBezTo>
                  <a:pt x="502171" y="7611"/>
                  <a:pt x="505481" y="4312"/>
                  <a:pt x="509556" y="4312"/>
                </a:cubicBezTo>
                <a:lnTo>
                  <a:pt x="565009" y="4312"/>
                </a:lnTo>
                <a:cubicBezTo>
                  <a:pt x="569084" y="4312"/>
                  <a:pt x="572391" y="7611"/>
                  <a:pt x="572404" y="11686"/>
                </a:cubicBezTo>
                <a:lnTo>
                  <a:pt x="572404" y="144109"/>
                </a:lnTo>
                <a:cubicBezTo>
                  <a:pt x="572404" y="207324"/>
                  <a:pt x="538231" y="237638"/>
                  <a:pt x="468656" y="237638"/>
                </a:cubicBezTo>
                <a:cubicBezTo>
                  <a:pt x="399081" y="237638"/>
                  <a:pt x="364584" y="207324"/>
                  <a:pt x="364584" y="144109"/>
                </a:cubicBezTo>
                <a:lnTo>
                  <a:pt x="364584" y="11686"/>
                </a:lnTo>
                <a:cubicBezTo>
                  <a:pt x="364595" y="7611"/>
                  <a:pt x="367904" y="4312"/>
                  <a:pt x="371979" y="4312"/>
                </a:cubicBezTo>
                <a:close/>
                <a:moveTo>
                  <a:pt x="1132153" y="0"/>
                </a:moveTo>
                <a:cubicBezTo>
                  <a:pt x="1201125" y="0"/>
                  <a:pt x="1247199" y="49610"/>
                  <a:pt x="1247199" y="118862"/>
                </a:cubicBezTo>
                <a:cubicBezTo>
                  <a:pt x="1247199" y="188114"/>
                  <a:pt x="1201103" y="237703"/>
                  <a:pt x="1132153" y="237703"/>
                </a:cubicBezTo>
                <a:cubicBezTo>
                  <a:pt x="1063203" y="237703"/>
                  <a:pt x="1017129" y="188136"/>
                  <a:pt x="1017129" y="118862"/>
                </a:cubicBezTo>
                <a:cubicBezTo>
                  <a:pt x="1017129" y="49589"/>
                  <a:pt x="1063160" y="0"/>
                  <a:pt x="1132153" y="0"/>
                </a:cubicBezTo>
                <a:close/>
                <a:moveTo>
                  <a:pt x="103705" y="0"/>
                </a:moveTo>
                <a:cubicBezTo>
                  <a:pt x="132790" y="0"/>
                  <a:pt x="155687" y="5304"/>
                  <a:pt x="172569" y="16084"/>
                </a:cubicBezTo>
                <a:cubicBezTo>
                  <a:pt x="189343" y="5304"/>
                  <a:pt x="212240" y="0"/>
                  <a:pt x="241282" y="0"/>
                </a:cubicBezTo>
                <a:cubicBezTo>
                  <a:pt x="310878" y="0"/>
                  <a:pt x="345353" y="30185"/>
                  <a:pt x="345375" y="93443"/>
                </a:cubicBezTo>
                <a:lnTo>
                  <a:pt x="345375" y="225866"/>
                </a:lnTo>
                <a:cubicBezTo>
                  <a:pt x="345375" y="229941"/>
                  <a:pt x="342076" y="233249"/>
                  <a:pt x="338001" y="233262"/>
                </a:cubicBezTo>
                <a:lnTo>
                  <a:pt x="282548" y="233262"/>
                </a:lnTo>
                <a:cubicBezTo>
                  <a:pt x="278465" y="233262"/>
                  <a:pt x="275153" y="229950"/>
                  <a:pt x="275153" y="225866"/>
                </a:cubicBezTo>
                <a:lnTo>
                  <a:pt x="275153" y="109095"/>
                </a:lnTo>
                <a:cubicBezTo>
                  <a:pt x="275153" y="85789"/>
                  <a:pt x="275153" y="56768"/>
                  <a:pt x="241001" y="56768"/>
                </a:cubicBezTo>
                <a:cubicBezTo>
                  <a:pt x="207798" y="56768"/>
                  <a:pt x="207798" y="85789"/>
                  <a:pt x="207798" y="109095"/>
                </a:cubicBezTo>
                <a:lnTo>
                  <a:pt x="207798" y="225866"/>
                </a:lnTo>
                <a:cubicBezTo>
                  <a:pt x="207798" y="229950"/>
                  <a:pt x="204487" y="233262"/>
                  <a:pt x="200403" y="233262"/>
                </a:cubicBezTo>
                <a:lnTo>
                  <a:pt x="144950" y="233262"/>
                </a:lnTo>
                <a:cubicBezTo>
                  <a:pt x="140875" y="233251"/>
                  <a:pt x="137576" y="229941"/>
                  <a:pt x="137576" y="225866"/>
                </a:cubicBezTo>
                <a:lnTo>
                  <a:pt x="137576" y="109095"/>
                </a:lnTo>
                <a:cubicBezTo>
                  <a:pt x="137576" y="85789"/>
                  <a:pt x="137576" y="56768"/>
                  <a:pt x="103403" y="56768"/>
                </a:cubicBezTo>
                <a:cubicBezTo>
                  <a:pt x="70222" y="56768"/>
                  <a:pt x="70222" y="85789"/>
                  <a:pt x="70222" y="109095"/>
                </a:cubicBezTo>
                <a:lnTo>
                  <a:pt x="70222" y="225866"/>
                </a:lnTo>
                <a:cubicBezTo>
                  <a:pt x="70211" y="229946"/>
                  <a:pt x="66906" y="233251"/>
                  <a:pt x="62827" y="233262"/>
                </a:cubicBezTo>
                <a:lnTo>
                  <a:pt x="7374" y="233262"/>
                </a:lnTo>
                <a:cubicBezTo>
                  <a:pt x="3299" y="233251"/>
                  <a:pt x="0" y="229941"/>
                  <a:pt x="0" y="225866"/>
                </a:cubicBezTo>
                <a:lnTo>
                  <a:pt x="0" y="93443"/>
                </a:lnTo>
                <a:cubicBezTo>
                  <a:pt x="0" y="30185"/>
                  <a:pt x="34130" y="0"/>
                  <a:pt x="103705" y="0"/>
                </a:cubicBezTo>
                <a:close/>
              </a:path>
            </a:pathLst>
          </a:custGeom>
          <a:solidFill>
            <a:srgbClr val="3C0E18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4015346961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B">
    <p:bg>
      <p:bgPr>
        <a:solidFill>
          <a:srgbClr val="68702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Date Placeholder 2" hidden="1">
            <a:extLst>
              <a:ext uri="{FF2B5EF4-FFF2-40B4-BE49-F238E27FC236}">
                <a16:creationId xmlns:a16="http://schemas.microsoft.com/office/drawing/2014/main" id="{5758BA83-6B06-1794-CECE-A631C574BE2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28"/>
          </p:nvPr>
        </p:nvSpPr>
        <p:spPr>
          <a:xfrm>
            <a:off x="0" y="6858000"/>
            <a:ext cx="0" cy="0"/>
          </a:xfrm>
        </p:spPr>
        <p:txBody>
          <a:bodyPr/>
          <a:lstStyle/>
          <a:p>
            <a:fld id="{45527A44-AA1D-4BA1-AA93-32475F9E9A8F}" type="datetime4">
              <a:rPr lang="en-GB" smtClean="0"/>
              <a:pPr/>
              <a:t>14 March 2025</a:t>
            </a:fld>
            <a:endParaRPr lang="en-GB" dirty="0"/>
          </a:p>
        </p:txBody>
      </p:sp>
      <p:sp>
        <p:nvSpPr>
          <p:cNvPr id="5" name="Footer Placeholder 4" hidden="1">
            <a:extLst>
              <a:ext uri="{FF2B5EF4-FFF2-40B4-BE49-F238E27FC236}">
                <a16:creationId xmlns:a16="http://schemas.microsoft.com/office/drawing/2014/main" id="{7E63E1AE-B90B-45DE-BF04-5611424F7D68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1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GB" dirty="0"/>
              <a:t>Muuto</a:t>
            </a:r>
          </a:p>
        </p:txBody>
      </p:sp>
      <p:sp>
        <p:nvSpPr>
          <p:cNvPr id="6" name="Slide Number Placeholder 5" hidden="1">
            <a:extLst>
              <a:ext uri="{FF2B5EF4-FFF2-40B4-BE49-F238E27FC236}">
                <a16:creationId xmlns:a16="http://schemas.microsoft.com/office/drawing/2014/main" id="{B684C3E5-5486-4606-B82A-1C8EDE165036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9" name="Text Placeholder background">
            <a:extLst>
              <a:ext uri="{FF2B5EF4-FFF2-40B4-BE49-F238E27FC236}">
                <a16:creationId xmlns:a16="http://schemas.microsoft.com/office/drawing/2014/main" id="{286276F8-B337-412F-9F60-C33C68B74EE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white">
          <a:xfrm>
            <a:off x="0" y="0"/>
            <a:ext cx="12198350" cy="6858000"/>
          </a:xfrm>
          <a:solidFill>
            <a:srgbClr val="687025"/>
          </a:solidFill>
          <a:ln>
            <a:noFill/>
          </a:ln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72324" y="1893369"/>
            <a:ext cx="8212275" cy="3204000"/>
          </a:xfrm>
        </p:spPr>
        <p:txBody>
          <a:bodyPr tIns="0" bIns="450000" anchor="b"/>
          <a:lstStyle>
            <a:lvl1pPr algn="l">
              <a:defRPr sz="10000" b="1" cap="none" baseline="0">
                <a:solidFill>
                  <a:srgbClr val="ECE8DD"/>
                </a:solidFill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90EFA22C-5FC2-0122-0B39-620D58A4194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72325" y="4557369"/>
            <a:ext cx="8212275" cy="540000"/>
          </a:xfr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3000" cap="all" baseline="0">
                <a:solidFill>
                  <a:srgbClr val="ECE8DD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18" name="Text Placeholder place">
            <a:extLst>
              <a:ext uri="{FF2B5EF4-FFF2-40B4-BE49-F238E27FC236}">
                <a16:creationId xmlns:a16="http://schemas.microsoft.com/office/drawing/2014/main" id="{9149545E-EDF3-5F0C-C761-513AACB9146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72325" y="5889600"/>
            <a:ext cx="8212275" cy="216000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 baseline="0">
                <a:solidFill>
                  <a:srgbClr val="ECE8DD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>
                <a:solidFill>
                  <a:srgbClr val="ECE8DD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>
                <a:solidFill>
                  <a:srgbClr val="ECE8DD"/>
                </a:solidFill>
                <a:latin typeface="+mn-lt"/>
              </a:defRPr>
            </a:lvl3pPr>
            <a:lvl4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>
                <a:solidFill>
                  <a:srgbClr val="ECE8DD"/>
                </a:solidFill>
                <a:latin typeface="+mn-lt"/>
              </a:defRPr>
            </a:lvl4pPr>
            <a:lvl5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>
                <a:solidFill>
                  <a:srgbClr val="ECE8DD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>
                <a:solidFill>
                  <a:srgbClr val="ECE8DD"/>
                </a:solidFill>
                <a:latin typeface="+mn-lt"/>
              </a:defRPr>
            </a:lvl6pPr>
            <a:lvl7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>
                <a:solidFill>
                  <a:srgbClr val="ECE8DD"/>
                </a:solidFill>
                <a:latin typeface="+mn-lt"/>
              </a:defRPr>
            </a:lvl7pPr>
            <a:lvl8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>
                <a:solidFill>
                  <a:srgbClr val="ECE8DD"/>
                </a:solidFill>
                <a:latin typeface="+mn-lt"/>
              </a:defRPr>
            </a:lvl8pPr>
            <a:lvl9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>
                <a:solidFill>
                  <a:srgbClr val="ECE8DD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36" name="Text Placeholder Logo">
            <a:extLst>
              <a:ext uri="{FF2B5EF4-FFF2-40B4-BE49-F238E27FC236}">
                <a16:creationId xmlns:a16="http://schemas.microsoft.com/office/drawing/2014/main" id="{777B27E8-C34B-47F2-821E-3C7C93C77C2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invGray">
          <a:xfrm>
            <a:off x="9864936" y="1092145"/>
            <a:ext cx="1247849" cy="237703"/>
          </a:xfrm>
          <a:custGeom>
            <a:avLst/>
            <a:gdLst>
              <a:gd name="connsiteX0" fmla="*/ 1132153 w 1247199"/>
              <a:gd name="connsiteY0" fmla="*/ 56553 h 237703"/>
              <a:gd name="connsiteX1" fmla="*/ 1087028 w 1247199"/>
              <a:gd name="connsiteY1" fmla="*/ 118841 h 237703"/>
              <a:gd name="connsiteX2" fmla="*/ 1132153 w 1247199"/>
              <a:gd name="connsiteY2" fmla="*/ 181107 h 237703"/>
              <a:gd name="connsiteX3" fmla="*/ 1177193 w 1247199"/>
              <a:gd name="connsiteY3" fmla="*/ 118798 h 237703"/>
              <a:gd name="connsiteX4" fmla="*/ 1132153 w 1247199"/>
              <a:gd name="connsiteY4" fmla="*/ 56553 h 237703"/>
              <a:gd name="connsiteX5" fmla="*/ 822461 w 1247199"/>
              <a:gd name="connsiteY5" fmla="*/ 4312 h 237703"/>
              <a:gd name="connsiteX6" fmla="*/ 1005616 w 1247199"/>
              <a:gd name="connsiteY6" fmla="*/ 4312 h 237703"/>
              <a:gd name="connsiteX7" fmla="*/ 1012989 w 1247199"/>
              <a:gd name="connsiteY7" fmla="*/ 11686 h 237703"/>
              <a:gd name="connsiteX8" fmla="*/ 1012989 w 1247199"/>
              <a:gd name="connsiteY8" fmla="*/ 55324 h 237703"/>
              <a:gd name="connsiteX9" fmla="*/ 1005616 w 1247199"/>
              <a:gd name="connsiteY9" fmla="*/ 62697 h 237703"/>
              <a:gd name="connsiteX10" fmla="*/ 949171 w 1247199"/>
              <a:gd name="connsiteY10" fmla="*/ 62697 h 237703"/>
              <a:gd name="connsiteX11" fmla="*/ 949171 w 1247199"/>
              <a:gd name="connsiteY11" fmla="*/ 225931 h 237703"/>
              <a:gd name="connsiteX12" fmla="*/ 941754 w 1247199"/>
              <a:gd name="connsiteY12" fmla="*/ 233326 h 237703"/>
              <a:gd name="connsiteX13" fmla="*/ 886301 w 1247199"/>
              <a:gd name="connsiteY13" fmla="*/ 233326 h 237703"/>
              <a:gd name="connsiteX14" fmla="*/ 878927 w 1247199"/>
              <a:gd name="connsiteY14" fmla="*/ 225931 h 237703"/>
              <a:gd name="connsiteX15" fmla="*/ 878927 w 1247199"/>
              <a:gd name="connsiteY15" fmla="*/ 62697 h 237703"/>
              <a:gd name="connsiteX16" fmla="*/ 822461 w 1247199"/>
              <a:gd name="connsiteY16" fmla="*/ 62697 h 237703"/>
              <a:gd name="connsiteX17" fmla="*/ 815087 w 1247199"/>
              <a:gd name="connsiteY17" fmla="*/ 55324 h 237703"/>
              <a:gd name="connsiteX18" fmla="*/ 815087 w 1247199"/>
              <a:gd name="connsiteY18" fmla="*/ 11686 h 237703"/>
              <a:gd name="connsiteX19" fmla="*/ 822461 w 1247199"/>
              <a:gd name="connsiteY19" fmla="*/ 4312 h 237703"/>
              <a:gd name="connsiteX20" fmla="*/ 598557 w 1247199"/>
              <a:gd name="connsiteY20" fmla="*/ 4312 h 237703"/>
              <a:gd name="connsiteX21" fmla="*/ 653989 w 1247199"/>
              <a:gd name="connsiteY21" fmla="*/ 4312 h 237703"/>
              <a:gd name="connsiteX22" fmla="*/ 654010 w 1247199"/>
              <a:gd name="connsiteY22" fmla="*/ 4312 h 237703"/>
              <a:gd name="connsiteX23" fmla="*/ 661384 w 1247199"/>
              <a:gd name="connsiteY23" fmla="*/ 11686 h 237703"/>
              <a:gd name="connsiteX24" fmla="*/ 661384 w 1247199"/>
              <a:gd name="connsiteY24" fmla="*/ 128457 h 237703"/>
              <a:gd name="connsiteX25" fmla="*/ 695536 w 1247199"/>
              <a:gd name="connsiteY25" fmla="*/ 180827 h 237703"/>
              <a:gd name="connsiteX26" fmla="*/ 728738 w 1247199"/>
              <a:gd name="connsiteY26" fmla="*/ 128457 h 237703"/>
              <a:gd name="connsiteX27" fmla="*/ 728738 w 1247199"/>
              <a:gd name="connsiteY27" fmla="*/ 11686 h 237703"/>
              <a:gd name="connsiteX28" fmla="*/ 736134 w 1247199"/>
              <a:gd name="connsiteY28" fmla="*/ 4312 h 237703"/>
              <a:gd name="connsiteX29" fmla="*/ 791587 w 1247199"/>
              <a:gd name="connsiteY29" fmla="*/ 4312 h 237703"/>
              <a:gd name="connsiteX30" fmla="*/ 798960 w 1247199"/>
              <a:gd name="connsiteY30" fmla="*/ 11686 h 237703"/>
              <a:gd name="connsiteX31" fmla="*/ 798960 w 1247199"/>
              <a:gd name="connsiteY31" fmla="*/ 144109 h 237703"/>
              <a:gd name="connsiteX32" fmla="*/ 695234 w 1247199"/>
              <a:gd name="connsiteY32" fmla="*/ 237638 h 237703"/>
              <a:gd name="connsiteX33" fmla="*/ 591162 w 1247199"/>
              <a:gd name="connsiteY33" fmla="*/ 144109 h 237703"/>
              <a:gd name="connsiteX34" fmla="*/ 591162 w 1247199"/>
              <a:gd name="connsiteY34" fmla="*/ 11686 h 237703"/>
              <a:gd name="connsiteX35" fmla="*/ 598557 w 1247199"/>
              <a:gd name="connsiteY35" fmla="*/ 4312 h 237703"/>
              <a:gd name="connsiteX36" fmla="*/ 371979 w 1247199"/>
              <a:gd name="connsiteY36" fmla="*/ 4312 h 237703"/>
              <a:gd name="connsiteX37" fmla="*/ 427411 w 1247199"/>
              <a:gd name="connsiteY37" fmla="*/ 4312 h 237703"/>
              <a:gd name="connsiteX38" fmla="*/ 434828 w 1247199"/>
              <a:gd name="connsiteY38" fmla="*/ 11686 h 237703"/>
              <a:gd name="connsiteX39" fmla="*/ 434828 w 1247199"/>
              <a:gd name="connsiteY39" fmla="*/ 128457 h 237703"/>
              <a:gd name="connsiteX40" fmla="*/ 468979 w 1247199"/>
              <a:gd name="connsiteY40" fmla="*/ 180827 h 237703"/>
              <a:gd name="connsiteX41" fmla="*/ 502160 w 1247199"/>
              <a:gd name="connsiteY41" fmla="*/ 128457 h 237703"/>
              <a:gd name="connsiteX42" fmla="*/ 502160 w 1247199"/>
              <a:gd name="connsiteY42" fmla="*/ 11686 h 237703"/>
              <a:gd name="connsiteX43" fmla="*/ 509556 w 1247199"/>
              <a:gd name="connsiteY43" fmla="*/ 4312 h 237703"/>
              <a:gd name="connsiteX44" fmla="*/ 565009 w 1247199"/>
              <a:gd name="connsiteY44" fmla="*/ 4312 h 237703"/>
              <a:gd name="connsiteX45" fmla="*/ 572404 w 1247199"/>
              <a:gd name="connsiteY45" fmla="*/ 11686 h 237703"/>
              <a:gd name="connsiteX46" fmla="*/ 572404 w 1247199"/>
              <a:gd name="connsiteY46" fmla="*/ 144109 h 237703"/>
              <a:gd name="connsiteX47" fmla="*/ 468656 w 1247199"/>
              <a:gd name="connsiteY47" fmla="*/ 237638 h 237703"/>
              <a:gd name="connsiteX48" fmla="*/ 364584 w 1247199"/>
              <a:gd name="connsiteY48" fmla="*/ 144109 h 237703"/>
              <a:gd name="connsiteX49" fmla="*/ 364584 w 1247199"/>
              <a:gd name="connsiteY49" fmla="*/ 11686 h 237703"/>
              <a:gd name="connsiteX50" fmla="*/ 371979 w 1247199"/>
              <a:gd name="connsiteY50" fmla="*/ 4312 h 237703"/>
              <a:gd name="connsiteX51" fmla="*/ 1132153 w 1247199"/>
              <a:gd name="connsiteY51" fmla="*/ 0 h 237703"/>
              <a:gd name="connsiteX52" fmla="*/ 1247199 w 1247199"/>
              <a:gd name="connsiteY52" fmla="*/ 118862 h 237703"/>
              <a:gd name="connsiteX53" fmla="*/ 1132153 w 1247199"/>
              <a:gd name="connsiteY53" fmla="*/ 237703 h 237703"/>
              <a:gd name="connsiteX54" fmla="*/ 1017129 w 1247199"/>
              <a:gd name="connsiteY54" fmla="*/ 118862 h 237703"/>
              <a:gd name="connsiteX55" fmla="*/ 1132153 w 1247199"/>
              <a:gd name="connsiteY55" fmla="*/ 0 h 237703"/>
              <a:gd name="connsiteX56" fmla="*/ 103705 w 1247199"/>
              <a:gd name="connsiteY56" fmla="*/ 0 h 237703"/>
              <a:gd name="connsiteX57" fmla="*/ 172569 w 1247199"/>
              <a:gd name="connsiteY57" fmla="*/ 16084 h 237703"/>
              <a:gd name="connsiteX58" fmla="*/ 241282 w 1247199"/>
              <a:gd name="connsiteY58" fmla="*/ 0 h 237703"/>
              <a:gd name="connsiteX59" fmla="*/ 345375 w 1247199"/>
              <a:gd name="connsiteY59" fmla="*/ 93443 h 237703"/>
              <a:gd name="connsiteX60" fmla="*/ 345375 w 1247199"/>
              <a:gd name="connsiteY60" fmla="*/ 225866 h 237703"/>
              <a:gd name="connsiteX61" fmla="*/ 338001 w 1247199"/>
              <a:gd name="connsiteY61" fmla="*/ 233262 h 237703"/>
              <a:gd name="connsiteX62" fmla="*/ 282548 w 1247199"/>
              <a:gd name="connsiteY62" fmla="*/ 233262 h 237703"/>
              <a:gd name="connsiteX63" fmla="*/ 275153 w 1247199"/>
              <a:gd name="connsiteY63" fmla="*/ 225866 h 237703"/>
              <a:gd name="connsiteX64" fmla="*/ 275153 w 1247199"/>
              <a:gd name="connsiteY64" fmla="*/ 109095 h 237703"/>
              <a:gd name="connsiteX65" fmla="*/ 241001 w 1247199"/>
              <a:gd name="connsiteY65" fmla="*/ 56768 h 237703"/>
              <a:gd name="connsiteX66" fmla="*/ 207798 w 1247199"/>
              <a:gd name="connsiteY66" fmla="*/ 109095 h 237703"/>
              <a:gd name="connsiteX67" fmla="*/ 207798 w 1247199"/>
              <a:gd name="connsiteY67" fmla="*/ 225866 h 237703"/>
              <a:gd name="connsiteX68" fmla="*/ 200403 w 1247199"/>
              <a:gd name="connsiteY68" fmla="*/ 233262 h 237703"/>
              <a:gd name="connsiteX69" fmla="*/ 144950 w 1247199"/>
              <a:gd name="connsiteY69" fmla="*/ 233262 h 237703"/>
              <a:gd name="connsiteX70" fmla="*/ 137576 w 1247199"/>
              <a:gd name="connsiteY70" fmla="*/ 225866 h 237703"/>
              <a:gd name="connsiteX71" fmla="*/ 137576 w 1247199"/>
              <a:gd name="connsiteY71" fmla="*/ 109095 h 237703"/>
              <a:gd name="connsiteX72" fmla="*/ 103403 w 1247199"/>
              <a:gd name="connsiteY72" fmla="*/ 56768 h 237703"/>
              <a:gd name="connsiteX73" fmla="*/ 70222 w 1247199"/>
              <a:gd name="connsiteY73" fmla="*/ 109095 h 237703"/>
              <a:gd name="connsiteX74" fmla="*/ 70222 w 1247199"/>
              <a:gd name="connsiteY74" fmla="*/ 225866 h 237703"/>
              <a:gd name="connsiteX75" fmla="*/ 62827 w 1247199"/>
              <a:gd name="connsiteY75" fmla="*/ 233262 h 237703"/>
              <a:gd name="connsiteX76" fmla="*/ 7374 w 1247199"/>
              <a:gd name="connsiteY76" fmla="*/ 233262 h 237703"/>
              <a:gd name="connsiteX77" fmla="*/ 0 w 1247199"/>
              <a:gd name="connsiteY77" fmla="*/ 225866 h 237703"/>
              <a:gd name="connsiteX78" fmla="*/ 0 w 1247199"/>
              <a:gd name="connsiteY78" fmla="*/ 93443 h 237703"/>
              <a:gd name="connsiteX79" fmla="*/ 103705 w 1247199"/>
              <a:gd name="connsiteY79" fmla="*/ 0 h 2377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</a:cxnLst>
            <a:rect l="l" t="t" r="r" b="b"/>
            <a:pathLst>
              <a:path w="1247199" h="237703">
                <a:moveTo>
                  <a:pt x="1132153" y="56553"/>
                </a:moveTo>
                <a:cubicBezTo>
                  <a:pt x="1114366" y="56553"/>
                  <a:pt x="1087028" y="68303"/>
                  <a:pt x="1087028" y="118841"/>
                </a:cubicBezTo>
                <a:cubicBezTo>
                  <a:pt x="1087028" y="169378"/>
                  <a:pt x="1114366" y="181107"/>
                  <a:pt x="1132153" y="181107"/>
                </a:cubicBezTo>
                <a:cubicBezTo>
                  <a:pt x="1149941" y="181107"/>
                  <a:pt x="1177193" y="169314"/>
                  <a:pt x="1177193" y="118798"/>
                </a:cubicBezTo>
                <a:cubicBezTo>
                  <a:pt x="1177193" y="68282"/>
                  <a:pt x="1149941" y="56553"/>
                  <a:pt x="1132153" y="56553"/>
                </a:cubicBezTo>
                <a:close/>
                <a:moveTo>
                  <a:pt x="822461" y="4312"/>
                </a:moveTo>
                <a:lnTo>
                  <a:pt x="1005616" y="4312"/>
                </a:lnTo>
                <a:cubicBezTo>
                  <a:pt x="1009688" y="4312"/>
                  <a:pt x="1012989" y="7613"/>
                  <a:pt x="1012989" y="11686"/>
                </a:cubicBezTo>
                <a:lnTo>
                  <a:pt x="1012989" y="55324"/>
                </a:lnTo>
                <a:cubicBezTo>
                  <a:pt x="1012989" y="59397"/>
                  <a:pt x="1009688" y="62697"/>
                  <a:pt x="1005616" y="62697"/>
                </a:cubicBezTo>
                <a:lnTo>
                  <a:pt x="949171" y="62697"/>
                </a:lnTo>
                <a:lnTo>
                  <a:pt x="949171" y="225931"/>
                </a:lnTo>
                <a:cubicBezTo>
                  <a:pt x="949158" y="230019"/>
                  <a:pt x="945842" y="233326"/>
                  <a:pt x="941754" y="233326"/>
                </a:cubicBezTo>
                <a:lnTo>
                  <a:pt x="886301" y="233326"/>
                </a:lnTo>
                <a:cubicBezTo>
                  <a:pt x="882226" y="233315"/>
                  <a:pt x="878927" y="230006"/>
                  <a:pt x="878927" y="225931"/>
                </a:cubicBezTo>
                <a:lnTo>
                  <a:pt x="878927" y="62697"/>
                </a:lnTo>
                <a:lnTo>
                  <a:pt x="822461" y="62697"/>
                </a:lnTo>
                <a:cubicBezTo>
                  <a:pt x="818388" y="62697"/>
                  <a:pt x="815087" y="59397"/>
                  <a:pt x="815087" y="55324"/>
                </a:cubicBezTo>
                <a:lnTo>
                  <a:pt x="815087" y="11686"/>
                </a:lnTo>
                <a:cubicBezTo>
                  <a:pt x="815087" y="7613"/>
                  <a:pt x="818388" y="4312"/>
                  <a:pt x="822461" y="4312"/>
                </a:cubicBezTo>
                <a:close/>
                <a:moveTo>
                  <a:pt x="598557" y="4312"/>
                </a:moveTo>
                <a:lnTo>
                  <a:pt x="653989" y="4312"/>
                </a:lnTo>
                <a:cubicBezTo>
                  <a:pt x="653995" y="4312"/>
                  <a:pt x="654004" y="4312"/>
                  <a:pt x="654010" y="4312"/>
                </a:cubicBezTo>
                <a:cubicBezTo>
                  <a:pt x="658083" y="4312"/>
                  <a:pt x="661384" y="7613"/>
                  <a:pt x="661384" y="11686"/>
                </a:cubicBezTo>
                <a:lnTo>
                  <a:pt x="661384" y="128457"/>
                </a:lnTo>
                <a:cubicBezTo>
                  <a:pt x="661384" y="151763"/>
                  <a:pt x="661384" y="180827"/>
                  <a:pt x="695536" y="180827"/>
                </a:cubicBezTo>
                <a:cubicBezTo>
                  <a:pt x="728738" y="180827"/>
                  <a:pt x="728738" y="151763"/>
                  <a:pt x="728738" y="128457"/>
                </a:cubicBezTo>
                <a:lnTo>
                  <a:pt x="728738" y="11686"/>
                </a:lnTo>
                <a:cubicBezTo>
                  <a:pt x="728749" y="7611"/>
                  <a:pt x="732059" y="4312"/>
                  <a:pt x="736134" y="4312"/>
                </a:cubicBezTo>
                <a:lnTo>
                  <a:pt x="791587" y="4312"/>
                </a:lnTo>
                <a:cubicBezTo>
                  <a:pt x="795660" y="4312"/>
                  <a:pt x="798960" y="7613"/>
                  <a:pt x="798960" y="11686"/>
                </a:cubicBezTo>
                <a:lnTo>
                  <a:pt x="798960" y="144109"/>
                </a:lnTo>
                <a:cubicBezTo>
                  <a:pt x="798960" y="207324"/>
                  <a:pt x="764809" y="237638"/>
                  <a:pt x="695234" y="237638"/>
                </a:cubicBezTo>
                <a:cubicBezTo>
                  <a:pt x="625659" y="237638"/>
                  <a:pt x="591162" y="207324"/>
                  <a:pt x="591162" y="144109"/>
                </a:cubicBezTo>
                <a:lnTo>
                  <a:pt x="591162" y="11686"/>
                </a:lnTo>
                <a:cubicBezTo>
                  <a:pt x="591173" y="7611"/>
                  <a:pt x="594482" y="4312"/>
                  <a:pt x="598557" y="4312"/>
                </a:cubicBezTo>
                <a:close/>
                <a:moveTo>
                  <a:pt x="371979" y="4312"/>
                </a:moveTo>
                <a:lnTo>
                  <a:pt x="427411" y="4312"/>
                </a:lnTo>
                <a:cubicBezTo>
                  <a:pt x="431494" y="4301"/>
                  <a:pt x="434815" y="7602"/>
                  <a:pt x="434828" y="11686"/>
                </a:cubicBezTo>
                <a:lnTo>
                  <a:pt x="434828" y="128457"/>
                </a:lnTo>
                <a:cubicBezTo>
                  <a:pt x="434828" y="151763"/>
                  <a:pt x="434828" y="180827"/>
                  <a:pt x="468979" y="180827"/>
                </a:cubicBezTo>
                <a:cubicBezTo>
                  <a:pt x="502160" y="180827"/>
                  <a:pt x="502160" y="151763"/>
                  <a:pt x="502160" y="128457"/>
                </a:cubicBezTo>
                <a:lnTo>
                  <a:pt x="502160" y="11686"/>
                </a:lnTo>
                <a:cubicBezTo>
                  <a:pt x="502171" y="7611"/>
                  <a:pt x="505481" y="4312"/>
                  <a:pt x="509556" y="4312"/>
                </a:cubicBezTo>
                <a:lnTo>
                  <a:pt x="565009" y="4312"/>
                </a:lnTo>
                <a:cubicBezTo>
                  <a:pt x="569084" y="4312"/>
                  <a:pt x="572391" y="7611"/>
                  <a:pt x="572404" y="11686"/>
                </a:cubicBezTo>
                <a:lnTo>
                  <a:pt x="572404" y="144109"/>
                </a:lnTo>
                <a:cubicBezTo>
                  <a:pt x="572404" y="207324"/>
                  <a:pt x="538231" y="237638"/>
                  <a:pt x="468656" y="237638"/>
                </a:cubicBezTo>
                <a:cubicBezTo>
                  <a:pt x="399081" y="237638"/>
                  <a:pt x="364584" y="207324"/>
                  <a:pt x="364584" y="144109"/>
                </a:cubicBezTo>
                <a:lnTo>
                  <a:pt x="364584" y="11686"/>
                </a:lnTo>
                <a:cubicBezTo>
                  <a:pt x="364595" y="7611"/>
                  <a:pt x="367904" y="4312"/>
                  <a:pt x="371979" y="4312"/>
                </a:cubicBezTo>
                <a:close/>
                <a:moveTo>
                  <a:pt x="1132153" y="0"/>
                </a:moveTo>
                <a:cubicBezTo>
                  <a:pt x="1201125" y="0"/>
                  <a:pt x="1247199" y="49610"/>
                  <a:pt x="1247199" y="118862"/>
                </a:cubicBezTo>
                <a:cubicBezTo>
                  <a:pt x="1247199" y="188114"/>
                  <a:pt x="1201103" y="237703"/>
                  <a:pt x="1132153" y="237703"/>
                </a:cubicBezTo>
                <a:cubicBezTo>
                  <a:pt x="1063203" y="237703"/>
                  <a:pt x="1017129" y="188136"/>
                  <a:pt x="1017129" y="118862"/>
                </a:cubicBezTo>
                <a:cubicBezTo>
                  <a:pt x="1017129" y="49589"/>
                  <a:pt x="1063160" y="0"/>
                  <a:pt x="1132153" y="0"/>
                </a:cubicBezTo>
                <a:close/>
                <a:moveTo>
                  <a:pt x="103705" y="0"/>
                </a:moveTo>
                <a:cubicBezTo>
                  <a:pt x="132790" y="0"/>
                  <a:pt x="155687" y="5304"/>
                  <a:pt x="172569" y="16084"/>
                </a:cubicBezTo>
                <a:cubicBezTo>
                  <a:pt x="189343" y="5304"/>
                  <a:pt x="212240" y="0"/>
                  <a:pt x="241282" y="0"/>
                </a:cubicBezTo>
                <a:cubicBezTo>
                  <a:pt x="310878" y="0"/>
                  <a:pt x="345353" y="30185"/>
                  <a:pt x="345375" y="93443"/>
                </a:cubicBezTo>
                <a:lnTo>
                  <a:pt x="345375" y="225866"/>
                </a:lnTo>
                <a:cubicBezTo>
                  <a:pt x="345375" y="229941"/>
                  <a:pt x="342076" y="233249"/>
                  <a:pt x="338001" y="233262"/>
                </a:cubicBezTo>
                <a:lnTo>
                  <a:pt x="282548" y="233262"/>
                </a:lnTo>
                <a:cubicBezTo>
                  <a:pt x="278465" y="233262"/>
                  <a:pt x="275153" y="229950"/>
                  <a:pt x="275153" y="225866"/>
                </a:cubicBezTo>
                <a:lnTo>
                  <a:pt x="275153" y="109095"/>
                </a:lnTo>
                <a:cubicBezTo>
                  <a:pt x="275153" y="85789"/>
                  <a:pt x="275153" y="56768"/>
                  <a:pt x="241001" y="56768"/>
                </a:cubicBezTo>
                <a:cubicBezTo>
                  <a:pt x="207798" y="56768"/>
                  <a:pt x="207798" y="85789"/>
                  <a:pt x="207798" y="109095"/>
                </a:cubicBezTo>
                <a:lnTo>
                  <a:pt x="207798" y="225866"/>
                </a:lnTo>
                <a:cubicBezTo>
                  <a:pt x="207798" y="229950"/>
                  <a:pt x="204487" y="233262"/>
                  <a:pt x="200403" y="233262"/>
                </a:cubicBezTo>
                <a:lnTo>
                  <a:pt x="144950" y="233262"/>
                </a:lnTo>
                <a:cubicBezTo>
                  <a:pt x="140875" y="233251"/>
                  <a:pt x="137576" y="229941"/>
                  <a:pt x="137576" y="225866"/>
                </a:cubicBezTo>
                <a:lnTo>
                  <a:pt x="137576" y="109095"/>
                </a:lnTo>
                <a:cubicBezTo>
                  <a:pt x="137576" y="85789"/>
                  <a:pt x="137576" y="56768"/>
                  <a:pt x="103403" y="56768"/>
                </a:cubicBezTo>
                <a:cubicBezTo>
                  <a:pt x="70222" y="56768"/>
                  <a:pt x="70222" y="85789"/>
                  <a:pt x="70222" y="109095"/>
                </a:cubicBezTo>
                <a:lnTo>
                  <a:pt x="70222" y="225866"/>
                </a:lnTo>
                <a:cubicBezTo>
                  <a:pt x="70211" y="229946"/>
                  <a:pt x="66906" y="233251"/>
                  <a:pt x="62827" y="233262"/>
                </a:cubicBezTo>
                <a:lnTo>
                  <a:pt x="7374" y="233262"/>
                </a:lnTo>
                <a:cubicBezTo>
                  <a:pt x="3299" y="233251"/>
                  <a:pt x="0" y="229941"/>
                  <a:pt x="0" y="225866"/>
                </a:cubicBezTo>
                <a:lnTo>
                  <a:pt x="0" y="93443"/>
                </a:lnTo>
                <a:cubicBezTo>
                  <a:pt x="0" y="30185"/>
                  <a:pt x="34130" y="0"/>
                  <a:pt x="103705" y="0"/>
                </a:cubicBezTo>
                <a:close/>
              </a:path>
            </a:pathLst>
          </a:custGeom>
          <a:solidFill>
            <a:srgbClr val="ECE8DD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80645692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C">
    <p:bg>
      <p:bgPr>
        <a:solidFill>
          <a:srgbClr val="68702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Date Placeholder 2" hidden="1">
            <a:extLst>
              <a:ext uri="{FF2B5EF4-FFF2-40B4-BE49-F238E27FC236}">
                <a16:creationId xmlns:a16="http://schemas.microsoft.com/office/drawing/2014/main" id="{5758BA83-6B06-1794-CECE-A631C574BE2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28"/>
          </p:nvPr>
        </p:nvSpPr>
        <p:spPr>
          <a:xfrm>
            <a:off x="0" y="6858000"/>
            <a:ext cx="0" cy="0"/>
          </a:xfrm>
        </p:spPr>
        <p:txBody>
          <a:bodyPr/>
          <a:lstStyle/>
          <a:p>
            <a:fld id="{45527A44-AA1D-4BA1-AA93-32475F9E9A8F}" type="datetime4">
              <a:rPr lang="en-GB" smtClean="0"/>
              <a:pPr/>
              <a:t>14 March 2025</a:t>
            </a:fld>
            <a:endParaRPr lang="en-GB" dirty="0"/>
          </a:p>
        </p:txBody>
      </p:sp>
      <p:sp>
        <p:nvSpPr>
          <p:cNvPr id="5" name="Footer Placeholder 4" hidden="1">
            <a:extLst>
              <a:ext uri="{FF2B5EF4-FFF2-40B4-BE49-F238E27FC236}">
                <a16:creationId xmlns:a16="http://schemas.microsoft.com/office/drawing/2014/main" id="{7E63E1AE-B90B-45DE-BF04-5611424F7D68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1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GB" dirty="0"/>
              <a:t>Muuto</a:t>
            </a:r>
          </a:p>
        </p:txBody>
      </p:sp>
      <p:sp>
        <p:nvSpPr>
          <p:cNvPr id="6" name="Slide Number Placeholder 5" hidden="1">
            <a:extLst>
              <a:ext uri="{FF2B5EF4-FFF2-40B4-BE49-F238E27FC236}">
                <a16:creationId xmlns:a16="http://schemas.microsoft.com/office/drawing/2014/main" id="{B684C3E5-5486-4606-B82A-1C8EDE165036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4" name="Text Placeholder background">
            <a:extLst>
              <a:ext uri="{FF2B5EF4-FFF2-40B4-BE49-F238E27FC236}">
                <a16:creationId xmlns:a16="http://schemas.microsoft.com/office/drawing/2014/main" id="{964834D1-178D-EBC0-47F0-943DAE91CAB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white">
          <a:xfrm>
            <a:off x="0" y="0"/>
            <a:ext cx="12198350" cy="6858000"/>
          </a:xfrm>
          <a:solidFill>
            <a:srgbClr val="687025"/>
          </a:solidFill>
          <a:ln>
            <a:noFill/>
          </a:ln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12" name="Picture Placeholder 3">
            <a:extLst>
              <a:ext uri="{FF2B5EF4-FFF2-40B4-BE49-F238E27FC236}">
                <a16:creationId xmlns:a16="http://schemas.microsoft.com/office/drawing/2014/main" id="{20161446-83AB-60D5-1FE8-D3B4D1F747C1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074083" y="518400"/>
            <a:ext cx="2852685" cy="3801600"/>
          </a:xfrm>
          <a:solidFill>
            <a:schemeClr val="tx1"/>
          </a:solidFill>
        </p:spPr>
        <p:txBody>
          <a:bodyPr lIns="72000" tIns="72000" rIns="72000" anchor="t" anchorCtr="0"/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here and insert picture via Insert &gt; Pictures</a:t>
            </a:r>
          </a:p>
        </p:txBody>
      </p:sp>
      <p:sp>
        <p:nvSpPr>
          <p:cNvPr id="15" name="Picture Placeholder 3">
            <a:extLst>
              <a:ext uri="{FF2B5EF4-FFF2-40B4-BE49-F238E27FC236}">
                <a16:creationId xmlns:a16="http://schemas.microsoft.com/office/drawing/2014/main" id="{D5BE91BE-1AB6-7EF4-B20A-4F1F2CA332E1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9926768" y="5094000"/>
            <a:ext cx="1354305" cy="1764000"/>
          </a:xfrm>
          <a:solidFill>
            <a:schemeClr val="tx1"/>
          </a:solidFill>
        </p:spPr>
        <p:txBody>
          <a:bodyPr lIns="0" tIns="648000" anchor="ctr" anchorCtr="0"/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72324" y="2242051"/>
            <a:ext cx="8212275" cy="3220676"/>
          </a:xfrm>
        </p:spPr>
        <p:txBody>
          <a:bodyPr tIns="0" bIns="468000" anchor="b"/>
          <a:lstStyle>
            <a:lvl1pPr algn="l">
              <a:defRPr sz="10000" b="1" cap="none" baseline="0">
                <a:solidFill>
                  <a:srgbClr val="ECE8DD"/>
                </a:solidFill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90EFA22C-5FC2-0122-0B39-620D58A4194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72324" y="4917364"/>
            <a:ext cx="8212275" cy="540000"/>
          </a:xfr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3000" cap="all" baseline="0">
                <a:solidFill>
                  <a:srgbClr val="ECE8DD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18" name="Text Placeholder place">
            <a:extLst>
              <a:ext uri="{FF2B5EF4-FFF2-40B4-BE49-F238E27FC236}">
                <a16:creationId xmlns:a16="http://schemas.microsoft.com/office/drawing/2014/main" id="{9149545E-EDF3-5F0C-C761-513AACB9146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72324" y="5889732"/>
            <a:ext cx="8212275" cy="216000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 baseline="0">
                <a:solidFill>
                  <a:srgbClr val="ECE8DD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>
                <a:solidFill>
                  <a:srgbClr val="ECE8DD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>
                <a:solidFill>
                  <a:srgbClr val="ECE8DD"/>
                </a:solidFill>
                <a:latin typeface="+mn-lt"/>
              </a:defRPr>
            </a:lvl3pPr>
            <a:lvl4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>
                <a:solidFill>
                  <a:srgbClr val="ECE8DD"/>
                </a:solidFill>
                <a:latin typeface="+mn-lt"/>
              </a:defRPr>
            </a:lvl4pPr>
            <a:lvl5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>
                <a:solidFill>
                  <a:srgbClr val="ECE8DD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>
                <a:solidFill>
                  <a:srgbClr val="ECE8DD"/>
                </a:solidFill>
                <a:latin typeface="+mn-lt"/>
              </a:defRPr>
            </a:lvl6pPr>
            <a:lvl7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>
                <a:solidFill>
                  <a:srgbClr val="ECE8DD"/>
                </a:solidFill>
                <a:latin typeface="+mn-lt"/>
              </a:defRPr>
            </a:lvl7pPr>
            <a:lvl8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>
                <a:solidFill>
                  <a:srgbClr val="ECE8DD"/>
                </a:solidFill>
                <a:latin typeface="+mn-lt"/>
              </a:defRPr>
            </a:lvl8pPr>
            <a:lvl9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>
                <a:solidFill>
                  <a:srgbClr val="ECE8DD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36" name="Text Placeholder Logo">
            <a:extLst>
              <a:ext uri="{FF2B5EF4-FFF2-40B4-BE49-F238E27FC236}">
                <a16:creationId xmlns:a16="http://schemas.microsoft.com/office/drawing/2014/main" id="{777B27E8-C34B-47F2-821E-3C7C93C77C2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invGray">
          <a:xfrm>
            <a:off x="673551" y="581520"/>
            <a:ext cx="1247849" cy="237703"/>
          </a:xfrm>
          <a:custGeom>
            <a:avLst/>
            <a:gdLst>
              <a:gd name="connsiteX0" fmla="*/ 1132153 w 1247199"/>
              <a:gd name="connsiteY0" fmla="*/ 56553 h 237703"/>
              <a:gd name="connsiteX1" fmla="*/ 1087028 w 1247199"/>
              <a:gd name="connsiteY1" fmla="*/ 118841 h 237703"/>
              <a:gd name="connsiteX2" fmla="*/ 1132153 w 1247199"/>
              <a:gd name="connsiteY2" fmla="*/ 181107 h 237703"/>
              <a:gd name="connsiteX3" fmla="*/ 1177193 w 1247199"/>
              <a:gd name="connsiteY3" fmla="*/ 118798 h 237703"/>
              <a:gd name="connsiteX4" fmla="*/ 1132153 w 1247199"/>
              <a:gd name="connsiteY4" fmla="*/ 56553 h 237703"/>
              <a:gd name="connsiteX5" fmla="*/ 822461 w 1247199"/>
              <a:gd name="connsiteY5" fmla="*/ 4312 h 237703"/>
              <a:gd name="connsiteX6" fmla="*/ 1005616 w 1247199"/>
              <a:gd name="connsiteY6" fmla="*/ 4312 h 237703"/>
              <a:gd name="connsiteX7" fmla="*/ 1012989 w 1247199"/>
              <a:gd name="connsiteY7" fmla="*/ 11686 h 237703"/>
              <a:gd name="connsiteX8" fmla="*/ 1012989 w 1247199"/>
              <a:gd name="connsiteY8" fmla="*/ 55324 h 237703"/>
              <a:gd name="connsiteX9" fmla="*/ 1005616 w 1247199"/>
              <a:gd name="connsiteY9" fmla="*/ 62697 h 237703"/>
              <a:gd name="connsiteX10" fmla="*/ 949171 w 1247199"/>
              <a:gd name="connsiteY10" fmla="*/ 62697 h 237703"/>
              <a:gd name="connsiteX11" fmla="*/ 949171 w 1247199"/>
              <a:gd name="connsiteY11" fmla="*/ 225931 h 237703"/>
              <a:gd name="connsiteX12" fmla="*/ 941754 w 1247199"/>
              <a:gd name="connsiteY12" fmla="*/ 233326 h 237703"/>
              <a:gd name="connsiteX13" fmla="*/ 886301 w 1247199"/>
              <a:gd name="connsiteY13" fmla="*/ 233326 h 237703"/>
              <a:gd name="connsiteX14" fmla="*/ 878927 w 1247199"/>
              <a:gd name="connsiteY14" fmla="*/ 225931 h 237703"/>
              <a:gd name="connsiteX15" fmla="*/ 878927 w 1247199"/>
              <a:gd name="connsiteY15" fmla="*/ 62697 h 237703"/>
              <a:gd name="connsiteX16" fmla="*/ 822461 w 1247199"/>
              <a:gd name="connsiteY16" fmla="*/ 62697 h 237703"/>
              <a:gd name="connsiteX17" fmla="*/ 815087 w 1247199"/>
              <a:gd name="connsiteY17" fmla="*/ 55324 h 237703"/>
              <a:gd name="connsiteX18" fmla="*/ 815087 w 1247199"/>
              <a:gd name="connsiteY18" fmla="*/ 11686 h 237703"/>
              <a:gd name="connsiteX19" fmla="*/ 822461 w 1247199"/>
              <a:gd name="connsiteY19" fmla="*/ 4312 h 237703"/>
              <a:gd name="connsiteX20" fmla="*/ 598557 w 1247199"/>
              <a:gd name="connsiteY20" fmla="*/ 4312 h 237703"/>
              <a:gd name="connsiteX21" fmla="*/ 653989 w 1247199"/>
              <a:gd name="connsiteY21" fmla="*/ 4312 h 237703"/>
              <a:gd name="connsiteX22" fmla="*/ 654010 w 1247199"/>
              <a:gd name="connsiteY22" fmla="*/ 4312 h 237703"/>
              <a:gd name="connsiteX23" fmla="*/ 661384 w 1247199"/>
              <a:gd name="connsiteY23" fmla="*/ 11686 h 237703"/>
              <a:gd name="connsiteX24" fmla="*/ 661384 w 1247199"/>
              <a:gd name="connsiteY24" fmla="*/ 128457 h 237703"/>
              <a:gd name="connsiteX25" fmla="*/ 695536 w 1247199"/>
              <a:gd name="connsiteY25" fmla="*/ 180827 h 237703"/>
              <a:gd name="connsiteX26" fmla="*/ 728738 w 1247199"/>
              <a:gd name="connsiteY26" fmla="*/ 128457 h 237703"/>
              <a:gd name="connsiteX27" fmla="*/ 728738 w 1247199"/>
              <a:gd name="connsiteY27" fmla="*/ 11686 h 237703"/>
              <a:gd name="connsiteX28" fmla="*/ 736134 w 1247199"/>
              <a:gd name="connsiteY28" fmla="*/ 4312 h 237703"/>
              <a:gd name="connsiteX29" fmla="*/ 791587 w 1247199"/>
              <a:gd name="connsiteY29" fmla="*/ 4312 h 237703"/>
              <a:gd name="connsiteX30" fmla="*/ 798960 w 1247199"/>
              <a:gd name="connsiteY30" fmla="*/ 11686 h 237703"/>
              <a:gd name="connsiteX31" fmla="*/ 798960 w 1247199"/>
              <a:gd name="connsiteY31" fmla="*/ 144109 h 237703"/>
              <a:gd name="connsiteX32" fmla="*/ 695234 w 1247199"/>
              <a:gd name="connsiteY32" fmla="*/ 237638 h 237703"/>
              <a:gd name="connsiteX33" fmla="*/ 591162 w 1247199"/>
              <a:gd name="connsiteY33" fmla="*/ 144109 h 237703"/>
              <a:gd name="connsiteX34" fmla="*/ 591162 w 1247199"/>
              <a:gd name="connsiteY34" fmla="*/ 11686 h 237703"/>
              <a:gd name="connsiteX35" fmla="*/ 598557 w 1247199"/>
              <a:gd name="connsiteY35" fmla="*/ 4312 h 237703"/>
              <a:gd name="connsiteX36" fmla="*/ 371979 w 1247199"/>
              <a:gd name="connsiteY36" fmla="*/ 4312 h 237703"/>
              <a:gd name="connsiteX37" fmla="*/ 427411 w 1247199"/>
              <a:gd name="connsiteY37" fmla="*/ 4312 h 237703"/>
              <a:gd name="connsiteX38" fmla="*/ 434828 w 1247199"/>
              <a:gd name="connsiteY38" fmla="*/ 11686 h 237703"/>
              <a:gd name="connsiteX39" fmla="*/ 434828 w 1247199"/>
              <a:gd name="connsiteY39" fmla="*/ 128457 h 237703"/>
              <a:gd name="connsiteX40" fmla="*/ 468979 w 1247199"/>
              <a:gd name="connsiteY40" fmla="*/ 180827 h 237703"/>
              <a:gd name="connsiteX41" fmla="*/ 502160 w 1247199"/>
              <a:gd name="connsiteY41" fmla="*/ 128457 h 237703"/>
              <a:gd name="connsiteX42" fmla="*/ 502160 w 1247199"/>
              <a:gd name="connsiteY42" fmla="*/ 11686 h 237703"/>
              <a:gd name="connsiteX43" fmla="*/ 509556 w 1247199"/>
              <a:gd name="connsiteY43" fmla="*/ 4312 h 237703"/>
              <a:gd name="connsiteX44" fmla="*/ 565009 w 1247199"/>
              <a:gd name="connsiteY44" fmla="*/ 4312 h 237703"/>
              <a:gd name="connsiteX45" fmla="*/ 572404 w 1247199"/>
              <a:gd name="connsiteY45" fmla="*/ 11686 h 237703"/>
              <a:gd name="connsiteX46" fmla="*/ 572404 w 1247199"/>
              <a:gd name="connsiteY46" fmla="*/ 144109 h 237703"/>
              <a:gd name="connsiteX47" fmla="*/ 468656 w 1247199"/>
              <a:gd name="connsiteY47" fmla="*/ 237638 h 237703"/>
              <a:gd name="connsiteX48" fmla="*/ 364584 w 1247199"/>
              <a:gd name="connsiteY48" fmla="*/ 144109 h 237703"/>
              <a:gd name="connsiteX49" fmla="*/ 364584 w 1247199"/>
              <a:gd name="connsiteY49" fmla="*/ 11686 h 237703"/>
              <a:gd name="connsiteX50" fmla="*/ 371979 w 1247199"/>
              <a:gd name="connsiteY50" fmla="*/ 4312 h 237703"/>
              <a:gd name="connsiteX51" fmla="*/ 1132153 w 1247199"/>
              <a:gd name="connsiteY51" fmla="*/ 0 h 237703"/>
              <a:gd name="connsiteX52" fmla="*/ 1247199 w 1247199"/>
              <a:gd name="connsiteY52" fmla="*/ 118862 h 237703"/>
              <a:gd name="connsiteX53" fmla="*/ 1132153 w 1247199"/>
              <a:gd name="connsiteY53" fmla="*/ 237703 h 237703"/>
              <a:gd name="connsiteX54" fmla="*/ 1017129 w 1247199"/>
              <a:gd name="connsiteY54" fmla="*/ 118862 h 237703"/>
              <a:gd name="connsiteX55" fmla="*/ 1132153 w 1247199"/>
              <a:gd name="connsiteY55" fmla="*/ 0 h 237703"/>
              <a:gd name="connsiteX56" fmla="*/ 103705 w 1247199"/>
              <a:gd name="connsiteY56" fmla="*/ 0 h 237703"/>
              <a:gd name="connsiteX57" fmla="*/ 172569 w 1247199"/>
              <a:gd name="connsiteY57" fmla="*/ 16084 h 237703"/>
              <a:gd name="connsiteX58" fmla="*/ 241282 w 1247199"/>
              <a:gd name="connsiteY58" fmla="*/ 0 h 237703"/>
              <a:gd name="connsiteX59" fmla="*/ 345375 w 1247199"/>
              <a:gd name="connsiteY59" fmla="*/ 93443 h 237703"/>
              <a:gd name="connsiteX60" fmla="*/ 345375 w 1247199"/>
              <a:gd name="connsiteY60" fmla="*/ 225866 h 237703"/>
              <a:gd name="connsiteX61" fmla="*/ 338001 w 1247199"/>
              <a:gd name="connsiteY61" fmla="*/ 233262 h 237703"/>
              <a:gd name="connsiteX62" fmla="*/ 282548 w 1247199"/>
              <a:gd name="connsiteY62" fmla="*/ 233262 h 237703"/>
              <a:gd name="connsiteX63" fmla="*/ 275153 w 1247199"/>
              <a:gd name="connsiteY63" fmla="*/ 225866 h 237703"/>
              <a:gd name="connsiteX64" fmla="*/ 275153 w 1247199"/>
              <a:gd name="connsiteY64" fmla="*/ 109095 h 237703"/>
              <a:gd name="connsiteX65" fmla="*/ 241001 w 1247199"/>
              <a:gd name="connsiteY65" fmla="*/ 56768 h 237703"/>
              <a:gd name="connsiteX66" fmla="*/ 207798 w 1247199"/>
              <a:gd name="connsiteY66" fmla="*/ 109095 h 237703"/>
              <a:gd name="connsiteX67" fmla="*/ 207798 w 1247199"/>
              <a:gd name="connsiteY67" fmla="*/ 225866 h 237703"/>
              <a:gd name="connsiteX68" fmla="*/ 200403 w 1247199"/>
              <a:gd name="connsiteY68" fmla="*/ 233262 h 237703"/>
              <a:gd name="connsiteX69" fmla="*/ 144950 w 1247199"/>
              <a:gd name="connsiteY69" fmla="*/ 233262 h 237703"/>
              <a:gd name="connsiteX70" fmla="*/ 137576 w 1247199"/>
              <a:gd name="connsiteY70" fmla="*/ 225866 h 237703"/>
              <a:gd name="connsiteX71" fmla="*/ 137576 w 1247199"/>
              <a:gd name="connsiteY71" fmla="*/ 109095 h 237703"/>
              <a:gd name="connsiteX72" fmla="*/ 103403 w 1247199"/>
              <a:gd name="connsiteY72" fmla="*/ 56768 h 237703"/>
              <a:gd name="connsiteX73" fmla="*/ 70222 w 1247199"/>
              <a:gd name="connsiteY73" fmla="*/ 109095 h 237703"/>
              <a:gd name="connsiteX74" fmla="*/ 70222 w 1247199"/>
              <a:gd name="connsiteY74" fmla="*/ 225866 h 237703"/>
              <a:gd name="connsiteX75" fmla="*/ 62827 w 1247199"/>
              <a:gd name="connsiteY75" fmla="*/ 233262 h 237703"/>
              <a:gd name="connsiteX76" fmla="*/ 7374 w 1247199"/>
              <a:gd name="connsiteY76" fmla="*/ 233262 h 237703"/>
              <a:gd name="connsiteX77" fmla="*/ 0 w 1247199"/>
              <a:gd name="connsiteY77" fmla="*/ 225866 h 237703"/>
              <a:gd name="connsiteX78" fmla="*/ 0 w 1247199"/>
              <a:gd name="connsiteY78" fmla="*/ 93443 h 237703"/>
              <a:gd name="connsiteX79" fmla="*/ 103705 w 1247199"/>
              <a:gd name="connsiteY79" fmla="*/ 0 h 2377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</a:cxnLst>
            <a:rect l="l" t="t" r="r" b="b"/>
            <a:pathLst>
              <a:path w="1247199" h="237703">
                <a:moveTo>
                  <a:pt x="1132153" y="56553"/>
                </a:moveTo>
                <a:cubicBezTo>
                  <a:pt x="1114366" y="56553"/>
                  <a:pt x="1087028" y="68303"/>
                  <a:pt x="1087028" y="118841"/>
                </a:cubicBezTo>
                <a:cubicBezTo>
                  <a:pt x="1087028" y="169378"/>
                  <a:pt x="1114366" y="181107"/>
                  <a:pt x="1132153" y="181107"/>
                </a:cubicBezTo>
                <a:cubicBezTo>
                  <a:pt x="1149941" y="181107"/>
                  <a:pt x="1177193" y="169314"/>
                  <a:pt x="1177193" y="118798"/>
                </a:cubicBezTo>
                <a:cubicBezTo>
                  <a:pt x="1177193" y="68282"/>
                  <a:pt x="1149941" y="56553"/>
                  <a:pt x="1132153" y="56553"/>
                </a:cubicBezTo>
                <a:close/>
                <a:moveTo>
                  <a:pt x="822461" y="4312"/>
                </a:moveTo>
                <a:lnTo>
                  <a:pt x="1005616" y="4312"/>
                </a:lnTo>
                <a:cubicBezTo>
                  <a:pt x="1009688" y="4312"/>
                  <a:pt x="1012989" y="7613"/>
                  <a:pt x="1012989" y="11686"/>
                </a:cubicBezTo>
                <a:lnTo>
                  <a:pt x="1012989" y="55324"/>
                </a:lnTo>
                <a:cubicBezTo>
                  <a:pt x="1012989" y="59397"/>
                  <a:pt x="1009688" y="62697"/>
                  <a:pt x="1005616" y="62697"/>
                </a:cubicBezTo>
                <a:lnTo>
                  <a:pt x="949171" y="62697"/>
                </a:lnTo>
                <a:lnTo>
                  <a:pt x="949171" y="225931"/>
                </a:lnTo>
                <a:cubicBezTo>
                  <a:pt x="949158" y="230019"/>
                  <a:pt x="945842" y="233326"/>
                  <a:pt x="941754" y="233326"/>
                </a:cubicBezTo>
                <a:lnTo>
                  <a:pt x="886301" y="233326"/>
                </a:lnTo>
                <a:cubicBezTo>
                  <a:pt x="882226" y="233315"/>
                  <a:pt x="878927" y="230006"/>
                  <a:pt x="878927" y="225931"/>
                </a:cubicBezTo>
                <a:lnTo>
                  <a:pt x="878927" y="62697"/>
                </a:lnTo>
                <a:lnTo>
                  <a:pt x="822461" y="62697"/>
                </a:lnTo>
                <a:cubicBezTo>
                  <a:pt x="818388" y="62697"/>
                  <a:pt x="815087" y="59397"/>
                  <a:pt x="815087" y="55324"/>
                </a:cubicBezTo>
                <a:lnTo>
                  <a:pt x="815087" y="11686"/>
                </a:lnTo>
                <a:cubicBezTo>
                  <a:pt x="815087" y="7613"/>
                  <a:pt x="818388" y="4312"/>
                  <a:pt x="822461" y="4312"/>
                </a:cubicBezTo>
                <a:close/>
                <a:moveTo>
                  <a:pt x="598557" y="4312"/>
                </a:moveTo>
                <a:lnTo>
                  <a:pt x="653989" y="4312"/>
                </a:lnTo>
                <a:cubicBezTo>
                  <a:pt x="653995" y="4312"/>
                  <a:pt x="654004" y="4312"/>
                  <a:pt x="654010" y="4312"/>
                </a:cubicBezTo>
                <a:cubicBezTo>
                  <a:pt x="658083" y="4312"/>
                  <a:pt x="661384" y="7613"/>
                  <a:pt x="661384" y="11686"/>
                </a:cubicBezTo>
                <a:lnTo>
                  <a:pt x="661384" y="128457"/>
                </a:lnTo>
                <a:cubicBezTo>
                  <a:pt x="661384" y="151763"/>
                  <a:pt x="661384" y="180827"/>
                  <a:pt x="695536" y="180827"/>
                </a:cubicBezTo>
                <a:cubicBezTo>
                  <a:pt x="728738" y="180827"/>
                  <a:pt x="728738" y="151763"/>
                  <a:pt x="728738" y="128457"/>
                </a:cubicBezTo>
                <a:lnTo>
                  <a:pt x="728738" y="11686"/>
                </a:lnTo>
                <a:cubicBezTo>
                  <a:pt x="728749" y="7611"/>
                  <a:pt x="732059" y="4312"/>
                  <a:pt x="736134" y="4312"/>
                </a:cubicBezTo>
                <a:lnTo>
                  <a:pt x="791587" y="4312"/>
                </a:lnTo>
                <a:cubicBezTo>
                  <a:pt x="795660" y="4312"/>
                  <a:pt x="798960" y="7613"/>
                  <a:pt x="798960" y="11686"/>
                </a:cubicBezTo>
                <a:lnTo>
                  <a:pt x="798960" y="144109"/>
                </a:lnTo>
                <a:cubicBezTo>
                  <a:pt x="798960" y="207324"/>
                  <a:pt x="764809" y="237638"/>
                  <a:pt x="695234" y="237638"/>
                </a:cubicBezTo>
                <a:cubicBezTo>
                  <a:pt x="625659" y="237638"/>
                  <a:pt x="591162" y="207324"/>
                  <a:pt x="591162" y="144109"/>
                </a:cubicBezTo>
                <a:lnTo>
                  <a:pt x="591162" y="11686"/>
                </a:lnTo>
                <a:cubicBezTo>
                  <a:pt x="591173" y="7611"/>
                  <a:pt x="594482" y="4312"/>
                  <a:pt x="598557" y="4312"/>
                </a:cubicBezTo>
                <a:close/>
                <a:moveTo>
                  <a:pt x="371979" y="4312"/>
                </a:moveTo>
                <a:lnTo>
                  <a:pt x="427411" y="4312"/>
                </a:lnTo>
                <a:cubicBezTo>
                  <a:pt x="431494" y="4301"/>
                  <a:pt x="434815" y="7602"/>
                  <a:pt x="434828" y="11686"/>
                </a:cubicBezTo>
                <a:lnTo>
                  <a:pt x="434828" y="128457"/>
                </a:lnTo>
                <a:cubicBezTo>
                  <a:pt x="434828" y="151763"/>
                  <a:pt x="434828" y="180827"/>
                  <a:pt x="468979" y="180827"/>
                </a:cubicBezTo>
                <a:cubicBezTo>
                  <a:pt x="502160" y="180827"/>
                  <a:pt x="502160" y="151763"/>
                  <a:pt x="502160" y="128457"/>
                </a:cubicBezTo>
                <a:lnTo>
                  <a:pt x="502160" y="11686"/>
                </a:lnTo>
                <a:cubicBezTo>
                  <a:pt x="502171" y="7611"/>
                  <a:pt x="505481" y="4312"/>
                  <a:pt x="509556" y="4312"/>
                </a:cubicBezTo>
                <a:lnTo>
                  <a:pt x="565009" y="4312"/>
                </a:lnTo>
                <a:cubicBezTo>
                  <a:pt x="569084" y="4312"/>
                  <a:pt x="572391" y="7611"/>
                  <a:pt x="572404" y="11686"/>
                </a:cubicBezTo>
                <a:lnTo>
                  <a:pt x="572404" y="144109"/>
                </a:lnTo>
                <a:cubicBezTo>
                  <a:pt x="572404" y="207324"/>
                  <a:pt x="538231" y="237638"/>
                  <a:pt x="468656" y="237638"/>
                </a:cubicBezTo>
                <a:cubicBezTo>
                  <a:pt x="399081" y="237638"/>
                  <a:pt x="364584" y="207324"/>
                  <a:pt x="364584" y="144109"/>
                </a:cubicBezTo>
                <a:lnTo>
                  <a:pt x="364584" y="11686"/>
                </a:lnTo>
                <a:cubicBezTo>
                  <a:pt x="364595" y="7611"/>
                  <a:pt x="367904" y="4312"/>
                  <a:pt x="371979" y="4312"/>
                </a:cubicBezTo>
                <a:close/>
                <a:moveTo>
                  <a:pt x="1132153" y="0"/>
                </a:moveTo>
                <a:cubicBezTo>
                  <a:pt x="1201125" y="0"/>
                  <a:pt x="1247199" y="49610"/>
                  <a:pt x="1247199" y="118862"/>
                </a:cubicBezTo>
                <a:cubicBezTo>
                  <a:pt x="1247199" y="188114"/>
                  <a:pt x="1201103" y="237703"/>
                  <a:pt x="1132153" y="237703"/>
                </a:cubicBezTo>
                <a:cubicBezTo>
                  <a:pt x="1063203" y="237703"/>
                  <a:pt x="1017129" y="188136"/>
                  <a:pt x="1017129" y="118862"/>
                </a:cubicBezTo>
                <a:cubicBezTo>
                  <a:pt x="1017129" y="49589"/>
                  <a:pt x="1063160" y="0"/>
                  <a:pt x="1132153" y="0"/>
                </a:cubicBezTo>
                <a:close/>
                <a:moveTo>
                  <a:pt x="103705" y="0"/>
                </a:moveTo>
                <a:cubicBezTo>
                  <a:pt x="132790" y="0"/>
                  <a:pt x="155687" y="5304"/>
                  <a:pt x="172569" y="16084"/>
                </a:cubicBezTo>
                <a:cubicBezTo>
                  <a:pt x="189343" y="5304"/>
                  <a:pt x="212240" y="0"/>
                  <a:pt x="241282" y="0"/>
                </a:cubicBezTo>
                <a:cubicBezTo>
                  <a:pt x="310878" y="0"/>
                  <a:pt x="345353" y="30185"/>
                  <a:pt x="345375" y="93443"/>
                </a:cubicBezTo>
                <a:lnTo>
                  <a:pt x="345375" y="225866"/>
                </a:lnTo>
                <a:cubicBezTo>
                  <a:pt x="345375" y="229941"/>
                  <a:pt x="342076" y="233249"/>
                  <a:pt x="338001" y="233262"/>
                </a:cubicBezTo>
                <a:lnTo>
                  <a:pt x="282548" y="233262"/>
                </a:lnTo>
                <a:cubicBezTo>
                  <a:pt x="278465" y="233262"/>
                  <a:pt x="275153" y="229950"/>
                  <a:pt x="275153" y="225866"/>
                </a:cubicBezTo>
                <a:lnTo>
                  <a:pt x="275153" y="109095"/>
                </a:lnTo>
                <a:cubicBezTo>
                  <a:pt x="275153" y="85789"/>
                  <a:pt x="275153" y="56768"/>
                  <a:pt x="241001" y="56768"/>
                </a:cubicBezTo>
                <a:cubicBezTo>
                  <a:pt x="207798" y="56768"/>
                  <a:pt x="207798" y="85789"/>
                  <a:pt x="207798" y="109095"/>
                </a:cubicBezTo>
                <a:lnTo>
                  <a:pt x="207798" y="225866"/>
                </a:lnTo>
                <a:cubicBezTo>
                  <a:pt x="207798" y="229950"/>
                  <a:pt x="204487" y="233262"/>
                  <a:pt x="200403" y="233262"/>
                </a:cubicBezTo>
                <a:lnTo>
                  <a:pt x="144950" y="233262"/>
                </a:lnTo>
                <a:cubicBezTo>
                  <a:pt x="140875" y="233251"/>
                  <a:pt x="137576" y="229941"/>
                  <a:pt x="137576" y="225866"/>
                </a:cubicBezTo>
                <a:lnTo>
                  <a:pt x="137576" y="109095"/>
                </a:lnTo>
                <a:cubicBezTo>
                  <a:pt x="137576" y="85789"/>
                  <a:pt x="137576" y="56768"/>
                  <a:pt x="103403" y="56768"/>
                </a:cubicBezTo>
                <a:cubicBezTo>
                  <a:pt x="70222" y="56768"/>
                  <a:pt x="70222" y="85789"/>
                  <a:pt x="70222" y="109095"/>
                </a:cubicBezTo>
                <a:lnTo>
                  <a:pt x="70222" y="225866"/>
                </a:lnTo>
                <a:cubicBezTo>
                  <a:pt x="70211" y="229946"/>
                  <a:pt x="66906" y="233251"/>
                  <a:pt x="62827" y="233262"/>
                </a:cubicBezTo>
                <a:lnTo>
                  <a:pt x="7374" y="233262"/>
                </a:lnTo>
                <a:cubicBezTo>
                  <a:pt x="3299" y="233251"/>
                  <a:pt x="0" y="229941"/>
                  <a:pt x="0" y="225866"/>
                </a:cubicBezTo>
                <a:lnTo>
                  <a:pt x="0" y="93443"/>
                </a:lnTo>
                <a:cubicBezTo>
                  <a:pt x="0" y="30185"/>
                  <a:pt x="34130" y="0"/>
                  <a:pt x="103705" y="0"/>
                </a:cubicBezTo>
                <a:close/>
              </a:path>
            </a:pathLst>
          </a:custGeom>
          <a:solidFill>
            <a:srgbClr val="ECE8DD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38803595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D">
    <p:bg>
      <p:bgPr>
        <a:solidFill>
          <a:srgbClr val="68702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Date Placeholder 2" hidden="1">
            <a:extLst>
              <a:ext uri="{FF2B5EF4-FFF2-40B4-BE49-F238E27FC236}">
                <a16:creationId xmlns:a16="http://schemas.microsoft.com/office/drawing/2014/main" id="{5758BA83-6B06-1794-CECE-A631C574BE2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28"/>
          </p:nvPr>
        </p:nvSpPr>
        <p:spPr>
          <a:xfrm>
            <a:off x="0" y="6858000"/>
            <a:ext cx="0" cy="0"/>
          </a:xfrm>
        </p:spPr>
        <p:txBody>
          <a:bodyPr/>
          <a:lstStyle/>
          <a:p>
            <a:fld id="{45527A44-AA1D-4BA1-AA93-32475F9E9A8F}" type="datetime4">
              <a:rPr lang="en-GB" smtClean="0"/>
              <a:pPr/>
              <a:t>14 March 2025</a:t>
            </a:fld>
            <a:endParaRPr lang="en-GB" dirty="0"/>
          </a:p>
        </p:txBody>
      </p:sp>
      <p:sp>
        <p:nvSpPr>
          <p:cNvPr id="5" name="Footer Placeholder 4" hidden="1">
            <a:extLst>
              <a:ext uri="{FF2B5EF4-FFF2-40B4-BE49-F238E27FC236}">
                <a16:creationId xmlns:a16="http://schemas.microsoft.com/office/drawing/2014/main" id="{7E63E1AE-B90B-45DE-BF04-5611424F7D68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1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GB" dirty="0"/>
              <a:t>Muuto</a:t>
            </a:r>
          </a:p>
        </p:txBody>
      </p:sp>
      <p:sp>
        <p:nvSpPr>
          <p:cNvPr id="6" name="Slide Number Placeholder 5" hidden="1">
            <a:extLst>
              <a:ext uri="{FF2B5EF4-FFF2-40B4-BE49-F238E27FC236}">
                <a16:creationId xmlns:a16="http://schemas.microsoft.com/office/drawing/2014/main" id="{B684C3E5-5486-4606-B82A-1C8EDE165036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4" name="Text Placeholder background">
            <a:extLst>
              <a:ext uri="{FF2B5EF4-FFF2-40B4-BE49-F238E27FC236}">
                <a16:creationId xmlns:a16="http://schemas.microsoft.com/office/drawing/2014/main" id="{964834D1-178D-EBC0-47F0-943DAE91CAB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white">
          <a:xfrm>
            <a:off x="0" y="0"/>
            <a:ext cx="12198350" cy="6858000"/>
          </a:xfrm>
          <a:solidFill>
            <a:srgbClr val="687025"/>
          </a:solidFill>
          <a:ln>
            <a:noFill/>
          </a:ln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12" name="Picture Placeholder 3">
            <a:extLst>
              <a:ext uri="{FF2B5EF4-FFF2-40B4-BE49-F238E27FC236}">
                <a16:creationId xmlns:a16="http://schemas.microsoft.com/office/drawing/2014/main" id="{20161446-83AB-60D5-1FE8-D3B4D1F747C1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459483" y="626400"/>
            <a:ext cx="4203388" cy="5601600"/>
          </a:xfrm>
          <a:solidFill>
            <a:schemeClr val="tx1"/>
          </a:solidFill>
        </p:spPr>
        <p:txBody>
          <a:bodyPr lIns="0" tIns="648000" anchor="ctr" anchorCtr="0"/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72324" y="2242051"/>
            <a:ext cx="8212275" cy="3222000"/>
          </a:xfrm>
        </p:spPr>
        <p:txBody>
          <a:bodyPr tIns="0" bIns="468000" anchor="b"/>
          <a:lstStyle>
            <a:lvl1pPr algn="l">
              <a:defRPr sz="10000" b="1" cap="none" baseline="0">
                <a:solidFill>
                  <a:srgbClr val="ECE8DD"/>
                </a:solidFill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90EFA22C-5FC2-0122-0B39-620D58A4194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72324" y="4917364"/>
            <a:ext cx="8212275" cy="540000"/>
          </a:xfr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3000" cap="all" baseline="0">
                <a:solidFill>
                  <a:srgbClr val="ECE8DD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18" name="Text Placeholder place">
            <a:extLst>
              <a:ext uri="{FF2B5EF4-FFF2-40B4-BE49-F238E27FC236}">
                <a16:creationId xmlns:a16="http://schemas.microsoft.com/office/drawing/2014/main" id="{9149545E-EDF3-5F0C-C761-513AACB9146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72324" y="5889732"/>
            <a:ext cx="8212275" cy="216000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 baseline="0">
                <a:solidFill>
                  <a:srgbClr val="ECE8DD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>
                <a:solidFill>
                  <a:srgbClr val="ECE8DD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>
                <a:solidFill>
                  <a:srgbClr val="ECE8DD"/>
                </a:solidFill>
                <a:latin typeface="+mn-lt"/>
              </a:defRPr>
            </a:lvl3pPr>
            <a:lvl4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>
                <a:solidFill>
                  <a:srgbClr val="ECE8DD"/>
                </a:solidFill>
                <a:latin typeface="+mn-lt"/>
              </a:defRPr>
            </a:lvl4pPr>
            <a:lvl5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>
                <a:solidFill>
                  <a:srgbClr val="ECE8DD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>
                <a:solidFill>
                  <a:srgbClr val="ECE8DD"/>
                </a:solidFill>
                <a:latin typeface="+mn-lt"/>
              </a:defRPr>
            </a:lvl6pPr>
            <a:lvl7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>
                <a:solidFill>
                  <a:srgbClr val="ECE8DD"/>
                </a:solidFill>
                <a:latin typeface="+mn-lt"/>
              </a:defRPr>
            </a:lvl7pPr>
            <a:lvl8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>
                <a:solidFill>
                  <a:srgbClr val="ECE8DD"/>
                </a:solidFill>
                <a:latin typeface="+mn-lt"/>
              </a:defRPr>
            </a:lvl8pPr>
            <a:lvl9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>
                <a:solidFill>
                  <a:srgbClr val="ECE8DD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36" name="Text Placeholder Logo">
            <a:extLst>
              <a:ext uri="{FF2B5EF4-FFF2-40B4-BE49-F238E27FC236}">
                <a16:creationId xmlns:a16="http://schemas.microsoft.com/office/drawing/2014/main" id="{777B27E8-C34B-47F2-821E-3C7C93C77C2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invGray">
          <a:xfrm>
            <a:off x="673551" y="581520"/>
            <a:ext cx="1247849" cy="237703"/>
          </a:xfrm>
          <a:custGeom>
            <a:avLst/>
            <a:gdLst>
              <a:gd name="connsiteX0" fmla="*/ 1132153 w 1247199"/>
              <a:gd name="connsiteY0" fmla="*/ 56553 h 237703"/>
              <a:gd name="connsiteX1" fmla="*/ 1087028 w 1247199"/>
              <a:gd name="connsiteY1" fmla="*/ 118841 h 237703"/>
              <a:gd name="connsiteX2" fmla="*/ 1132153 w 1247199"/>
              <a:gd name="connsiteY2" fmla="*/ 181107 h 237703"/>
              <a:gd name="connsiteX3" fmla="*/ 1177193 w 1247199"/>
              <a:gd name="connsiteY3" fmla="*/ 118798 h 237703"/>
              <a:gd name="connsiteX4" fmla="*/ 1132153 w 1247199"/>
              <a:gd name="connsiteY4" fmla="*/ 56553 h 237703"/>
              <a:gd name="connsiteX5" fmla="*/ 822461 w 1247199"/>
              <a:gd name="connsiteY5" fmla="*/ 4312 h 237703"/>
              <a:gd name="connsiteX6" fmla="*/ 1005616 w 1247199"/>
              <a:gd name="connsiteY6" fmla="*/ 4312 h 237703"/>
              <a:gd name="connsiteX7" fmla="*/ 1012989 w 1247199"/>
              <a:gd name="connsiteY7" fmla="*/ 11686 h 237703"/>
              <a:gd name="connsiteX8" fmla="*/ 1012989 w 1247199"/>
              <a:gd name="connsiteY8" fmla="*/ 55324 h 237703"/>
              <a:gd name="connsiteX9" fmla="*/ 1005616 w 1247199"/>
              <a:gd name="connsiteY9" fmla="*/ 62697 h 237703"/>
              <a:gd name="connsiteX10" fmla="*/ 949171 w 1247199"/>
              <a:gd name="connsiteY10" fmla="*/ 62697 h 237703"/>
              <a:gd name="connsiteX11" fmla="*/ 949171 w 1247199"/>
              <a:gd name="connsiteY11" fmla="*/ 225931 h 237703"/>
              <a:gd name="connsiteX12" fmla="*/ 941754 w 1247199"/>
              <a:gd name="connsiteY12" fmla="*/ 233326 h 237703"/>
              <a:gd name="connsiteX13" fmla="*/ 886301 w 1247199"/>
              <a:gd name="connsiteY13" fmla="*/ 233326 h 237703"/>
              <a:gd name="connsiteX14" fmla="*/ 878927 w 1247199"/>
              <a:gd name="connsiteY14" fmla="*/ 225931 h 237703"/>
              <a:gd name="connsiteX15" fmla="*/ 878927 w 1247199"/>
              <a:gd name="connsiteY15" fmla="*/ 62697 h 237703"/>
              <a:gd name="connsiteX16" fmla="*/ 822461 w 1247199"/>
              <a:gd name="connsiteY16" fmla="*/ 62697 h 237703"/>
              <a:gd name="connsiteX17" fmla="*/ 815087 w 1247199"/>
              <a:gd name="connsiteY17" fmla="*/ 55324 h 237703"/>
              <a:gd name="connsiteX18" fmla="*/ 815087 w 1247199"/>
              <a:gd name="connsiteY18" fmla="*/ 11686 h 237703"/>
              <a:gd name="connsiteX19" fmla="*/ 822461 w 1247199"/>
              <a:gd name="connsiteY19" fmla="*/ 4312 h 237703"/>
              <a:gd name="connsiteX20" fmla="*/ 598557 w 1247199"/>
              <a:gd name="connsiteY20" fmla="*/ 4312 h 237703"/>
              <a:gd name="connsiteX21" fmla="*/ 653989 w 1247199"/>
              <a:gd name="connsiteY21" fmla="*/ 4312 h 237703"/>
              <a:gd name="connsiteX22" fmla="*/ 654010 w 1247199"/>
              <a:gd name="connsiteY22" fmla="*/ 4312 h 237703"/>
              <a:gd name="connsiteX23" fmla="*/ 661384 w 1247199"/>
              <a:gd name="connsiteY23" fmla="*/ 11686 h 237703"/>
              <a:gd name="connsiteX24" fmla="*/ 661384 w 1247199"/>
              <a:gd name="connsiteY24" fmla="*/ 128457 h 237703"/>
              <a:gd name="connsiteX25" fmla="*/ 695536 w 1247199"/>
              <a:gd name="connsiteY25" fmla="*/ 180827 h 237703"/>
              <a:gd name="connsiteX26" fmla="*/ 728738 w 1247199"/>
              <a:gd name="connsiteY26" fmla="*/ 128457 h 237703"/>
              <a:gd name="connsiteX27" fmla="*/ 728738 w 1247199"/>
              <a:gd name="connsiteY27" fmla="*/ 11686 h 237703"/>
              <a:gd name="connsiteX28" fmla="*/ 736134 w 1247199"/>
              <a:gd name="connsiteY28" fmla="*/ 4312 h 237703"/>
              <a:gd name="connsiteX29" fmla="*/ 791587 w 1247199"/>
              <a:gd name="connsiteY29" fmla="*/ 4312 h 237703"/>
              <a:gd name="connsiteX30" fmla="*/ 798960 w 1247199"/>
              <a:gd name="connsiteY30" fmla="*/ 11686 h 237703"/>
              <a:gd name="connsiteX31" fmla="*/ 798960 w 1247199"/>
              <a:gd name="connsiteY31" fmla="*/ 144109 h 237703"/>
              <a:gd name="connsiteX32" fmla="*/ 695234 w 1247199"/>
              <a:gd name="connsiteY32" fmla="*/ 237638 h 237703"/>
              <a:gd name="connsiteX33" fmla="*/ 591162 w 1247199"/>
              <a:gd name="connsiteY33" fmla="*/ 144109 h 237703"/>
              <a:gd name="connsiteX34" fmla="*/ 591162 w 1247199"/>
              <a:gd name="connsiteY34" fmla="*/ 11686 h 237703"/>
              <a:gd name="connsiteX35" fmla="*/ 598557 w 1247199"/>
              <a:gd name="connsiteY35" fmla="*/ 4312 h 237703"/>
              <a:gd name="connsiteX36" fmla="*/ 371979 w 1247199"/>
              <a:gd name="connsiteY36" fmla="*/ 4312 h 237703"/>
              <a:gd name="connsiteX37" fmla="*/ 427411 w 1247199"/>
              <a:gd name="connsiteY37" fmla="*/ 4312 h 237703"/>
              <a:gd name="connsiteX38" fmla="*/ 434828 w 1247199"/>
              <a:gd name="connsiteY38" fmla="*/ 11686 h 237703"/>
              <a:gd name="connsiteX39" fmla="*/ 434828 w 1247199"/>
              <a:gd name="connsiteY39" fmla="*/ 128457 h 237703"/>
              <a:gd name="connsiteX40" fmla="*/ 468979 w 1247199"/>
              <a:gd name="connsiteY40" fmla="*/ 180827 h 237703"/>
              <a:gd name="connsiteX41" fmla="*/ 502160 w 1247199"/>
              <a:gd name="connsiteY41" fmla="*/ 128457 h 237703"/>
              <a:gd name="connsiteX42" fmla="*/ 502160 w 1247199"/>
              <a:gd name="connsiteY42" fmla="*/ 11686 h 237703"/>
              <a:gd name="connsiteX43" fmla="*/ 509556 w 1247199"/>
              <a:gd name="connsiteY43" fmla="*/ 4312 h 237703"/>
              <a:gd name="connsiteX44" fmla="*/ 565009 w 1247199"/>
              <a:gd name="connsiteY44" fmla="*/ 4312 h 237703"/>
              <a:gd name="connsiteX45" fmla="*/ 572404 w 1247199"/>
              <a:gd name="connsiteY45" fmla="*/ 11686 h 237703"/>
              <a:gd name="connsiteX46" fmla="*/ 572404 w 1247199"/>
              <a:gd name="connsiteY46" fmla="*/ 144109 h 237703"/>
              <a:gd name="connsiteX47" fmla="*/ 468656 w 1247199"/>
              <a:gd name="connsiteY47" fmla="*/ 237638 h 237703"/>
              <a:gd name="connsiteX48" fmla="*/ 364584 w 1247199"/>
              <a:gd name="connsiteY48" fmla="*/ 144109 h 237703"/>
              <a:gd name="connsiteX49" fmla="*/ 364584 w 1247199"/>
              <a:gd name="connsiteY49" fmla="*/ 11686 h 237703"/>
              <a:gd name="connsiteX50" fmla="*/ 371979 w 1247199"/>
              <a:gd name="connsiteY50" fmla="*/ 4312 h 237703"/>
              <a:gd name="connsiteX51" fmla="*/ 1132153 w 1247199"/>
              <a:gd name="connsiteY51" fmla="*/ 0 h 237703"/>
              <a:gd name="connsiteX52" fmla="*/ 1247199 w 1247199"/>
              <a:gd name="connsiteY52" fmla="*/ 118862 h 237703"/>
              <a:gd name="connsiteX53" fmla="*/ 1132153 w 1247199"/>
              <a:gd name="connsiteY53" fmla="*/ 237703 h 237703"/>
              <a:gd name="connsiteX54" fmla="*/ 1017129 w 1247199"/>
              <a:gd name="connsiteY54" fmla="*/ 118862 h 237703"/>
              <a:gd name="connsiteX55" fmla="*/ 1132153 w 1247199"/>
              <a:gd name="connsiteY55" fmla="*/ 0 h 237703"/>
              <a:gd name="connsiteX56" fmla="*/ 103705 w 1247199"/>
              <a:gd name="connsiteY56" fmla="*/ 0 h 237703"/>
              <a:gd name="connsiteX57" fmla="*/ 172569 w 1247199"/>
              <a:gd name="connsiteY57" fmla="*/ 16084 h 237703"/>
              <a:gd name="connsiteX58" fmla="*/ 241282 w 1247199"/>
              <a:gd name="connsiteY58" fmla="*/ 0 h 237703"/>
              <a:gd name="connsiteX59" fmla="*/ 345375 w 1247199"/>
              <a:gd name="connsiteY59" fmla="*/ 93443 h 237703"/>
              <a:gd name="connsiteX60" fmla="*/ 345375 w 1247199"/>
              <a:gd name="connsiteY60" fmla="*/ 225866 h 237703"/>
              <a:gd name="connsiteX61" fmla="*/ 338001 w 1247199"/>
              <a:gd name="connsiteY61" fmla="*/ 233262 h 237703"/>
              <a:gd name="connsiteX62" fmla="*/ 282548 w 1247199"/>
              <a:gd name="connsiteY62" fmla="*/ 233262 h 237703"/>
              <a:gd name="connsiteX63" fmla="*/ 275153 w 1247199"/>
              <a:gd name="connsiteY63" fmla="*/ 225866 h 237703"/>
              <a:gd name="connsiteX64" fmla="*/ 275153 w 1247199"/>
              <a:gd name="connsiteY64" fmla="*/ 109095 h 237703"/>
              <a:gd name="connsiteX65" fmla="*/ 241001 w 1247199"/>
              <a:gd name="connsiteY65" fmla="*/ 56768 h 237703"/>
              <a:gd name="connsiteX66" fmla="*/ 207798 w 1247199"/>
              <a:gd name="connsiteY66" fmla="*/ 109095 h 237703"/>
              <a:gd name="connsiteX67" fmla="*/ 207798 w 1247199"/>
              <a:gd name="connsiteY67" fmla="*/ 225866 h 237703"/>
              <a:gd name="connsiteX68" fmla="*/ 200403 w 1247199"/>
              <a:gd name="connsiteY68" fmla="*/ 233262 h 237703"/>
              <a:gd name="connsiteX69" fmla="*/ 144950 w 1247199"/>
              <a:gd name="connsiteY69" fmla="*/ 233262 h 237703"/>
              <a:gd name="connsiteX70" fmla="*/ 137576 w 1247199"/>
              <a:gd name="connsiteY70" fmla="*/ 225866 h 237703"/>
              <a:gd name="connsiteX71" fmla="*/ 137576 w 1247199"/>
              <a:gd name="connsiteY71" fmla="*/ 109095 h 237703"/>
              <a:gd name="connsiteX72" fmla="*/ 103403 w 1247199"/>
              <a:gd name="connsiteY72" fmla="*/ 56768 h 237703"/>
              <a:gd name="connsiteX73" fmla="*/ 70222 w 1247199"/>
              <a:gd name="connsiteY73" fmla="*/ 109095 h 237703"/>
              <a:gd name="connsiteX74" fmla="*/ 70222 w 1247199"/>
              <a:gd name="connsiteY74" fmla="*/ 225866 h 237703"/>
              <a:gd name="connsiteX75" fmla="*/ 62827 w 1247199"/>
              <a:gd name="connsiteY75" fmla="*/ 233262 h 237703"/>
              <a:gd name="connsiteX76" fmla="*/ 7374 w 1247199"/>
              <a:gd name="connsiteY76" fmla="*/ 233262 h 237703"/>
              <a:gd name="connsiteX77" fmla="*/ 0 w 1247199"/>
              <a:gd name="connsiteY77" fmla="*/ 225866 h 237703"/>
              <a:gd name="connsiteX78" fmla="*/ 0 w 1247199"/>
              <a:gd name="connsiteY78" fmla="*/ 93443 h 237703"/>
              <a:gd name="connsiteX79" fmla="*/ 103705 w 1247199"/>
              <a:gd name="connsiteY79" fmla="*/ 0 h 2377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</a:cxnLst>
            <a:rect l="l" t="t" r="r" b="b"/>
            <a:pathLst>
              <a:path w="1247199" h="237703">
                <a:moveTo>
                  <a:pt x="1132153" y="56553"/>
                </a:moveTo>
                <a:cubicBezTo>
                  <a:pt x="1114366" y="56553"/>
                  <a:pt x="1087028" y="68303"/>
                  <a:pt x="1087028" y="118841"/>
                </a:cubicBezTo>
                <a:cubicBezTo>
                  <a:pt x="1087028" y="169378"/>
                  <a:pt x="1114366" y="181107"/>
                  <a:pt x="1132153" y="181107"/>
                </a:cubicBezTo>
                <a:cubicBezTo>
                  <a:pt x="1149941" y="181107"/>
                  <a:pt x="1177193" y="169314"/>
                  <a:pt x="1177193" y="118798"/>
                </a:cubicBezTo>
                <a:cubicBezTo>
                  <a:pt x="1177193" y="68282"/>
                  <a:pt x="1149941" y="56553"/>
                  <a:pt x="1132153" y="56553"/>
                </a:cubicBezTo>
                <a:close/>
                <a:moveTo>
                  <a:pt x="822461" y="4312"/>
                </a:moveTo>
                <a:lnTo>
                  <a:pt x="1005616" y="4312"/>
                </a:lnTo>
                <a:cubicBezTo>
                  <a:pt x="1009688" y="4312"/>
                  <a:pt x="1012989" y="7613"/>
                  <a:pt x="1012989" y="11686"/>
                </a:cubicBezTo>
                <a:lnTo>
                  <a:pt x="1012989" y="55324"/>
                </a:lnTo>
                <a:cubicBezTo>
                  <a:pt x="1012989" y="59397"/>
                  <a:pt x="1009688" y="62697"/>
                  <a:pt x="1005616" y="62697"/>
                </a:cubicBezTo>
                <a:lnTo>
                  <a:pt x="949171" y="62697"/>
                </a:lnTo>
                <a:lnTo>
                  <a:pt x="949171" y="225931"/>
                </a:lnTo>
                <a:cubicBezTo>
                  <a:pt x="949158" y="230019"/>
                  <a:pt x="945842" y="233326"/>
                  <a:pt x="941754" y="233326"/>
                </a:cubicBezTo>
                <a:lnTo>
                  <a:pt x="886301" y="233326"/>
                </a:lnTo>
                <a:cubicBezTo>
                  <a:pt x="882226" y="233315"/>
                  <a:pt x="878927" y="230006"/>
                  <a:pt x="878927" y="225931"/>
                </a:cubicBezTo>
                <a:lnTo>
                  <a:pt x="878927" y="62697"/>
                </a:lnTo>
                <a:lnTo>
                  <a:pt x="822461" y="62697"/>
                </a:lnTo>
                <a:cubicBezTo>
                  <a:pt x="818388" y="62697"/>
                  <a:pt x="815087" y="59397"/>
                  <a:pt x="815087" y="55324"/>
                </a:cubicBezTo>
                <a:lnTo>
                  <a:pt x="815087" y="11686"/>
                </a:lnTo>
                <a:cubicBezTo>
                  <a:pt x="815087" y="7613"/>
                  <a:pt x="818388" y="4312"/>
                  <a:pt x="822461" y="4312"/>
                </a:cubicBezTo>
                <a:close/>
                <a:moveTo>
                  <a:pt x="598557" y="4312"/>
                </a:moveTo>
                <a:lnTo>
                  <a:pt x="653989" y="4312"/>
                </a:lnTo>
                <a:cubicBezTo>
                  <a:pt x="653995" y="4312"/>
                  <a:pt x="654004" y="4312"/>
                  <a:pt x="654010" y="4312"/>
                </a:cubicBezTo>
                <a:cubicBezTo>
                  <a:pt x="658083" y="4312"/>
                  <a:pt x="661384" y="7613"/>
                  <a:pt x="661384" y="11686"/>
                </a:cubicBezTo>
                <a:lnTo>
                  <a:pt x="661384" y="128457"/>
                </a:lnTo>
                <a:cubicBezTo>
                  <a:pt x="661384" y="151763"/>
                  <a:pt x="661384" y="180827"/>
                  <a:pt x="695536" y="180827"/>
                </a:cubicBezTo>
                <a:cubicBezTo>
                  <a:pt x="728738" y="180827"/>
                  <a:pt x="728738" y="151763"/>
                  <a:pt x="728738" y="128457"/>
                </a:cubicBezTo>
                <a:lnTo>
                  <a:pt x="728738" y="11686"/>
                </a:lnTo>
                <a:cubicBezTo>
                  <a:pt x="728749" y="7611"/>
                  <a:pt x="732059" y="4312"/>
                  <a:pt x="736134" y="4312"/>
                </a:cubicBezTo>
                <a:lnTo>
                  <a:pt x="791587" y="4312"/>
                </a:lnTo>
                <a:cubicBezTo>
                  <a:pt x="795660" y="4312"/>
                  <a:pt x="798960" y="7613"/>
                  <a:pt x="798960" y="11686"/>
                </a:cubicBezTo>
                <a:lnTo>
                  <a:pt x="798960" y="144109"/>
                </a:lnTo>
                <a:cubicBezTo>
                  <a:pt x="798960" y="207324"/>
                  <a:pt x="764809" y="237638"/>
                  <a:pt x="695234" y="237638"/>
                </a:cubicBezTo>
                <a:cubicBezTo>
                  <a:pt x="625659" y="237638"/>
                  <a:pt x="591162" y="207324"/>
                  <a:pt x="591162" y="144109"/>
                </a:cubicBezTo>
                <a:lnTo>
                  <a:pt x="591162" y="11686"/>
                </a:lnTo>
                <a:cubicBezTo>
                  <a:pt x="591173" y="7611"/>
                  <a:pt x="594482" y="4312"/>
                  <a:pt x="598557" y="4312"/>
                </a:cubicBezTo>
                <a:close/>
                <a:moveTo>
                  <a:pt x="371979" y="4312"/>
                </a:moveTo>
                <a:lnTo>
                  <a:pt x="427411" y="4312"/>
                </a:lnTo>
                <a:cubicBezTo>
                  <a:pt x="431494" y="4301"/>
                  <a:pt x="434815" y="7602"/>
                  <a:pt x="434828" y="11686"/>
                </a:cubicBezTo>
                <a:lnTo>
                  <a:pt x="434828" y="128457"/>
                </a:lnTo>
                <a:cubicBezTo>
                  <a:pt x="434828" y="151763"/>
                  <a:pt x="434828" y="180827"/>
                  <a:pt x="468979" y="180827"/>
                </a:cubicBezTo>
                <a:cubicBezTo>
                  <a:pt x="502160" y="180827"/>
                  <a:pt x="502160" y="151763"/>
                  <a:pt x="502160" y="128457"/>
                </a:cubicBezTo>
                <a:lnTo>
                  <a:pt x="502160" y="11686"/>
                </a:lnTo>
                <a:cubicBezTo>
                  <a:pt x="502171" y="7611"/>
                  <a:pt x="505481" y="4312"/>
                  <a:pt x="509556" y="4312"/>
                </a:cubicBezTo>
                <a:lnTo>
                  <a:pt x="565009" y="4312"/>
                </a:lnTo>
                <a:cubicBezTo>
                  <a:pt x="569084" y="4312"/>
                  <a:pt x="572391" y="7611"/>
                  <a:pt x="572404" y="11686"/>
                </a:cubicBezTo>
                <a:lnTo>
                  <a:pt x="572404" y="144109"/>
                </a:lnTo>
                <a:cubicBezTo>
                  <a:pt x="572404" y="207324"/>
                  <a:pt x="538231" y="237638"/>
                  <a:pt x="468656" y="237638"/>
                </a:cubicBezTo>
                <a:cubicBezTo>
                  <a:pt x="399081" y="237638"/>
                  <a:pt x="364584" y="207324"/>
                  <a:pt x="364584" y="144109"/>
                </a:cubicBezTo>
                <a:lnTo>
                  <a:pt x="364584" y="11686"/>
                </a:lnTo>
                <a:cubicBezTo>
                  <a:pt x="364595" y="7611"/>
                  <a:pt x="367904" y="4312"/>
                  <a:pt x="371979" y="4312"/>
                </a:cubicBezTo>
                <a:close/>
                <a:moveTo>
                  <a:pt x="1132153" y="0"/>
                </a:moveTo>
                <a:cubicBezTo>
                  <a:pt x="1201125" y="0"/>
                  <a:pt x="1247199" y="49610"/>
                  <a:pt x="1247199" y="118862"/>
                </a:cubicBezTo>
                <a:cubicBezTo>
                  <a:pt x="1247199" y="188114"/>
                  <a:pt x="1201103" y="237703"/>
                  <a:pt x="1132153" y="237703"/>
                </a:cubicBezTo>
                <a:cubicBezTo>
                  <a:pt x="1063203" y="237703"/>
                  <a:pt x="1017129" y="188136"/>
                  <a:pt x="1017129" y="118862"/>
                </a:cubicBezTo>
                <a:cubicBezTo>
                  <a:pt x="1017129" y="49589"/>
                  <a:pt x="1063160" y="0"/>
                  <a:pt x="1132153" y="0"/>
                </a:cubicBezTo>
                <a:close/>
                <a:moveTo>
                  <a:pt x="103705" y="0"/>
                </a:moveTo>
                <a:cubicBezTo>
                  <a:pt x="132790" y="0"/>
                  <a:pt x="155687" y="5304"/>
                  <a:pt x="172569" y="16084"/>
                </a:cubicBezTo>
                <a:cubicBezTo>
                  <a:pt x="189343" y="5304"/>
                  <a:pt x="212240" y="0"/>
                  <a:pt x="241282" y="0"/>
                </a:cubicBezTo>
                <a:cubicBezTo>
                  <a:pt x="310878" y="0"/>
                  <a:pt x="345353" y="30185"/>
                  <a:pt x="345375" y="93443"/>
                </a:cubicBezTo>
                <a:lnTo>
                  <a:pt x="345375" y="225866"/>
                </a:lnTo>
                <a:cubicBezTo>
                  <a:pt x="345375" y="229941"/>
                  <a:pt x="342076" y="233249"/>
                  <a:pt x="338001" y="233262"/>
                </a:cubicBezTo>
                <a:lnTo>
                  <a:pt x="282548" y="233262"/>
                </a:lnTo>
                <a:cubicBezTo>
                  <a:pt x="278465" y="233262"/>
                  <a:pt x="275153" y="229950"/>
                  <a:pt x="275153" y="225866"/>
                </a:cubicBezTo>
                <a:lnTo>
                  <a:pt x="275153" y="109095"/>
                </a:lnTo>
                <a:cubicBezTo>
                  <a:pt x="275153" y="85789"/>
                  <a:pt x="275153" y="56768"/>
                  <a:pt x="241001" y="56768"/>
                </a:cubicBezTo>
                <a:cubicBezTo>
                  <a:pt x="207798" y="56768"/>
                  <a:pt x="207798" y="85789"/>
                  <a:pt x="207798" y="109095"/>
                </a:cubicBezTo>
                <a:lnTo>
                  <a:pt x="207798" y="225866"/>
                </a:lnTo>
                <a:cubicBezTo>
                  <a:pt x="207798" y="229950"/>
                  <a:pt x="204487" y="233262"/>
                  <a:pt x="200403" y="233262"/>
                </a:cubicBezTo>
                <a:lnTo>
                  <a:pt x="144950" y="233262"/>
                </a:lnTo>
                <a:cubicBezTo>
                  <a:pt x="140875" y="233251"/>
                  <a:pt x="137576" y="229941"/>
                  <a:pt x="137576" y="225866"/>
                </a:cubicBezTo>
                <a:lnTo>
                  <a:pt x="137576" y="109095"/>
                </a:lnTo>
                <a:cubicBezTo>
                  <a:pt x="137576" y="85789"/>
                  <a:pt x="137576" y="56768"/>
                  <a:pt x="103403" y="56768"/>
                </a:cubicBezTo>
                <a:cubicBezTo>
                  <a:pt x="70222" y="56768"/>
                  <a:pt x="70222" y="85789"/>
                  <a:pt x="70222" y="109095"/>
                </a:cubicBezTo>
                <a:lnTo>
                  <a:pt x="70222" y="225866"/>
                </a:lnTo>
                <a:cubicBezTo>
                  <a:pt x="70211" y="229946"/>
                  <a:pt x="66906" y="233251"/>
                  <a:pt x="62827" y="233262"/>
                </a:cubicBezTo>
                <a:lnTo>
                  <a:pt x="7374" y="233262"/>
                </a:lnTo>
                <a:cubicBezTo>
                  <a:pt x="3299" y="233251"/>
                  <a:pt x="0" y="229941"/>
                  <a:pt x="0" y="225866"/>
                </a:cubicBezTo>
                <a:lnTo>
                  <a:pt x="0" y="93443"/>
                </a:lnTo>
                <a:cubicBezTo>
                  <a:pt x="0" y="30185"/>
                  <a:pt x="34130" y="0"/>
                  <a:pt x="103705" y="0"/>
                </a:cubicBezTo>
                <a:close/>
              </a:path>
            </a:pathLst>
          </a:custGeom>
          <a:solidFill>
            <a:srgbClr val="ECE8DD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2755324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A">
    <p:bg>
      <p:bgPr>
        <a:solidFill>
          <a:srgbClr val="68702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Date Placeholder 2" hidden="1">
            <a:extLst>
              <a:ext uri="{FF2B5EF4-FFF2-40B4-BE49-F238E27FC236}">
                <a16:creationId xmlns:a16="http://schemas.microsoft.com/office/drawing/2014/main" id="{5758BA83-6B06-1794-CECE-A631C574BE2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28"/>
          </p:nvPr>
        </p:nvSpPr>
        <p:spPr>
          <a:xfrm>
            <a:off x="0" y="6858000"/>
            <a:ext cx="0" cy="0"/>
          </a:xfrm>
        </p:spPr>
        <p:txBody>
          <a:bodyPr/>
          <a:lstStyle/>
          <a:p>
            <a:fld id="{45527A44-AA1D-4BA1-AA93-32475F9E9A8F}" type="datetime4">
              <a:rPr lang="en-GB" smtClean="0"/>
              <a:pPr/>
              <a:t>14 March 2025</a:t>
            </a:fld>
            <a:endParaRPr lang="en-GB" dirty="0"/>
          </a:p>
        </p:txBody>
      </p:sp>
      <p:sp>
        <p:nvSpPr>
          <p:cNvPr id="5" name="Footer Placeholder 4" hidden="1">
            <a:extLst>
              <a:ext uri="{FF2B5EF4-FFF2-40B4-BE49-F238E27FC236}">
                <a16:creationId xmlns:a16="http://schemas.microsoft.com/office/drawing/2014/main" id="{7E63E1AE-B90B-45DE-BF04-5611424F7D68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1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GB" dirty="0"/>
              <a:t>Muuto</a:t>
            </a:r>
          </a:p>
        </p:txBody>
      </p:sp>
      <p:sp>
        <p:nvSpPr>
          <p:cNvPr id="6" name="Slide Number Placeholder 5" hidden="1">
            <a:extLst>
              <a:ext uri="{FF2B5EF4-FFF2-40B4-BE49-F238E27FC236}">
                <a16:creationId xmlns:a16="http://schemas.microsoft.com/office/drawing/2014/main" id="{B684C3E5-5486-4606-B82A-1C8EDE165036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4" name="Text Placeholder background">
            <a:extLst>
              <a:ext uri="{FF2B5EF4-FFF2-40B4-BE49-F238E27FC236}">
                <a16:creationId xmlns:a16="http://schemas.microsoft.com/office/drawing/2014/main" id="{964834D1-178D-EBC0-47F0-943DAE91CAB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white">
          <a:xfrm>
            <a:off x="0" y="0"/>
            <a:ext cx="12198350" cy="6858000"/>
          </a:xfrm>
          <a:solidFill>
            <a:srgbClr val="687025"/>
          </a:solidFill>
          <a:ln>
            <a:noFill/>
          </a:ln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72324" y="2419200"/>
            <a:ext cx="8212275" cy="2948400"/>
          </a:xfrm>
        </p:spPr>
        <p:txBody>
          <a:bodyPr tIns="0" bIns="0" anchor="b"/>
          <a:lstStyle>
            <a:lvl1pPr algn="l">
              <a:defRPr sz="8000" b="1" cap="none" baseline="0">
                <a:solidFill>
                  <a:srgbClr val="ECE8DD"/>
                </a:solidFill>
              </a:defRPr>
            </a:lvl1pPr>
          </a:lstStyle>
          <a:p>
            <a:r>
              <a:rPr lang="en-GB" dirty="0"/>
              <a:t>Click to add breaker title</a:t>
            </a:r>
          </a:p>
        </p:txBody>
      </p:sp>
      <p:sp>
        <p:nvSpPr>
          <p:cNvPr id="3" name="Text Placeholder place">
            <a:extLst>
              <a:ext uri="{FF2B5EF4-FFF2-40B4-BE49-F238E27FC236}">
                <a16:creationId xmlns:a16="http://schemas.microsoft.com/office/drawing/2014/main" id="{A72E3046-EE2A-A654-E5E8-308A7CB9D8F4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72324" y="5889600"/>
            <a:ext cx="8212275" cy="216000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 baseline="0">
                <a:solidFill>
                  <a:srgbClr val="ECE8DD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>
                <a:solidFill>
                  <a:srgbClr val="ECE8DD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>
                <a:solidFill>
                  <a:srgbClr val="ECE8DD"/>
                </a:solidFill>
                <a:latin typeface="+mn-lt"/>
              </a:defRPr>
            </a:lvl3pPr>
            <a:lvl4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>
                <a:solidFill>
                  <a:srgbClr val="ECE8DD"/>
                </a:solidFill>
                <a:latin typeface="+mn-lt"/>
              </a:defRPr>
            </a:lvl4pPr>
            <a:lvl5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>
                <a:solidFill>
                  <a:srgbClr val="ECE8DD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>
                <a:solidFill>
                  <a:srgbClr val="ECE8DD"/>
                </a:solidFill>
                <a:latin typeface="+mn-lt"/>
              </a:defRPr>
            </a:lvl6pPr>
            <a:lvl7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>
                <a:solidFill>
                  <a:srgbClr val="ECE8DD"/>
                </a:solidFill>
                <a:latin typeface="+mn-lt"/>
              </a:defRPr>
            </a:lvl7pPr>
            <a:lvl8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>
                <a:solidFill>
                  <a:srgbClr val="ECE8DD"/>
                </a:solidFill>
                <a:latin typeface="+mn-lt"/>
              </a:defRPr>
            </a:lvl8pPr>
            <a:lvl9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>
                <a:solidFill>
                  <a:srgbClr val="ECE8DD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316326839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B">
    <p:bg>
      <p:bgPr>
        <a:solidFill>
          <a:srgbClr val="68702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Date Placeholder 2" hidden="1">
            <a:extLst>
              <a:ext uri="{FF2B5EF4-FFF2-40B4-BE49-F238E27FC236}">
                <a16:creationId xmlns:a16="http://schemas.microsoft.com/office/drawing/2014/main" id="{5758BA83-6B06-1794-CECE-A631C574BE2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28"/>
          </p:nvPr>
        </p:nvSpPr>
        <p:spPr>
          <a:xfrm>
            <a:off x="0" y="6858000"/>
            <a:ext cx="0" cy="0"/>
          </a:xfrm>
        </p:spPr>
        <p:txBody>
          <a:bodyPr/>
          <a:lstStyle/>
          <a:p>
            <a:fld id="{45527A44-AA1D-4BA1-AA93-32475F9E9A8F}" type="datetime4">
              <a:rPr lang="en-GB" smtClean="0"/>
              <a:pPr/>
              <a:t>14 March 2025</a:t>
            </a:fld>
            <a:endParaRPr lang="en-GB" dirty="0"/>
          </a:p>
        </p:txBody>
      </p:sp>
      <p:sp>
        <p:nvSpPr>
          <p:cNvPr id="5" name="Footer Placeholder 4" hidden="1">
            <a:extLst>
              <a:ext uri="{FF2B5EF4-FFF2-40B4-BE49-F238E27FC236}">
                <a16:creationId xmlns:a16="http://schemas.microsoft.com/office/drawing/2014/main" id="{7E63E1AE-B90B-45DE-BF04-5611424F7D68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1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GB" dirty="0"/>
              <a:t>Muuto</a:t>
            </a:r>
          </a:p>
        </p:txBody>
      </p:sp>
      <p:sp>
        <p:nvSpPr>
          <p:cNvPr id="6" name="Slide Number Placeholder 5" hidden="1">
            <a:extLst>
              <a:ext uri="{FF2B5EF4-FFF2-40B4-BE49-F238E27FC236}">
                <a16:creationId xmlns:a16="http://schemas.microsoft.com/office/drawing/2014/main" id="{B684C3E5-5486-4606-B82A-1C8EDE165036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12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4" name="Text Placeholder background">
            <a:extLst>
              <a:ext uri="{FF2B5EF4-FFF2-40B4-BE49-F238E27FC236}">
                <a16:creationId xmlns:a16="http://schemas.microsoft.com/office/drawing/2014/main" id="{964834D1-178D-EBC0-47F0-943DAE91CAB1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26" hasCustomPrompt="1"/>
          </p:nvPr>
        </p:nvSpPr>
        <p:spPr bwMode="white">
          <a:xfrm>
            <a:off x="0" y="0"/>
            <a:ext cx="12198350" cy="6858000"/>
          </a:xfrm>
          <a:solidFill>
            <a:srgbClr val="687025"/>
          </a:solidFill>
          <a:ln>
            <a:noFill/>
          </a:ln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12" name="Picture Placeholder 3">
            <a:extLst>
              <a:ext uri="{FF2B5EF4-FFF2-40B4-BE49-F238E27FC236}">
                <a16:creationId xmlns:a16="http://schemas.microsoft.com/office/drawing/2014/main" id="{F96F0A75-C608-23AB-CA71-F564B21D89F4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074083" y="518400"/>
            <a:ext cx="2852685" cy="3801600"/>
          </a:xfrm>
          <a:solidFill>
            <a:schemeClr val="tx1"/>
          </a:solidFill>
        </p:spPr>
        <p:txBody>
          <a:bodyPr lIns="0" tIns="648000" anchor="ctr" anchorCtr="0"/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to add picture</a:t>
            </a:r>
          </a:p>
        </p:txBody>
      </p:sp>
      <p:sp>
        <p:nvSpPr>
          <p:cNvPr id="13" name="Picture Placeholder 3">
            <a:extLst>
              <a:ext uri="{FF2B5EF4-FFF2-40B4-BE49-F238E27FC236}">
                <a16:creationId xmlns:a16="http://schemas.microsoft.com/office/drawing/2014/main" id="{9694D340-F3BB-7422-6C59-CA848299891B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9926768" y="5094000"/>
            <a:ext cx="1354305" cy="1764000"/>
          </a:xfrm>
          <a:solidFill>
            <a:schemeClr val="tx1"/>
          </a:solidFill>
        </p:spPr>
        <p:txBody>
          <a:bodyPr lIns="0" tIns="648000" anchor="ctr" anchorCtr="0"/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72324" y="2419200"/>
            <a:ext cx="8212275" cy="2948400"/>
          </a:xfrm>
        </p:spPr>
        <p:txBody>
          <a:bodyPr tIns="0" bIns="0" anchor="b"/>
          <a:lstStyle>
            <a:lvl1pPr algn="l">
              <a:defRPr sz="8000" b="1" cap="none" baseline="0">
                <a:solidFill>
                  <a:srgbClr val="ECE8DD"/>
                </a:solidFill>
              </a:defRPr>
            </a:lvl1pPr>
          </a:lstStyle>
          <a:p>
            <a:r>
              <a:rPr lang="en-GB" dirty="0"/>
              <a:t>Click to add breaker title</a:t>
            </a:r>
          </a:p>
        </p:txBody>
      </p:sp>
      <p:sp>
        <p:nvSpPr>
          <p:cNvPr id="4" name="Text Placeholder place">
            <a:extLst>
              <a:ext uri="{FF2B5EF4-FFF2-40B4-BE49-F238E27FC236}">
                <a16:creationId xmlns:a16="http://schemas.microsoft.com/office/drawing/2014/main" id="{84EC2DE6-DE1E-2F87-84E1-8FA4512A4E9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72324" y="5889600"/>
            <a:ext cx="8212275" cy="216000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 baseline="0">
                <a:solidFill>
                  <a:srgbClr val="ECE8DD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>
                <a:solidFill>
                  <a:srgbClr val="ECE8DD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>
                <a:solidFill>
                  <a:srgbClr val="ECE8DD"/>
                </a:solidFill>
                <a:latin typeface="+mn-lt"/>
              </a:defRPr>
            </a:lvl3pPr>
            <a:lvl4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>
                <a:solidFill>
                  <a:srgbClr val="ECE8DD"/>
                </a:solidFill>
                <a:latin typeface="+mn-lt"/>
              </a:defRPr>
            </a:lvl4pPr>
            <a:lvl5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>
                <a:solidFill>
                  <a:srgbClr val="ECE8DD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>
                <a:solidFill>
                  <a:srgbClr val="ECE8DD"/>
                </a:solidFill>
                <a:latin typeface="+mn-lt"/>
              </a:defRPr>
            </a:lvl6pPr>
            <a:lvl7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>
                <a:solidFill>
                  <a:srgbClr val="ECE8DD"/>
                </a:solidFill>
                <a:latin typeface="+mn-lt"/>
              </a:defRPr>
            </a:lvl7pPr>
            <a:lvl8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>
                <a:solidFill>
                  <a:srgbClr val="ECE8DD"/>
                </a:solidFill>
                <a:latin typeface="+mn-lt"/>
              </a:defRPr>
            </a:lvl8pPr>
            <a:lvl9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>
                <a:solidFill>
                  <a:srgbClr val="ECE8DD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249411025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sldNum="0" hdr="0" ftr="0" dt="0"/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C">
    <p:bg>
      <p:bgPr>
        <a:solidFill>
          <a:srgbClr val="68702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Date Placeholder 2" hidden="1">
            <a:extLst>
              <a:ext uri="{FF2B5EF4-FFF2-40B4-BE49-F238E27FC236}">
                <a16:creationId xmlns:a16="http://schemas.microsoft.com/office/drawing/2014/main" id="{5758BA83-6B06-1794-CECE-A631C574BE2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28"/>
          </p:nvPr>
        </p:nvSpPr>
        <p:spPr>
          <a:xfrm>
            <a:off x="0" y="6858000"/>
            <a:ext cx="0" cy="0"/>
          </a:xfrm>
        </p:spPr>
        <p:txBody>
          <a:bodyPr/>
          <a:lstStyle/>
          <a:p>
            <a:fld id="{45527A44-AA1D-4BA1-AA93-32475F9E9A8F}" type="datetime4">
              <a:rPr lang="en-GB" smtClean="0"/>
              <a:pPr/>
              <a:t>14 March 2025</a:t>
            </a:fld>
            <a:endParaRPr lang="en-GB" dirty="0"/>
          </a:p>
        </p:txBody>
      </p:sp>
      <p:sp>
        <p:nvSpPr>
          <p:cNvPr id="5" name="Footer Placeholder 4" hidden="1">
            <a:extLst>
              <a:ext uri="{FF2B5EF4-FFF2-40B4-BE49-F238E27FC236}">
                <a16:creationId xmlns:a16="http://schemas.microsoft.com/office/drawing/2014/main" id="{7E63E1AE-B90B-45DE-BF04-5611424F7D68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1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GB" dirty="0"/>
              <a:t>Muuto</a:t>
            </a:r>
          </a:p>
        </p:txBody>
      </p:sp>
      <p:sp>
        <p:nvSpPr>
          <p:cNvPr id="6" name="Slide Number Placeholder 5" hidden="1">
            <a:extLst>
              <a:ext uri="{FF2B5EF4-FFF2-40B4-BE49-F238E27FC236}">
                <a16:creationId xmlns:a16="http://schemas.microsoft.com/office/drawing/2014/main" id="{B684C3E5-5486-4606-B82A-1C8EDE165036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4" name="Text Placeholder background">
            <a:extLst>
              <a:ext uri="{FF2B5EF4-FFF2-40B4-BE49-F238E27FC236}">
                <a16:creationId xmlns:a16="http://schemas.microsoft.com/office/drawing/2014/main" id="{964834D1-178D-EBC0-47F0-943DAE91CAB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white">
          <a:xfrm>
            <a:off x="0" y="0"/>
            <a:ext cx="12198350" cy="6858000"/>
          </a:xfrm>
          <a:solidFill>
            <a:srgbClr val="687025"/>
          </a:solidFill>
          <a:ln>
            <a:noFill/>
          </a:ln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8" name="Picture Placeholder 3">
            <a:extLst>
              <a:ext uri="{FF2B5EF4-FFF2-40B4-BE49-F238E27FC236}">
                <a16:creationId xmlns:a16="http://schemas.microsoft.com/office/drawing/2014/main" id="{96DE8D83-6B6A-3522-6455-F674A9DBAC2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459483" y="626400"/>
            <a:ext cx="4203388" cy="5601600"/>
          </a:xfrm>
          <a:solidFill>
            <a:schemeClr val="tx1"/>
          </a:solidFill>
        </p:spPr>
        <p:txBody>
          <a:bodyPr lIns="0" tIns="648000" anchor="ctr" anchorCtr="0"/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72324" y="2419200"/>
            <a:ext cx="8212275" cy="2948400"/>
          </a:xfrm>
        </p:spPr>
        <p:txBody>
          <a:bodyPr tIns="0" bIns="0" anchor="b"/>
          <a:lstStyle>
            <a:lvl1pPr algn="l">
              <a:defRPr sz="8000" b="1" cap="none" baseline="0">
                <a:solidFill>
                  <a:srgbClr val="ECE8DD"/>
                </a:solidFill>
              </a:defRPr>
            </a:lvl1pPr>
          </a:lstStyle>
          <a:p>
            <a:r>
              <a:rPr lang="en-GB" dirty="0"/>
              <a:t>Click to add breaker title</a:t>
            </a:r>
          </a:p>
        </p:txBody>
      </p:sp>
      <p:sp>
        <p:nvSpPr>
          <p:cNvPr id="4" name="Text Placeholder place">
            <a:extLst>
              <a:ext uri="{FF2B5EF4-FFF2-40B4-BE49-F238E27FC236}">
                <a16:creationId xmlns:a16="http://schemas.microsoft.com/office/drawing/2014/main" id="{89D9A1B3-A5F1-FD17-0C96-185B51D145F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72324" y="5889600"/>
            <a:ext cx="8212275" cy="216000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 baseline="0">
                <a:solidFill>
                  <a:srgbClr val="ECE8DD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>
                <a:solidFill>
                  <a:srgbClr val="ECE8DD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>
                <a:solidFill>
                  <a:srgbClr val="ECE8DD"/>
                </a:solidFill>
                <a:latin typeface="+mn-lt"/>
              </a:defRPr>
            </a:lvl3pPr>
            <a:lvl4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>
                <a:solidFill>
                  <a:srgbClr val="ECE8DD"/>
                </a:solidFill>
                <a:latin typeface="+mn-lt"/>
              </a:defRPr>
            </a:lvl4pPr>
            <a:lvl5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>
                <a:solidFill>
                  <a:srgbClr val="ECE8DD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>
                <a:solidFill>
                  <a:srgbClr val="ECE8DD"/>
                </a:solidFill>
                <a:latin typeface="+mn-lt"/>
              </a:defRPr>
            </a:lvl6pPr>
            <a:lvl7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>
                <a:solidFill>
                  <a:srgbClr val="ECE8DD"/>
                </a:solidFill>
                <a:latin typeface="+mn-lt"/>
              </a:defRPr>
            </a:lvl7pPr>
            <a:lvl8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>
                <a:solidFill>
                  <a:srgbClr val="ECE8DD"/>
                </a:solidFill>
                <a:latin typeface="+mn-lt"/>
              </a:defRPr>
            </a:lvl8pPr>
            <a:lvl9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>
                <a:solidFill>
                  <a:srgbClr val="ECE8DD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228705911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bg>
      <p:bgPr>
        <a:solidFill>
          <a:srgbClr val="C5DB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 hidden="1">
            <a:extLst>
              <a:ext uri="{FF2B5EF4-FFF2-40B4-BE49-F238E27FC236}">
                <a16:creationId xmlns:a16="http://schemas.microsoft.com/office/drawing/2014/main" id="{87BA3AC0-03BE-4D95-92D9-C6F528C80C23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28"/>
          </p:nvPr>
        </p:nvSpPr>
        <p:spPr/>
        <p:txBody>
          <a:bodyPr/>
          <a:lstStyle/>
          <a:p>
            <a:fld id="{45527A44-AA1D-4BA1-AA93-32475F9E9A8F}" type="datetime4">
              <a:rPr lang="en-GB" smtClean="0"/>
              <a:pPr/>
              <a:t>14 March 2025</a:t>
            </a:fld>
            <a:endParaRPr lang="en-GB" dirty="0"/>
          </a:p>
        </p:txBody>
      </p:sp>
      <p:sp>
        <p:nvSpPr>
          <p:cNvPr id="21" name="Text Placeholder baggrund">
            <a:extLst>
              <a:ext uri="{FF2B5EF4-FFF2-40B4-BE49-F238E27FC236}">
                <a16:creationId xmlns:a16="http://schemas.microsoft.com/office/drawing/2014/main" id="{7661B4AB-519D-4FDF-9206-640135CAEA59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white">
          <a:xfrm>
            <a:off x="0" y="0"/>
            <a:ext cx="12198350" cy="6858000"/>
          </a:xfrm>
          <a:solidFill>
            <a:srgbClr val="C5DBF3"/>
          </a:solidFill>
          <a:ln>
            <a:noFill/>
          </a:ln>
        </p:spPr>
        <p:txBody>
          <a:bodyPr/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2325" y="1800000"/>
            <a:ext cx="3273079" cy="3384000"/>
          </a:xfrm>
        </p:spPr>
        <p:txBody>
          <a:bodyPr anchor="b" anchorCtr="0"/>
          <a:lstStyle>
            <a:lvl1pPr>
              <a:defRPr sz="4800" cap="none" baseline="0"/>
            </a:lvl1pPr>
          </a:lstStyle>
          <a:p>
            <a:r>
              <a:rPr lang="en-GB" noProof="0" dirty="0"/>
              <a:t>Click to add Agenda title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7A0222EC-EFAC-443C-BF69-3C64BE050F7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0494" y="1800000"/>
            <a:ext cx="6060955" cy="3240000"/>
          </a:xfrm>
        </p:spPr>
        <p:txBody>
          <a:bodyPr anchor="b" anchorCtr="0"/>
          <a:lstStyle>
            <a:lvl1pPr marL="0" indent="0">
              <a:lnSpc>
                <a:spcPts val="2400"/>
              </a:lnSpc>
              <a:spcAft>
                <a:spcPts val="0"/>
              </a:spcAft>
              <a:buFont typeface="Arial" panose="020B0604020202020204" pitchFamily="34" charset="0"/>
              <a:buNone/>
              <a:defRPr b="0">
                <a:latin typeface="+mn-lt"/>
              </a:defRPr>
            </a:lvl1pPr>
            <a:lvl2pPr marL="0" indent="0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latin typeface="+mn-lt"/>
              </a:defRPr>
            </a:lvl2pPr>
            <a:lvl3pPr marL="0" indent="0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0">
                <a:latin typeface="+mn-lt"/>
              </a:defRPr>
            </a:lvl3pPr>
            <a:lvl4pPr marL="0" indent="0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0">
                <a:latin typeface="+mn-lt"/>
              </a:defRPr>
            </a:lvl4pPr>
            <a:lvl5pPr marL="0" indent="0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0">
                <a:latin typeface="+mn-lt"/>
              </a:defRPr>
            </a:lvl5pPr>
            <a:lvl6pPr marL="0" indent="0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0">
                <a:latin typeface="+mn-lt"/>
              </a:defRPr>
            </a:lvl6pPr>
            <a:lvl7pPr marL="0" indent="0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0">
                <a:latin typeface="+mn-lt"/>
              </a:defRPr>
            </a:lvl7pPr>
            <a:lvl8pPr marL="0" indent="0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0">
                <a:latin typeface="+mn-lt"/>
              </a:defRPr>
            </a:lvl8pPr>
            <a:lvl9pPr marL="0" indent="0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0">
                <a:latin typeface="+mn-lt"/>
              </a:defRPr>
            </a:lvl9pPr>
          </a:lstStyle>
          <a:p>
            <a:pPr lvl="0"/>
            <a:r>
              <a:rPr lang="en-GB" noProof="0" dirty="0"/>
              <a:t>Click to add agenda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63B18079-2D72-4EFD-AC40-DE7393CBD8C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05955" y="1800000"/>
            <a:ext cx="484539" cy="3240000"/>
          </a:xfrm>
        </p:spPr>
        <p:txBody>
          <a:bodyPr anchor="b"/>
          <a:lstStyle>
            <a:lvl1pPr marL="0" indent="0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0">
                <a:latin typeface="+mn-lt"/>
              </a:defRPr>
            </a:lvl1pPr>
            <a:lvl2pPr marL="0" indent="0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0">
                <a:latin typeface="+mn-lt"/>
              </a:defRPr>
            </a:lvl2pPr>
            <a:lvl3pPr marL="0" indent="0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0">
                <a:latin typeface="+mn-lt"/>
              </a:defRPr>
            </a:lvl3pPr>
            <a:lvl4pPr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0">
                <a:latin typeface="+mn-lt"/>
              </a:defRPr>
            </a:lvl4pPr>
            <a:lvl5pPr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0">
                <a:latin typeface="+mn-lt"/>
              </a:defRPr>
            </a:lvl5pPr>
            <a:lvl6pPr marL="0" indent="0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0">
                <a:latin typeface="+mn-lt"/>
              </a:defRPr>
            </a:lvl6pPr>
            <a:lvl7pPr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defRPr sz="1600" b="0">
                <a:latin typeface="+mn-lt"/>
              </a:defRPr>
            </a:lvl7pPr>
            <a:lvl8pPr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defRPr sz="1600" b="0">
                <a:latin typeface="+mn-lt"/>
              </a:defRPr>
            </a:lvl8pPr>
            <a:lvl9pPr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latin typeface="+mn-lt"/>
              </a:defRPr>
            </a:lvl9pPr>
          </a:lstStyle>
          <a:p>
            <a:pPr lvl="0"/>
            <a:r>
              <a:rPr lang="en-GB" dirty="0"/>
              <a:t>01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9CB1492-7E27-4E36-9277-271D15C42A05}"/>
              </a:ext>
            </a:extLst>
          </p:cNvPr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r>
              <a:rPr lang="en-GB" dirty="0"/>
              <a:t>Muuto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E996599-8385-48A8-9FD6-ACBA744544E4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91385076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gr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 hidden="1">
            <a:extLst>
              <a:ext uri="{FF2B5EF4-FFF2-40B4-BE49-F238E27FC236}">
                <a16:creationId xmlns:a16="http://schemas.microsoft.com/office/drawing/2014/main" id="{5C236169-AD12-4273-9544-1FCC124B5B36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28"/>
          </p:nvPr>
        </p:nvSpPr>
        <p:spPr/>
        <p:txBody>
          <a:bodyPr/>
          <a:lstStyle/>
          <a:p>
            <a:fld id="{45527A44-AA1D-4BA1-AA93-32475F9E9A8F}" type="datetime4">
              <a:rPr lang="en-GB" smtClean="0"/>
              <a:pPr/>
              <a:t>14 March 2025</a:t>
            </a:fld>
            <a:endParaRPr lang="en-GB" dirty="0"/>
          </a:p>
        </p:txBody>
      </p:sp>
      <p:sp>
        <p:nvSpPr>
          <p:cNvPr id="20" name="Text Placeholder background">
            <a:extLst>
              <a:ext uri="{FF2B5EF4-FFF2-40B4-BE49-F238E27FC236}">
                <a16:creationId xmlns:a16="http://schemas.microsoft.com/office/drawing/2014/main" id="{6968AFA8-A060-4A6A-A0FC-3452663680B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white">
          <a:xfrm>
            <a:off x="0" y="0"/>
            <a:ext cx="12198350" cy="6858000"/>
          </a:xfrm>
          <a:solidFill>
            <a:srgbClr val="ECE8DD"/>
          </a:solidFill>
          <a:ln>
            <a:noFill/>
          </a:ln>
        </p:spPr>
        <p:txBody>
          <a:bodyPr/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2325" y="2016000"/>
            <a:ext cx="3273079" cy="3168000"/>
          </a:xfrm>
        </p:spPr>
        <p:txBody>
          <a:bodyPr anchor="b" anchorCtr="0"/>
          <a:lstStyle>
            <a:lvl1pPr>
              <a:defRPr sz="4800" cap="none" baseline="0"/>
            </a:lvl1pPr>
          </a:lstStyle>
          <a:p>
            <a:r>
              <a:rPr lang="en-GB" noProof="0" dirty="0"/>
              <a:t>Click to add program title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7A0222EC-EFAC-443C-BF69-3C64BE050F7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847139" y="720000"/>
            <a:ext cx="5363272" cy="4320000"/>
          </a:xfrm>
        </p:spPr>
        <p:txBody>
          <a:bodyPr anchor="b" anchorCtr="0"/>
          <a:lstStyle>
            <a:lvl1pPr marL="0" indent="0">
              <a:lnSpc>
                <a:spcPts val="24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b="0">
                <a:latin typeface="+mn-lt"/>
              </a:defRPr>
            </a:lvl1pPr>
            <a:lvl2pPr marL="0" indent="0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latin typeface="+mn-lt"/>
              </a:defRPr>
            </a:lvl2pPr>
            <a:lvl3pPr marL="0" indent="0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0">
                <a:latin typeface="+mn-lt"/>
              </a:defRPr>
            </a:lvl3pPr>
            <a:lvl4pPr marL="0" indent="0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0">
                <a:latin typeface="+mn-lt"/>
              </a:defRPr>
            </a:lvl4pPr>
            <a:lvl5pPr marL="0" indent="0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0">
                <a:latin typeface="+mn-lt"/>
              </a:defRPr>
            </a:lvl5pPr>
            <a:lvl6pPr marL="0" indent="0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0">
                <a:latin typeface="+mn-lt"/>
              </a:defRPr>
            </a:lvl6pPr>
            <a:lvl7pPr marL="0" indent="0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0">
                <a:latin typeface="+mn-lt"/>
              </a:defRPr>
            </a:lvl7pPr>
            <a:lvl8pPr marL="0" indent="0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latin typeface="+mn-lt"/>
              </a:defRPr>
            </a:lvl8pPr>
            <a:lvl9pPr marL="0" indent="0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0">
                <a:latin typeface="+mn-lt"/>
              </a:defRPr>
            </a:lvl9pPr>
          </a:lstStyle>
          <a:p>
            <a:pPr lvl="0"/>
            <a:r>
              <a:rPr lang="en-GB" noProof="0" dirty="0"/>
              <a:t>Click to add text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63B18079-2D72-4EFD-AC40-DE7393CBD8C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05955" y="720000"/>
            <a:ext cx="1299714" cy="4320000"/>
          </a:xfrm>
        </p:spPr>
        <p:txBody>
          <a:bodyPr anchor="b"/>
          <a:lstStyle>
            <a:lvl1pPr marL="0" indent="0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0">
                <a:latin typeface="+mn-lt"/>
              </a:defRPr>
            </a:lvl1pPr>
            <a:lvl2pPr marL="0" indent="0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0">
                <a:latin typeface="+mn-lt"/>
              </a:defRPr>
            </a:lvl2pPr>
            <a:lvl3pPr marL="0" indent="0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0">
                <a:latin typeface="+mn-lt"/>
              </a:defRPr>
            </a:lvl3pPr>
            <a:lvl4pPr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0">
                <a:latin typeface="+mn-lt"/>
              </a:defRPr>
            </a:lvl4pPr>
            <a:lvl5pPr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0">
                <a:latin typeface="+mn-lt"/>
              </a:defRPr>
            </a:lvl5pPr>
            <a:lvl6pPr marL="0" indent="0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0">
                <a:latin typeface="+mn-lt"/>
              </a:defRPr>
            </a:lvl6pPr>
            <a:lvl7pPr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defRPr sz="1600" b="0">
                <a:latin typeface="+mn-lt"/>
              </a:defRPr>
            </a:lvl7pPr>
            <a:lvl8pPr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defRPr sz="1600" b="0">
                <a:latin typeface="+mn-lt"/>
              </a:defRPr>
            </a:lvl8pPr>
            <a:lvl9pPr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defRPr sz="1600" b="0">
                <a:latin typeface="+mn-lt"/>
              </a:defRPr>
            </a:lvl9pPr>
          </a:lstStyle>
          <a:p>
            <a:pPr lvl="0"/>
            <a:r>
              <a:rPr lang="en-GB" dirty="0"/>
              <a:t>0900-1000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CB61D9E-7034-47C5-9937-67D00A031B96}"/>
              </a:ext>
            </a:extLst>
          </p:cNvPr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r>
              <a:rPr lang="en-GB" dirty="0"/>
              <a:t>Muuto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E9A48B1-8A6C-4ACF-B2E2-27D30CE8BB7A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20039490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3F302746-FE9F-4E38-A727-8D9D743CDAA8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14"/>
          </p:nvPr>
        </p:nvSpPr>
        <p:spPr/>
        <p:txBody>
          <a:bodyPr/>
          <a:lstStyle/>
          <a:p>
            <a:fld id="{45527A44-AA1D-4BA1-AA93-32475F9E9A8F}" type="datetime4">
              <a:rPr lang="en-GB" smtClean="0"/>
              <a:pPr/>
              <a:t>14 March 2025</a:t>
            </a:fld>
            <a:endParaRPr lang="en-GB" dirty="0"/>
          </a:p>
        </p:txBody>
      </p:sp>
      <p:sp>
        <p:nvSpPr>
          <p:cNvPr id="7" name="Text Placeholder background">
            <a:extLst>
              <a:ext uri="{FF2B5EF4-FFF2-40B4-BE49-F238E27FC236}">
                <a16:creationId xmlns:a16="http://schemas.microsoft.com/office/drawing/2014/main" id="{01BDB078-E176-8C62-2D9C-474C3D54C74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white">
          <a:xfrm>
            <a:off x="0" y="0"/>
            <a:ext cx="12198350" cy="6858000"/>
          </a:xfrm>
          <a:solidFill>
            <a:srgbClr val="ECE8DD"/>
          </a:solidFill>
          <a:ln>
            <a:noFill/>
          </a:ln>
        </p:spPr>
        <p:txBody>
          <a:bodyPr/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Click to add title</a:t>
            </a: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C6ADF413-CA5A-42F5-AABA-6E2A71A566DE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358962" y="742223"/>
            <a:ext cx="11475574" cy="701344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1400" cap="all" baseline="0"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GB" noProof="0" dirty="0"/>
              <a:t>Click to add text                                                                                                                                                                                                                            Press ENTER then TAB to view next text style                                                                                                                                                                           Press SHIFT+TAB to view previous text style</a:t>
            </a:r>
            <a:endParaRPr lang="en-GB" dirty="0"/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BDC17F3-8581-482F-99F4-A84F7726ADE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GB" dirty="0"/>
              <a:t>Muuto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64B80D5-2AE2-4CAB-8B67-BAD1BAA4E51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5434653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9.xml"/><Relationship Id="rId18" Type="http://schemas.openxmlformats.org/officeDocument/2006/relationships/slideLayout" Target="../slideLayouts/slideLayout24.xml"/><Relationship Id="rId26" Type="http://schemas.openxmlformats.org/officeDocument/2006/relationships/slideLayout" Target="../slideLayouts/slideLayout32.xml"/><Relationship Id="rId39" Type="http://schemas.openxmlformats.org/officeDocument/2006/relationships/theme" Target="../theme/theme3.xml"/><Relationship Id="rId21" Type="http://schemas.openxmlformats.org/officeDocument/2006/relationships/slideLayout" Target="../slideLayouts/slideLayout27.xml"/><Relationship Id="rId34" Type="http://schemas.openxmlformats.org/officeDocument/2006/relationships/slideLayout" Target="../slideLayouts/slideLayout40.xml"/><Relationship Id="rId7" Type="http://schemas.openxmlformats.org/officeDocument/2006/relationships/slideLayout" Target="../slideLayouts/slideLayout13.xml"/><Relationship Id="rId12" Type="http://schemas.openxmlformats.org/officeDocument/2006/relationships/slideLayout" Target="../slideLayouts/slideLayout18.xml"/><Relationship Id="rId17" Type="http://schemas.openxmlformats.org/officeDocument/2006/relationships/slideLayout" Target="../slideLayouts/slideLayout23.xml"/><Relationship Id="rId25" Type="http://schemas.openxmlformats.org/officeDocument/2006/relationships/slideLayout" Target="../slideLayouts/slideLayout31.xml"/><Relationship Id="rId33" Type="http://schemas.openxmlformats.org/officeDocument/2006/relationships/slideLayout" Target="../slideLayouts/slideLayout39.xml"/><Relationship Id="rId38" Type="http://schemas.openxmlformats.org/officeDocument/2006/relationships/slideLayout" Target="../slideLayouts/slideLayout44.xml"/><Relationship Id="rId2" Type="http://schemas.openxmlformats.org/officeDocument/2006/relationships/slideLayout" Target="../slideLayouts/slideLayout8.xml"/><Relationship Id="rId16" Type="http://schemas.openxmlformats.org/officeDocument/2006/relationships/slideLayout" Target="../slideLayouts/slideLayout22.xml"/><Relationship Id="rId20" Type="http://schemas.openxmlformats.org/officeDocument/2006/relationships/slideLayout" Target="../slideLayouts/slideLayout26.xml"/><Relationship Id="rId29" Type="http://schemas.openxmlformats.org/officeDocument/2006/relationships/slideLayout" Target="../slideLayouts/slideLayout35.xml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7.xml"/><Relationship Id="rId24" Type="http://schemas.openxmlformats.org/officeDocument/2006/relationships/slideLayout" Target="../slideLayouts/slideLayout30.xml"/><Relationship Id="rId32" Type="http://schemas.openxmlformats.org/officeDocument/2006/relationships/slideLayout" Target="../slideLayouts/slideLayout38.xml"/><Relationship Id="rId37" Type="http://schemas.openxmlformats.org/officeDocument/2006/relationships/slideLayout" Target="../slideLayouts/slideLayout43.xml"/><Relationship Id="rId5" Type="http://schemas.openxmlformats.org/officeDocument/2006/relationships/slideLayout" Target="../slideLayouts/slideLayout11.xml"/><Relationship Id="rId15" Type="http://schemas.openxmlformats.org/officeDocument/2006/relationships/slideLayout" Target="../slideLayouts/slideLayout21.xml"/><Relationship Id="rId23" Type="http://schemas.openxmlformats.org/officeDocument/2006/relationships/slideLayout" Target="../slideLayouts/slideLayout29.xml"/><Relationship Id="rId28" Type="http://schemas.openxmlformats.org/officeDocument/2006/relationships/slideLayout" Target="../slideLayouts/slideLayout34.xml"/><Relationship Id="rId36" Type="http://schemas.openxmlformats.org/officeDocument/2006/relationships/slideLayout" Target="../slideLayouts/slideLayout42.xml"/><Relationship Id="rId10" Type="http://schemas.openxmlformats.org/officeDocument/2006/relationships/slideLayout" Target="../slideLayouts/slideLayout16.xml"/><Relationship Id="rId19" Type="http://schemas.openxmlformats.org/officeDocument/2006/relationships/slideLayout" Target="../slideLayouts/slideLayout25.xml"/><Relationship Id="rId31" Type="http://schemas.openxmlformats.org/officeDocument/2006/relationships/slideLayout" Target="../slideLayouts/slideLayout37.xml"/><Relationship Id="rId4" Type="http://schemas.openxmlformats.org/officeDocument/2006/relationships/slideLayout" Target="../slideLayouts/slideLayout10.xml"/><Relationship Id="rId9" Type="http://schemas.openxmlformats.org/officeDocument/2006/relationships/slideLayout" Target="../slideLayouts/slideLayout15.xml"/><Relationship Id="rId14" Type="http://schemas.openxmlformats.org/officeDocument/2006/relationships/slideLayout" Target="../slideLayouts/slideLayout20.xml"/><Relationship Id="rId22" Type="http://schemas.openxmlformats.org/officeDocument/2006/relationships/slideLayout" Target="../slideLayouts/slideLayout28.xml"/><Relationship Id="rId27" Type="http://schemas.openxmlformats.org/officeDocument/2006/relationships/slideLayout" Target="../slideLayouts/slideLayout33.xml"/><Relationship Id="rId30" Type="http://schemas.openxmlformats.org/officeDocument/2006/relationships/slideLayout" Target="../slideLayouts/slideLayout36.xml"/><Relationship Id="rId35" Type="http://schemas.openxmlformats.org/officeDocument/2006/relationships/slideLayout" Target="../slideLayouts/slideLayout41.xml"/><Relationship Id="rId8" Type="http://schemas.openxmlformats.org/officeDocument/2006/relationships/slideLayout" Target="../slideLayouts/slideLayout14.xml"/><Relationship Id="rId3" Type="http://schemas.openxmlformats.org/officeDocument/2006/relationships/slideLayout" Target="../slideLayouts/slideLayout9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2.xml"/><Relationship Id="rId13" Type="http://schemas.openxmlformats.org/officeDocument/2006/relationships/slideLayout" Target="../slideLayouts/slideLayout57.xml"/><Relationship Id="rId18" Type="http://schemas.openxmlformats.org/officeDocument/2006/relationships/slideLayout" Target="../slideLayouts/slideLayout62.xml"/><Relationship Id="rId3" Type="http://schemas.openxmlformats.org/officeDocument/2006/relationships/slideLayout" Target="../slideLayouts/slideLayout47.xml"/><Relationship Id="rId7" Type="http://schemas.openxmlformats.org/officeDocument/2006/relationships/slideLayout" Target="../slideLayouts/slideLayout51.xml"/><Relationship Id="rId12" Type="http://schemas.openxmlformats.org/officeDocument/2006/relationships/slideLayout" Target="../slideLayouts/slideLayout56.xml"/><Relationship Id="rId17" Type="http://schemas.openxmlformats.org/officeDocument/2006/relationships/slideLayout" Target="../slideLayouts/slideLayout61.xml"/><Relationship Id="rId2" Type="http://schemas.openxmlformats.org/officeDocument/2006/relationships/slideLayout" Target="../slideLayouts/slideLayout46.xml"/><Relationship Id="rId16" Type="http://schemas.openxmlformats.org/officeDocument/2006/relationships/slideLayout" Target="../slideLayouts/slideLayout60.xml"/><Relationship Id="rId1" Type="http://schemas.openxmlformats.org/officeDocument/2006/relationships/slideLayout" Target="../slideLayouts/slideLayout45.xml"/><Relationship Id="rId6" Type="http://schemas.openxmlformats.org/officeDocument/2006/relationships/slideLayout" Target="../slideLayouts/slideLayout50.xml"/><Relationship Id="rId11" Type="http://schemas.openxmlformats.org/officeDocument/2006/relationships/slideLayout" Target="../slideLayouts/slideLayout55.xml"/><Relationship Id="rId5" Type="http://schemas.openxmlformats.org/officeDocument/2006/relationships/slideLayout" Target="../slideLayouts/slideLayout49.xml"/><Relationship Id="rId15" Type="http://schemas.openxmlformats.org/officeDocument/2006/relationships/slideLayout" Target="../slideLayouts/slideLayout59.xml"/><Relationship Id="rId10" Type="http://schemas.openxmlformats.org/officeDocument/2006/relationships/slideLayout" Target="../slideLayouts/slideLayout54.xml"/><Relationship Id="rId19" Type="http://schemas.openxmlformats.org/officeDocument/2006/relationships/theme" Target="../theme/theme4.xml"/><Relationship Id="rId4" Type="http://schemas.openxmlformats.org/officeDocument/2006/relationships/slideLayout" Target="../slideLayouts/slideLayout48.xml"/><Relationship Id="rId9" Type="http://schemas.openxmlformats.org/officeDocument/2006/relationships/slideLayout" Target="../slideLayouts/slideLayout53.xml"/><Relationship Id="rId14" Type="http://schemas.openxmlformats.org/officeDocument/2006/relationships/slideLayout" Target="../slideLayouts/slideLayout58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0.xml"/><Relationship Id="rId13" Type="http://schemas.openxmlformats.org/officeDocument/2006/relationships/slideLayout" Target="../slideLayouts/slideLayout75.xml"/><Relationship Id="rId18" Type="http://schemas.openxmlformats.org/officeDocument/2006/relationships/slideLayout" Target="../slideLayouts/slideLayout80.xml"/><Relationship Id="rId26" Type="http://schemas.openxmlformats.org/officeDocument/2006/relationships/slideLayout" Target="../slideLayouts/slideLayout88.xml"/><Relationship Id="rId3" Type="http://schemas.openxmlformats.org/officeDocument/2006/relationships/slideLayout" Target="../slideLayouts/slideLayout65.xml"/><Relationship Id="rId21" Type="http://schemas.openxmlformats.org/officeDocument/2006/relationships/slideLayout" Target="../slideLayouts/slideLayout83.xml"/><Relationship Id="rId7" Type="http://schemas.openxmlformats.org/officeDocument/2006/relationships/slideLayout" Target="../slideLayouts/slideLayout69.xml"/><Relationship Id="rId12" Type="http://schemas.openxmlformats.org/officeDocument/2006/relationships/slideLayout" Target="../slideLayouts/slideLayout74.xml"/><Relationship Id="rId17" Type="http://schemas.openxmlformats.org/officeDocument/2006/relationships/slideLayout" Target="../slideLayouts/slideLayout79.xml"/><Relationship Id="rId25" Type="http://schemas.openxmlformats.org/officeDocument/2006/relationships/slideLayout" Target="../slideLayouts/slideLayout87.xml"/><Relationship Id="rId2" Type="http://schemas.openxmlformats.org/officeDocument/2006/relationships/slideLayout" Target="../slideLayouts/slideLayout64.xml"/><Relationship Id="rId16" Type="http://schemas.openxmlformats.org/officeDocument/2006/relationships/slideLayout" Target="../slideLayouts/slideLayout78.xml"/><Relationship Id="rId20" Type="http://schemas.openxmlformats.org/officeDocument/2006/relationships/slideLayout" Target="../slideLayouts/slideLayout82.xml"/><Relationship Id="rId1" Type="http://schemas.openxmlformats.org/officeDocument/2006/relationships/slideLayout" Target="../slideLayouts/slideLayout63.xml"/><Relationship Id="rId6" Type="http://schemas.openxmlformats.org/officeDocument/2006/relationships/slideLayout" Target="../slideLayouts/slideLayout68.xml"/><Relationship Id="rId11" Type="http://schemas.openxmlformats.org/officeDocument/2006/relationships/slideLayout" Target="../slideLayouts/slideLayout73.xml"/><Relationship Id="rId24" Type="http://schemas.openxmlformats.org/officeDocument/2006/relationships/slideLayout" Target="../slideLayouts/slideLayout86.xml"/><Relationship Id="rId5" Type="http://schemas.openxmlformats.org/officeDocument/2006/relationships/slideLayout" Target="../slideLayouts/slideLayout67.xml"/><Relationship Id="rId15" Type="http://schemas.openxmlformats.org/officeDocument/2006/relationships/slideLayout" Target="../slideLayouts/slideLayout77.xml"/><Relationship Id="rId23" Type="http://schemas.openxmlformats.org/officeDocument/2006/relationships/slideLayout" Target="../slideLayouts/slideLayout85.xml"/><Relationship Id="rId28" Type="http://schemas.openxmlformats.org/officeDocument/2006/relationships/theme" Target="../theme/theme5.xml"/><Relationship Id="rId10" Type="http://schemas.openxmlformats.org/officeDocument/2006/relationships/slideLayout" Target="../slideLayouts/slideLayout72.xml"/><Relationship Id="rId19" Type="http://schemas.openxmlformats.org/officeDocument/2006/relationships/slideLayout" Target="../slideLayouts/slideLayout81.xml"/><Relationship Id="rId4" Type="http://schemas.openxmlformats.org/officeDocument/2006/relationships/slideLayout" Target="../slideLayouts/slideLayout66.xml"/><Relationship Id="rId9" Type="http://schemas.openxmlformats.org/officeDocument/2006/relationships/slideLayout" Target="../slideLayouts/slideLayout71.xml"/><Relationship Id="rId14" Type="http://schemas.openxmlformats.org/officeDocument/2006/relationships/slideLayout" Target="../slideLayouts/slideLayout76.xml"/><Relationship Id="rId22" Type="http://schemas.openxmlformats.org/officeDocument/2006/relationships/slideLayout" Target="../slideLayouts/slideLayout84.xml"/><Relationship Id="rId27" Type="http://schemas.openxmlformats.org/officeDocument/2006/relationships/slideLayout" Target="../slideLayouts/slideLayout89.xml"/></Relationships>
</file>

<file path=ppt/slideMasters/_rels/slideMaster6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02.xml"/><Relationship Id="rId18" Type="http://schemas.openxmlformats.org/officeDocument/2006/relationships/slideLayout" Target="../slideLayouts/slideLayout107.xml"/><Relationship Id="rId26" Type="http://schemas.openxmlformats.org/officeDocument/2006/relationships/slideLayout" Target="../slideLayouts/slideLayout115.xml"/><Relationship Id="rId39" Type="http://schemas.openxmlformats.org/officeDocument/2006/relationships/slideLayout" Target="../slideLayouts/slideLayout128.xml"/><Relationship Id="rId21" Type="http://schemas.openxmlformats.org/officeDocument/2006/relationships/slideLayout" Target="../slideLayouts/slideLayout110.xml"/><Relationship Id="rId34" Type="http://schemas.openxmlformats.org/officeDocument/2006/relationships/slideLayout" Target="../slideLayouts/slideLayout123.xml"/><Relationship Id="rId42" Type="http://schemas.openxmlformats.org/officeDocument/2006/relationships/slideLayout" Target="../slideLayouts/slideLayout131.xml"/><Relationship Id="rId47" Type="http://schemas.openxmlformats.org/officeDocument/2006/relationships/slideLayout" Target="../slideLayouts/slideLayout136.xml"/><Relationship Id="rId50" Type="http://schemas.openxmlformats.org/officeDocument/2006/relationships/slideLayout" Target="../slideLayouts/slideLayout139.xml"/><Relationship Id="rId55" Type="http://schemas.openxmlformats.org/officeDocument/2006/relationships/slideLayout" Target="../slideLayouts/slideLayout144.xml"/><Relationship Id="rId7" Type="http://schemas.openxmlformats.org/officeDocument/2006/relationships/slideLayout" Target="../slideLayouts/slideLayout96.xml"/><Relationship Id="rId2" Type="http://schemas.openxmlformats.org/officeDocument/2006/relationships/slideLayout" Target="../slideLayouts/slideLayout91.xml"/><Relationship Id="rId16" Type="http://schemas.openxmlformats.org/officeDocument/2006/relationships/slideLayout" Target="../slideLayouts/slideLayout105.xml"/><Relationship Id="rId29" Type="http://schemas.openxmlformats.org/officeDocument/2006/relationships/slideLayout" Target="../slideLayouts/slideLayout118.xml"/><Relationship Id="rId11" Type="http://schemas.openxmlformats.org/officeDocument/2006/relationships/slideLayout" Target="../slideLayouts/slideLayout100.xml"/><Relationship Id="rId24" Type="http://schemas.openxmlformats.org/officeDocument/2006/relationships/slideLayout" Target="../slideLayouts/slideLayout113.xml"/><Relationship Id="rId32" Type="http://schemas.openxmlformats.org/officeDocument/2006/relationships/slideLayout" Target="../slideLayouts/slideLayout121.xml"/><Relationship Id="rId37" Type="http://schemas.openxmlformats.org/officeDocument/2006/relationships/slideLayout" Target="../slideLayouts/slideLayout126.xml"/><Relationship Id="rId40" Type="http://schemas.openxmlformats.org/officeDocument/2006/relationships/slideLayout" Target="../slideLayouts/slideLayout129.xml"/><Relationship Id="rId45" Type="http://schemas.openxmlformats.org/officeDocument/2006/relationships/slideLayout" Target="../slideLayouts/slideLayout134.xml"/><Relationship Id="rId53" Type="http://schemas.openxmlformats.org/officeDocument/2006/relationships/slideLayout" Target="../slideLayouts/slideLayout142.xml"/><Relationship Id="rId58" Type="http://schemas.openxmlformats.org/officeDocument/2006/relationships/image" Target="../media/image19.png"/><Relationship Id="rId5" Type="http://schemas.openxmlformats.org/officeDocument/2006/relationships/slideLayout" Target="../slideLayouts/slideLayout94.xml"/><Relationship Id="rId19" Type="http://schemas.openxmlformats.org/officeDocument/2006/relationships/slideLayout" Target="../slideLayouts/slideLayout108.xml"/><Relationship Id="rId4" Type="http://schemas.openxmlformats.org/officeDocument/2006/relationships/slideLayout" Target="../slideLayouts/slideLayout93.xml"/><Relationship Id="rId9" Type="http://schemas.openxmlformats.org/officeDocument/2006/relationships/slideLayout" Target="../slideLayouts/slideLayout98.xml"/><Relationship Id="rId14" Type="http://schemas.openxmlformats.org/officeDocument/2006/relationships/slideLayout" Target="../slideLayouts/slideLayout103.xml"/><Relationship Id="rId22" Type="http://schemas.openxmlformats.org/officeDocument/2006/relationships/slideLayout" Target="../slideLayouts/slideLayout111.xml"/><Relationship Id="rId27" Type="http://schemas.openxmlformats.org/officeDocument/2006/relationships/slideLayout" Target="../slideLayouts/slideLayout116.xml"/><Relationship Id="rId30" Type="http://schemas.openxmlformats.org/officeDocument/2006/relationships/slideLayout" Target="../slideLayouts/slideLayout119.xml"/><Relationship Id="rId35" Type="http://schemas.openxmlformats.org/officeDocument/2006/relationships/slideLayout" Target="../slideLayouts/slideLayout124.xml"/><Relationship Id="rId43" Type="http://schemas.openxmlformats.org/officeDocument/2006/relationships/slideLayout" Target="../slideLayouts/slideLayout132.xml"/><Relationship Id="rId48" Type="http://schemas.openxmlformats.org/officeDocument/2006/relationships/slideLayout" Target="../slideLayouts/slideLayout137.xml"/><Relationship Id="rId56" Type="http://schemas.openxmlformats.org/officeDocument/2006/relationships/slideLayout" Target="../slideLayouts/slideLayout145.xml"/><Relationship Id="rId8" Type="http://schemas.openxmlformats.org/officeDocument/2006/relationships/slideLayout" Target="../slideLayouts/slideLayout97.xml"/><Relationship Id="rId51" Type="http://schemas.openxmlformats.org/officeDocument/2006/relationships/slideLayout" Target="../slideLayouts/slideLayout140.xml"/><Relationship Id="rId3" Type="http://schemas.openxmlformats.org/officeDocument/2006/relationships/slideLayout" Target="../slideLayouts/slideLayout92.xml"/><Relationship Id="rId12" Type="http://schemas.openxmlformats.org/officeDocument/2006/relationships/slideLayout" Target="../slideLayouts/slideLayout101.xml"/><Relationship Id="rId17" Type="http://schemas.openxmlformats.org/officeDocument/2006/relationships/slideLayout" Target="../slideLayouts/slideLayout106.xml"/><Relationship Id="rId25" Type="http://schemas.openxmlformats.org/officeDocument/2006/relationships/slideLayout" Target="../slideLayouts/slideLayout114.xml"/><Relationship Id="rId33" Type="http://schemas.openxmlformats.org/officeDocument/2006/relationships/slideLayout" Target="../slideLayouts/slideLayout122.xml"/><Relationship Id="rId38" Type="http://schemas.openxmlformats.org/officeDocument/2006/relationships/slideLayout" Target="../slideLayouts/slideLayout127.xml"/><Relationship Id="rId46" Type="http://schemas.openxmlformats.org/officeDocument/2006/relationships/slideLayout" Target="../slideLayouts/slideLayout135.xml"/><Relationship Id="rId59" Type="http://schemas.openxmlformats.org/officeDocument/2006/relationships/image" Target="../media/image20.png"/><Relationship Id="rId20" Type="http://schemas.openxmlformats.org/officeDocument/2006/relationships/slideLayout" Target="../slideLayouts/slideLayout109.xml"/><Relationship Id="rId41" Type="http://schemas.openxmlformats.org/officeDocument/2006/relationships/slideLayout" Target="../slideLayouts/slideLayout130.xml"/><Relationship Id="rId54" Type="http://schemas.openxmlformats.org/officeDocument/2006/relationships/slideLayout" Target="../slideLayouts/slideLayout143.xml"/><Relationship Id="rId1" Type="http://schemas.openxmlformats.org/officeDocument/2006/relationships/slideLayout" Target="../slideLayouts/slideLayout90.xml"/><Relationship Id="rId6" Type="http://schemas.openxmlformats.org/officeDocument/2006/relationships/slideLayout" Target="../slideLayouts/slideLayout95.xml"/><Relationship Id="rId15" Type="http://schemas.openxmlformats.org/officeDocument/2006/relationships/slideLayout" Target="../slideLayouts/slideLayout104.xml"/><Relationship Id="rId23" Type="http://schemas.openxmlformats.org/officeDocument/2006/relationships/slideLayout" Target="../slideLayouts/slideLayout112.xml"/><Relationship Id="rId28" Type="http://schemas.openxmlformats.org/officeDocument/2006/relationships/slideLayout" Target="../slideLayouts/slideLayout117.xml"/><Relationship Id="rId36" Type="http://schemas.openxmlformats.org/officeDocument/2006/relationships/slideLayout" Target="../slideLayouts/slideLayout125.xml"/><Relationship Id="rId49" Type="http://schemas.openxmlformats.org/officeDocument/2006/relationships/slideLayout" Target="../slideLayouts/slideLayout138.xml"/><Relationship Id="rId57" Type="http://schemas.openxmlformats.org/officeDocument/2006/relationships/theme" Target="../theme/theme6.xml"/><Relationship Id="rId10" Type="http://schemas.openxmlformats.org/officeDocument/2006/relationships/slideLayout" Target="../slideLayouts/slideLayout99.xml"/><Relationship Id="rId31" Type="http://schemas.openxmlformats.org/officeDocument/2006/relationships/slideLayout" Target="../slideLayouts/slideLayout120.xml"/><Relationship Id="rId44" Type="http://schemas.openxmlformats.org/officeDocument/2006/relationships/slideLayout" Target="../slideLayouts/slideLayout133.xml"/><Relationship Id="rId52" Type="http://schemas.openxmlformats.org/officeDocument/2006/relationships/slideLayout" Target="../slideLayouts/slideLayout14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3380" y="294200"/>
            <a:ext cx="4638254" cy="26758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Section title</a:t>
            </a:r>
            <a:endParaRPr lang="en-GB"/>
          </a:p>
        </p:txBody>
      </p:sp>
      <p:grpSp>
        <p:nvGrpSpPr>
          <p:cNvPr id="14" name="Group 4">
            <a:extLst>
              <a:ext uri="{FF2B5EF4-FFF2-40B4-BE49-F238E27FC236}">
                <a16:creationId xmlns:a16="http://schemas.microsoft.com/office/drawing/2014/main" id="{7E89FB01-0304-4B7A-83F4-087FD710583C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621758" y="6417994"/>
            <a:ext cx="303213" cy="311150"/>
            <a:chOff x="7110" y="4004"/>
            <a:chExt cx="191" cy="196"/>
          </a:xfrm>
        </p:grpSpPr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4DE1CE93-8A80-4A24-92CA-71C05E45371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6" name="Freeform 6">
              <a:extLst>
                <a:ext uri="{FF2B5EF4-FFF2-40B4-BE49-F238E27FC236}">
                  <a16:creationId xmlns:a16="http://schemas.microsoft.com/office/drawing/2014/main" id="{769AC85D-6BA0-4E5B-A206-FB7E85E0DDB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tx1"/>
                </a:solidFill>
              </a:endParaRPr>
            </a:p>
          </p:txBody>
        </p:sp>
        <p:sp>
          <p:nvSpPr>
            <p:cNvPr id="17" name="Freeform 7">
              <a:extLst>
                <a:ext uri="{FF2B5EF4-FFF2-40B4-BE49-F238E27FC236}">
                  <a16:creationId xmlns:a16="http://schemas.microsoft.com/office/drawing/2014/main" id="{5A99D1FF-A731-4C56-AEC5-4C61FAC7487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tx1"/>
                </a:solidFill>
              </a:endParaRPr>
            </a:p>
          </p:txBody>
        </p:sp>
      </p:grpSp>
      <p:sp>
        <p:nvSpPr>
          <p:cNvPr id="10" name="Footer Placeholder 2">
            <a:extLst>
              <a:ext uri="{FF2B5EF4-FFF2-40B4-BE49-F238E27FC236}">
                <a16:creationId xmlns:a16="http://schemas.microsoft.com/office/drawing/2014/main" id="{D238E7E7-C39E-4E71-BFA1-F8A621E7B33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73378" y="6471243"/>
            <a:ext cx="2342723" cy="221971"/>
          </a:xfrm>
          <a:prstGeom prst="rect">
            <a:avLst/>
          </a:prstGeom>
        </p:spPr>
        <p:txBody>
          <a:bodyPr/>
          <a:lstStyle>
            <a:lvl1pPr>
              <a:defRPr sz="75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N" b="1">
                <a:solidFill>
                  <a:schemeClr val="tx2"/>
                </a:solidFill>
                <a:latin typeface="EYInterstate" panose="02000503020000020004" pitchFamily="2" charset="0"/>
              </a:rPr>
              <a:t>| </a:t>
            </a:r>
            <a:r>
              <a:rPr lang="en-US"/>
              <a:t>EY@Work Small Projects Guide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9450100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1" r:id="rId1"/>
    <p:sldLayoutId id="2147483922" r:id="rId2"/>
    <p:sldLayoutId id="2147483918" r:id="rId3"/>
    <p:sldLayoutId id="2147484202" r:id="rId4"/>
    <p:sldLayoutId id="2147484203" r:id="rId5"/>
    <p:sldLayoutId id="2147484234" r:id="rId6"/>
  </p:sldLayoutIdLst>
  <p:hf hdr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1200" b="0" kern="1200">
          <a:solidFill>
            <a:schemeClr val="tx1"/>
          </a:solidFill>
          <a:latin typeface="EYInterstate Light" panose="02000506000000020004" pitchFamily="2" charset="0"/>
          <a:ea typeface="+mj-ea"/>
          <a:cs typeface="Arial" pitchFamily="34" charset="0"/>
        </a:defRPr>
      </a:lvl1pPr>
    </p:titleStyle>
    <p:bodyStyle>
      <a:lvl1pPr marL="0" indent="0" algn="l" defTabSz="914400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None/>
        <a:defRPr sz="24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1pPr>
      <a:lvl2pPr marL="356616" indent="0" algn="l" defTabSz="914400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None/>
        <a:defRPr sz="18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2pPr>
      <a:lvl3pPr marL="713232" indent="0" algn="l" defTabSz="914400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None/>
        <a:defRPr sz="16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3pPr>
      <a:lvl4pPr marL="1069848" indent="0" algn="l" defTabSz="914400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None/>
        <a:defRPr sz="14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4pPr>
      <a:lvl5pPr marL="1426464" indent="0" algn="l" defTabSz="914400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None/>
        <a:defRPr sz="12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3379" y="294200"/>
            <a:ext cx="4638255" cy="26758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Section title</a:t>
            </a:r>
            <a:endParaRPr lang="en-GB"/>
          </a:p>
        </p:txBody>
      </p:sp>
      <p:grpSp>
        <p:nvGrpSpPr>
          <p:cNvPr id="14" name="Group 4">
            <a:extLst>
              <a:ext uri="{FF2B5EF4-FFF2-40B4-BE49-F238E27FC236}">
                <a16:creationId xmlns:a16="http://schemas.microsoft.com/office/drawing/2014/main" id="{7E89FB01-0304-4B7A-83F4-087FD710583C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621759" y="6417994"/>
            <a:ext cx="303213" cy="311150"/>
            <a:chOff x="7110" y="4004"/>
            <a:chExt cx="191" cy="196"/>
          </a:xfrm>
        </p:grpSpPr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4DE1CE93-8A80-4A24-92CA-71C05E45371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16" name="Freeform 6">
              <a:extLst>
                <a:ext uri="{FF2B5EF4-FFF2-40B4-BE49-F238E27FC236}">
                  <a16:creationId xmlns:a16="http://schemas.microsoft.com/office/drawing/2014/main" id="{769AC85D-6BA0-4E5B-A206-FB7E85E0DDB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tx1"/>
                </a:solidFill>
              </a:endParaRPr>
            </a:p>
          </p:txBody>
        </p:sp>
        <p:sp>
          <p:nvSpPr>
            <p:cNvPr id="17" name="Freeform 7">
              <a:extLst>
                <a:ext uri="{FF2B5EF4-FFF2-40B4-BE49-F238E27FC236}">
                  <a16:creationId xmlns:a16="http://schemas.microsoft.com/office/drawing/2014/main" id="{5A99D1FF-A731-4C56-AEC5-4C61FAC7487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tx1"/>
                </a:solidFill>
              </a:endParaRPr>
            </a:p>
          </p:txBody>
        </p:sp>
      </p:grpSp>
      <p:sp>
        <p:nvSpPr>
          <p:cNvPr id="8" name="Footer Placeholder 2">
            <a:extLst>
              <a:ext uri="{FF2B5EF4-FFF2-40B4-BE49-F238E27FC236}">
                <a16:creationId xmlns:a16="http://schemas.microsoft.com/office/drawing/2014/main" id="{C3F41230-A9CB-4E79-9B6C-D163E56F7EA2}"/>
              </a:ext>
            </a:extLst>
          </p:cNvPr>
          <p:cNvSpPr txBox="1">
            <a:spLocks/>
          </p:cNvSpPr>
          <p:nvPr userDrawn="1"/>
        </p:nvSpPr>
        <p:spPr>
          <a:xfrm>
            <a:off x="273379" y="6471245"/>
            <a:ext cx="1966901" cy="221971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7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N" b="1">
                <a:solidFill>
                  <a:schemeClr val="tx2"/>
                </a:solidFill>
                <a:latin typeface="EYInterstate" panose="02000503020000020004" pitchFamily="2" charset="0"/>
              </a:rPr>
              <a:t>| </a:t>
            </a:r>
            <a:r>
              <a:rPr lang="en-US"/>
              <a:t>EY@Work Small Projects Guide</a:t>
            </a:r>
            <a:endParaRPr lang="en-IN"/>
          </a:p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297635456"/>
      </p:ext>
    </p:extLst>
  </p:cSld>
  <p:clrMap bg1="lt1" tx1="dk1" bg2="lt2" tx2="dk2" accent1="accent1" accent2="accent2" accent3="accent3" accent4="accent4" accent5="accent5" accent6="accent6" hlink="hlink" folHlink="folHlink"/>
  <p:hf hdr="0"/>
  <p:txStyles>
    <p:titleStyle>
      <a:lvl1pPr algn="l" defTabSz="913943" rtl="0" eaLnBrk="1" latinLnBrk="0" hangingPunct="1">
        <a:lnSpc>
          <a:spcPct val="85000"/>
        </a:lnSpc>
        <a:spcBef>
          <a:spcPct val="0"/>
        </a:spcBef>
        <a:buNone/>
        <a:defRPr sz="1199" b="0" kern="1200">
          <a:solidFill>
            <a:schemeClr val="tx1"/>
          </a:solidFill>
          <a:latin typeface="EYInterstate Light" panose="02000506000000020004" pitchFamily="2" charset="0"/>
          <a:ea typeface="+mj-ea"/>
          <a:cs typeface="Arial" pitchFamily="34" charset="0"/>
        </a:defRPr>
      </a:lvl1pPr>
    </p:titleStyle>
    <p:bodyStyle>
      <a:lvl1pPr marL="0" indent="0" algn="l" defTabSz="913943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None/>
        <a:defRPr sz="23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1pPr>
      <a:lvl2pPr marL="356438" indent="0" algn="l" defTabSz="913943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None/>
        <a:defRPr sz="17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2pPr>
      <a:lvl3pPr marL="712875" indent="0" algn="l" defTabSz="913943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None/>
        <a:defRPr sz="15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3pPr>
      <a:lvl4pPr marL="1069313" indent="0" algn="l" defTabSz="913943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None/>
        <a:defRPr sz="13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4pPr>
      <a:lvl5pPr marL="1425751" indent="0" algn="l" defTabSz="913943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None/>
        <a:defRPr sz="11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5pPr>
      <a:lvl6pPr marL="2513343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6pPr>
      <a:lvl7pPr marL="2970314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7pPr>
      <a:lvl8pPr marL="3427286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8pPr>
      <a:lvl9pPr marL="3884257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6971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3943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0914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7886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4857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1828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8800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5771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912">
          <p15:clr>
            <a:srgbClr val="F26B43"/>
          </p15:clr>
        </p15:guide>
        <p15:guide id="2" pos="1634">
          <p15:clr>
            <a:srgbClr val="F26B43"/>
          </p15:clr>
        </p15:guide>
        <p15:guide id="3" orient="horz" pos="1056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919" y="294200"/>
            <a:ext cx="10978515" cy="59088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919" y="1137920"/>
            <a:ext cx="10978515" cy="49479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grpSp>
        <p:nvGrpSpPr>
          <p:cNvPr id="9" name="Group 4">
            <a:extLst>
              <a:ext uri="{FF2B5EF4-FFF2-40B4-BE49-F238E27FC236}">
                <a16:creationId xmlns:a16="http://schemas.microsoft.com/office/drawing/2014/main" id="{ABA621AC-91DA-4716-A450-56540FA39C36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287126" y="6356350"/>
            <a:ext cx="303213" cy="311150"/>
            <a:chOff x="7110" y="4004"/>
            <a:chExt cx="191" cy="196"/>
          </a:xfrm>
        </p:grpSpPr>
        <p:sp>
          <p:nvSpPr>
            <p:cNvPr id="11" name="Freeform 5">
              <a:extLst>
                <a:ext uri="{FF2B5EF4-FFF2-40B4-BE49-F238E27FC236}">
                  <a16:creationId xmlns:a16="http://schemas.microsoft.com/office/drawing/2014/main" id="{76E3EDA9-8EAC-419E-8C11-4E1E158AF76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12" name="Freeform 6">
              <a:extLst>
                <a:ext uri="{FF2B5EF4-FFF2-40B4-BE49-F238E27FC236}">
                  <a16:creationId xmlns:a16="http://schemas.microsoft.com/office/drawing/2014/main" id="{ABC9458B-8C2C-486A-8ADE-F22CCDC7E2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14" name="Freeform 7">
              <a:extLst>
                <a:ext uri="{FF2B5EF4-FFF2-40B4-BE49-F238E27FC236}">
                  <a16:creationId xmlns:a16="http://schemas.microsoft.com/office/drawing/2014/main" id="{0A4C4046-69B4-41DA-AA2E-E892AEC9AA9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</p:grpSp>
      <p:sp>
        <p:nvSpPr>
          <p:cNvPr id="19" name="Date Placeholder 3">
            <a:extLst>
              <a:ext uri="{FF2B5EF4-FFF2-40B4-BE49-F238E27FC236}">
                <a16:creationId xmlns:a16="http://schemas.microsoft.com/office/drawing/2014/main" id="{600772EA-C6B0-4F5D-AA59-01C0858EFAD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428928" y="6471244"/>
            <a:ext cx="1191258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l" defTabSz="913943" rtl="0" eaLnBrk="1" latinLnBrk="0" hangingPunct="1">
              <a:defRPr lang="en-IN" sz="800" kern="1200" smtClean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</a:lstStyle>
          <a:p>
            <a:fld id="{6CB63B89-B9E5-45C3-A2B2-9B5147403B3D}" type="datetime3">
              <a:rPr lang="en-US" smtClean="0"/>
              <a:t>14 March 2025</a:t>
            </a:fld>
            <a:endParaRPr lang="en-IN"/>
          </a:p>
        </p:txBody>
      </p:sp>
      <p:sp>
        <p:nvSpPr>
          <p:cNvPr id="20" name="Footer Placeholder 4">
            <a:extLst>
              <a:ext uri="{FF2B5EF4-FFF2-40B4-BE49-F238E27FC236}">
                <a16:creationId xmlns:a16="http://schemas.microsoft.com/office/drawing/2014/main" id="{AC28FA70-87E4-49F4-AFDE-345AA28E0BE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39188" y="6471244"/>
            <a:ext cx="3086100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l" defTabSz="913943" rtl="0" eaLnBrk="1" latinLnBrk="0" hangingPunct="1">
              <a:defRPr lang="en-IN" sz="800" kern="1200" dirty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21" name="Slide Number Placeholder 5">
            <a:extLst>
              <a:ext uri="{FF2B5EF4-FFF2-40B4-BE49-F238E27FC236}">
                <a16:creationId xmlns:a16="http://schemas.microsoft.com/office/drawing/2014/main" id="{3B540F9A-D485-4BD0-B905-41F8A52593F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17222" y="6471244"/>
            <a:ext cx="663066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l" defTabSz="913943" rtl="0" eaLnBrk="1" latinLnBrk="0" hangingPunct="1">
              <a:defRPr lang="en-IN" sz="800" kern="1200" smtClean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</a:lstStyle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8829587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06" r:id="rId1"/>
    <p:sldLayoutId id="2147484107" r:id="rId2"/>
    <p:sldLayoutId id="2147484108" r:id="rId3"/>
    <p:sldLayoutId id="2147484109" r:id="rId4"/>
    <p:sldLayoutId id="2147484110" r:id="rId5"/>
    <p:sldLayoutId id="2147484111" r:id="rId6"/>
    <p:sldLayoutId id="2147484112" r:id="rId7"/>
    <p:sldLayoutId id="2147484113" r:id="rId8"/>
    <p:sldLayoutId id="2147484114" r:id="rId9"/>
    <p:sldLayoutId id="2147484115" r:id="rId10"/>
    <p:sldLayoutId id="2147484116" r:id="rId11"/>
    <p:sldLayoutId id="2147484117" r:id="rId12"/>
    <p:sldLayoutId id="2147484118" r:id="rId13"/>
    <p:sldLayoutId id="2147484119" r:id="rId14"/>
    <p:sldLayoutId id="2147484120" r:id="rId15"/>
    <p:sldLayoutId id="2147484121" r:id="rId16"/>
    <p:sldLayoutId id="2147484122" r:id="rId17"/>
    <p:sldLayoutId id="2147484131" r:id="rId18"/>
    <p:sldLayoutId id="2147484132" r:id="rId19"/>
    <p:sldLayoutId id="2147484133" r:id="rId20"/>
    <p:sldLayoutId id="2147484134" r:id="rId21"/>
    <p:sldLayoutId id="2147484135" r:id="rId22"/>
    <p:sldLayoutId id="2147484136" r:id="rId23"/>
    <p:sldLayoutId id="2147484137" r:id="rId24"/>
    <p:sldLayoutId id="2147484138" r:id="rId25"/>
    <p:sldLayoutId id="2147484139" r:id="rId26"/>
    <p:sldLayoutId id="2147484140" r:id="rId27"/>
    <p:sldLayoutId id="2147484141" r:id="rId28"/>
    <p:sldLayoutId id="2147484142" r:id="rId29"/>
    <p:sldLayoutId id="2147484143" r:id="rId30"/>
    <p:sldLayoutId id="2147484144" r:id="rId31"/>
    <p:sldLayoutId id="2147484147" r:id="rId32"/>
    <p:sldLayoutId id="2147484148" r:id="rId33"/>
    <p:sldLayoutId id="2147484149" r:id="rId34"/>
    <p:sldLayoutId id="2147484150" r:id="rId35"/>
    <p:sldLayoutId id="2147484151" r:id="rId36"/>
    <p:sldLayoutId id="2147484152" r:id="rId37"/>
    <p:sldLayoutId id="2147484239" r:id="rId38"/>
  </p:sldLayoutIdLst>
  <p:hf sldNum="0" hdr="0" ftr="0" dt="0"/>
  <p:txStyles>
    <p:titleStyle>
      <a:lvl1pPr algn="l" defTabSz="913943" rtl="0" eaLnBrk="1" latinLnBrk="0" hangingPunct="1">
        <a:lnSpc>
          <a:spcPct val="85000"/>
        </a:lnSpc>
        <a:spcBef>
          <a:spcPct val="0"/>
        </a:spcBef>
        <a:buNone/>
        <a:defRPr sz="2399" b="0" kern="1200">
          <a:solidFill>
            <a:schemeClr val="bg1"/>
          </a:solidFill>
          <a:latin typeface="EYInterstate Light" panose="02000506000000020004" pitchFamily="2" charset="0"/>
          <a:ea typeface="+mj-ea"/>
          <a:cs typeface="Arial" pitchFamily="34" charset="0"/>
        </a:defRPr>
      </a:lvl1pPr>
    </p:titleStyle>
    <p:bodyStyle>
      <a:lvl1pPr marL="356438" indent="-356438" algn="l" defTabSz="913943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9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1pPr>
      <a:lvl2pPr marL="712875" indent="-356438" algn="l" defTabSz="913943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7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2pPr>
      <a:lvl3pPr marL="1069313" indent="-356438" algn="l" defTabSz="913943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5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3pPr>
      <a:lvl4pPr marL="1425751" indent="-356438" algn="l" defTabSz="913943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3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4pPr>
      <a:lvl5pPr marL="1782188" indent="-356438" algn="l" defTabSz="913943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1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5pPr>
      <a:lvl6pPr marL="2513343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6pPr>
      <a:lvl7pPr marL="2970314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7pPr>
      <a:lvl8pPr marL="3427286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8pPr>
      <a:lvl9pPr marL="3884257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6971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3943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0914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7886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4857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1828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8800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5771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4">
            <a:extLst>
              <a:ext uri="{FF2B5EF4-FFF2-40B4-BE49-F238E27FC236}">
                <a16:creationId xmlns:a16="http://schemas.microsoft.com/office/drawing/2014/main" id="{7765FF2B-120A-4C41-B111-ED1B36F95F20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287125" y="6356350"/>
            <a:ext cx="303213" cy="311150"/>
            <a:chOff x="7110" y="4004"/>
            <a:chExt cx="191" cy="196"/>
          </a:xfrm>
        </p:grpSpPr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38914C53-EAD5-4084-92AD-1A23178B584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9" name="Freeform 6">
              <a:extLst>
                <a:ext uri="{FF2B5EF4-FFF2-40B4-BE49-F238E27FC236}">
                  <a16:creationId xmlns:a16="http://schemas.microsoft.com/office/drawing/2014/main" id="{33BEA071-455E-44E0-83EF-90D3FC08D7D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0" name="Freeform 7">
              <a:extLst>
                <a:ext uri="{FF2B5EF4-FFF2-40B4-BE49-F238E27FC236}">
                  <a16:creationId xmlns:a16="http://schemas.microsoft.com/office/drawing/2014/main" id="{624064F2-9BA4-42C6-918A-CD0000D84A0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sp>
        <p:nvSpPr>
          <p:cNvPr id="21" name="Date Placeholder 1">
            <a:extLst>
              <a:ext uri="{FF2B5EF4-FFF2-40B4-BE49-F238E27FC236}">
                <a16:creationId xmlns:a16="http://schemas.microsoft.com/office/drawing/2014/main" id="{1E0F8E6C-AFE0-4EDB-8542-D2F9B9CF303F}"/>
              </a:ext>
            </a:extLst>
          </p:cNvPr>
          <p:cNvSpPr txBox="1">
            <a:spLocks/>
          </p:cNvSpPr>
          <p:nvPr userDrawn="1"/>
        </p:nvSpPr>
        <p:spPr>
          <a:xfrm>
            <a:off x="1097544" y="6471244"/>
            <a:ext cx="1191258" cy="1800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7DBDBB20-DA7B-4EA8-9594-84A1D3A4EA29}" type="datetime3">
              <a:rPr lang="en-US" smtClean="0"/>
              <a:t>14 March 2025</a:t>
            </a:fld>
            <a:endParaRPr lang="en-IN"/>
          </a:p>
        </p:txBody>
      </p:sp>
      <p:sp>
        <p:nvSpPr>
          <p:cNvPr id="23" name="Footer Placeholder 2">
            <a:extLst>
              <a:ext uri="{FF2B5EF4-FFF2-40B4-BE49-F238E27FC236}">
                <a16:creationId xmlns:a16="http://schemas.microsoft.com/office/drawing/2014/main" id="{15B8CA61-4C3D-4148-904D-789B14991D88}"/>
              </a:ext>
            </a:extLst>
          </p:cNvPr>
          <p:cNvSpPr txBox="1">
            <a:spLocks/>
          </p:cNvSpPr>
          <p:nvPr userDrawn="1"/>
        </p:nvSpPr>
        <p:spPr>
          <a:xfrm>
            <a:off x="3162988" y="6471244"/>
            <a:ext cx="3086100" cy="1800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N" b="1">
                <a:solidFill>
                  <a:schemeClr val="tx2"/>
                </a:solidFill>
                <a:latin typeface="EYInterstate" panose="02000503020000020004" pitchFamily="2" charset="0"/>
              </a:rPr>
              <a:t>| </a:t>
            </a:r>
            <a:r>
              <a:rPr lang="en-US"/>
              <a:t>EY@Work Small Projects Guide</a:t>
            </a:r>
            <a:endParaRPr lang="en-IN"/>
          </a:p>
        </p:txBody>
      </p:sp>
      <p:sp>
        <p:nvSpPr>
          <p:cNvPr id="24" name="Slide Number Placeholder 4">
            <a:extLst>
              <a:ext uri="{FF2B5EF4-FFF2-40B4-BE49-F238E27FC236}">
                <a16:creationId xmlns:a16="http://schemas.microsoft.com/office/drawing/2014/main" id="{A61F9D6D-CE5F-47BB-9E65-8C9179AD39D6}"/>
              </a:ext>
            </a:extLst>
          </p:cNvPr>
          <p:cNvSpPr txBox="1">
            <a:spLocks/>
          </p:cNvSpPr>
          <p:nvPr userDrawn="1"/>
        </p:nvSpPr>
        <p:spPr>
          <a:xfrm>
            <a:off x="642826" y="6471244"/>
            <a:ext cx="541538" cy="180000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l"/>
            <a:fld id="{D5B76411-544C-4F9A-8EDE-9EEB2BD21F95}" type="slidenum">
              <a:rPr lang="en-IN" smtClean="0">
                <a:solidFill>
                  <a:srgbClr val="FFFFFF"/>
                </a:solidFill>
              </a:rPr>
              <a:pPr lvl="0" algn="l"/>
              <a:t>‹#›</a:t>
            </a:fld>
            <a:endParaRPr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95075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54" r:id="rId1"/>
    <p:sldLayoutId id="2147484155" r:id="rId2"/>
    <p:sldLayoutId id="2147484156" r:id="rId3"/>
    <p:sldLayoutId id="2147484157" r:id="rId4"/>
    <p:sldLayoutId id="2147484158" r:id="rId5"/>
    <p:sldLayoutId id="2147484159" r:id="rId6"/>
    <p:sldLayoutId id="2147484160" r:id="rId7"/>
    <p:sldLayoutId id="2147484161" r:id="rId8"/>
    <p:sldLayoutId id="2147484162" r:id="rId9"/>
    <p:sldLayoutId id="2147484163" r:id="rId10"/>
    <p:sldLayoutId id="2147484164" r:id="rId11"/>
    <p:sldLayoutId id="2147484165" r:id="rId12"/>
    <p:sldLayoutId id="2147484166" r:id="rId13"/>
    <p:sldLayoutId id="2147484171" r:id="rId14"/>
    <p:sldLayoutId id="2147484174" r:id="rId15"/>
    <p:sldLayoutId id="2147484182" r:id="rId16"/>
    <p:sldLayoutId id="2147484186" r:id="rId17"/>
    <p:sldLayoutId id="2147484187" r:id="rId18"/>
  </p:sldLayoutIdLst>
  <p:hf hdr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3000" b="1" kern="1200">
          <a:solidFill>
            <a:schemeClr val="bg1"/>
          </a:solidFill>
          <a:latin typeface="EYInterstate Light" panose="02000506000000020004" pitchFamily="2" charset="0"/>
          <a:ea typeface="+mj-ea"/>
          <a:cs typeface="Arial" pitchFamily="34" charset="0"/>
        </a:defRPr>
      </a:lvl1pPr>
    </p:titleStyle>
    <p:bodyStyle>
      <a:lvl1pPr marL="356616" indent="-356616" algn="l" defTabSz="914400" rtl="0" eaLnBrk="1" latinLnBrk="0" hangingPunct="1">
        <a:spcBef>
          <a:spcPct val="20000"/>
        </a:spcBef>
        <a:buClr>
          <a:schemeClr val="tx2"/>
        </a:buClr>
        <a:buSzPct val="70000"/>
        <a:buFont typeface="Arial" pitchFamily="34" charset="0"/>
        <a:buChar char="►"/>
        <a:defRPr sz="20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1pPr>
      <a:lvl2pPr marL="713232" indent="-356616" algn="l" defTabSz="914400" rtl="0" eaLnBrk="1" latinLnBrk="0" hangingPunct="1">
        <a:spcBef>
          <a:spcPct val="20000"/>
        </a:spcBef>
        <a:buClr>
          <a:schemeClr val="tx2"/>
        </a:buClr>
        <a:buSzPct val="70000"/>
        <a:buFont typeface="Arial" pitchFamily="34" charset="0"/>
        <a:buChar char="►"/>
        <a:defRPr sz="18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2pPr>
      <a:lvl3pPr marL="1069848" indent="-356616" algn="l" defTabSz="914400" rtl="0" eaLnBrk="1" latinLnBrk="0" hangingPunct="1">
        <a:spcBef>
          <a:spcPct val="20000"/>
        </a:spcBef>
        <a:buClr>
          <a:schemeClr val="tx2"/>
        </a:buClr>
        <a:buSzPct val="70000"/>
        <a:buFont typeface="Arial" pitchFamily="34" charset="0"/>
        <a:buChar char="►"/>
        <a:defRPr sz="16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3pPr>
      <a:lvl4pPr marL="1426464" indent="-356616" algn="l" defTabSz="914400" rtl="0" eaLnBrk="1" latinLnBrk="0" hangingPunct="1">
        <a:spcBef>
          <a:spcPct val="20000"/>
        </a:spcBef>
        <a:buClr>
          <a:schemeClr val="tx2"/>
        </a:buClr>
        <a:buSzPct val="70000"/>
        <a:buFont typeface="Arial" pitchFamily="34" charset="0"/>
        <a:buChar char="►"/>
        <a:defRPr sz="14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4pPr>
      <a:lvl5pPr marL="1783080" indent="-356616" algn="l" defTabSz="914400" rtl="0" eaLnBrk="1" latinLnBrk="0" hangingPunct="1">
        <a:spcBef>
          <a:spcPct val="20000"/>
        </a:spcBef>
        <a:buClr>
          <a:schemeClr val="tx2"/>
        </a:buClr>
        <a:buSzPct val="70000"/>
        <a:buFont typeface="Arial" pitchFamily="34" charset="0"/>
        <a:buChar char="►"/>
        <a:defRPr sz="12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85776" y="369888"/>
            <a:ext cx="11230193" cy="47089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85776" y="1411288"/>
            <a:ext cx="11230193" cy="463867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First level text style </a:t>
            </a:r>
            <a:r>
              <a:rPr lang="en-US" err="1"/>
              <a:t>EYInterstate</a:t>
            </a:r>
            <a:r>
              <a:rPr lang="en-US"/>
              <a:t> Light </a:t>
            </a:r>
            <a:r>
              <a:rPr lang="en-US" err="1"/>
              <a:t>20pt</a:t>
            </a:r>
            <a:endParaRPr lang="en-US"/>
          </a:p>
          <a:p>
            <a:pPr lvl="1"/>
            <a:r>
              <a:rPr lang="en-US"/>
              <a:t>Second level text style </a:t>
            </a:r>
            <a:r>
              <a:rPr lang="en-US" err="1"/>
              <a:t>EYInterstate</a:t>
            </a:r>
            <a:r>
              <a:rPr lang="en-US"/>
              <a:t> Light </a:t>
            </a:r>
            <a:r>
              <a:rPr lang="en-US" err="1"/>
              <a:t>20pt</a:t>
            </a:r>
            <a:endParaRPr lang="en-US"/>
          </a:p>
          <a:p>
            <a:pPr lvl="2"/>
            <a:r>
              <a:rPr lang="en-US"/>
              <a:t>Third level text style </a:t>
            </a:r>
            <a:r>
              <a:rPr lang="en-US" err="1"/>
              <a:t>EYInterstate</a:t>
            </a:r>
            <a:r>
              <a:rPr lang="en-US"/>
              <a:t> Light </a:t>
            </a:r>
            <a:r>
              <a:rPr lang="en-US" err="1"/>
              <a:t>18pt</a:t>
            </a:r>
            <a:endParaRPr lang="en-US"/>
          </a:p>
          <a:p>
            <a:pPr lvl="3"/>
            <a:r>
              <a:rPr lang="en-US"/>
              <a:t>Fourth level text style </a:t>
            </a:r>
            <a:r>
              <a:rPr lang="en-US" err="1"/>
              <a:t>EYInterstate</a:t>
            </a:r>
            <a:r>
              <a:rPr lang="en-US"/>
              <a:t> Light </a:t>
            </a:r>
            <a:r>
              <a:rPr lang="en-US" err="1"/>
              <a:t>16pt</a:t>
            </a:r>
            <a:endParaRPr lang="en-US"/>
          </a:p>
          <a:p>
            <a:pPr lvl="4"/>
            <a:r>
              <a:rPr lang="en-US"/>
              <a:t>Fifth level text style </a:t>
            </a:r>
            <a:r>
              <a:rPr lang="en-US" err="1"/>
              <a:t>EYInterstate</a:t>
            </a:r>
            <a:r>
              <a:rPr lang="en-US"/>
              <a:t> Light </a:t>
            </a:r>
            <a:r>
              <a:rPr lang="en-US" err="1"/>
              <a:t>16pt</a:t>
            </a:r>
            <a:endParaRPr lang="en-US"/>
          </a:p>
          <a:p>
            <a:pPr lvl="5"/>
            <a:r>
              <a:rPr lang="en-US"/>
              <a:t>Sixth level text style </a:t>
            </a:r>
            <a:r>
              <a:rPr lang="en-US" err="1"/>
              <a:t>EYInterstate</a:t>
            </a:r>
            <a:r>
              <a:rPr lang="en-US"/>
              <a:t> Light </a:t>
            </a:r>
            <a:r>
              <a:rPr lang="en-US" err="1"/>
              <a:t>14pt</a:t>
            </a:r>
            <a:endParaRPr lang="en-US"/>
          </a:p>
          <a:p>
            <a:pPr lvl="6"/>
            <a:r>
              <a:rPr lang="en-US"/>
              <a:t>Seventh level text style </a:t>
            </a:r>
            <a:r>
              <a:rPr lang="en-US" err="1"/>
              <a:t>EYInterstate</a:t>
            </a:r>
            <a:r>
              <a:rPr lang="en-US"/>
              <a:t> Light </a:t>
            </a:r>
            <a:r>
              <a:rPr lang="en-US" err="1"/>
              <a:t>14pt</a:t>
            </a:r>
            <a:endParaRPr lang="en-US"/>
          </a:p>
          <a:p>
            <a:pPr lvl="7"/>
            <a:r>
              <a:rPr lang="en-US"/>
              <a:t>Eighth level text style </a:t>
            </a:r>
            <a:r>
              <a:rPr lang="en-US" err="1"/>
              <a:t>EYInterstate</a:t>
            </a:r>
            <a:r>
              <a:rPr lang="en-US"/>
              <a:t> Light </a:t>
            </a:r>
            <a:r>
              <a:rPr lang="en-US" err="1"/>
              <a:t>12pt</a:t>
            </a:r>
            <a:endParaRPr lang="en-US"/>
          </a:p>
          <a:p>
            <a:pPr lvl="8"/>
            <a:r>
              <a:rPr lang="en-US"/>
              <a:t>Nineth level text style </a:t>
            </a:r>
            <a:r>
              <a:rPr lang="en-US" err="1"/>
              <a:t>EYInterstate</a:t>
            </a:r>
            <a:r>
              <a:rPr lang="en-US"/>
              <a:t> Light </a:t>
            </a:r>
            <a:r>
              <a:rPr lang="en-US" err="1"/>
              <a:t>12pt</a:t>
            </a:r>
            <a:endParaRPr lang="en-US"/>
          </a:p>
        </p:txBody>
      </p:sp>
      <p:grpSp>
        <p:nvGrpSpPr>
          <p:cNvPr id="6" name="Group 4">
            <a:extLst>
              <a:ext uri="{FF2B5EF4-FFF2-40B4-BE49-F238E27FC236}">
                <a16:creationId xmlns:a16="http://schemas.microsoft.com/office/drawing/2014/main" id="{84D8E7BF-2CB9-F661-3559-99D90AE0A4E5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11629954" y="6276978"/>
            <a:ext cx="346338" cy="355219"/>
            <a:chOff x="7110" y="4004"/>
            <a:chExt cx="191" cy="196"/>
          </a:xfrm>
        </p:grpSpPr>
        <p:sp>
          <p:nvSpPr>
            <p:cNvPr id="7" name="Freeform 5">
              <a:extLst>
                <a:ext uri="{FF2B5EF4-FFF2-40B4-BE49-F238E27FC236}">
                  <a16:creationId xmlns:a16="http://schemas.microsoft.com/office/drawing/2014/main" id="{B6AA6DF4-2FEA-00BD-9BF9-6CDE40EF389F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  <p:sp>
          <p:nvSpPr>
            <p:cNvPr id="8" name="Freeform 6">
              <a:extLst>
                <a:ext uri="{FF2B5EF4-FFF2-40B4-BE49-F238E27FC236}">
                  <a16:creationId xmlns:a16="http://schemas.microsoft.com/office/drawing/2014/main" id="{9F5D8B0B-D61C-3D77-A3C6-C71B65E66459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  <p:sp>
          <p:nvSpPr>
            <p:cNvPr id="13" name="Freeform 7">
              <a:extLst>
                <a:ext uri="{FF2B5EF4-FFF2-40B4-BE49-F238E27FC236}">
                  <a16:creationId xmlns:a16="http://schemas.microsoft.com/office/drawing/2014/main" id="{66939EE2-541D-2E43-8858-BD44D3A0144C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</p:grpSp>
      <p:sp>
        <p:nvSpPr>
          <p:cNvPr id="12" name="Slide Number Placeholder">
            <a:extLst>
              <a:ext uri="{FF2B5EF4-FFF2-40B4-BE49-F238E27FC236}">
                <a16:creationId xmlns:a16="http://schemas.microsoft.com/office/drawing/2014/main" id="{ED74E7B3-73BA-6CBF-F361-5C4836CC1A2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86000" y="6437116"/>
            <a:ext cx="509363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algn="l" defTabSz="914400" rtl="0" eaLnBrk="1" latinLnBrk="0" hangingPunct="1">
              <a:defRPr lang="en-IN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F1BC30E3-FFE5-4B91-AA19-87A149EBB9EE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4" name="Date Placeholder">
            <a:extLst>
              <a:ext uri="{FF2B5EF4-FFF2-40B4-BE49-F238E27FC236}">
                <a16:creationId xmlns:a16="http://schemas.microsoft.com/office/drawing/2014/main" id="{F72B6F9D-B29D-E927-36D7-47D67210920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95363" y="6437116"/>
            <a:ext cx="1276350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algn="l" defTabSz="914400" rtl="0" eaLnBrk="1" latinLnBrk="0" hangingPunct="1">
              <a:defRPr lang="en-IN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51B22532-B74A-42F2-AC78-F979D73BFCAB}" type="datetime1">
              <a:rPr lang="en-US" smtClean="0"/>
              <a:t>3/14/25</a:t>
            </a:fld>
            <a:endParaRPr lang="en-US"/>
          </a:p>
        </p:txBody>
      </p:sp>
      <p:sp>
        <p:nvSpPr>
          <p:cNvPr id="15" name="Footer Placeholder">
            <a:extLst>
              <a:ext uri="{FF2B5EF4-FFF2-40B4-BE49-F238E27FC236}">
                <a16:creationId xmlns:a16="http://schemas.microsoft.com/office/drawing/2014/main" id="{F3C10C79-9BC5-0699-5C8C-F8347F46437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271714" y="6437116"/>
            <a:ext cx="3827462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algn="l" defTabSz="914400" rtl="0" eaLnBrk="1" latinLnBrk="0" hangingPunct="1">
              <a:defRPr lang="en-IN" sz="8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Insert footer text here</a:t>
            </a:r>
          </a:p>
        </p:txBody>
      </p:sp>
    </p:spTree>
    <p:extLst>
      <p:ext uri="{BB962C8B-B14F-4D97-AF65-F5344CB8AC3E}">
        <p14:creationId xmlns:p14="http://schemas.microsoft.com/office/powerpoint/2010/main" val="23791982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06" r:id="rId1"/>
    <p:sldLayoutId id="2147484207" r:id="rId2"/>
    <p:sldLayoutId id="2147484208" r:id="rId3"/>
    <p:sldLayoutId id="2147484209" r:id="rId4"/>
    <p:sldLayoutId id="2147484210" r:id="rId5"/>
    <p:sldLayoutId id="2147484211" r:id="rId6"/>
    <p:sldLayoutId id="2147484212" r:id="rId7"/>
    <p:sldLayoutId id="2147484213" r:id="rId8"/>
    <p:sldLayoutId id="2147484214" r:id="rId9"/>
    <p:sldLayoutId id="2147484215" r:id="rId10"/>
    <p:sldLayoutId id="2147484216" r:id="rId11"/>
    <p:sldLayoutId id="2147484217" r:id="rId12"/>
    <p:sldLayoutId id="2147484218" r:id="rId13"/>
    <p:sldLayoutId id="2147484219" r:id="rId14"/>
    <p:sldLayoutId id="2147484220" r:id="rId15"/>
    <p:sldLayoutId id="2147484221" r:id="rId16"/>
    <p:sldLayoutId id="2147484222" r:id="rId17"/>
    <p:sldLayoutId id="2147484223" r:id="rId18"/>
    <p:sldLayoutId id="2147484224" r:id="rId19"/>
    <p:sldLayoutId id="2147484225" r:id="rId20"/>
    <p:sldLayoutId id="2147484226" r:id="rId21"/>
    <p:sldLayoutId id="2147484227" r:id="rId22"/>
    <p:sldLayoutId id="2147484228" r:id="rId23"/>
    <p:sldLayoutId id="2147484229" r:id="rId24"/>
    <p:sldLayoutId id="2147484230" r:id="rId25"/>
    <p:sldLayoutId id="2147484235" r:id="rId26"/>
    <p:sldLayoutId id="2147484237" r:id="rId27"/>
  </p:sldLayoutIdLst>
  <p:hf hdr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3600" b="1" i="0" kern="1200">
          <a:solidFill>
            <a:schemeClr val="tx2"/>
          </a:solidFill>
          <a:latin typeface="+mj-lt"/>
          <a:ea typeface="+mj-ea"/>
          <a:cs typeface="Arial" pitchFamily="34" charset="0"/>
        </a:defRPr>
      </a:lvl1pPr>
    </p:titleStyle>
    <p:bodyStyle>
      <a:lvl1pPr marL="252000" indent="-252000" algn="l" defTabSz="914400" rtl="0" eaLnBrk="1" latinLnBrk="0" hangingPunct="1">
        <a:spcBef>
          <a:spcPts val="400"/>
        </a:spcBef>
        <a:spcAft>
          <a:spcPts val="400"/>
        </a:spcAft>
        <a:buClr>
          <a:schemeClr val="tx2"/>
        </a:buClr>
        <a:buSzPct val="100000"/>
        <a:buFont typeface="Wingdings" pitchFamily="2" charset="2"/>
        <a:buChar char="§"/>
        <a:defRPr sz="2000" kern="1200">
          <a:solidFill>
            <a:schemeClr val="bg1"/>
          </a:solidFill>
          <a:latin typeface="+mn-lt"/>
          <a:ea typeface="+mn-ea"/>
          <a:cs typeface="+mn-cs"/>
        </a:defRPr>
      </a:lvl1pPr>
      <a:lvl2pPr marL="504000" indent="-252000" algn="l" defTabSz="914400" rtl="0" eaLnBrk="1" latinLnBrk="0" hangingPunct="1">
        <a:spcBef>
          <a:spcPts val="400"/>
        </a:spcBef>
        <a:spcAft>
          <a:spcPts val="400"/>
        </a:spcAft>
        <a:buClr>
          <a:schemeClr val="tx2"/>
        </a:buClr>
        <a:buSzPct val="100000"/>
        <a:buFont typeface="Wingdings" pitchFamily="2" charset="2"/>
        <a:buChar char="§"/>
        <a:defRPr sz="2000" kern="1200">
          <a:solidFill>
            <a:schemeClr val="bg1"/>
          </a:solidFill>
          <a:latin typeface="+mn-lt"/>
          <a:ea typeface="+mn-ea"/>
          <a:cs typeface="+mn-cs"/>
        </a:defRPr>
      </a:lvl2pPr>
      <a:lvl3pPr marL="756000" indent="-252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SzPct val="100000"/>
        <a:buFont typeface="Wingdings" pitchFamily="2" charset="2"/>
        <a:buChar char="§"/>
        <a:defRPr sz="1800" kern="1200">
          <a:solidFill>
            <a:schemeClr val="bg1"/>
          </a:solidFill>
          <a:latin typeface="+mn-lt"/>
          <a:ea typeface="+mn-ea"/>
          <a:cs typeface="+mn-cs"/>
        </a:defRPr>
      </a:lvl3pPr>
      <a:lvl4pPr marL="1008000" indent="-252000" algn="l" defTabSz="914400" rtl="0" eaLnBrk="1" latinLnBrk="0" hangingPunct="1">
        <a:spcBef>
          <a:spcPts val="0"/>
        </a:spcBef>
        <a:spcAft>
          <a:spcPts val="400"/>
        </a:spcAft>
        <a:buClr>
          <a:schemeClr val="tx2"/>
        </a:buClr>
        <a:buSzPct val="100000"/>
        <a:buFont typeface="Wingdings" pitchFamily="2" charset="2"/>
        <a:buChar char="§"/>
        <a:defRPr sz="1600" kern="1200">
          <a:solidFill>
            <a:schemeClr val="bg1"/>
          </a:solidFill>
          <a:latin typeface="+mn-lt"/>
          <a:ea typeface="+mn-ea"/>
          <a:cs typeface="+mn-cs"/>
        </a:defRPr>
      </a:lvl4pPr>
      <a:lvl5pPr marL="1260000" indent="-252000" algn="l" defTabSz="914400" rtl="0" eaLnBrk="1" latinLnBrk="0" hangingPunct="1">
        <a:spcBef>
          <a:spcPts val="0"/>
        </a:spcBef>
        <a:spcAft>
          <a:spcPts val="400"/>
        </a:spcAft>
        <a:buClr>
          <a:schemeClr val="tx2"/>
        </a:buClr>
        <a:buSzPct val="100000"/>
        <a:buFont typeface="Wingdings" pitchFamily="2" charset="2"/>
        <a:buChar char="§"/>
        <a:defRPr sz="1600" kern="1200">
          <a:solidFill>
            <a:schemeClr val="bg1"/>
          </a:solidFill>
          <a:latin typeface="+mn-lt"/>
          <a:ea typeface="+mn-ea"/>
          <a:cs typeface="+mn-cs"/>
        </a:defRPr>
      </a:lvl5pPr>
      <a:lvl6pPr marL="1512000" indent="-252000" algn="l" defTabSz="914400" rtl="0" eaLnBrk="1" latinLnBrk="0" hangingPunct="1">
        <a:spcBef>
          <a:spcPts val="0"/>
        </a:spcBef>
        <a:spcAft>
          <a:spcPts val="400"/>
        </a:spcAft>
        <a:buClr>
          <a:schemeClr val="tx2"/>
        </a:buClr>
        <a:buFont typeface="Wingdings" pitchFamily="2" charset="2"/>
        <a:buChar char="§"/>
        <a:tabLst/>
        <a:defRPr sz="1400" kern="1200">
          <a:solidFill>
            <a:schemeClr val="bg1"/>
          </a:solidFill>
          <a:latin typeface="+mn-lt"/>
          <a:ea typeface="+mn-ea"/>
          <a:cs typeface="+mn-cs"/>
        </a:defRPr>
      </a:lvl6pPr>
      <a:lvl7pPr marL="1764000" indent="-252000" algn="l" defTabSz="914400" rtl="0" eaLnBrk="1" latinLnBrk="0" hangingPunct="1">
        <a:spcBef>
          <a:spcPts val="0"/>
        </a:spcBef>
        <a:spcAft>
          <a:spcPts val="400"/>
        </a:spcAft>
        <a:buClr>
          <a:schemeClr val="tx2"/>
        </a:buClr>
        <a:buFont typeface="Wingdings" pitchFamily="2" charset="2"/>
        <a:buChar char="§"/>
        <a:tabLst/>
        <a:defRPr sz="1400" kern="1200">
          <a:solidFill>
            <a:schemeClr val="bg1"/>
          </a:solidFill>
          <a:latin typeface="+mn-lt"/>
          <a:ea typeface="+mn-ea"/>
          <a:cs typeface="+mn-cs"/>
        </a:defRPr>
      </a:lvl7pPr>
      <a:lvl8pPr marL="2016000" indent="-252000" algn="l" defTabSz="914400" rtl="0" eaLnBrk="1" latinLnBrk="0" hangingPunct="1">
        <a:spcBef>
          <a:spcPts val="0"/>
        </a:spcBef>
        <a:spcAft>
          <a:spcPts val="400"/>
        </a:spcAft>
        <a:buClr>
          <a:schemeClr val="tx2"/>
        </a:buClr>
        <a:buFont typeface="Wingdings" pitchFamily="2" charset="2"/>
        <a:buChar char="§"/>
        <a:tabLst/>
        <a:defRPr sz="1200" kern="1200">
          <a:solidFill>
            <a:schemeClr val="bg1"/>
          </a:solidFill>
          <a:latin typeface="+mn-lt"/>
          <a:ea typeface="+mn-ea"/>
          <a:cs typeface="+mn-cs"/>
        </a:defRPr>
      </a:lvl8pPr>
      <a:lvl9pPr marL="2268000" indent="-252000" algn="l" defTabSz="914400" rtl="0" eaLnBrk="1" latinLnBrk="0" hangingPunct="1">
        <a:spcBef>
          <a:spcPts val="0"/>
        </a:spcBef>
        <a:spcAft>
          <a:spcPts val="400"/>
        </a:spcAft>
        <a:buClr>
          <a:schemeClr val="tx2"/>
        </a:buClr>
        <a:buFont typeface="Wingdings" pitchFamily="2" charset="2"/>
        <a:buChar char="§"/>
        <a:tabLst/>
        <a:defRPr sz="1200" kern="1200">
          <a:solidFill>
            <a:schemeClr val="bg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9" pos="7378">
          <p15:clr>
            <a:srgbClr val="F26B43"/>
          </p15:clr>
        </p15:guide>
        <p15:guide id="35" pos="302">
          <p15:clr>
            <a:srgbClr val="F26B43"/>
          </p15:clr>
        </p15:guide>
        <p15:guide id="36" orient="horz" pos="210">
          <p15:clr>
            <a:srgbClr val="F26B43"/>
          </p15:clr>
        </p15:guide>
        <p15:guide id="37" orient="horz" pos="527">
          <p15:clr>
            <a:srgbClr val="F26B43"/>
          </p15:clr>
        </p15:guide>
        <p15:guide id="38" orient="horz" pos="890">
          <p15:clr>
            <a:srgbClr val="F26B43"/>
          </p15:clr>
        </p15:guide>
        <p15:guide id="39" orient="horz" pos="3838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0643F1B6-0743-4D14-8B95-B030120DE5D1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2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800">
                <a:noFill/>
                <a:latin typeface="+mj-lt"/>
              </a:defRPr>
            </a:lvl1pPr>
          </a:lstStyle>
          <a:p>
            <a:fld id="{45527A44-AA1D-4BA1-AA93-32475F9E9A8F}" type="datetime4">
              <a:rPr lang="en-GB" smtClean="0"/>
              <a:pPr/>
              <a:t>14 March 2025</a:t>
            </a:fld>
            <a:endParaRPr lang="en-GB" dirty="0"/>
          </a:p>
        </p:txBody>
      </p:sp>
      <p:grpSp>
        <p:nvGrpSpPr>
          <p:cNvPr id="13" name="Group color guide">
            <a:extLst>
              <a:ext uri="{FF2B5EF4-FFF2-40B4-BE49-F238E27FC236}">
                <a16:creationId xmlns:a16="http://schemas.microsoft.com/office/drawing/2014/main" id="{731BBF53-B98A-4BF0-202B-77F42F206DEC}"/>
              </a:ext>
            </a:extLst>
          </p:cNvPr>
          <p:cNvGrpSpPr>
            <a:grpSpLocks noGrp="1" noUngrp="1" noRot="1" noMove="1" noResize="1"/>
          </p:cNvGrpSpPr>
          <p:nvPr userDrawn="1"/>
        </p:nvGrpSpPr>
        <p:grpSpPr>
          <a:xfrm>
            <a:off x="-1721369" y="335705"/>
            <a:ext cx="1548806" cy="3843958"/>
            <a:chOff x="-1720473" y="335705"/>
            <a:chExt cx="1548000" cy="3843958"/>
          </a:xfrm>
        </p:grpSpPr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29F33B2F-8C60-6F50-5628-EE3BE59554FE}"/>
                </a:ext>
              </a:extLst>
            </p:cNvPr>
            <p:cNvPicPr>
              <a:picLocks noGrp="1" noRot="1" noChangeAspect="1" noMove="1" noResize="1" noEditPoints="1" noAdjustHandles="1" noChangeArrowheads="1" noChangeShapeType="1" noCrop="1"/>
            </p:cNvPicPr>
            <p:nvPr userDrawn="1"/>
          </p:nvPicPr>
          <p:blipFill rotWithShape="1">
            <a:blip r:embed="rId58"/>
            <a:srcRect b="32799"/>
            <a:stretch/>
          </p:blipFill>
          <p:spPr>
            <a:xfrm>
              <a:off x="-1720471" y="1670685"/>
              <a:ext cx="1150767" cy="1702213"/>
            </a:xfrm>
            <a:prstGeom prst="rect">
              <a:avLst/>
            </a:prstGeom>
          </p:spPr>
        </p:pic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634E5841-DB1A-4D8E-9D72-BE5668A376D6}"/>
                </a:ext>
              </a:extLst>
            </p:cNvPr>
            <p:cNvSpPr txBox="1">
              <a:spLocks noGrp="1" noRot="1" noMove="1" noResize="1" noEditPoints="1" noAdjustHandles="1" noChangeArrowheads="1" noChangeShapeType="1"/>
            </p:cNvSpPr>
            <p:nvPr userDrawn="1"/>
          </p:nvSpPr>
          <p:spPr>
            <a:xfrm>
              <a:off x="-1711467" y="335705"/>
              <a:ext cx="1476000" cy="92333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GB" sz="1000" dirty="0"/>
                <a:t>Change the background and/or logo color by clicking </a:t>
              </a:r>
              <a:r>
                <a:rPr lang="en-GB" sz="1000" noProof="1"/>
                <a:t>on</a:t>
              </a:r>
              <a:r>
                <a:rPr lang="en-GB" sz="1000" dirty="0"/>
                <a:t> the background/logo and choose a color from the Custom Colors:</a:t>
              </a:r>
            </a:p>
          </p:txBody>
        </p:sp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3C496350-E013-40C9-AE39-E4107519FD91}"/>
                </a:ext>
              </a:extLst>
            </p:cNvPr>
            <p:cNvPicPr>
              <a:picLocks noGrp="1" noRot="1" noChangeAspect="1" noMove="1" noResize="1" noEditPoints="1" noAdjustHandles="1" noChangeArrowheads="1" noChangeShapeType="1" noCrop="1"/>
            </p:cNvPicPr>
            <p:nvPr userDrawn="1"/>
          </p:nvPicPr>
          <p:blipFill>
            <a:blip r:embed="rId59"/>
            <a:stretch>
              <a:fillRect/>
            </a:stretch>
          </p:blipFill>
          <p:spPr>
            <a:xfrm>
              <a:off x="-1719132" y="1358941"/>
              <a:ext cx="698169" cy="219133"/>
            </a:xfrm>
            <a:prstGeom prst="rect">
              <a:avLst/>
            </a:prstGeom>
          </p:spPr>
        </p:pic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E25235AA-8C87-C128-3EF6-3EF6E0F65913}"/>
                </a:ext>
              </a:extLst>
            </p:cNvPr>
            <p:cNvSpPr txBox="1">
              <a:spLocks noGrp="1" noRot="1" noMove="1" noResize="1" noEditPoints="1" noAdjustHandles="1" noChangeArrowheads="1" noChangeShapeType="1"/>
            </p:cNvSpPr>
            <p:nvPr userDrawn="1"/>
          </p:nvSpPr>
          <p:spPr>
            <a:xfrm>
              <a:off x="-1720473" y="3502555"/>
              <a:ext cx="1548000" cy="67710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/>
              <a:r>
                <a:rPr lang="en-GB" sz="1000" kern="1200" dirty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For inspirational color combinations please visit: www.muuto.com/colorlist</a:t>
              </a:r>
            </a:p>
            <a:p>
              <a:pPr algn="l"/>
              <a:endParaRPr lang="en-GB" sz="1400" dirty="0"/>
            </a:p>
          </p:txBody>
        </p:sp>
      </p:grpSp>
      <p:sp>
        <p:nvSpPr>
          <p:cNvPr id="7" name="Title Placeholder 6">
            <a:extLst>
              <a:ext uri="{FF2B5EF4-FFF2-40B4-BE49-F238E27FC236}">
                <a16:creationId xmlns:a16="http://schemas.microsoft.com/office/drawing/2014/main" id="{C9392247-CE23-49BB-A39E-64C7575BE478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360187" y="360000"/>
            <a:ext cx="11475574" cy="108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 dirty="0"/>
              <a:t>Click to add title</a:t>
            </a: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idx="1"/>
          </p:nvPr>
        </p:nvSpPr>
        <p:spPr>
          <a:xfrm>
            <a:off x="360187" y="1764000"/>
            <a:ext cx="11475574" cy="406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/>
              <a:t>Level 1                                                                                                                                                                                                                 Press ENTER then TAB to view next text style                                                                                                                                                                           Press SHIFT+TAB to view previous text style</a:t>
            </a:r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, Body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</a:t>
            </a:r>
          </a:p>
          <a:p>
            <a:pPr lvl="7"/>
            <a:r>
              <a:rPr lang="en-GB" noProof="0" dirty="0"/>
              <a:t>Level 8</a:t>
            </a:r>
          </a:p>
          <a:p>
            <a:pPr lvl="8"/>
            <a:r>
              <a:rPr lang="en-GB" noProof="0" dirty="0"/>
              <a:t>Level 9, Infographic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69460BDC-2796-43E8-A075-B3BFBC3B28E3}"/>
              </a:ext>
            </a:extLst>
          </p:cNvPr>
          <p:cNvSpPr>
            <a:spLocks noGrp="1"/>
          </p:cNvSpPr>
          <p:nvPr userDrawn="1">
            <p:ph type="ftr" sz="quarter" idx="3"/>
          </p:nvPr>
        </p:nvSpPr>
        <p:spPr>
          <a:xfrm>
            <a:off x="1345314" y="6315616"/>
            <a:ext cx="197428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8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Muuto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942516E-ED5A-4F68-B285-E8D0CC42F948}"/>
              </a:ext>
            </a:extLst>
          </p:cNvPr>
          <p:cNvSpPr>
            <a:spLocks noGrp="1"/>
          </p:cNvSpPr>
          <p:nvPr userDrawn="1">
            <p:ph type="sldNum" sz="quarter" idx="4"/>
          </p:nvPr>
        </p:nvSpPr>
        <p:spPr>
          <a:xfrm>
            <a:off x="360187" y="6315616"/>
            <a:ext cx="626164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800">
                <a:solidFill>
                  <a:schemeClr val="tx1"/>
                </a:solidFill>
                <a:latin typeface="+mj-lt"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722097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41" r:id="rId1"/>
    <p:sldLayoutId id="2147484242" r:id="rId2"/>
    <p:sldLayoutId id="2147484243" r:id="rId3"/>
    <p:sldLayoutId id="2147484244" r:id="rId4"/>
    <p:sldLayoutId id="2147484245" r:id="rId5"/>
    <p:sldLayoutId id="2147484246" r:id="rId6"/>
    <p:sldLayoutId id="2147484247" r:id="rId7"/>
    <p:sldLayoutId id="2147484248" r:id="rId8"/>
    <p:sldLayoutId id="2147484249" r:id="rId9"/>
    <p:sldLayoutId id="2147484250" r:id="rId10"/>
    <p:sldLayoutId id="2147484251" r:id="rId11"/>
    <p:sldLayoutId id="2147484252" r:id="rId12"/>
    <p:sldLayoutId id="2147484253" r:id="rId13"/>
    <p:sldLayoutId id="2147484254" r:id="rId14"/>
    <p:sldLayoutId id="2147484255" r:id="rId15"/>
    <p:sldLayoutId id="2147484256" r:id="rId16"/>
    <p:sldLayoutId id="2147484257" r:id="rId17"/>
    <p:sldLayoutId id="2147484258" r:id="rId18"/>
    <p:sldLayoutId id="2147484259" r:id="rId19"/>
    <p:sldLayoutId id="2147484260" r:id="rId20"/>
    <p:sldLayoutId id="2147484261" r:id="rId21"/>
    <p:sldLayoutId id="2147484262" r:id="rId22"/>
    <p:sldLayoutId id="2147484263" r:id="rId23"/>
    <p:sldLayoutId id="2147484264" r:id="rId24"/>
    <p:sldLayoutId id="2147484265" r:id="rId25"/>
    <p:sldLayoutId id="2147484266" r:id="rId26"/>
    <p:sldLayoutId id="2147484267" r:id="rId27"/>
    <p:sldLayoutId id="2147484268" r:id="rId28"/>
    <p:sldLayoutId id="2147484269" r:id="rId29"/>
    <p:sldLayoutId id="2147484270" r:id="rId30"/>
    <p:sldLayoutId id="2147484271" r:id="rId31"/>
    <p:sldLayoutId id="2147484272" r:id="rId32"/>
    <p:sldLayoutId id="2147484273" r:id="rId33"/>
    <p:sldLayoutId id="2147484274" r:id="rId34"/>
    <p:sldLayoutId id="2147484275" r:id="rId35"/>
    <p:sldLayoutId id="2147484276" r:id="rId36"/>
    <p:sldLayoutId id="2147484277" r:id="rId37"/>
    <p:sldLayoutId id="2147484278" r:id="rId38"/>
    <p:sldLayoutId id="2147484279" r:id="rId39"/>
    <p:sldLayoutId id="2147484280" r:id="rId40"/>
    <p:sldLayoutId id="2147484281" r:id="rId41"/>
    <p:sldLayoutId id="2147484282" r:id="rId42"/>
    <p:sldLayoutId id="2147484283" r:id="rId43"/>
    <p:sldLayoutId id="2147484284" r:id="rId44"/>
    <p:sldLayoutId id="2147484285" r:id="rId45"/>
    <p:sldLayoutId id="2147484286" r:id="rId46"/>
    <p:sldLayoutId id="2147484287" r:id="rId47"/>
    <p:sldLayoutId id="2147484288" r:id="rId48"/>
    <p:sldLayoutId id="2147484289" r:id="rId49"/>
    <p:sldLayoutId id="2147484290" r:id="rId50"/>
    <p:sldLayoutId id="2147484291" r:id="rId51"/>
    <p:sldLayoutId id="2147484292" r:id="rId52"/>
    <p:sldLayoutId id="2147484293" r:id="rId53"/>
    <p:sldLayoutId id="2147484294" r:id="rId54"/>
    <p:sldLayoutId id="2147484295" r:id="rId55"/>
    <p:sldLayoutId id="2147484296" r:id="rId56"/>
  </p:sldLayoutIdLst>
  <p:hf hdr="0" ftr="0" dt="0"/>
  <p:txStyles>
    <p:titleStyle>
      <a:lvl1pPr algn="l" defTabSz="914400" rtl="0" eaLnBrk="1" latinLnBrk="0" hangingPunct="1">
        <a:lnSpc>
          <a:spcPct val="83000"/>
        </a:lnSpc>
        <a:spcBef>
          <a:spcPct val="0"/>
        </a:spcBef>
        <a:buNone/>
        <a:defRPr sz="2800" b="1" kern="1200" cap="none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70000" indent="-2700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Euclid Flex" panose="020B0500030000000000" pitchFamily="34" charset="0"/>
        <a:buChar char="—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540000" indent="-2700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Euclid Flex" panose="020B0500030000000000" pitchFamily="34" charset="0"/>
        <a:buChar char="—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810000" indent="-2700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Euclid Flex" panose="020B0500030000000000" pitchFamily="34" charset="0"/>
        <a:buChar char="—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9144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Char char="​"/>
        <a:defRPr sz="1600" b="1" kern="1200">
          <a:solidFill>
            <a:schemeClr val="tx1"/>
          </a:solidFill>
          <a:latin typeface="+mj-lt"/>
          <a:ea typeface="+mn-ea"/>
          <a:cs typeface="+mn-cs"/>
        </a:defRPr>
      </a:lvl4pPr>
      <a:lvl5pPr marL="0" indent="0" algn="l" defTabSz="9144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Char char="​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180000" indent="-18000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Font typeface="Euclid Flex" panose="020B0500030000000000" pitchFamily="34" charset="0"/>
        <a:buChar char="—"/>
        <a:defRPr sz="10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​"/>
        <a:defRPr sz="1000" b="1" kern="1200" baseline="0">
          <a:solidFill>
            <a:schemeClr val="tx1"/>
          </a:solidFill>
          <a:latin typeface="+mj-lt"/>
          <a:ea typeface="+mn-ea"/>
          <a:cs typeface="+mn-cs"/>
        </a:defRPr>
      </a:lvl7pPr>
      <a:lvl8pPr marL="0" indent="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​"/>
        <a:defRPr sz="1000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83000"/>
        </a:lnSpc>
        <a:spcBef>
          <a:spcPts val="1200"/>
        </a:spcBef>
        <a:spcAft>
          <a:spcPts val="0"/>
        </a:spcAft>
        <a:buFont typeface="Arial" panose="020B0604020202020204" pitchFamily="34" charset="0"/>
        <a:buChar char="​"/>
        <a:defRPr sz="6000" kern="1200" baseline="0">
          <a:solidFill>
            <a:schemeClr val="tx1"/>
          </a:solidFill>
          <a:latin typeface="+mj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621">
          <p15:clr>
            <a:srgbClr val="A4A3A4"/>
          </p15:clr>
        </p15:guide>
        <p15:guide id="2" pos="847">
          <p15:clr>
            <a:srgbClr val="A4A3A4"/>
          </p15:clr>
        </p15:guide>
        <p15:guide id="3" orient="horz" pos="226">
          <p15:clr>
            <a:srgbClr val="F26B43"/>
          </p15:clr>
        </p15:guide>
        <p15:guide id="4" orient="horz" pos="4093">
          <p15:clr>
            <a:srgbClr val="F26B43"/>
          </p15:clr>
        </p15:guide>
        <p15:guide id="5" pos="1242">
          <p15:clr>
            <a:srgbClr val="A4A3A4"/>
          </p15:clr>
        </p15:guide>
        <p15:guide id="6" pos="1468">
          <p15:clr>
            <a:srgbClr val="A4A3A4"/>
          </p15:clr>
        </p15:guide>
        <p15:guide id="7" pos="1863">
          <p15:clr>
            <a:srgbClr val="A4A3A4"/>
          </p15:clr>
        </p15:guide>
        <p15:guide id="8" pos="2090">
          <p15:clr>
            <a:srgbClr val="A4A3A4"/>
          </p15:clr>
        </p15:guide>
        <p15:guide id="9" pos="2484">
          <p15:clr>
            <a:srgbClr val="A4A3A4"/>
          </p15:clr>
        </p15:guide>
        <p15:guide id="10" pos="2711">
          <p15:clr>
            <a:srgbClr val="A4A3A4"/>
          </p15:clr>
        </p15:guide>
        <p15:guide id="11" pos="3105">
          <p15:clr>
            <a:srgbClr val="A4A3A4"/>
          </p15:clr>
        </p15:guide>
        <p15:guide id="12" pos="3332">
          <p15:clr>
            <a:srgbClr val="A4A3A4"/>
          </p15:clr>
        </p15:guide>
        <p15:guide id="13" pos="3726">
          <p15:clr>
            <a:srgbClr val="A4A3A4"/>
          </p15:clr>
        </p15:guide>
        <p15:guide id="14" pos="3953">
          <p15:clr>
            <a:srgbClr val="A4A3A4"/>
          </p15:clr>
        </p15:guide>
        <p15:guide id="15" pos="4347">
          <p15:clr>
            <a:srgbClr val="A4A3A4"/>
          </p15:clr>
        </p15:guide>
        <p15:guide id="16" pos="4574">
          <p15:clr>
            <a:srgbClr val="A4A3A4"/>
          </p15:clr>
        </p15:guide>
        <p15:guide id="17" pos="4968">
          <p15:clr>
            <a:srgbClr val="A4A3A4"/>
          </p15:clr>
        </p15:guide>
        <p15:guide id="18" pos="5195">
          <p15:clr>
            <a:srgbClr val="A4A3A4"/>
          </p15:clr>
        </p15:guide>
        <p15:guide id="19" pos="5589">
          <p15:clr>
            <a:srgbClr val="A4A3A4"/>
          </p15:clr>
        </p15:guide>
        <p15:guide id="20" pos="5816">
          <p15:clr>
            <a:srgbClr val="A4A3A4"/>
          </p15:clr>
        </p15:guide>
        <p15:guide id="21" pos="6211">
          <p15:clr>
            <a:srgbClr val="A4A3A4"/>
          </p15:clr>
        </p15:guide>
        <p15:guide id="22" pos="6437">
          <p15:clr>
            <a:srgbClr val="A4A3A4"/>
          </p15:clr>
        </p15:guide>
        <p15:guide id="23" pos="6832">
          <p15:clr>
            <a:srgbClr val="A4A3A4"/>
          </p15:clr>
        </p15:guide>
        <p15:guide id="24" pos="7058">
          <p15:clr>
            <a:srgbClr val="A4A3A4"/>
          </p15:clr>
        </p15:guide>
        <p15:guide id="25" pos="226">
          <p15:clr>
            <a:srgbClr val="F26B43"/>
          </p15:clr>
        </p15:guide>
        <p15:guide id="26" pos="745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>
          <a:extLst>
            <a:ext uri="{FF2B5EF4-FFF2-40B4-BE49-F238E27FC236}">
              <a16:creationId xmlns:a16="http://schemas.microsoft.com/office/drawing/2014/main" id="{EF9D4E20-6CF5-A340-3A78-E85A8DEDCE8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1B57DDA2-EB88-84B9-395E-7DB015EEE9FB}"/>
              </a:ext>
            </a:extLst>
          </p:cNvPr>
          <p:cNvSpPr txBox="1">
            <a:spLocks noChangeAspect="1"/>
          </p:cNvSpPr>
          <p:nvPr/>
        </p:nvSpPr>
        <p:spPr>
          <a:xfrm>
            <a:off x="362231" y="2203548"/>
            <a:ext cx="3097223" cy="412963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0" tIns="36576" rIns="0" bIns="0" rtlCol="0" anchor="t">
            <a:noAutofit/>
          </a:bodyPr>
          <a:lstStyle/>
          <a:p>
            <a:r>
              <a:rPr lang="en-GB" sz="1000" dirty="0">
                <a:solidFill>
                  <a:srgbClr val="FFFACD"/>
                </a:solidFill>
                <a:highlight>
                  <a:srgbClr val="000000"/>
                </a:highlight>
              </a:rPr>
              <a:t>{{Product Packshot1}}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29AFED56-B44C-0511-E62C-7BDED54D0001}"/>
              </a:ext>
            </a:extLst>
          </p:cNvPr>
          <p:cNvSpPr txBox="1">
            <a:spLocks noChangeAspect="1"/>
          </p:cNvSpPr>
          <p:nvPr/>
        </p:nvSpPr>
        <p:spPr>
          <a:xfrm>
            <a:off x="3871486" y="971234"/>
            <a:ext cx="1902857" cy="2537143"/>
          </a:xfrm>
          <a:prstGeom prst="rect">
            <a:avLst/>
          </a:prstGeom>
          <a:noFill/>
          <a:ln>
            <a:noFill/>
          </a:ln>
        </p:spPr>
        <p:txBody>
          <a:bodyPr wrap="square" lIns="0" tIns="36576" rIns="0" bIns="0" rtlCol="0" anchor="t">
            <a:noAutofit/>
          </a:bodyPr>
          <a:lstStyle/>
          <a:p>
            <a:r>
              <a:rPr lang="en-GB" sz="1000" dirty="0">
                <a:solidFill>
                  <a:srgbClr val="FFFACD"/>
                </a:solidFill>
              </a:rPr>
              <a:t>{{Product Lifestyle1}}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80381DF-9A36-3656-BD07-88074392F51B}"/>
              </a:ext>
            </a:extLst>
          </p:cNvPr>
          <p:cNvSpPr txBox="1">
            <a:spLocks noChangeAspect="1"/>
          </p:cNvSpPr>
          <p:nvPr/>
        </p:nvSpPr>
        <p:spPr>
          <a:xfrm>
            <a:off x="3871486" y="3796036"/>
            <a:ext cx="1902857" cy="2537143"/>
          </a:xfrm>
          <a:prstGeom prst="rect">
            <a:avLst/>
          </a:prstGeom>
          <a:noFill/>
          <a:ln>
            <a:noFill/>
          </a:ln>
        </p:spPr>
        <p:txBody>
          <a:bodyPr wrap="square" lIns="0" tIns="36576" rIns="0" bIns="0" rtlCol="0" anchor="t">
            <a:noAutofit/>
          </a:bodyPr>
          <a:lstStyle/>
          <a:p>
            <a:r>
              <a:rPr lang="en-GB" sz="1000" dirty="0">
                <a:solidFill>
                  <a:srgbClr val="FFFACD"/>
                </a:solidFill>
              </a:rPr>
              <a:t>{{</a:t>
            </a:r>
            <a:r>
              <a:rPr lang="en-GB" sz="1000">
                <a:solidFill>
                  <a:srgbClr val="FFFACD"/>
                </a:solidFill>
              </a:rPr>
              <a:t>Product Lifestyle3</a:t>
            </a:r>
            <a:r>
              <a:rPr lang="en-GB" sz="1000" dirty="0">
                <a:solidFill>
                  <a:srgbClr val="FFFACD"/>
                </a:solidFill>
              </a:rPr>
              <a:t>}}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14A7F995-3F0D-6B2E-3E0B-31948F3F5CD3}"/>
              </a:ext>
            </a:extLst>
          </p:cNvPr>
          <p:cNvSpPr txBox="1">
            <a:spLocks noChangeAspect="1"/>
          </p:cNvSpPr>
          <p:nvPr/>
        </p:nvSpPr>
        <p:spPr>
          <a:xfrm>
            <a:off x="5876749" y="971234"/>
            <a:ext cx="1902857" cy="2537143"/>
          </a:xfrm>
          <a:prstGeom prst="rect">
            <a:avLst/>
          </a:prstGeom>
          <a:noFill/>
          <a:ln>
            <a:noFill/>
          </a:ln>
        </p:spPr>
        <p:txBody>
          <a:bodyPr wrap="square" lIns="0" tIns="36576" rIns="0" bIns="0" rtlCol="0" anchor="t">
            <a:noAutofit/>
          </a:bodyPr>
          <a:lstStyle/>
          <a:p>
            <a:r>
              <a:rPr lang="en-GB" sz="1000" dirty="0">
                <a:solidFill>
                  <a:srgbClr val="FFFACD"/>
                </a:solidFill>
              </a:rPr>
              <a:t>{{Product Lifestyle2}}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D12F270-EC64-7878-E0AA-E1C3F789A997}"/>
              </a:ext>
            </a:extLst>
          </p:cNvPr>
          <p:cNvSpPr txBox="1">
            <a:spLocks noChangeAspect="1"/>
          </p:cNvSpPr>
          <p:nvPr/>
        </p:nvSpPr>
        <p:spPr>
          <a:xfrm>
            <a:off x="5876749" y="3796036"/>
            <a:ext cx="1902857" cy="2537143"/>
          </a:xfrm>
          <a:prstGeom prst="rect">
            <a:avLst/>
          </a:prstGeom>
          <a:noFill/>
          <a:ln>
            <a:noFill/>
          </a:ln>
        </p:spPr>
        <p:txBody>
          <a:bodyPr wrap="square" lIns="0" tIns="36576" rIns="0" bIns="0" rtlCol="0" anchor="t">
            <a:noAutofit/>
          </a:bodyPr>
          <a:lstStyle/>
          <a:p>
            <a:r>
              <a:rPr lang="en-GB" sz="1000" dirty="0">
                <a:solidFill>
                  <a:srgbClr val="FFFACD"/>
                </a:solidFill>
              </a:rPr>
              <a:t>{{Product Lifestyle4}}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2BC1772-6780-E07F-BE59-102E94B1A7A0}"/>
              </a:ext>
            </a:extLst>
          </p:cNvPr>
          <p:cNvSpPr txBox="1">
            <a:spLocks/>
          </p:cNvSpPr>
          <p:nvPr/>
        </p:nvSpPr>
        <p:spPr>
          <a:xfrm>
            <a:off x="8056870" y="533013"/>
            <a:ext cx="601213" cy="279922"/>
          </a:xfrm>
          <a:prstGeom prst="rect">
            <a:avLst/>
          </a:prstGeom>
          <a:noFill/>
          <a:ln>
            <a:noFill/>
          </a:ln>
        </p:spPr>
        <p:txBody>
          <a:bodyPr wrap="square" lIns="0" tIns="36576" rIns="0" bIns="0" rtlCol="0" anchor="t">
            <a:noAutofit/>
          </a:bodyPr>
          <a:lstStyle/>
          <a:p>
            <a:r>
              <a:rPr lang="en-GB" sz="1000" dirty="0">
                <a:solidFill>
                  <a:srgbClr val="FFFACD"/>
                </a:solidFill>
              </a:rPr>
              <a:t>{{Product height}}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C8A8D9DF-7908-D5A3-7B50-DA048C8C6A8B}"/>
              </a:ext>
            </a:extLst>
          </p:cNvPr>
          <p:cNvSpPr txBox="1">
            <a:spLocks/>
          </p:cNvSpPr>
          <p:nvPr/>
        </p:nvSpPr>
        <p:spPr>
          <a:xfrm>
            <a:off x="291833" y="495656"/>
            <a:ext cx="1836000" cy="352772"/>
          </a:xfrm>
          <a:prstGeom prst="rect">
            <a:avLst/>
          </a:prstGeom>
          <a:noFill/>
          <a:ln>
            <a:noFill/>
          </a:ln>
        </p:spPr>
        <p:txBody>
          <a:bodyPr wrap="square" lIns="0" tIns="36576" rIns="0" bIns="0" rtlCol="0" anchor="t">
            <a:noAutofit/>
          </a:bodyPr>
          <a:lstStyle/>
          <a:p>
            <a:r>
              <a:rPr lang="en-GB" dirty="0">
                <a:solidFill>
                  <a:srgbClr val="FFFACD"/>
                </a:solidFill>
              </a:rPr>
              <a:t>{{Product name}}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25B9C78-8D60-31D8-C65C-77B0CBA2FDA7}"/>
              </a:ext>
            </a:extLst>
          </p:cNvPr>
          <p:cNvSpPr txBox="1">
            <a:spLocks/>
          </p:cNvSpPr>
          <p:nvPr/>
        </p:nvSpPr>
        <p:spPr>
          <a:xfrm>
            <a:off x="3871486" y="539183"/>
            <a:ext cx="1836000" cy="352772"/>
          </a:xfrm>
          <a:prstGeom prst="rect">
            <a:avLst/>
          </a:prstGeom>
          <a:noFill/>
          <a:ln>
            <a:noFill/>
          </a:ln>
        </p:spPr>
        <p:txBody>
          <a:bodyPr wrap="square" lIns="0" tIns="36576" rIns="0" bIns="0" rtlCol="0" anchor="t">
            <a:noAutofit/>
          </a:bodyPr>
          <a:lstStyle/>
          <a:p>
            <a:r>
              <a:rPr lang="en-GB" sz="1000" dirty="0">
                <a:solidFill>
                  <a:srgbClr val="FFFACD"/>
                </a:solidFill>
              </a:rPr>
              <a:t>{{Product code}}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C69C9A3-8569-762E-A63A-F5B70A3A8227}"/>
              </a:ext>
            </a:extLst>
          </p:cNvPr>
          <p:cNvSpPr txBox="1">
            <a:spLocks/>
          </p:cNvSpPr>
          <p:nvPr/>
        </p:nvSpPr>
        <p:spPr>
          <a:xfrm>
            <a:off x="8056869" y="3015498"/>
            <a:ext cx="3721422" cy="708232"/>
          </a:xfrm>
          <a:prstGeom prst="rect">
            <a:avLst/>
          </a:prstGeom>
          <a:noFill/>
          <a:ln>
            <a:noFill/>
          </a:ln>
        </p:spPr>
        <p:txBody>
          <a:bodyPr wrap="square" lIns="0" tIns="36576" rIns="0" bIns="0" rtlCol="0" anchor="t">
            <a:noAutofit/>
          </a:bodyPr>
          <a:lstStyle/>
          <a:p>
            <a:r>
              <a:rPr lang="en-GB" sz="1000" dirty="0">
                <a:solidFill>
                  <a:srgbClr val="FFFACD"/>
                </a:solidFill>
              </a:rPr>
              <a:t>{{Product RTS}}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96BE8DB8-7242-70FE-DCA2-ADFF5F9B4002}"/>
              </a:ext>
            </a:extLst>
          </p:cNvPr>
          <p:cNvSpPr txBox="1">
            <a:spLocks/>
          </p:cNvSpPr>
          <p:nvPr/>
        </p:nvSpPr>
        <p:spPr>
          <a:xfrm>
            <a:off x="8056869" y="4144719"/>
            <a:ext cx="4129610" cy="1346491"/>
          </a:xfrm>
          <a:prstGeom prst="rect">
            <a:avLst/>
          </a:prstGeom>
          <a:noFill/>
          <a:ln>
            <a:noFill/>
          </a:ln>
        </p:spPr>
        <p:txBody>
          <a:bodyPr wrap="square" lIns="0" tIns="36576" rIns="0" bIns="0" rtlCol="0" anchor="t">
            <a:noAutofit/>
          </a:bodyPr>
          <a:lstStyle/>
          <a:p>
            <a:r>
              <a:rPr lang="en-GB" sz="1000" dirty="0">
                <a:solidFill>
                  <a:srgbClr val="FFFACD"/>
                </a:solidFill>
              </a:rPr>
              <a:t>{{Product MTO}}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AF79F7D-277E-3198-4457-575F9817D5AF}"/>
              </a:ext>
            </a:extLst>
          </p:cNvPr>
          <p:cNvSpPr txBox="1">
            <a:spLocks/>
          </p:cNvSpPr>
          <p:nvPr/>
        </p:nvSpPr>
        <p:spPr>
          <a:xfrm>
            <a:off x="296063" y="1127732"/>
            <a:ext cx="1717398" cy="510996"/>
          </a:xfrm>
          <a:prstGeom prst="rect">
            <a:avLst/>
          </a:prstGeom>
          <a:noFill/>
          <a:ln>
            <a:noFill/>
          </a:ln>
        </p:spPr>
        <p:txBody>
          <a:bodyPr wrap="square" lIns="0" tIns="36576" rIns="0" bIns="0" rtlCol="0" anchor="t">
            <a:noAutofit/>
          </a:bodyPr>
          <a:lstStyle/>
          <a:p>
            <a:r>
              <a:rPr lang="en-GB" sz="1000" dirty="0">
                <a:solidFill>
                  <a:srgbClr val="FFFACD"/>
                </a:solidFill>
              </a:rPr>
              <a:t>{{Product Fact Sheet link}}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DFF5798-084A-AD81-586F-4C7A96BCFB51}"/>
              </a:ext>
            </a:extLst>
          </p:cNvPr>
          <p:cNvSpPr txBox="1">
            <a:spLocks/>
          </p:cNvSpPr>
          <p:nvPr/>
        </p:nvSpPr>
        <p:spPr>
          <a:xfrm>
            <a:off x="5863504" y="539183"/>
            <a:ext cx="1836000" cy="352772"/>
          </a:xfrm>
          <a:prstGeom prst="rect">
            <a:avLst/>
          </a:prstGeom>
          <a:noFill/>
          <a:ln>
            <a:noFill/>
          </a:ln>
        </p:spPr>
        <p:txBody>
          <a:bodyPr wrap="square" lIns="0" tIns="36576" rIns="0" bIns="0" rtlCol="0" anchor="t">
            <a:noAutofit/>
          </a:bodyPr>
          <a:lstStyle/>
          <a:p>
            <a:r>
              <a:rPr lang="en-GB" sz="1000" dirty="0">
                <a:solidFill>
                  <a:srgbClr val="FFFACD"/>
                </a:solidFill>
              </a:rPr>
              <a:t>{{Product country of origin}}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A2CA7AD-7B0C-D562-0595-468EA092AF73}"/>
              </a:ext>
            </a:extLst>
          </p:cNvPr>
          <p:cNvSpPr txBox="1">
            <a:spLocks/>
          </p:cNvSpPr>
          <p:nvPr/>
        </p:nvSpPr>
        <p:spPr>
          <a:xfrm>
            <a:off x="291833" y="1685360"/>
            <a:ext cx="1717397" cy="510996"/>
          </a:xfrm>
          <a:prstGeom prst="rect">
            <a:avLst/>
          </a:prstGeom>
          <a:noFill/>
          <a:ln>
            <a:noFill/>
          </a:ln>
        </p:spPr>
        <p:txBody>
          <a:bodyPr wrap="square" lIns="0" tIns="36576" rIns="0" bIns="0" rtlCol="0" anchor="t">
            <a:noAutofit/>
          </a:bodyPr>
          <a:lstStyle/>
          <a:p>
            <a:r>
              <a:rPr lang="en-GB" sz="1000" dirty="0">
                <a:solidFill>
                  <a:srgbClr val="FFFACD"/>
                </a:solidFill>
              </a:rPr>
              <a:t>{{Product configurator link}}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FE3075C-ACD2-DDA0-7876-65CC6CB19CBC}"/>
              </a:ext>
            </a:extLst>
          </p:cNvPr>
          <p:cNvSpPr txBox="1">
            <a:spLocks/>
          </p:cNvSpPr>
          <p:nvPr/>
        </p:nvSpPr>
        <p:spPr>
          <a:xfrm>
            <a:off x="8056869" y="1801687"/>
            <a:ext cx="2105799" cy="1346491"/>
          </a:xfrm>
          <a:prstGeom prst="rect">
            <a:avLst/>
          </a:prstGeom>
          <a:noFill/>
          <a:ln>
            <a:noFill/>
          </a:ln>
        </p:spPr>
        <p:txBody>
          <a:bodyPr wrap="square" lIns="0" tIns="36576" rIns="0" bIns="0" rtlCol="0" anchor="t">
            <a:noAutofit/>
          </a:bodyPr>
          <a:lstStyle/>
          <a:p>
            <a:r>
              <a:rPr lang="en-GB" sz="1000" dirty="0">
                <a:solidFill>
                  <a:srgbClr val="FFFACD"/>
                </a:solidFill>
              </a:rPr>
              <a:t>{{</a:t>
            </a:r>
            <a:r>
              <a:rPr lang="en-GB" sz="1000" dirty="0" err="1">
                <a:solidFill>
                  <a:srgbClr val="FFFACD"/>
                </a:solidFill>
              </a:rPr>
              <a:t>CertificateName</a:t>
            </a:r>
            <a:r>
              <a:rPr lang="en-GB" sz="1000" dirty="0">
                <a:solidFill>
                  <a:srgbClr val="FFFACD"/>
                </a:solidFill>
              </a:rPr>
              <a:t>}}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6D106546-E7BE-BA5B-A468-2C60DD01CE07}"/>
              </a:ext>
            </a:extLst>
          </p:cNvPr>
          <p:cNvSpPr txBox="1">
            <a:spLocks/>
          </p:cNvSpPr>
          <p:nvPr/>
        </p:nvSpPr>
        <p:spPr>
          <a:xfrm>
            <a:off x="10196901" y="1805582"/>
            <a:ext cx="2105799" cy="1346490"/>
          </a:xfrm>
          <a:prstGeom prst="rect">
            <a:avLst/>
          </a:prstGeom>
          <a:noFill/>
          <a:ln>
            <a:noFill/>
          </a:ln>
        </p:spPr>
        <p:txBody>
          <a:bodyPr wrap="square" lIns="0" tIns="36576" rIns="0" bIns="0" rtlCol="0" anchor="t">
            <a:noAutofit/>
          </a:bodyPr>
          <a:lstStyle/>
          <a:p>
            <a:r>
              <a:rPr lang="en-GB" sz="1000" dirty="0">
                <a:solidFill>
                  <a:srgbClr val="FFFACD"/>
                </a:solidFill>
              </a:rPr>
              <a:t>{{Product Consumption COM}}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9C3F3E47-90B7-E09B-ABEF-7B1726E5718A}"/>
              </a:ext>
            </a:extLst>
          </p:cNvPr>
          <p:cNvSpPr txBox="1">
            <a:spLocks/>
          </p:cNvSpPr>
          <p:nvPr/>
        </p:nvSpPr>
        <p:spPr>
          <a:xfrm>
            <a:off x="10496898" y="533013"/>
            <a:ext cx="601213" cy="279922"/>
          </a:xfrm>
          <a:prstGeom prst="rect">
            <a:avLst/>
          </a:prstGeom>
          <a:noFill/>
          <a:ln>
            <a:noFill/>
          </a:ln>
        </p:spPr>
        <p:txBody>
          <a:bodyPr wrap="square" lIns="0" tIns="36576" rIns="0" bIns="0" rtlCol="0" anchor="t">
            <a:noAutofit/>
          </a:bodyPr>
          <a:lstStyle/>
          <a:p>
            <a:r>
              <a:rPr lang="en-GB" sz="1000" dirty="0">
                <a:solidFill>
                  <a:srgbClr val="FFFACD"/>
                </a:solidFill>
              </a:rPr>
              <a:t>{{Product width}}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B014F576-54B7-9104-0E40-62945BF5A1EF}"/>
              </a:ext>
            </a:extLst>
          </p:cNvPr>
          <p:cNvSpPr txBox="1">
            <a:spLocks/>
          </p:cNvSpPr>
          <p:nvPr/>
        </p:nvSpPr>
        <p:spPr>
          <a:xfrm>
            <a:off x="8056869" y="1103308"/>
            <a:ext cx="601213" cy="279922"/>
          </a:xfrm>
          <a:prstGeom prst="rect">
            <a:avLst/>
          </a:prstGeom>
          <a:noFill/>
          <a:ln>
            <a:noFill/>
          </a:ln>
        </p:spPr>
        <p:txBody>
          <a:bodyPr wrap="square" lIns="0" tIns="36576" rIns="0" bIns="0" rtlCol="0" anchor="t">
            <a:noAutofit/>
          </a:bodyPr>
          <a:lstStyle/>
          <a:p>
            <a:r>
              <a:rPr lang="en-GB" sz="1000" dirty="0">
                <a:solidFill>
                  <a:srgbClr val="FFFACD"/>
                </a:solidFill>
              </a:rPr>
              <a:t>{{Product length}}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DA012075-1174-203C-E273-7A9550137513}"/>
              </a:ext>
            </a:extLst>
          </p:cNvPr>
          <p:cNvSpPr txBox="1">
            <a:spLocks/>
          </p:cNvSpPr>
          <p:nvPr/>
        </p:nvSpPr>
        <p:spPr>
          <a:xfrm>
            <a:off x="9276884" y="1113696"/>
            <a:ext cx="867920" cy="279922"/>
          </a:xfrm>
          <a:prstGeom prst="rect">
            <a:avLst/>
          </a:prstGeom>
          <a:noFill/>
          <a:ln>
            <a:noFill/>
          </a:ln>
        </p:spPr>
        <p:txBody>
          <a:bodyPr wrap="square" lIns="0" tIns="36576" rIns="0" bIns="0" rtlCol="0" anchor="t">
            <a:noAutofit/>
          </a:bodyPr>
          <a:lstStyle/>
          <a:p>
            <a:r>
              <a:rPr lang="en-GB" sz="1000" dirty="0">
                <a:solidFill>
                  <a:srgbClr val="FFFACD"/>
                </a:solidFill>
              </a:rPr>
              <a:t>{{Product seat height}}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3AC6C9DD-A11C-4B26-FA6D-B77AB340D874}"/>
              </a:ext>
            </a:extLst>
          </p:cNvPr>
          <p:cNvSpPr txBox="1">
            <a:spLocks/>
          </p:cNvSpPr>
          <p:nvPr/>
        </p:nvSpPr>
        <p:spPr>
          <a:xfrm>
            <a:off x="10496897" y="1099528"/>
            <a:ext cx="601213" cy="296447"/>
          </a:xfrm>
          <a:prstGeom prst="rect">
            <a:avLst/>
          </a:prstGeom>
          <a:noFill/>
          <a:ln>
            <a:noFill/>
          </a:ln>
        </p:spPr>
        <p:txBody>
          <a:bodyPr wrap="square" lIns="0" tIns="36576" rIns="0" bIns="0" rtlCol="0" anchor="t">
            <a:noAutofit/>
          </a:bodyPr>
          <a:lstStyle/>
          <a:p>
            <a:r>
              <a:rPr lang="en-GB" sz="1000" dirty="0">
                <a:solidFill>
                  <a:srgbClr val="FFFACD"/>
                </a:solidFill>
              </a:rPr>
              <a:t>{{Product diameter}}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53223F92-0434-C622-3219-8BAD5811DFDD}"/>
              </a:ext>
            </a:extLst>
          </p:cNvPr>
          <p:cNvSpPr txBox="1">
            <a:spLocks/>
          </p:cNvSpPr>
          <p:nvPr/>
        </p:nvSpPr>
        <p:spPr>
          <a:xfrm>
            <a:off x="9276884" y="533013"/>
            <a:ext cx="601213" cy="279922"/>
          </a:xfrm>
          <a:prstGeom prst="rect">
            <a:avLst/>
          </a:prstGeom>
          <a:noFill/>
          <a:ln>
            <a:noFill/>
          </a:ln>
        </p:spPr>
        <p:txBody>
          <a:bodyPr wrap="square" lIns="0" tIns="36576" rIns="0" bIns="0" rtlCol="0" anchor="t">
            <a:noAutofit/>
          </a:bodyPr>
          <a:lstStyle/>
          <a:p>
            <a:r>
              <a:rPr lang="en-GB" sz="1000" dirty="0">
                <a:solidFill>
                  <a:srgbClr val="FFFACD"/>
                </a:solidFill>
              </a:rPr>
              <a:t>{{Product depth}}</a:t>
            </a:r>
          </a:p>
        </p:txBody>
      </p:sp>
    </p:spTree>
    <p:extLst>
      <p:ext uri="{BB962C8B-B14F-4D97-AF65-F5344CB8AC3E}">
        <p14:creationId xmlns:p14="http://schemas.microsoft.com/office/powerpoint/2010/main" val="214316858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EY light background">
  <a:themeElements>
    <a:clrScheme name="Custom 8">
      <a:dk1>
        <a:srgbClr val="FFFFFF"/>
      </a:dk1>
      <a:lt1>
        <a:srgbClr val="2E2E38"/>
      </a:lt1>
      <a:dk2>
        <a:srgbClr val="FFE600"/>
      </a:dk2>
      <a:lt2>
        <a:srgbClr val="000000"/>
      </a:lt2>
      <a:accent1>
        <a:srgbClr val="2DB757"/>
      </a:accent1>
      <a:accent2>
        <a:srgbClr val="27ACAA"/>
      </a:accent2>
      <a:accent3>
        <a:srgbClr val="188CE5"/>
      </a:accent3>
      <a:accent4>
        <a:srgbClr val="3D108A"/>
      </a:accent4>
      <a:accent5>
        <a:srgbClr val="FF4136"/>
      </a:accent5>
      <a:accent6>
        <a:srgbClr val="FF6D00"/>
      </a:accent6>
      <a:hlink>
        <a:srgbClr val="0000FF"/>
      </a:hlink>
      <a:folHlink>
        <a:srgbClr val="800080"/>
      </a:folHlink>
    </a:clrScheme>
    <a:fontScheme name="Custom 1">
      <a:majorFont>
        <a:latin typeface="EYInterstate Light"/>
        <a:ea typeface=""/>
        <a:cs typeface=""/>
      </a:majorFont>
      <a:minorFont>
        <a:latin typeface="EYInterstate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t" anchorCtr="0"/>
      <a:lstStyle>
        <a:defPPr algn="ctr">
          <a:defRPr sz="12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36576" rIns="0" bIns="0" rtlCol="0">
        <a:spAutoFit/>
      </a:bodyPr>
      <a:lstStyle>
        <a:defPPr marL="356616" indent="-356616">
          <a:lnSpc>
            <a:spcPct val="85000"/>
          </a:lnSpc>
          <a:spcAft>
            <a:spcPts val="600"/>
          </a:spcAft>
          <a:buClr>
            <a:schemeClr val="accent2"/>
          </a:buClr>
          <a:buSzPct val="70000"/>
          <a:buFont typeface="Arial" pitchFamily="34" charset="0"/>
          <a:buChar char="►"/>
          <a:defRPr sz="1200" dirty="0" err="1" smtClean="0">
            <a:solidFill>
              <a:schemeClr val="bg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Global_EY_widescreen_presentation_2019_v1.4.pptx" id="{669A4694-7F8C-40EA-92E1-8E6D75010CAB}" vid="{C1504121-3530-4207-81A7-E4CD6CD6B810}"/>
    </a:ext>
  </a:extLst>
</a:theme>
</file>

<file path=ppt/theme/theme2.xml><?xml version="1.0" encoding="utf-8"?>
<a:theme xmlns:a="http://schemas.openxmlformats.org/drawingml/2006/main" name="2_EY light background">
  <a:themeElements>
    <a:clrScheme name="Custom 8">
      <a:dk1>
        <a:srgbClr val="FFFFFF"/>
      </a:dk1>
      <a:lt1>
        <a:srgbClr val="2E2E38"/>
      </a:lt1>
      <a:dk2>
        <a:srgbClr val="FFE600"/>
      </a:dk2>
      <a:lt2>
        <a:srgbClr val="000000"/>
      </a:lt2>
      <a:accent1>
        <a:srgbClr val="2DB757"/>
      </a:accent1>
      <a:accent2>
        <a:srgbClr val="27ACAA"/>
      </a:accent2>
      <a:accent3>
        <a:srgbClr val="188CE5"/>
      </a:accent3>
      <a:accent4>
        <a:srgbClr val="3D108A"/>
      </a:accent4>
      <a:accent5>
        <a:srgbClr val="FF4136"/>
      </a:accent5>
      <a:accent6>
        <a:srgbClr val="FF6D00"/>
      </a:accent6>
      <a:hlink>
        <a:srgbClr val="0000FF"/>
      </a:hlink>
      <a:folHlink>
        <a:srgbClr val="800080"/>
      </a:folHlink>
    </a:clrScheme>
    <a:fontScheme name="Custom 1">
      <a:majorFont>
        <a:latin typeface="EYInterstate Light"/>
        <a:ea typeface=""/>
        <a:cs typeface=""/>
      </a:majorFont>
      <a:minorFont>
        <a:latin typeface="EYInterstate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t" anchorCtr="0"/>
      <a:lstStyle>
        <a:defPPr algn="ctr">
          <a:defRPr sz="12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36576" rIns="0" bIns="0" rtlCol="0">
        <a:spAutoFit/>
      </a:bodyPr>
      <a:lstStyle>
        <a:defPPr marL="356616" indent="-356616">
          <a:lnSpc>
            <a:spcPct val="85000"/>
          </a:lnSpc>
          <a:spcAft>
            <a:spcPts val="600"/>
          </a:spcAft>
          <a:buClr>
            <a:schemeClr val="accent2"/>
          </a:buClr>
          <a:buSzPct val="70000"/>
          <a:buFont typeface="Arial" pitchFamily="34" charset="0"/>
          <a:buChar char="►"/>
          <a:defRPr sz="1200" dirty="0" err="1" smtClean="0">
            <a:solidFill>
              <a:schemeClr val="bg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Global_EY_widescreen_presentation_2019_v1.4.pptx" id="{669A4694-7F8C-40EA-92E1-8E6D75010CAB}" vid="{C1504121-3530-4207-81A7-E4CD6CD6B810}"/>
    </a:ext>
  </a:extLst>
</a:theme>
</file>

<file path=ppt/theme/theme3.xml><?xml version="1.0" encoding="utf-8"?>
<a:theme xmlns:a="http://schemas.openxmlformats.org/drawingml/2006/main" name="8_EY dark background">
  <a:themeElements>
    <a:clrScheme name="EY Color">
      <a:dk1>
        <a:srgbClr val="2E2E38"/>
      </a:dk1>
      <a:lt1>
        <a:sysClr val="window" lastClr="FFFFFF"/>
      </a:lt1>
      <a:dk2>
        <a:srgbClr val="FFE600"/>
      </a:dk2>
      <a:lt2>
        <a:srgbClr val="000000"/>
      </a:lt2>
      <a:accent1>
        <a:srgbClr val="2DB757"/>
      </a:accent1>
      <a:accent2>
        <a:srgbClr val="27ACAA"/>
      </a:accent2>
      <a:accent3>
        <a:srgbClr val="188CE5"/>
      </a:accent3>
      <a:accent4>
        <a:srgbClr val="3D108A"/>
      </a:accent4>
      <a:accent5>
        <a:srgbClr val="FF4136"/>
      </a:accent5>
      <a:accent6>
        <a:srgbClr val="FF6D00"/>
      </a:accent6>
      <a:hlink>
        <a:srgbClr val="0000FF"/>
      </a:hlink>
      <a:folHlink>
        <a:srgbClr val="800080"/>
      </a:folHlink>
    </a:clrScheme>
    <a:fontScheme name="Custom 1">
      <a:majorFont>
        <a:latin typeface="EYInterstate Light"/>
        <a:ea typeface=""/>
        <a:cs typeface=""/>
      </a:majorFont>
      <a:minorFont>
        <a:latin typeface="EYInterstate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t" anchorCtr="0"/>
      <a:lstStyle>
        <a:defPPr algn="ctr">
          <a:defRPr sz="12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36576" rIns="0" bIns="0" rtlCol="0">
        <a:spAutoFit/>
      </a:bodyPr>
      <a:lstStyle>
        <a:defPPr marL="356616" indent="-356616">
          <a:lnSpc>
            <a:spcPct val="85000"/>
          </a:lnSpc>
          <a:spcAft>
            <a:spcPts val="600"/>
          </a:spcAft>
          <a:buClr>
            <a:schemeClr val="accent2"/>
          </a:buClr>
          <a:buSzPct val="70000"/>
          <a:buFont typeface="Arial" pitchFamily="34" charset="0"/>
          <a:buChar char="►"/>
          <a:defRPr sz="1200" dirty="0" err="1" smtClean="0">
            <a:solidFill>
              <a:schemeClr val="bg1"/>
            </a:solidFill>
          </a:defRPr>
        </a:defPPr>
      </a:lstStyle>
    </a:txDef>
  </a:objectDefaults>
  <a:extraClrSchemeLst/>
</a:theme>
</file>

<file path=ppt/theme/theme4.xml><?xml version="1.0" encoding="utf-8"?>
<a:theme xmlns:a="http://schemas.openxmlformats.org/drawingml/2006/main" name="2_EY dark background">
  <a:themeElements>
    <a:clrScheme name="EY Color">
      <a:dk1>
        <a:srgbClr val="2E2E38"/>
      </a:dk1>
      <a:lt1>
        <a:sysClr val="window" lastClr="FFFFFF"/>
      </a:lt1>
      <a:dk2>
        <a:srgbClr val="FFE600"/>
      </a:dk2>
      <a:lt2>
        <a:srgbClr val="000000"/>
      </a:lt2>
      <a:accent1>
        <a:srgbClr val="2DB757"/>
      </a:accent1>
      <a:accent2>
        <a:srgbClr val="27ACAA"/>
      </a:accent2>
      <a:accent3>
        <a:srgbClr val="188CE5"/>
      </a:accent3>
      <a:accent4>
        <a:srgbClr val="3D108A"/>
      </a:accent4>
      <a:accent5>
        <a:srgbClr val="FF4136"/>
      </a:accent5>
      <a:accent6>
        <a:srgbClr val="FF6D00"/>
      </a:accent6>
      <a:hlink>
        <a:srgbClr val="0000FF"/>
      </a:hlink>
      <a:folHlink>
        <a:srgbClr val="800080"/>
      </a:folHlink>
    </a:clrScheme>
    <a:fontScheme name="Custom 1">
      <a:majorFont>
        <a:latin typeface="EYInterstate Light"/>
        <a:ea typeface=""/>
        <a:cs typeface=""/>
      </a:majorFont>
      <a:minorFont>
        <a:latin typeface="EYInterstate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t" anchorCtr="0"/>
      <a:lstStyle>
        <a:defPPr algn="ctr">
          <a:defRPr sz="12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36576" rIns="0" bIns="0" rtlCol="0">
        <a:spAutoFit/>
      </a:bodyPr>
      <a:lstStyle>
        <a:defPPr marL="356616" indent="-356616">
          <a:lnSpc>
            <a:spcPct val="85000"/>
          </a:lnSpc>
          <a:spcAft>
            <a:spcPts val="600"/>
          </a:spcAft>
          <a:buClr>
            <a:schemeClr val="accent2"/>
          </a:buClr>
          <a:buSzPct val="70000"/>
          <a:buFont typeface="Arial" pitchFamily="34" charset="0"/>
          <a:buChar char="►"/>
          <a:defRPr sz="1200" dirty="0" err="1" smtClean="0">
            <a:solidFill>
              <a:schemeClr val="bg1"/>
            </a:solidFill>
          </a:defRPr>
        </a:defPPr>
      </a:lstStyle>
    </a:txDef>
  </a:objectDefaults>
  <a:extraClrSchemeLst/>
</a:theme>
</file>

<file path=ppt/theme/theme5.xml><?xml version="1.0" encoding="utf-8"?>
<a:theme xmlns:a="http://schemas.openxmlformats.org/drawingml/2006/main" name="EY Core Slides">
  <a:themeElements>
    <a:clrScheme name="Custom 84">
      <a:dk1>
        <a:srgbClr val="1A1A24"/>
      </a:dk1>
      <a:lt1>
        <a:srgbClr val="FFFFFF"/>
      </a:lt1>
      <a:dk2>
        <a:srgbClr val="FFE600"/>
      </a:dk2>
      <a:lt2>
        <a:srgbClr val="2E2E38"/>
      </a:lt2>
      <a:accent1>
        <a:srgbClr val="2DB757"/>
      </a:accent1>
      <a:accent2>
        <a:srgbClr val="27ACAA"/>
      </a:accent2>
      <a:accent3>
        <a:srgbClr val="188CE5"/>
      </a:accent3>
      <a:accent4>
        <a:srgbClr val="750E5C"/>
      </a:accent4>
      <a:accent5>
        <a:srgbClr val="FF4136"/>
      </a:accent5>
      <a:accent6>
        <a:srgbClr val="FF6D00"/>
      </a:accent6>
      <a:hlink>
        <a:srgbClr val="FFE600"/>
      </a:hlink>
      <a:folHlink>
        <a:srgbClr val="FFE600"/>
      </a:folHlink>
    </a:clrScheme>
    <a:fontScheme name="EY">
      <a:majorFont>
        <a:latin typeface="EYInterstate Regular"/>
        <a:ea typeface=""/>
        <a:cs typeface=""/>
      </a:majorFont>
      <a:minorFont>
        <a:latin typeface="EYInterstate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12700">
          <a:solidFill>
            <a:schemeClr val="tx2"/>
          </a:solidFill>
          <a:miter lim="800000"/>
        </a:ln>
      </a:spPr>
      <a:bodyPr lIns="108000" tIns="108000" rIns="108000" bIns="108000" rtlCol="0" anchor="t" anchorCtr="0"/>
      <a:lstStyle>
        <a:defPPr marL="252000" indent="-252000" algn="l">
          <a:lnSpc>
            <a:spcPct val="90000"/>
          </a:lnSpc>
          <a:spcBef>
            <a:spcPts val="400"/>
          </a:spcBef>
          <a:spcAft>
            <a:spcPts val="400"/>
          </a:spcAft>
          <a:buClr>
            <a:schemeClr val="tx2"/>
          </a:buClr>
          <a:buFont typeface="Wingdings" pitchFamily="2" charset="2"/>
          <a:buChar char="§"/>
          <a:defRPr sz="20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3175">
          <a:solidFill>
            <a:schemeClr val="bg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36576" rIns="0" bIns="0" rtlCol="0" anchor="t">
        <a:spAutoFit/>
      </a:bodyPr>
      <a:lstStyle>
        <a:defPPr marL="252000" indent="-252000" algn="l">
          <a:lnSpc>
            <a:spcPct val="90000"/>
          </a:lnSpc>
          <a:spcBef>
            <a:spcPts val="400"/>
          </a:spcBef>
          <a:spcAft>
            <a:spcPts val="400"/>
          </a:spcAft>
          <a:buClr>
            <a:schemeClr val="tx2"/>
          </a:buClr>
          <a:buSzPct val="100000"/>
          <a:buFont typeface="Wingdings" pitchFamily="2" charset="2"/>
          <a:buChar char="§"/>
          <a:defRPr sz="2000" dirty="0" err="1" smtClean="0">
            <a:solidFill>
              <a:schemeClr val="bg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owerPoint 2024_Template_Dark_v2.potx" id="{C809F8AB-991E-460A-A122-03ADFA52C0BF}" vid="{4A63C152-927B-4484-91FE-BD46D62167FF}"/>
    </a:ext>
  </a:extLst>
</a:theme>
</file>

<file path=ppt/theme/theme6.xml><?xml version="1.0" encoding="utf-8"?>
<a:theme xmlns:a="http://schemas.openxmlformats.org/drawingml/2006/main" name="Muuto">
  <a:themeElements>
    <a:clrScheme name="Muuto">
      <a:dk1>
        <a:srgbClr val="000000"/>
      </a:dk1>
      <a:lt1>
        <a:srgbClr val="FFFFFF"/>
      </a:lt1>
      <a:dk2>
        <a:srgbClr val="ECE8DD"/>
      </a:dk2>
      <a:lt2>
        <a:srgbClr val="EFEEEA"/>
      </a:lt2>
      <a:accent1>
        <a:srgbClr val="2A7A57"/>
      </a:accent1>
      <a:accent2>
        <a:srgbClr val="D9CDE5"/>
      </a:accent2>
      <a:accent3>
        <a:srgbClr val="9A5E18"/>
      </a:accent3>
      <a:accent4>
        <a:srgbClr val="89BCE7"/>
      </a:accent4>
      <a:accent5>
        <a:srgbClr val="3C0E17"/>
      </a:accent5>
      <a:accent6>
        <a:srgbClr val="FFF2A4"/>
      </a:accent6>
      <a:hlink>
        <a:srgbClr val="3C0E17"/>
      </a:hlink>
      <a:folHlink>
        <a:srgbClr val="9A5E18"/>
      </a:folHlink>
    </a:clrScheme>
    <a:fontScheme name="Muuto">
      <a:majorFont>
        <a:latin typeface="Euclid Flex Medium"/>
        <a:ea typeface=""/>
        <a:cs typeface=""/>
      </a:majorFont>
      <a:minorFont>
        <a:latin typeface="Euclid Flex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solidFill>
            <a:schemeClr val="accent1"/>
          </a:solidFill>
        </a:ln>
      </a:spPr>
      <a:bodyPr lIns="72000" tIns="36000" rIns="72000" bIns="36000" rtlCol="0" anchor="ctr"/>
      <a:lstStyle>
        <a:defPPr algn="ctr">
          <a:defRPr sz="1400" noProof="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/>
        </a:defPPr>
      </a:lstStyle>
    </a:txDef>
  </a:objectDefaults>
  <a:extraClrSchemeLst/>
  <a:custClrLst>
    <a:custClr name="Olive">
      <a:srgbClr val="687025"/>
    </a:custClr>
    <a:custClr name="Dark Green">
      <a:srgbClr val="143E3D"/>
    </a:custClr>
    <a:custClr name="Dusty Green">
      <a:srgbClr val="AEBBA7"/>
    </a:custClr>
    <a:custClr name="Sage Green">
      <a:srgbClr val="B7C5C5"/>
    </a:custClr>
    <a:custClr name="Light Green">
      <a:srgbClr val="E5F5E4"/>
    </a:custClr>
    <a:custClr name="Appel Green">
      <a:srgbClr val="B7D692"/>
    </a:custClr>
    <a:custClr name="Grass Green">
      <a:srgbClr val="549E3D"/>
    </a:custClr>
    <a:custClr name="Green">
      <a:srgbClr val="2A7A57"/>
    </a:custClr>
    <a:custClr name="Color has no name">
      <a:srgbClr val="FFFFFF"/>
    </a:custClr>
    <a:custClr name="Color has no name">
      <a:srgbClr val="FFFFFF"/>
    </a:custClr>
    <a:custClr name="Ice Blue">
      <a:srgbClr val="E2F1FD"/>
    </a:custClr>
    <a:custClr name="Light Bright Blue">
      <a:srgbClr val="C5DBF3"/>
    </a:custClr>
    <a:custClr name="Bright Blue">
      <a:srgbClr val="89BCE7"/>
    </a:custClr>
    <a:custClr name="Blue">
      <a:srgbClr val="014B8A"/>
    </a:custClr>
    <a:custClr name="Dark Blue">
      <a:srgbClr val="22283E"/>
    </a:custClr>
    <a:custClr name="Midnight Blue">
      <a:srgbClr val="3A4255"/>
    </a:custClr>
    <a:custClr name="Light Blue">
      <a:srgbClr val="A8B5D7"/>
    </a:custClr>
    <a:custClr name="Light Blue-Grey">
      <a:srgbClr val="C0CCD8"/>
    </a:custClr>
    <a:custClr name="Color has no name">
      <a:srgbClr val="FFFFFF"/>
    </a:custClr>
    <a:custClr name="Color has no name">
      <a:srgbClr val="FFFFFF"/>
    </a:custClr>
    <a:custClr name="Dark Red">
      <a:srgbClr val="7A1A1C"/>
    </a:custClr>
    <a:custClr name="Red">
      <a:srgbClr val="CC3601"/>
    </a:custClr>
    <a:custClr name="Orange">
      <a:srgbClr val="DA6E01"/>
    </a:custClr>
    <a:custClr name="Yellow">
      <a:srgbClr val="FCF1C3"/>
    </a:custClr>
    <a:custClr name="Bright Yellow">
      <a:srgbClr val="FFF2A4"/>
    </a:custClr>
    <a:custClr name="Clay Brown">
      <a:srgbClr val="B1894C"/>
    </a:custClr>
    <a:custClr name="Burnt Orange">
      <a:srgbClr val="9A5E18"/>
    </a:custClr>
    <a:custClr name="Caca D'oie">
      <a:srgbClr val="5B4A14"/>
    </a:custClr>
    <a:custClr name="Color has no name">
      <a:srgbClr val="FFFFFF"/>
    </a:custClr>
    <a:custClr name="Color has no name">
      <a:srgbClr val="FFFFFF"/>
    </a:custClr>
    <a:custClr name="Burgundy">
      <a:srgbClr val="3C0E18"/>
    </a:custClr>
    <a:custClr name="Deep Red">
      <a:srgbClr val="592A22"/>
    </a:custClr>
    <a:custClr name="Copper Brown">
      <a:srgbClr val="B76540"/>
    </a:custClr>
    <a:custClr name="Tan Rose">
      <a:srgbClr val="CA9085"/>
    </a:custClr>
    <a:custClr name="Rose">
      <a:srgbClr val="FFE4E3"/>
    </a:custClr>
    <a:custClr name="Light Lavender">
      <a:srgbClr val="F8EDFE"/>
    </a:custClr>
    <a:custClr name="Lavender">
      <a:srgbClr val="D9CDE5"/>
    </a:custClr>
    <a:custClr name="Lilac">
      <a:srgbClr val="CDB2D5"/>
    </a:custClr>
    <a:custClr name="Color has no name">
      <a:srgbClr val="FFFFFF"/>
    </a:custClr>
    <a:custClr name="Color has no name">
      <a:srgbClr val="FFFFFF"/>
    </a:custClr>
    <a:custClr name="Black">
      <a:srgbClr val="000000"/>
    </a:custClr>
    <a:custClr name="Dark Grey">
      <a:srgbClr val="4C4C4C"/>
    </a:custClr>
    <a:custClr name="Taupe">
      <a:srgbClr val="574845"/>
    </a:custClr>
    <a:custClr name="Beige-Grey">
      <a:srgbClr val="D6CECC"/>
    </a:custClr>
    <a:custClr name="Off-White">
      <a:srgbClr val="E4E4DC"/>
    </a:custClr>
    <a:custClr name="Light Grey">
      <a:srgbClr val="EFEEEA"/>
    </a:custClr>
    <a:custClr name="Beige">
      <a:srgbClr val="ECE8DD"/>
    </a:custClr>
    <a:custClr name="Beige-Green">
      <a:srgbClr val="DBD4AA"/>
    </a:custClr>
    <a:custClr name="Color has no name">
      <a:srgbClr val="FFFFFF"/>
    </a:custClr>
    <a:custClr name="Color has no name">
      <a:srgbClr val="FFFFFF"/>
    </a:custClr>
  </a:custClrLst>
  <a:extLst>
    <a:ext uri="{05A4C25C-085E-4340-85A3-A5531E510DB2}">
      <thm15:themeFamily xmlns:thm15="http://schemas.microsoft.com/office/thememl/2012/main" name="Muuto template 2024" id="{0E19B4C9-9B4A-4F40-B29E-FF2C79B391CF}" vid="{3B186E71-E44C-4567-998A-D13796A88976}"/>
    </a:ext>
  </a:extLst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item1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6.0.0.0, Culture=neutral, PublicKeyToken=71e9bce111e9429c</Assembly>
    <Class>Microsoft.Office.DocumentManagement.Internal.DocIdHandler</Class>
    <Data/>
    <Filter/>
  </Receiver>
</spe:Receivers>
</file>

<file path=customXml/item2.xml><?xml version="1.0" encoding="utf-8"?>
<?mso-contentType ?>
<SharedContentType xmlns="Microsoft.SharePoint.Taxonomy.ContentTypeSync" SourceId="33ef62f9-2e07-484b-bd79-00aec90129fe" ContentTypeId="0x010100826318CDA76982469C2C3CD2CD5847410101" PreviousValue="false"/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.xml><?xml version="1.0" encoding="utf-8"?>
<ct:contentTypeSchema xmlns:ct="http://schemas.microsoft.com/office/2006/metadata/contentType" xmlns:ma="http://schemas.microsoft.com/office/2006/metadata/properties/metaAttributes" ct:_="" ma:_="" ma:contentTypeName="EY Collaboration Document" ma:contentTypeID="0x010100826318CDA76982469C2C3CD2CD584741010100AD1997A9639E5E40B6BE6FC0A74D05D3" ma:contentTypeVersion="3377" ma:contentTypeDescription="Create a new document." ma:contentTypeScope="" ma:versionID="12e511fb1c7f5896e6a340768de13da3">
  <xsd:schema xmlns:xsd="http://www.w3.org/2001/XMLSchema" xmlns:xs="http://www.w3.org/2001/XMLSchema" xmlns:p="http://schemas.microsoft.com/office/2006/metadata/properties" xmlns:ns1="http://schemas.microsoft.com/sharepoint/v3" xmlns:ns2="35818088-e62d-4edf-bbb6-409430aef268" xmlns:ns3="50c908b1-f277-4340-90a9-4611d0b0f078" xmlns:ns5="c89a98dd-5f36-4e52-9907-6666324cf1a2" xmlns:ns6="654de7d7-4894-436a-9a70-ea79df3896c5" targetNamespace="http://schemas.microsoft.com/office/2006/metadata/properties" ma:root="true" ma:fieldsID="32a28d2732a65a27cb02561d5c8244d6" ns1:_="" ns2:_="" ns3:_="" ns5:_="" ns6:_="">
    <xsd:import namespace="http://schemas.microsoft.com/sharepoint/v3"/>
    <xsd:import namespace="35818088-e62d-4edf-bbb6-409430aef268"/>
    <xsd:import namespace="50c908b1-f277-4340-90a9-4611d0b0f078"/>
    <xsd:import namespace="c89a98dd-5f36-4e52-9907-6666324cf1a2"/>
    <xsd:import namespace="654de7d7-4894-436a-9a70-ea79df3896c5"/>
    <xsd:element name="properties">
      <xsd:complexType>
        <xsd:sequence>
          <xsd:element name="documentManagement">
            <xsd:complexType>
              <xsd:all>
                <xsd:element ref="ns2:ClassificationDataNoteField" minOccurs="0"/>
                <xsd:element ref="ns2:Classification_x0020_Status" minOccurs="0"/>
                <xsd:element ref="ns1:AverageRating" minOccurs="0"/>
                <xsd:element ref="ns1:RatingCount" minOccurs="0"/>
                <xsd:element ref="ns1:LikesCount" minOccurs="0"/>
                <xsd:element ref="ns3:jc981bd8ab5b47fd91abb7684c0f405b" minOccurs="0"/>
                <xsd:element ref="ns3:b4187e12891e46deb4d240a4b28bdb90" minOccurs="0"/>
                <xsd:element ref="ns3:e0e024ccac5240e69ae9c38a41bfa7a5" minOccurs="0"/>
                <xsd:element ref="ns3:TaxCatchAllLabel" minOccurs="0"/>
                <xsd:element ref="ns3:TaxCatchAll" minOccurs="0"/>
                <xsd:element ref="ns3:k8128b1c45734e36a24fce652bc7ffb7" minOccurs="0"/>
                <xsd:element ref="ns5:_dlc_DocId" minOccurs="0"/>
                <xsd:element ref="ns5:_dlc_DocIdUrl" minOccurs="0"/>
                <xsd:element ref="ns5:_dlc_DocIdPersistId" minOccurs="0"/>
                <xsd:element ref="ns1:RatedBy" minOccurs="0"/>
                <xsd:element ref="ns1:Ratings" minOccurs="0"/>
                <xsd:element ref="ns1:LikedBy" minOccurs="0"/>
                <xsd:element ref="ns3:i14ea8bbd518495ea0e20ac1ad18c527" minOccurs="0"/>
                <xsd:element ref="ns6:MediaServiceMetadata" minOccurs="0"/>
                <xsd:element ref="ns6:MediaServiceFastMetadata" minOccurs="0"/>
                <xsd:element ref="ns6:MediaServiceDateTaken" minOccurs="0"/>
                <xsd:element ref="ns6:MediaServiceAutoTags" minOccurs="0"/>
                <xsd:element ref="ns6:MediaServiceLocation" minOccurs="0"/>
                <xsd:element ref="ns6:MediaServiceOCR" minOccurs="0"/>
                <xsd:element ref="ns5:SharedWithUsers" minOccurs="0"/>
                <xsd:element ref="ns5:SharedWithDetails" minOccurs="0"/>
                <xsd:element ref="ns6:MediaServiceGenerationTime" minOccurs="0"/>
                <xsd:element ref="ns6:MediaServiceEventHashCode" minOccurs="0"/>
                <xsd:element ref="ns6:MediaServiceAutoKeyPoints" minOccurs="0"/>
                <xsd:element ref="ns6:MediaServiceKeyPoints" minOccurs="0"/>
                <xsd:element ref="ns6:MediaLengthInSeconds" minOccurs="0"/>
                <xsd:element ref="ns6:lcf76f155ced4ddcb4097134ff3c332f" minOccurs="0"/>
                <xsd:element ref="ns6:MediaServiceObjectDetectorVersions" minOccurs="0"/>
                <xsd:element ref="ns6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AverageRating" ma:index="10" nillable="true" ma:displayName="Rating (0-5)" ma:decimals="2" ma:description="Average value of all the ratings that have been submitted" ma:internalName="AverageRating" ma:readOnly="true">
      <xsd:simpleType>
        <xsd:restriction base="dms:Number"/>
      </xsd:simpleType>
    </xsd:element>
    <xsd:element name="RatingCount" ma:index="11" nillable="true" ma:displayName="Number of Ratings" ma:decimals="0" ma:description="Number of ratings submitted" ma:internalName="RatingCount" ma:readOnly="true">
      <xsd:simpleType>
        <xsd:restriction base="dms:Number"/>
      </xsd:simpleType>
    </xsd:element>
    <xsd:element name="LikesCount" ma:index="13" nillable="true" ma:displayName="Number of Likes" ma:internalName="LikesCount" ma:readOnly="false">
      <xsd:simpleType>
        <xsd:restriction base="dms:Unknown"/>
      </xsd:simpleType>
    </xsd:element>
    <xsd:element name="RatedBy" ma:index="29" nillable="true" ma:displayName="Rated By" ma:description="Users rated the item." ma:hidden="true" ma:list="UserInfo" ma:internalName="RatedBy" ma:readOnly="fals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Ratings" ma:index="30" nillable="true" ma:displayName="User ratings" ma:description="User ratings for the item" ma:hidden="true" ma:internalName="Ratings" ma:readOnly="false">
      <xsd:simpleType>
        <xsd:restriction base="dms:Note"/>
      </xsd:simpleType>
    </xsd:element>
    <xsd:element name="LikedBy" ma:index="31" nillable="true" ma:displayName="Liked By" ma:hidden="true" ma:list="UserInfo" ma:internalName="LikedBy" ma:readOnly="fals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5818088-e62d-4edf-bbb6-409430aef268" elementFormDefault="qualified">
    <xsd:import namespace="http://schemas.microsoft.com/office/2006/documentManagement/types"/>
    <xsd:import namespace="http://schemas.microsoft.com/office/infopath/2007/PartnerControls"/>
    <xsd:element name="ClassificationDataNoteField" ma:index="2" nillable="true" ma:displayName="ClassificationDataNoteField" ma:internalName="ClassificationDataNoteField" ma:readOnly="true">
      <xsd:simpleType>
        <xsd:restriction base="dms:Note"/>
      </xsd:simpleType>
    </xsd:element>
    <xsd:element name="Classification_x0020_Status" ma:index="3" nillable="true" ma:displayName="Classification Status" ma:internalName="Classification_x0020_Status" ma:readOnly="fals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0c908b1-f277-4340-90a9-4611d0b0f078" elementFormDefault="qualified">
    <xsd:import namespace="http://schemas.microsoft.com/office/2006/documentManagement/types"/>
    <xsd:import namespace="http://schemas.microsoft.com/office/infopath/2007/PartnerControls"/>
    <xsd:element name="jc981bd8ab5b47fd91abb7684c0f405b" ma:index="14" nillable="true" ma:taxonomy="true" ma:internalName="jc981bd8ab5b47fd91abb7684c0f405b" ma:taxonomyFieldName="GeographicApplicability" ma:displayName="Geographic Applicability" ma:readOnly="false" ma:default="" ma:fieldId="{3c981bd8-ab5b-47fd-91ab-b7684c0f405b}" ma:taxonomyMulti="true" ma:sspId="33ef62f9-2e07-484b-bd79-00aec90129fe" ma:termSetId="d4205efd-bf5c-4aee-a8ac-d84b5a7eb933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b4187e12891e46deb4d240a4b28bdb90" ma:index="16" nillable="true" ma:taxonomy="true" ma:internalName="b4187e12891e46deb4d240a4b28bdb90" ma:taxonomyFieldName="ContentLanguage" ma:displayName="Content Language" ma:default="" ma:fieldId="{b4187e12-891e-46de-b4d2-40a4b28bdb90}" ma:taxonomyMulti="true" ma:sspId="33ef62f9-2e07-484b-bd79-00aec90129fe" ma:termSetId="de7f4a9f-9315-4ba0-93d7-d7d3ca1129ab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e0e024ccac5240e69ae9c38a41bfa7a5" ma:index="18" nillable="true" ma:taxonomy="true" ma:internalName="e0e024ccac5240e69ae9c38a41bfa7a5" ma:taxonomyFieldName="Sector" ma:displayName="Sector" ma:default="" ma:fieldId="{e0e024cc-ac52-40e6-9ae9-c38a41bfa7a5}" ma:taxonomyMulti="true" ma:sspId="33ef62f9-2e07-484b-bd79-00aec90129fe" ma:termSetId="a2f97da7-e69b-4e00-a045-c556c68352c3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TaxCatchAllLabel" ma:index="22" nillable="true" ma:displayName="Taxonomy Catch All Column1" ma:hidden="true" ma:list="{ae6f54d8-00f5-42df-8974-d1118676b67e}" ma:internalName="TaxCatchAllLabel" ma:readOnly="false" ma:showField="CatchAllDataLabel" ma:web="c89a98dd-5f36-4e52-9907-6666324cf1a2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" ma:index="23" nillable="true" ma:displayName="Taxonomy Catch All Column" ma:hidden="true" ma:list="{ae6f54d8-00f5-42df-8974-d1118676b67e}" ma:internalName="TaxCatchAll" ma:readOnly="false" ma:showField="CatchAllData" ma:web="c89a98dd-5f36-4e52-9907-6666324cf1a2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k8128b1c45734e36a24fce652bc7ffb7" ma:index="25" nillable="true" ma:taxonomy="true" ma:internalName="k8128b1c45734e36a24fce652bc7ffb7" ma:taxonomyFieldName="ServiceLineFunction" ma:displayName="Service Line / Function" ma:readOnly="false" ma:default="" ma:fieldId="{48128b1c-4573-4e36-a24f-ce652bc7ffb7}" ma:taxonomyMulti="true" ma:sspId="33ef62f9-2e07-484b-bd79-00aec90129fe" ma:termSetId="a54bfafd-6ceb-41d3-a4cd-e00da9f478ef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i14ea8bbd518495ea0e20ac1ad18c527" ma:index="32" nillable="true" ma:taxonomy="true" ma:internalName="i14ea8bbd518495ea0e20ac1ad18c527" ma:taxonomyFieldName="EYContentType" ma:displayName="EY Content Type" ma:readOnly="false" ma:default="" ma:fieldId="{214ea8bb-d518-495e-a0e2-0ac1ad18c527}" ma:sspId="33ef62f9-2e07-484b-bd79-00aec90129fe" ma:termSetId="6505b3fe-eead-400a-9754-f8a94624a621" ma:anchorId="00000000-0000-0000-0000-000000000000" ma:open="fals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89a98dd-5f36-4e52-9907-6666324cf1a2" elementFormDefault="qualified">
    <xsd:import namespace="http://schemas.microsoft.com/office/2006/documentManagement/types"/>
    <xsd:import namespace="http://schemas.microsoft.com/office/infopath/2007/PartnerControls"/>
    <xsd:element name="_dlc_DocId" ma:index="26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Url" ma:index="27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28" nillable="true" ma:displayName="Persist ID" ma:description="Keep ID on add." ma:hidden="true" ma:internalName="_dlc_DocIdPersistId" ma:readOnly="false">
      <xsd:simpleType>
        <xsd:restriction base="dms:Boolean"/>
      </xsd:simpleType>
    </xsd:element>
    <xsd:element name="SharedWithUsers" ma:index="39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40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54de7d7-4894-436a-9a70-ea79df3896c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33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34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35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36" nillable="true" ma:displayName="Tags" ma:internalName="MediaServiceAutoTags" ma:readOnly="true">
      <xsd:simpleType>
        <xsd:restriction base="dms:Text"/>
      </xsd:simpleType>
    </xsd:element>
    <xsd:element name="MediaServiceLocation" ma:index="37" nillable="true" ma:displayName="Location" ma:internalName="MediaServiceLocation" ma:readOnly="true">
      <xsd:simpleType>
        <xsd:restriction base="dms:Text"/>
      </xsd:simpleType>
    </xsd:element>
    <xsd:element name="MediaServiceOCR" ma:index="3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4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4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43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44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45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47" nillable="true" ma:taxonomy="true" ma:internalName="lcf76f155ced4ddcb4097134ff3c332f" ma:taxonomyFieldName="MediaServiceImageTags" ma:displayName="Image Tags" ma:readOnly="false" ma:fieldId="{5cf76f15-5ced-4ddc-b409-7134ff3c332f}" ma:taxonomyMulti="true" ma:sspId="33ef62f9-2e07-484b-bd79-00aec90129fe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48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49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 ma:index="7" ma:displayName="Author"/>
        <xsd:element ref="dcterms:created" minOccurs="0" maxOccurs="1"/>
        <xsd:element ref="dc:identifier" minOccurs="0" maxOccurs="1"/>
        <xsd:element name="contentType" minOccurs="0" maxOccurs="1" type="xsd:string" ma:index="21" ma:displayName="Content Type"/>
        <xsd:element ref="dc:title" minOccurs="0" maxOccurs="1" ma:index="1" ma:displayName="Title"/>
        <xsd:element ref="dc:subject" minOccurs="0" maxOccurs="1"/>
        <xsd:element ref="dc:description" minOccurs="0" maxOccurs="1"/>
        <xsd:element name="keywords" minOccurs="0" maxOccurs="1" type="xsd:string" ma:index="12" ma:displayName="Keywords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5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c89a98dd-5f36-4e52-9907-6666324cf1a2">
      <UserInfo>
        <DisplayName>ProjectActivityReport_Editors</DisplayName>
        <AccountId>34</AccountId>
        <AccountType/>
      </UserInfo>
      <UserInfo>
        <DisplayName>Sumanta Kundu</DisplayName>
        <AccountId>17</AccountId>
        <AccountType/>
      </UserInfo>
      <UserInfo>
        <DisplayName>Ron Sklaver</DisplayName>
        <AccountId>11685</AccountId>
        <AccountType/>
      </UserInfo>
    </SharedWithUsers>
    <LikesCount xmlns="http://schemas.microsoft.com/sharepoint/v3" xsi:nil="true"/>
    <jc981bd8ab5b47fd91abb7684c0f405b xmlns="50c908b1-f277-4340-90a9-4611d0b0f078">
      <Terms xmlns="http://schemas.microsoft.com/office/infopath/2007/PartnerControls"/>
    </jc981bd8ab5b47fd91abb7684c0f405b>
    <b4187e12891e46deb4d240a4b28bdb90 xmlns="50c908b1-f277-4340-90a9-4611d0b0f078">
      <Terms xmlns="http://schemas.microsoft.com/office/infopath/2007/PartnerControls"/>
    </b4187e12891e46deb4d240a4b28bdb90>
    <i14ea8bbd518495ea0e20ac1ad18c527 xmlns="50c908b1-f277-4340-90a9-4611d0b0f078">
      <Terms xmlns="http://schemas.microsoft.com/office/infopath/2007/PartnerControls"/>
    </i14ea8bbd518495ea0e20ac1ad18c527>
    <TaxCatchAll xmlns="50c908b1-f277-4340-90a9-4611d0b0f078" xsi:nil="true"/>
    <Ratings xmlns="http://schemas.microsoft.com/sharepoint/v3" xsi:nil="true"/>
    <e0e024ccac5240e69ae9c38a41bfa7a5 xmlns="50c908b1-f277-4340-90a9-4611d0b0f078">
      <Terms xmlns="http://schemas.microsoft.com/office/infopath/2007/PartnerControls"/>
    </e0e024ccac5240e69ae9c38a41bfa7a5>
    <_dlc_DocIdPersistId xmlns="c89a98dd-5f36-4e52-9907-6666324cf1a2" xsi:nil="true"/>
    <LikedBy xmlns="http://schemas.microsoft.com/sharepoint/v3">
      <UserInfo>
        <DisplayName/>
        <AccountId xsi:nil="true"/>
        <AccountType/>
      </UserInfo>
    </LikedBy>
    <TaxCatchAllLabel xmlns="50c908b1-f277-4340-90a9-4611d0b0f078" xsi:nil="true"/>
    <Classification_x0020_Status xmlns="35818088-e62d-4edf-bbb6-409430aef268" xsi:nil="true"/>
    <k8128b1c45734e36a24fce652bc7ffb7 xmlns="50c908b1-f277-4340-90a9-4611d0b0f078">
      <Terms xmlns="http://schemas.microsoft.com/office/infopath/2007/PartnerControls"/>
    </k8128b1c45734e36a24fce652bc7ffb7>
    <RatedBy xmlns="http://schemas.microsoft.com/sharepoint/v3">
      <UserInfo>
        <DisplayName/>
        <AccountId xsi:nil="true"/>
        <AccountType/>
      </UserInfo>
    </RatedBy>
    <_dlc_DocId xmlns="c89a98dd-5f36-4e52-9907-6666324cf1a2">KC5E5SVXH7H2-796865023-67846</_dlc_DocId>
    <_dlc_DocIdUrl xmlns="c89a98dd-5f36-4e52-9907-6666324cf1a2">
      <Url>https://sites.ey.com/sites/RealEstateServices/eyatworktoolkit/_layouts/15/DocIdRedir.aspx?ID=KC5E5SVXH7H2-796865023-67846</Url>
      <Description>KC5E5SVXH7H2-796865023-67846</Description>
    </_dlc_DocIdUrl>
    <lcf76f155ced4ddcb4097134ff3c332f xmlns="654de7d7-4894-436a-9a70-ea79df3896c5">
      <Terms xmlns="http://schemas.microsoft.com/office/infopath/2007/PartnerControls"/>
    </lcf76f155ced4ddcb4097134ff3c332f>
  </documentManagement>
</p:properties>
</file>

<file path=customXml/itemProps1.xml><?xml version="1.0" encoding="utf-8"?>
<ds:datastoreItem xmlns:ds="http://schemas.openxmlformats.org/officeDocument/2006/customXml" ds:itemID="{3C74437D-E3C3-46B5-BC5D-ECD801DFABB0}">
  <ds:schemaRefs>
    <ds:schemaRef ds:uri="http://schemas.microsoft.com/sharepoint/events"/>
  </ds:schemaRefs>
</ds:datastoreItem>
</file>

<file path=customXml/itemProps2.xml><?xml version="1.0" encoding="utf-8"?>
<ds:datastoreItem xmlns:ds="http://schemas.openxmlformats.org/officeDocument/2006/customXml" ds:itemID="{F51CC9A2-A6F8-4411-B4A9-B45168FD6AEF}">
  <ds:schemaRefs>
    <ds:schemaRef ds:uri="Microsoft.SharePoint.Taxonomy.ContentTypeSync"/>
  </ds:schemaRefs>
</ds:datastoreItem>
</file>

<file path=customXml/itemProps3.xml><?xml version="1.0" encoding="utf-8"?>
<ds:datastoreItem xmlns:ds="http://schemas.openxmlformats.org/officeDocument/2006/customXml" ds:itemID="{FAD5F664-B63D-40E6-A79A-BE5548563225}">
  <ds:schemaRefs>
    <ds:schemaRef ds:uri="http://schemas.microsoft.com/sharepoint/v3/contenttype/forms"/>
  </ds:schemaRefs>
</ds:datastoreItem>
</file>

<file path=customXml/itemProps4.xml><?xml version="1.0" encoding="utf-8"?>
<ds:datastoreItem xmlns:ds="http://schemas.openxmlformats.org/officeDocument/2006/customXml" ds:itemID="{1759327A-A8F8-402D-97F3-546AA2FB0067}">
  <ds:schemaRefs>
    <ds:schemaRef ds:uri="35818088-e62d-4edf-bbb6-409430aef268"/>
    <ds:schemaRef ds:uri="50c908b1-f277-4340-90a9-4611d0b0f078"/>
    <ds:schemaRef ds:uri="654de7d7-4894-436a-9a70-ea79df3896c5"/>
    <ds:schemaRef ds:uri="c89a98dd-5f36-4e52-9907-6666324cf1a2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microsoft.com/sharepoint/v3"/>
    <ds:schemaRef ds:uri="http://schemas.openxmlformats.org/package/2006/metadata/core-properties"/>
    <ds:schemaRef ds:uri="http://www.w3.org/2001/XMLSchema"/>
  </ds:schemaRefs>
</ds:datastoreItem>
</file>

<file path=customXml/itemProps5.xml><?xml version="1.0" encoding="utf-8"?>
<ds:datastoreItem xmlns:ds="http://schemas.openxmlformats.org/officeDocument/2006/customXml" ds:itemID="{F977CA5B-02B3-41CF-A745-24B6C6D3F9E0}">
  <ds:schemaRefs>
    <ds:schemaRef ds:uri="http://schemas.microsoft.com/office/infopath/2007/PartnerControls"/>
    <ds:schemaRef ds:uri="35818088-e62d-4edf-bbb6-409430aef268"/>
    <ds:schemaRef ds:uri="http://schemas.openxmlformats.org/package/2006/metadata/core-properties"/>
    <ds:schemaRef ds:uri="http://schemas.microsoft.com/sharepoint/v3"/>
    <ds:schemaRef ds:uri="http://schemas.microsoft.com/office/2006/documentManagement/types"/>
    <ds:schemaRef ds:uri="http://purl.org/dc/terms/"/>
    <ds:schemaRef ds:uri="http://www.w3.org/XML/1998/namespace"/>
    <ds:schemaRef ds:uri="http://schemas.microsoft.com/office/2006/metadata/properties"/>
    <ds:schemaRef ds:uri="654de7d7-4894-436a-9a70-ea79df3896c5"/>
    <ds:schemaRef ds:uri="http://purl.org/dc/elements/1.1/"/>
    <ds:schemaRef ds:uri="c89a98dd-5f36-4e52-9907-6666324cf1a2"/>
    <ds:schemaRef ds:uri="50c908b1-f277-4340-90a9-4611d0b0f078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284</TotalTime>
  <Words>87</Words>
  <Application>Microsoft Macintosh PowerPoint</Application>
  <PresentationFormat>Custom</PresentationFormat>
  <Paragraphs>21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6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6" baseType="lpstr">
      <vt:lpstr>Arial</vt:lpstr>
      <vt:lpstr>Euclid Flex</vt:lpstr>
      <vt:lpstr>Euclid Flex Medium</vt:lpstr>
      <vt:lpstr>EYInterstate</vt:lpstr>
      <vt:lpstr>EYInterstate Light</vt:lpstr>
      <vt:lpstr>EYInterstate Regular</vt:lpstr>
      <vt:lpstr>Georgia</vt:lpstr>
      <vt:lpstr>Wingdings</vt:lpstr>
      <vt:lpstr>EY light background</vt:lpstr>
      <vt:lpstr>2_EY light background</vt:lpstr>
      <vt:lpstr>8_EY dark background</vt:lpstr>
      <vt:lpstr>2_EY dark background</vt:lpstr>
      <vt:lpstr>EY Core Slides</vt:lpstr>
      <vt:lpstr>Muuto</vt:lpstr>
      <vt:lpstr>think-cell Folie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2101-3682537 Space-Driven Technology Capabilities_v6</dc:title>
  <dc:creator>Erika McClimans</dc:creator>
  <cp:keywords/>
  <cp:lastModifiedBy>Tina Korshøj</cp:lastModifiedBy>
  <cp:revision>19</cp:revision>
  <cp:lastPrinted>2024-09-13T11:43:52Z</cp:lastPrinted>
  <dcterms:created xsi:type="dcterms:W3CDTF">2021-02-10T20:58:11Z</dcterms:created>
  <dcterms:modified xsi:type="dcterms:W3CDTF">2025-03-13T23:10:35Z</dcterms:modified>
  <cp:contentStatus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26318CDA76982469C2C3CD2CD584741010100AD1997A9639E5E40B6BE6FC0A74D05D3</vt:lpwstr>
  </property>
  <property fmtid="{D5CDD505-2E9C-101B-9397-08002B2CF9AE}" pid="3" name="_dlc_DocIdItemGuid">
    <vt:lpwstr>cfe65b13-1d71-409a-9f4d-ae2512c206d0</vt:lpwstr>
  </property>
  <property fmtid="{D5CDD505-2E9C-101B-9397-08002B2CF9AE}" pid="4" name="GeographicApplicability">
    <vt:lpwstr/>
  </property>
  <property fmtid="{D5CDD505-2E9C-101B-9397-08002B2CF9AE}" pid="5" name="Sector">
    <vt:lpwstr/>
  </property>
  <property fmtid="{D5CDD505-2E9C-101B-9397-08002B2CF9AE}" pid="6" name="ContentLanguage">
    <vt:lpwstr/>
  </property>
  <property fmtid="{D5CDD505-2E9C-101B-9397-08002B2CF9AE}" pid="7" name="EYContentType">
    <vt:lpwstr/>
  </property>
  <property fmtid="{D5CDD505-2E9C-101B-9397-08002B2CF9AE}" pid="8" name="ServiceLineFunction">
    <vt:lpwstr/>
  </property>
  <property fmtid="{D5CDD505-2E9C-101B-9397-08002B2CF9AE}" pid="9" name="MediaServiceImageTags">
    <vt:lpwstr/>
  </property>
</Properties>
</file>